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284" r:id="rId5"/>
    <p:sldId id="285" r:id="rId6"/>
    <p:sldId id="286" r:id="rId7"/>
    <p:sldId id="288" r:id="rId8"/>
    <p:sldId id="290" r:id="rId9"/>
    <p:sldId id="291" r:id="rId10"/>
    <p:sldId id="297" r:id="rId11"/>
    <p:sldId id="298" r:id="rId12"/>
    <p:sldId id="333" r:id="rId13"/>
    <p:sldId id="305" r:id="rId14"/>
  </p:sldIdLst>
  <p:sldSz cx="12192000" cy="6858000"/>
  <p:notesSz cx="6858000" cy="9144000"/>
  <p:custDataLst>
    <p:tags r:id="rId1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2B049BF-98D8-4839-A5A2-928C59593B4E}">
          <p14:sldIdLst>
            <p14:sldId id="284"/>
            <p14:sldId id="285"/>
            <p14:sldId id="286"/>
            <p14:sldId id="288"/>
            <p14:sldId id="290"/>
            <p14:sldId id="291"/>
            <p14:sldId id="297"/>
            <p14:sldId id="298"/>
            <p14:sldId id="333"/>
            <p14:sldId id="305"/>
          </p14:sldIdLst>
        </p14:section>
        <p14:section name="Untitled Section" id="{C271ABB5-E004-4650-8248-F9B098FBCCBE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93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C1D5"/>
    <a:srgbClr val="B2E2EB"/>
    <a:srgbClr val="000000"/>
    <a:srgbClr val="FFDDCC"/>
    <a:srgbClr val="D9D9D9"/>
    <a:srgbClr val="1F4C6F"/>
    <a:srgbClr val="E95D0F"/>
    <a:srgbClr val="17486E"/>
    <a:srgbClr val="C62866"/>
    <a:srgbClr val="007D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588" autoAdjust="0"/>
    <p:restoredTop sz="94638" autoAdjust="0"/>
  </p:normalViewPr>
  <p:slideViewPr>
    <p:cSldViewPr showGuides="1">
      <p:cViewPr varScale="1">
        <p:scale>
          <a:sx n="72" d="100"/>
          <a:sy n="72" d="100"/>
        </p:scale>
        <p:origin x="1044" y="66"/>
      </p:cViewPr>
      <p:guideLst>
        <p:guide orient="horz" pos="2160"/>
        <p:guide pos="393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2" d="100"/>
          <a:sy n="52" d="100"/>
        </p:scale>
        <p:origin x="285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234053041284037"/>
          <c:y val="0.1170920928891489"/>
          <c:w val="0.5941104344304734"/>
          <c:h val="0.882907907110851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2"/>
            </a:solidFill>
            <a:ln w="31750">
              <a:solidFill>
                <a:schemeClr val="bg1"/>
              </a:solidFill>
            </a:ln>
            <a:effectLst/>
          </c:spPr>
          <c:dPt>
            <c:idx val="0"/>
            <c:bubble3D val="0"/>
            <c:spPr>
              <a:solidFill>
                <a:schemeClr val="accent1"/>
              </a:solidFill>
              <a:ln w="317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373-4596-A8A1-795B810290B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317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373-4596-A8A1-795B810290B2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317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373-4596-A8A1-795B810290B2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  <a:ln w="317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0373-4596-A8A1-795B810290B2}"/>
              </c:ext>
            </c:extLst>
          </c:dPt>
          <c:dPt>
            <c:idx val="4"/>
            <c:bubble3D val="0"/>
            <c:spPr>
              <a:solidFill>
                <a:schemeClr val="accent6"/>
              </a:solidFill>
              <a:ln w="317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373-4596-A8A1-795B810290B2}"/>
              </c:ext>
            </c:extLst>
          </c:dPt>
          <c:cat>
            <c:strRef>
              <c:f>Sheet1!$A$2:$A$6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3">
                  <c:v>5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64</c:v>
                </c:pt>
                <c:pt idx="1">
                  <c:v>7.0000000000000007E-2</c:v>
                </c:pt>
                <c:pt idx="2">
                  <c:v>0.05</c:v>
                </c:pt>
                <c:pt idx="3">
                  <c:v>0.12</c:v>
                </c:pt>
                <c:pt idx="4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373-4596-A8A1-795B810290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41"/>
        <c:holeSize val="83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34925">
              <a:noFill/>
            </a:ln>
            <a:effectLst/>
          </c:spPr>
          <c:dPt>
            <c:idx val="0"/>
            <c:bubble3D val="0"/>
            <c:spPr>
              <a:solidFill>
                <a:schemeClr val="accent2"/>
              </a:solidFill>
              <a:ln w="349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51D-4D1A-94BE-A4E9E2DFC65F}"/>
              </c:ext>
            </c:extLst>
          </c:dPt>
          <c:dPt>
            <c:idx val="1"/>
            <c:bubble3D val="0"/>
            <c:spPr>
              <a:solidFill>
                <a:schemeClr val="tx1"/>
              </a:solidFill>
              <a:ln w="349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51D-4D1A-94BE-A4E9E2DFC65F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349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51D-4D1A-94BE-A4E9E2DFC65F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  <a:ln w="349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51D-4D1A-94BE-A4E9E2DFC65F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66</c:v>
                </c:pt>
                <c:pt idx="1">
                  <c:v>19.8</c:v>
                </c:pt>
                <c:pt idx="2">
                  <c:v>6.7</c:v>
                </c:pt>
                <c:pt idx="3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51D-4D1A-94BE-A4E9E2DFC6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03"/>
        <c:holeSize val="6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11E8BB9-BBFB-42C1-B308-1DA98411C93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C3EF7B-1D6F-4EA6-B27C-DFFD1C19E10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D8EA56-F1A0-49C5-9948-60B50A627ABB}" type="datetimeFigureOut">
              <a:rPr lang="fr-FR" smtClean="0"/>
              <a:t>05/10/2020</a:t>
            </a:fld>
            <a:endParaRPr lang="fr-F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6DE235-FAD9-4CDA-9C07-AB1070F430E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100E92-7223-4AD9-B1E9-95BDE7E86DB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F26906-530C-4A3E-A8C2-E0DD1D1794A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9431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384C46-9CC5-4C4D-A63D-952DBFA92270}" type="datetimeFigureOut">
              <a:rPr lang="fr-FR" smtClean="0"/>
              <a:t>05/10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5595D7-E9C5-4D78-807E-FD917B61A5BB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650029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413485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979668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F7F726-3DF7-3143-927C-0464AE24E8F8}" type="slidenum">
              <a:rPr kumimoji="0" lang="fr-FR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5439607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F7F726-3DF7-3143-927C-0464AE24E8F8}" type="slidenum">
              <a:rPr kumimoji="0" lang="fr-FR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882140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6387" name="Slide Number Placeholder 6"/>
          <p:cNvSpPr txBox="1">
            <a:spLocks noGrp="1"/>
          </p:cNvSpPr>
          <p:nvPr/>
        </p:nvSpPr>
        <p:spPr bwMode="auto">
          <a:xfrm>
            <a:off x="3819051" y="10233074"/>
            <a:ext cx="2922085" cy="537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809" tIns="43903" rIns="87809" bIns="43903" anchor="b"/>
          <a:lstStyle>
            <a:lvl1pPr defTabSz="920750">
              <a:defRPr sz="12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1pPr>
            <a:lvl2pPr marL="742950" indent="-285750" defTabSz="920750">
              <a:defRPr sz="12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2pPr>
            <a:lvl3pPr marL="1143000" indent="-228600" defTabSz="920750">
              <a:defRPr sz="12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3pPr>
            <a:lvl4pPr marL="1600200" indent="-228600" defTabSz="920750">
              <a:defRPr sz="12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4pPr>
            <a:lvl5pPr marL="2057400" indent="-228600" defTabSz="920750">
              <a:defRPr sz="12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5pPr>
            <a:lvl6pPr marL="25146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6pPr>
            <a:lvl7pPr marL="29718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7pPr>
            <a:lvl8pPr marL="34290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8pPr>
            <a:lvl9pPr marL="38862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9pPr>
          </a:lstStyle>
          <a:p>
            <a:pPr algn="r" defTabSz="920550">
              <a:defRPr/>
            </a:pPr>
            <a:fld id="{3F54FD1A-87E0-8C41-87E5-8842F75E93A4}" type="slidenum">
              <a:rPr lang="en-GB" sz="900" kern="0">
                <a:solidFill>
                  <a:srgbClr val="000000"/>
                </a:solidFill>
                <a:latin typeface="Arial Narrow" charset="0"/>
              </a:rPr>
              <a:pPr algn="r" defTabSz="920550">
                <a:defRPr/>
              </a:pPr>
              <a:t>9</a:t>
            </a:fld>
            <a:endParaRPr lang="en-GB" sz="900" kern="0">
              <a:solidFill>
                <a:srgbClr val="000000"/>
              </a:solidFill>
              <a:latin typeface="Arial Narrow" charset="0"/>
            </a:endParaRPr>
          </a:p>
        </p:txBody>
      </p:sp>
      <p:sp>
        <p:nvSpPr>
          <p:cNvPr id="16388" name="Espace réservé des commentaires 1"/>
          <p:cNvSpPr>
            <a:spLocks noGrp="1"/>
          </p:cNvSpPr>
          <p:nvPr/>
        </p:nvSpPr>
        <p:spPr bwMode="auto">
          <a:xfrm>
            <a:off x="676018" y="5117431"/>
            <a:ext cx="5390566" cy="4846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41" tIns="45620" rIns="91241" bIns="45620"/>
          <a:lstStyle/>
          <a:p>
            <a:pPr defTabSz="914202" eaLnBrk="0" hangingPunct="0">
              <a:spcBef>
                <a:spcPct val="30000"/>
              </a:spcBef>
              <a:defRPr/>
            </a:pPr>
            <a:endParaRPr lang="fr-FR" sz="1100" kern="0">
              <a:solidFill>
                <a:sysClr val="windowText" lastClr="000000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35640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FA9BB046-2715-44A2-BD64-D62585F46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0380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FA9BB046-2715-44A2-BD64-D62585F46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495289BC-F820-44D9-A38C-35B0A6C770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406C2A4-6F8D-4138-88CF-1A652C6D9B3E}"/>
              </a:ext>
            </a:extLst>
          </p:cNvPr>
          <p:cNvGrpSpPr/>
          <p:nvPr userDrawn="1"/>
        </p:nvGrpSpPr>
        <p:grpSpPr>
          <a:xfrm>
            <a:off x="228000" y="2556000"/>
            <a:ext cx="11736000" cy="4068000"/>
            <a:chOff x="228000" y="2556000"/>
            <a:chExt cx="11736000" cy="4068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B9E8FA9D-9D12-4C2F-9B60-D55D50E7EBAB}"/>
                </a:ext>
              </a:extLst>
            </p:cNvPr>
            <p:cNvSpPr/>
            <p:nvPr userDrawn="1"/>
          </p:nvSpPr>
          <p:spPr>
            <a:xfrm>
              <a:off x="228000" y="2556000"/>
              <a:ext cx="11736000" cy="4068000"/>
            </a:xfrm>
            <a:prstGeom prst="rect">
              <a:avLst/>
            </a:prstGeom>
            <a:gradFill>
              <a:gsLst>
                <a:gs pos="0">
                  <a:schemeClr val="bg2"/>
                </a:gs>
                <a:gs pos="74000">
                  <a:srgbClr val="0C1452"/>
                </a:gs>
              </a:gsLst>
              <a:lin ang="0" scaled="1"/>
            </a:gradFill>
          </p:spPr>
          <p:txBody>
            <a:bodyPr vert="horz" lIns="2736000" tIns="45720" rIns="91440" bIns="45720" rtlCol="0" anchor="ctr">
              <a:noAutofit/>
            </a:bodyPr>
            <a:lstStyle/>
            <a:p>
              <a:pPr lvl="0" indent="0">
                <a:lnSpc>
                  <a:spcPct val="110000"/>
                </a:lnSpc>
                <a:spcBef>
                  <a:spcPts val="0"/>
                </a:spcBef>
                <a:buFont typeface="Arial" panose="020B0604020202020204" pitchFamily="34" charset="0"/>
                <a:buNone/>
              </a:pPr>
              <a:endParaRPr lang="fr-FR" sz="1400" b="0">
                <a:solidFill>
                  <a:schemeClr val="bg1"/>
                </a:solidFill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EFC21CB-25F8-4199-B738-B9C0E9AD1459}"/>
                </a:ext>
              </a:extLst>
            </p:cNvPr>
            <p:cNvSpPr/>
            <p:nvPr userDrawn="1"/>
          </p:nvSpPr>
          <p:spPr>
            <a:xfrm>
              <a:off x="228000" y="2556000"/>
              <a:ext cx="11736000" cy="4068000"/>
            </a:xfrm>
            <a:prstGeom prst="rect">
              <a:avLst/>
            </a:prstGeom>
            <a:gradFill>
              <a:gsLst>
                <a:gs pos="0">
                  <a:srgbClr val="0C1551">
                    <a:alpha val="0"/>
                  </a:srgbClr>
                </a:gs>
                <a:gs pos="100000">
                  <a:srgbClr val="0C1551">
                    <a:alpha val="80000"/>
                  </a:srgbClr>
                </a:gs>
              </a:gsLst>
              <a:lin ang="0" scaled="0"/>
            </a:gradFill>
          </p:spPr>
          <p:txBody>
            <a:bodyPr vert="horz" lIns="91440" tIns="45720" rIns="91440" bIns="45720" rtlCol="0">
              <a:noAutofit/>
            </a:bodyPr>
            <a:lstStyle/>
            <a:p>
              <a:pPr lvl="0" indent="0">
                <a:lnSpc>
                  <a:spcPct val="110000"/>
                </a:lnSpc>
                <a:spcBef>
                  <a:spcPts val="0"/>
                </a:spcBef>
                <a:buFont typeface="Arial" panose="020B0604020202020204" pitchFamily="34" charset="0"/>
                <a:buNone/>
              </a:pPr>
              <a:endParaRPr lang="fr-FR" sz="1300" b="1" dirty="0">
                <a:solidFill>
                  <a:schemeClr val="tx2"/>
                </a:solidFill>
              </a:endParaRPr>
            </a:p>
          </p:txBody>
        </p:sp>
      </p:grpSp>
      <p:pic>
        <p:nvPicPr>
          <p:cNvPr id="8" name="Image 7">
            <a:extLst>
              <a:ext uri="{FF2B5EF4-FFF2-40B4-BE49-F238E27FC236}">
                <a16:creationId xmlns:a16="http://schemas.microsoft.com/office/drawing/2014/main" id="{2F76CB79-1B4F-4507-9C27-0144CCBCE4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33900" y="228600"/>
            <a:ext cx="3124200" cy="223266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50C5EE01-F973-4120-91B8-34CAA765DB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04875" y="3624035"/>
            <a:ext cx="7020000" cy="698071"/>
          </a:xfrm>
          <a:prstGeom prst="rect">
            <a:avLst/>
          </a:prstGeom>
          <a:noFill/>
        </p:spPr>
        <p:txBody>
          <a:bodyPr lIns="0" tIns="36000" rIns="0" bIns="36000" anchor="b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0AEA671-FC71-4FFA-B81F-CABE73D6E4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04875" y="4325543"/>
            <a:ext cx="7020000" cy="1104661"/>
          </a:xfrm>
        </p:spPr>
        <p:txBody>
          <a:bodyPr lIns="0" rIns="0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3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  <a:p>
            <a:r>
              <a:rPr lang="en-US" noProof="0" dirty="0"/>
              <a:t>And other</a:t>
            </a:r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D5C70EC6-B5A8-4D53-9EB4-6FF24EA51521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704875" y="5448301"/>
            <a:ext cx="7020000" cy="540000"/>
          </a:xfrm>
        </p:spPr>
        <p:txBody>
          <a:bodyPr lIns="0" rIns="0" anchor="t"/>
          <a:lstStyle>
            <a:lvl1pPr marL="0" indent="0">
              <a:buNone/>
              <a:defRPr sz="2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Speaker name, date</a:t>
            </a:r>
          </a:p>
        </p:txBody>
      </p:sp>
    </p:spTree>
    <p:extLst>
      <p:ext uri="{BB962C8B-B14F-4D97-AF65-F5344CB8AC3E}">
        <p14:creationId xmlns:p14="http://schemas.microsoft.com/office/powerpoint/2010/main" val="23360700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748C741-AB93-468F-93D3-EA9CD5D19B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7786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748C741-AB93-468F-93D3-EA9CD5D19B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309A7B-708C-496B-A830-4ADDBF03A745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FB236236-97C1-4057-A254-A852A086B8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998" y="225788"/>
            <a:ext cx="3708601" cy="468000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bg2">
                <a:alpha val="40000"/>
              </a:schemeClr>
            </a:outerShdw>
          </a:effectLst>
        </p:spPr>
        <p:txBody>
          <a:bodyPr vert="horz" wrap="none" lIns="0" tIns="45720" rIns="0" bIns="45720" rtlCol="0" anchor="ctr">
            <a:spAutoFit/>
          </a:bodyPr>
          <a:lstStyle/>
          <a:p>
            <a:pPr lvl="0">
              <a:lnSpc>
                <a:spcPts val="2800"/>
              </a:lnSpc>
            </a:pPr>
            <a:r>
              <a:rPr lang="en-US" noProof="0" dirty="0"/>
              <a:t>Click to edit title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3AA53882-25F7-48B1-9602-FA281BDD35A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538" y="711939"/>
            <a:ext cx="11726862" cy="396000"/>
          </a:xfrm>
        </p:spPr>
        <p:txBody>
          <a:bodyPr wrap="square" lIns="0" tIns="72000" anchor="t"/>
          <a:lstStyle>
            <a:lvl1pPr marL="0" indent="0">
              <a:lnSpc>
                <a:spcPts val="2400"/>
              </a:lnSpc>
              <a:buNone/>
              <a:defRPr sz="2400" b="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18B6D4D7-E1E8-461A-88AE-650A057556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47186" y="6372702"/>
            <a:ext cx="1354538" cy="169277"/>
          </a:xfrm>
        </p:spPr>
        <p:txBody>
          <a:bodyPr wrap="none" lIns="0" tIns="0" rIns="0" bIns="0">
            <a:spAutoFit/>
          </a:bodyPr>
          <a:lstStyle>
            <a:lvl1pPr>
              <a:defRPr sz="1100" i="1">
                <a:solidFill>
                  <a:schemeClr val="accent3"/>
                </a:solidFill>
              </a:defRPr>
            </a:lvl1pPr>
            <a:lvl3pPr marL="266700" indent="0">
              <a:buNone/>
              <a:defRPr/>
            </a:lvl3pPr>
          </a:lstStyle>
          <a:p>
            <a:pPr lvl="0"/>
            <a:r>
              <a:rPr lang="en-GB" dirty="0"/>
              <a:t>Source and footnotes</a:t>
            </a:r>
          </a:p>
        </p:txBody>
      </p:sp>
    </p:spTree>
    <p:extLst>
      <p:ext uri="{BB962C8B-B14F-4D97-AF65-F5344CB8AC3E}">
        <p14:creationId xmlns:p14="http://schemas.microsoft.com/office/powerpoint/2010/main" val="26720180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E9A9-C521-4F9C-AD0C-A7181A5B8271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274615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you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:a16="http://schemas.microsoft.com/office/drawing/2014/main" id="{3EEAD76B-6410-4FC8-9FA9-CB7F2B99B1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6801" y="226800"/>
            <a:ext cx="11749088" cy="5803200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61ED590-E3E6-4DF4-9162-2A904771452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96029" y="2693165"/>
            <a:ext cx="2260042" cy="504497"/>
          </a:xfrm>
        </p:spPr>
        <p:txBody>
          <a:bodyPr wrap="none" lIns="0" tIns="36449" rIns="36449" bIns="36449" anchor="b">
            <a:spAutoFit/>
          </a:bodyPr>
          <a:lstStyle>
            <a:lvl1pPr marL="0" indent="0" algn="l">
              <a:lnSpc>
                <a:spcPct val="100000"/>
              </a:lnSpc>
              <a:buNone/>
              <a:defRPr sz="280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HANK YOU!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720AA41-531C-4E3F-A1F5-2C8B6B5F4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74AEAB-6A46-4E71-ADD1-8938388EA7AD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95DBAA7-CBEF-4D14-B23C-700CE9F74A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28ADA-4DF8-4AC7-89C5-A79FE48108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6029" y="3618189"/>
            <a:ext cx="2484591" cy="442942"/>
          </a:xfrm>
        </p:spPr>
        <p:txBody>
          <a:bodyPr wrap="none" lIns="0" tIns="36449" rIns="36449" bIns="36449" anchor="ctr">
            <a:spAutoFit/>
          </a:bodyPr>
          <a:lstStyle>
            <a:lvl1pPr>
              <a:buNone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A7FEEAA-DB33-4DE9-960E-763BC32A21D3}"/>
              </a:ext>
            </a:extLst>
          </p:cNvPr>
          <p:cNvSpPr txBox="1"/>
          <p:nvPr userDrawn="1"/>
        </p:nvSpPr>
        <p:spPr>
          <a:xfrm>
            <a:off x="6296029" y="3322360"/>
            <a:ext cx="900311" cy="289053"/>
          </a:xfrm>
          <a:prstGeom prst="rect">
            <a:avLst/>
          </a:prstGeom>
          <a:noFill/>
        </p:spPr>
        <p:txBody>
          <a:bodyPr wrap="none" lIns="0" tIns="36449" rIns="36449" bIns="36449" rtlCol="0">
            <a:spAutoFit/>
          </a:bodyPr>
          <a:lstStyle/>
          <a:p>
            <a:r>
              <a:rPr lang="en-US" sz="1400" b="1" dirty="0">
                <a:solidFill>
                  <a:schemeClr val="accent2"/>
                </a:solidFill>
              </a:rPr>
              <a:t>CONTACT</a:t>
            </a:r>
            <a:endParaRPr lang="fr-FR" b="1" dirty="0">
              <a:solidFill>
                <a:schemeClr val="accent2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2A4DC3E-0A65-4E26-B821-16FD6589FC3F}"/>
              </a:ext>
            </a:extLst>
          </p:cNvPr>
          <p:cNvCxnSpPr/>
          <p:nvPr userDrawn="1"/>
        </p:nvCxnSpPr>
        <p:spPr>
          <a:xfrm>
            <a:off x="6296029" y="3608236"/>
            <a:ext cx="3679501" cy="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CC48B19-78AC-42B9-93C1-6A3B3B6E9BA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6029" y="4081413"/>
            <a:ext cx="876778" cy="442942"/>
          </a:xfrm>
        </p:spPr>
        <p:txBody>
          <a:bodyPr wrap="none" lIns="0" tIns="36449" rIns="36449" bIns="36449" anchor="ctr">
            <a:spAutoFit/>
          </a:bodyPr>
          <a:lstStyle>
            <a:lvl1pPr>
              <a:buNone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-mai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1392380-1D24-4125-98B4-706CA93C5F8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629576" y="2606318"/>
            <a:ext cx="1525162" cy="185000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-146050" ty="6350" sx="28000" sy="28000" flip="none" algn="tl"/>
          </a:blipFill>
        </p:spPr>
        <p:txBody>
          <a:bodyPr lIns="0" rIns="0"/>
          <a:lstStyle>
            <a:lvl1pPr algn="ctr">
              <a:buNone/>
              <a:defRPr sz="1050"/>
            </a:lvl1pPr>
          </a:lstStyle>
          <a:p>
            <a:r>
              <a:rPr lang="en-US" dirty="0"/>
              <a:t>Add photo or delete i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755284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3CE2ED8-1C60-4EA9-AC5A-86B27FE21C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9645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3CE2ED8-1C60-4EA9-AC5A-86B27FE21C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Image 9">
            <a:extLst>
              <a:ext uri="{FF2B5EF4-FFF2-40B4-BE49-F238E27FC236}">
                <a16:creationId xmlns:a16="http://schemas.microsoft.com/office/drawing/2014/main" id="{6BF40B07-BFF3-4845-A694-3C81641044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6801" y="226800"/>
            <a:ext cx="11749088" cy="5803200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DDCBEB9-60E3-4577-A0F1-2B117456D6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8126" y="227013"/>
            <a:ext cx="11734799" cy="5802987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endParaRPr lang="en-GB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720AA41-531C-4E3F-A1F5-2C8B6B5F4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9EA26-D816-4802-8CF7-0F135420A838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95DBAA7-CBEF-4D14-B23C-700CE9F74A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412AB6-7FD5-460F-B722-2C4F455C0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3415" y="1915058"/>
            <a:ext cx="1638269" cy="1190092"/>
          </a:xfrm>
          <a:prstGeom prst="rect">
            <a:avLst/>
          </a:prstGeom>
          <a:noFill/>
        </p:spPr>
        <p:txBody>
          <a:bodyPr wrap="none" tIns="36000" bIns="36000" anchor="t">
            <a:noAutofit/>
          </a:bodyPr>
          <a:lstStyle>
            <a:lvl1pPr algn="l" rtl="0">
              <a:defRPr sz="9200"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##.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61ED590-E3E6-4DF4-9162-2A904771452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103415" y="3281681"/>
            <a:ext cx="5869510" cy="503590"/>
          </a:xfrm>
        </p:spPr>
        <p:txBody>
          <a:bodyPr wrap="square" lIns="0" tIns="36000" rIns="72000" bIns="36000" anchor="t">
            <a:spAutoFit/>
          </a:bodyPr>
          <a:lstStyle>
            <a:lvl1pPr marL="0" indent="0" algn="l" rtl="0">
              <a:lnSpc>
                <a:spcPct val="100000"/>
              </a:lnSpc>
              <a:buNone/>
              <a:defRPr sz="280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Chapter title</a:t>
            </a:r>
          </a:p>
        </p:txBody>
      </p:sp>
    </p:spTree>
    <p:extLst>
      <p:ext uri="{BB962C8B-B14F-4D97-AF65-F5344CB8AC3E}">
        <p14:creationId xmlns:p14="http://schemas.microsoft.com/office/powerpoint/2010/main" val="2894362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95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Eutels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44605"/>
            <a:ext cx="12205253" cy="690260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-12142" y="3184335"/>
            <a:ext cx="12265102" cy="1761812"/>
          </a:xfrm>
          <a:prstGeom prst="rect">
            <a:avLst/>
          </a:prstGeom>
          <a:gradFill flip="none" rotWithShape="1">
            <a:gsLst>
              <a:gs pos="0">
                <a:srgbClr val="31C5F5">
                  <a:alpha val="64000"/>
                </a:srgbClr>
              </a:gs>
              <a:gs pos="100000">
                <a:srgbClr val="3F8FCE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Titre 1"/>
          <p:cNvSpPr>
            <a:spLocks noGrp="1"/>
          </p:cNvSpPr>
          <p:nvPr>
            <p:ph type="title" hasCustomPrompt="1"/>
          </p:nvPr>
        </p:nvSpPr>
        <p:spPr>
          <a:xfrm>
            <a:off x="1129994" y="3190443"/>
            <a:ext cx="10627782" cy="587643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Title</a:t>
            </a:r>
            <a:endParaRPr lang="fr-FR" dirty="0"/>
          </a:p>
        </p:txBody>
      </p:sp>
      <p:sp>
        <p:nvSpPr>
          <p:cNvPr id="18" name="Espace réservé du texte 17"/>
          <p:cNvSpPr>
            <a:spLocks noGrp="1"/>
          </p:cNvSpPr>
          <p:nvPr>
            <p:ph type="body" sz="quarter" idx="13" hasCustomPrompt="1"/>
          </p:nvPr>
        </p:nvSpPr>
        <p:spPr>
          <a:xfrm>
            <a:off x="1145118" y="3778086"/>
            <a:ext cx="10627782" cy="546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Arial"/>
              <a:buNone/>
              <a:defRPr sz="2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>
              <a:buNone/>
              <a:defRPr sz="1800">
                <a:solidFill>
                  <a:schemeClr val="bg1"/>
                </a:solidFill>
              </a:defRPr>
            </a:lvl2pPr>
            <a:lvl3pPr>
              <a:buNone/>
              <a:defRPr sz="1800">
                <a:solidFill>
                  <a:schemeClr val="bg1"/>
                </a:solidFill>
              </a:defRPr>
            </a:lvl3pPr>
            <a:lvl4pPr>
              <a:buNone/>
              <a:defRPr sz="1800">
                <a:solidFill>
                  <a:schemeClr val="bg1"/>
                </a:solidFill>
              </a:defRPr>
            </a:lvl4pPr>
            <a:lvl5pPr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edit sub title</a:t>
            </a:r>
          </a:p>
        </p:txBody>
      </p:sp>
      <p:sp>
        <p:nvSpPr>
          <p:cNvPr id="9" name="Espace réservé du texte 17"/>
          <p:cNvSpPr>
            <a:spLocks noGrp="1"/>
          </p:cNvSpPr>
          <p:nvPr>
            <p:ph type="body" sz="quarter" idx="14" hasCustomPrompt="1"/>
          </p:nvPr>
        </p:nvSpPr>
        <p:spPr>
          <a:xfrm>
            <a:off x="1145118" y="4343306"/>
            <a:ext cx="10627782" cy="5461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Font typeface="Arial"/>
              <a:buNone/>
              <a:defRPr sz="2000" b="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>
              <a:buNone/>
              <a:defRPr sz="1800">
                <a:solidFill>
                  <a:schemeClr val="bg1"/>
                </a:solidFill>
              </a:defRPr>
            </a:lvl2pPr>
            <a:lvl3pPr>
              <a:buNone/>
              <a:defRPr sz="1800">
                <a:solidFill>
                  <a:schemeClr val="bg1"/>
                </a:solidFill>
              </a:defRPr>
            </a:lvl3pPr>
            <a:lvl4pPr>
              <a:buNone/>
              <a:defRPr sz="1800">
                <a:solidFill>
                  <a:schemeClr val="bg1"/>
                </a:solidFill>
              </a:defRPr>
            </a:lvl4pPr>
            <a:lvl5pPr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edit name, title, mail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3090" y="4932082"/>
            <a:ext cx="12189019" cy="463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19101" y="6381749"/>
            <a:ext cx="1562100" cy="321469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   c</a:t>
            </a:r>
          </a:p>
        </p:txBody>
      </p:sp>
    </p:spTree>
    <p:extLst>
      <p:ext uri="{BB962C8B-B14F-4D97-AF65-F5344CB8AC3E}">
        <p14:creationId xmlns:p14="http://schemas.microsoft.com/office/powerpoint/2010/main" val="28933813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2"/>
          <p:cNvSpPr>
            <a:spLocks noGrp="1"/>
          </p:cNvSpPr>
          <p:nvPr>
            <p:ph idx="1" hasCustomPrompt="1"/>
          </p:nvPr>
        </p:nvSpPr>
        <p:spPr>
          <a:xfrm>
            <a:off x="498281" y="1295400"/>
            <a:ext cx="11274619" cy="4800599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342900" indent="-287338">
              <a:defRPr i="0" baseline="0">
                <a:solidFill>
                  <a:srgbClr val="003C78"/>
                </a:solidFill>
              </a:defRPr>
            </a:lvl1pPr>
            <a:lvl2pPr>
              <a:defRPr i="0" baseline="0"/>
            </a:lvl2pPr>
            <a:lvl3pPr marL="855663" indent="-228600">
              <a:buClr>
                <a:schemeClr val="accent2"/>
              </a:buClr>
              <a:buFont typeface="Wingdings" panose="05000000000000000000" pitchFamily="2" charset="2"/>
              <a:buChar char="à"/>
              <a:defRPr i="0">
                <a:solidFill>
                  <a:schemeClr val="accent2"/>
                </a:solidFill>
              </a:defRPr>
            </a:lvl3pPr>
          </a:lstStyle>
          <a:p>
            <a:pPr lvl="0"/>
            <a:r>
              <a:rPr lang="en-GB" noProof="0" dirty="0"/>
              <a:t>Click here to add your text or content</a:t>
            </a:r>
          </a:p>
          <a:p>
            <a:pPr lvl="1"/>
            <a:r>
              <a:rPr lang="en-GB" noProof="0" dirty="0"/>
              <a:t>Second level text</a:t>
            </a:r>
          </a:p>
          <a:p>
            <a:pPr lvl="2"/>
            <a:r>
              <a:rPr lang="en-GB" noProof="0" dirty="0"/>
              <a:t>Third level text </a:t>
            </a:r>
          </a:p>
          <a:p>
            <a:pPr lvl="2"/>
            <a:endParaRPr lang="en-GB" noProof="0" dirty="0"/>
          </a:p>
        </p:txBody>
      </p:sp>
      <p:sp>
        <p:nvSpPr>
          <p:cNvPr id="6" name="Espace réservé du titre 1"/>
          <p:cNvSpPr>
            <a:spLocks noGrp="1"/>
          </p:cNvSpPr>
          <p:nvPr>
            <p:ph type="title"/>
          </p:nvPr>
        </p:nvSpPr>
        <p:spPr>
          <a:xfrm>
            <a:off x="419100" y="1"/>
            <a:ext cx="11772899" cy="802376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noProof="0" dirty="0"/>
              <a:t>Click to modify title</a:t>
            </a:r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584745" y="6470849"/>
            <a:ext cx="182880" cy="182880"/>
          </a:xfrm>
          <a:prstGeom prst="rect">
            <a:avLst/>
          </a:prstGeom>
          <a:solidFill>
            <a:schemeClr val="tx1"/>
          </a:solidFill>
        </p:spPr>
        <p:txBody>
          <a:bodyPr lIns="0" rIns="0" anchor="ctr">
            <a:noAutofit/>
          </a:bodyPr>
          <a:lstStyle>
            <a:lvl1pPr algn="ctr">
              <a:defRPr lang="en-GB" sz="600" b="1" i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Verdana"/>
              </a:defRPr>
            </a:lvl1pPr>
          </a:lstStyle>
          <a:p>
            <a:pPr>
              <a:lnSpc>
                <a:spcPts val="800"/>
              </a:lnSpc>
              <a:buSzPct val="140000"/>
              <a:buFont typeface="Arial" panose="020B0604020202020204" pitchFamily="34" charset="0"/>
              <a:buNone/>
            </a:pPr>
            <a:fld id="{C9B8EFF2-A7BC-E84F-B242-76DED1133CAC}" type="slidenum">
              <a:rPr lang="en-US" smtClean="0"/>
              <a:pPr>
                <a:lnSpc>
                  <a:spcPts val="800"/>
                </a:lnSpc>
                <a:buSzPct val="140000"/>
                <a:buFont typeface="Arial" panose="020B0604020202020204" pitchFamily="34" charset="0"/>
                <a:buNone/>
              </a:pPr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96366" y="6378775"/>
            <a:ext cx="8223250" cy="365125"/>
          </a:xfrm>
          <a:prstGeom prst="rect">
            <a:avLst/>
          </a:prstGeom>
          <a:noFill/>
        </p:spPr>
        <p:txBody>
          <a:bodyPr anchor="ctr"/>
          <a:lstStyle>
            <a:lvl1pPr marL="0" indent="0" algn="r">
              <a:spcBef>
                <a:spcPts val="0"/>
              </a:spcBef>
              <a:buFontTx/>
              <a:buNone/>
              <a:defRPr lang="en-US" sz="800" b="0" i="1" kern="1200" baseline="0" dirty="0" smtClean="0">
                <a:solidFill>
                  <a:schemeClr val="bg1">
                    <a:lumMod val="65000"/>
                  </a:schemeClr>
                </a:solidFill>
                <a:latin typeface="Verdana"/>
                <a:ea typeface="+mn-ea"/>
                <a:cs typeface="Verdana"/>
              </a:defRPr>
            </a:lvl1pPr>
            <a:lvl2pPr marL="34131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2pPr>
            <a:lvl3pPr marL="62706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3pPr>
            <a:lvl4pPr marL="1371600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4pPr>
            <a:lvl5pPr marL="1828800" indent="0" algn="r">
              <a:spcBef>
                <a:spcPts val="0"/>
              </a:spcBef>
              <a:buFontTx/>
              <a:buNone/>
              <a:defRPr lang="en-US" sz="800" b="0" kern="1200" dirty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1496674" y="6470849"/>
            <a:ext cx="68661" cy="1828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3623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/ The Freedo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itre 1"/>
          <p:cNvSpPr>
            <a:spLocks noGrp="1"/>
          </p:cNvSpPr>
          <p:nvPr>
            <p:ph type="title"/>
          </p:nvPr>
        </p:nvSpPr>
        <p:spPr>
          <a:xfrm>
            <a:off x="419100" y="1"/>
            <a:ext cx="11772899" cy="802376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noProof="0" dirty="0"/>
              <a:t>Click to modify title</a:t>
            </a: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584745" y="6470849"/>
            <a:ext cx="182880" cy="182880"/>
          </a:xfrm>
          <a:prstGeom prst="rect">
            <a:avLst/>
          </a:prstGeom>
          <a:solidFill>
            <a:schemeClr val="tx1"/>
          </a:solidFill>
        </p:spPr>
        <p:txBody>
          <a:bodyPr lIns="0" rIns="0" anchor="ctr">
            <a:noAutofit/>
          </a:bodyPr>
          <a:lstStyle>
            <a:lvl1pPr algn="ctr">
              <a:defRPr lang="en-GB" sz="600" b="1" i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Verdana"/>
              </a:defRPr>
            </a:lvl1pPr>
          </a:lstStyle>
          <a:p>
            <a:pPr>
              <a:lnSpc>
                <a:spcPts val="800"/>
              </a:lnSpc>
              <a:buSzPct val="140000"/>
              <a:buFont typeface="Arial" panose="020B0604020202020204" pitchFamily="34" charset="0"/>
              <a:buNone/>
            </a:pPr>
            <a:fld id="{C9B8EFF2-A7BC-E84F-B242-76DED1133CAC}" type="slidenum">
              <a:rPr lang="en-US" smtClean="0"/>
              <a:pPr>
                <a:lnSpc>
                  <a:spcPts val="800"/>
                </a:lnSpc>
                <a:buSzPct val="140000"/>
                <a:buFont typeface="Arial" panose="020B0604020202020204" pitchFamily="34" charset="0"/>
                <a:buNone/>
              </a:pPr>
              <a:t>‹#›</a:t>
            </a:fld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96366" y="6378775"/>
            <a:ext cx="8223250" cy="365125"/>
          </a:xfrm>
          <a:prstGeom prst="rect">
            <a:avLst/>
          </a:prstGeom>
          <a:noFill/>
        </p:spPr>
        <p:txBody>
          <a:bodyPr anchor="ctr"/>
          <a:lstStyle>
            <a:lvl1pPr marL="0" indent="0" algn="r">
              <a:spcBef>
                <a:spcPts val="0"/>
              </a:spcBef>
              <a:buFontTx/>
              <a:buNone/>
              <a:defRPr lang="en-US" sz="800" b="0" i="1" kern="1200" baseline="0" dirty="0" smtClean="0">
                <a:solidFill>
                  <a:schemeClr val="bg1">
                    <a:lumMod val="65000"/>
                  </a:schemeClr>
                </a:solidFill>
                <a:latin typeface="Verdana"/>
                <a:ea typeface="+mn-ea"/>
                <a:cs typeface="Verdana"/>
              </a:defRPr>
            </a:lvl1pPr>
            <a:lvl2pPr marL="34131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2pPr>
            <a:lvl3pPr marL="62706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3pPr>
            <a:lvl4pPr marL="1371600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4pPr>
            <a:lvl5pPr marL="1828800" indent="0" algn="r">
              <a:spcBef>
                <a:spcPts val="0"/>
              </a:spcBef>
              <a:buFontTx/>
              <a:buNone/>
              <a:defRPr lang="en-US" sz="800" b="0" kern="1200" dirty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1496674" y="6470849"/>
            <a:ext cx="68661" cy="1828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3241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itre 1"/>
          <p:cNvSpPr>
            <a:spLocks noGrp="1"/>
          </p:cNvSpPr>
          <p:nvPr>
            <p:ph type="title" hasCustomPrompt="1"/>
          </p:nvPr>
        </p:nvSpPr>
        <p:spPr>
          <a:xfrm>
            <a:off x="419100" y="1"/>
            <a:ext cx="11772899" cy="802376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>
              <a:defRPr/>
            </a:lvl1pPr>
          </a:lstStyle>
          <a:p>
            <a:r>
              <a:rPr lang="en-GB" noProof="0" dirty="0"/>
              <a:t>Slide Agenda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120105" y="3481388"/>
            <a:ext cx="8370887" cy="1772895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ts val="0"/>
              </a:spcBef>
              <a:spcAft>
                <a:spcPts val="2400"/>
              </a:spcAft>
              <a:buClr>
                <a:srgbClr val="00C8FF"/>
              </a:buClr>
              <a:buSzPct val="100000"/>
              <a:buFont typeface="Wingdings" panose="05000000000000000000" pitchFamily="2" charset="2"/>
              <a:buChar char="è"/>
              <a:defRPr lang="en-US" sz="2400" b="1" kern="1200" baseline="0" dirty="0" smtClean="0">
                <a:solidFill>
                  <a:srgbClr val="003C78"/>
                </a:solidFill>
                <a:latin typeface="Verdana" pitchFamily="34" charset="0"/>
                <a:ea typeface="+mn-ea"/>
                <a:cs typeface="Verdana" pitchFamily="34" charset="0"/>
              </a:defRPr>
            </a:lvl1pPr>
            <a:lvl2pPr marL="342900" indent="-342900" algn="l" defTabSz="457200" rtl="0" eaLnBrk="1" latinLnBrk="0" hangingPunct="1">
              <a:spcBef>
                <a:spcPts val="0"/>
              </a:spcBef>
              <a:spcAft>
                <a:spcPts val="2400"/>
              </a:spcAft>
              <a:buClr>
                <a:srgbClr val="00C8FF"/>
              </a:buClr>
              <a:buSzPct val="100000"/>
              <a:buFont typeface="Wingdings" panose="05000000000000000000" pitchFamily="2" charset="2"/>
              <a:buChar char="è"/>
              <a:defRPr lang="en-US" sz="2400" b="1" kern="1200" baseline="0" dirty="0" smtClean="0">
                <a:solidFill>
                  <a:srgbClr val="003C78"/>
                </a:solidFill>
                <a:latin typeface="Verdana" pitchFamily="34" charset="0"/>
                <a:ea typeface="+mn-ea"/>
                <a:cs typeface="Verdana" pitchFamily="34" charset="0"/>
              </a:defRPr>
            </a:lvl2pPr>
            <a:lvl3pPr marL="342900" indent="-342900" algn="l" defTabSz="457200" rtl="0" eaLnBrk="1" latinLnBrk="0" hangingPunct="1">
              <a:spcBef>
                <a:spcPts val="0"/>
              </a:spcBef>
              <a:spcAft>
                <a:spcPts val="2400"/>
              </a:spcAft>
              <a:buClr>
                <a:srgbClr val="00C8FF"/>
              </a:buClr>
              <a:buSzPct val="100000"/>
              <a:buFont typeface="Wingdings" panose="05000000000000000000" pitchFamily="2" charset="2"/>
              <a:buChar char="è"/>
              <a:defRPr lang="en-US" sz="2400" b="1" kern="1200" baseline="0" dirty="0" smtClean="0">
                <a:solidFill>
                  <a:srgbClr val="003C78"/>
                </a:solidFill>
                <a:latin typeface="Verdana" pitchFamily="34" charset="0"/>
                <a:ea typeface="+mn-ea"/>
                <a:cs typeface="Verdana" pitchFamily="34" charset="0"/>
              </a:defRPr>
            </a:lvl3pPr>
            <a:lvl4pPr marL="342900" indent="-342900" algn="l" defTabSz="457200" rtl="0" eaLnBrk="1" latinLnBrk="0" hangingPunct="1">
              <a:spcBef>
                <a:spcPts val="0"/>
              </a:spcBef>
              <a:spcAft>
                <a:spcPts val="2400"/>
              </a:spcAft>
              <a:buClr>
                <a:srgbClr val="00C8FF"/>
              </a:buClr>
              <a:buSzPct val="100000"/>
              <a:buFont typeface="Wingdings" panose="05000000000000000000" pitchFamily="2" charset="2"/>
              <a:buChar char="è"/>
              <a:defRPr lang="en-US" sz="2400" b="1" kern="1200" baseline="0" dirty="0" smtClean="0">
                <a:solidFill>
                  <a:srgbClr val="003C78"/>
                </a:solidFill>
                <a:latin typeface="Verdana" pitchFamily="34" charset="0"/>
                <a:ea typeface="+mn-ea"/>
                <a:cs typeface="Verdana" pitchFamily="34" charset="0"/>
              </a:defRPr>
            </a:lvl4pPr>
            <a:lvl5pPr marL="342900" indent="-342900" algn="l" defTabSz="457200" rtl="0" eaLnBrk="1" latinLnBrk="0" hangingPunct="1">
              <a:spcBef>
                <a:spcPts val="0"/>
              </a:spcBef>
              <a:spcAft>
                <a:spcPts val="2400"/>
              </a:spcAft>
              <a:buClr>
                <a:srgbClr val="00C8FF"/>
              </a:buClr>
              <a:buSzPct val="100000"/>
              <a:buFont typeface="Wingdings" panose="05000000000000000000" pitchFamily="2" charset="2"/>
              <a:buChar char="è"/>
              <a:defRPr lang="en-US" sz="2400" b="1" kern="1200" baseline="0" dirty="0">
                <a:solidFill>
                  <a:srgbClr val="003C78"/>
                </a:solidFill>
                <a:latin typeface="Verdana" pitchFamily="34" charset="0"/>
                <a:ea typeface="+mn-ea"/>
                <a:cs typeface="Verdana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936669"/>
            <a:ext cx="12192000" cy="21812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584745" y="6470849"/>
            <a:ext cx="182880" cy="182880"/>
          </a:xfrm>
          <a:prstGeom prst="rect">
            <a:avLst/>
          </a:prstGeom>
          <a:solidFill>
            <a:schemeClr val="tx1"/>
          </a:solidFill>
        </p:spPr>
        <p:txBody>
          <a:bodyPr lIns="0" rIns="0" anchor="ctr">
            <a:noAutofit/>
          </a:bodyPr>
          <a:lstStyle>
            <a:lvl1pPr algn="ctr">
              <a:defRPr lang="en-GB" sz="600" b="1" i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Verdana"/>
              </a:defRPr>
            </a:lvl1pPr>
          </a:lstStyle>
          <a:p>
            <a:pPr>
              <a:lnSpc>
                <a:spcPts val="800"/>
              </a:lnSpc>
              <a:buSzPct val="140000"/>
              <a:buFont typeface="Arial" panose="020B0604020202020204" pitchFamily="34" charset="0"/>
              <a:buNone/>
            </a:pPr>
            <a:fld id="{C9B8EFF2-A7BC-E84F-B242-76DED1133CAC}" type="slidenum">
              <a:rPr lang="en-US" smtClean="0"/>
              <a:pPr>
                <a:lnSpc>
                  <a:spcPts val="800"/>
                </a:lnSpc>
                <a:buSzPct val="140000"/>
                <a:buFont typeface="Arial" panose="020B0604020202020204" pitchFamily="34" charset="0"/>
                <a:buNone/>
              </a:pPr>
              <a:t>‹#›</a:t>
            </a:fld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96366" y="6378775"/>
            <a:ext cx="8223250" cy="365125"/>
          </a:xfrm>
          <a:prstGeom prst="rect">
            <a:avLst/>
          </a:prstGeom>
          <a:noFill/>
        </p:spPr>
        <p:txBody>
          <a:bodyPr anchor="ctr"/>
          <a:lstStyle>
            <a:lvl1pPr marL="0" indent="0" algn="r">
              <a:spcBef>
                <a:spcPts val="0"/>
              </a:spcBef>
              <a:buFontTx/>
              <a:buNone/>
              <a:defRPr lang="en-US" sz="800" b="0" i="1" kern="1200" baseline="0" dirty="0" smtClean="0">
                <a:solidFill>
                  <a:schemeClr val="bg1">
                    <a:lumMod val="65000"/>
                  </a:schemeClr>
                </a:solidFill>
                <a:latin typeface="Verdana"/>
                <a:ea typeface="+mn-ea"/>
                <a:cs typeface="Verdana"/>
              </a:defRPr>
            </a:lvl1pPr>
            <a:lvl2pPr marL="34131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2pPr>
            <a:lvl3pPr marL="62706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3pPr>
            <a:lvl4pPr marL="1371600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4pPr>
            <a:lvl5pPr marL="1828800" indent="0" algn="r">
              <a:spcBef>
                <a:spcPts val="0"/>
              </a:spcBef>
              <a:buFontTx/>
              <a:buNone/>
              <a:defRPr lang="en-US" sz="800" b="0" kern="1200" dirty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1496674" y="6470849"/>
            <a:ext cx="68661" cy="1828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0398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32117" y="6231988"/>
            <a:ext cx="2293034" cy="4894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3899" y="935502"/>
            <a:ext cx="4542310" cy="59224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640080"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6" name="Espace réservé du titre 1"/>
          <p:cNvSpPr>
            <a:spLocks noGrp="1"/>
          </p:cNvSpPr>
          <p:nvPr>
            <p:ph type="title"/>
          </p:nvPr>
        </p:nvSpPr>
        <p:spPr>
          <a:xfrm>
            <a:off x="419100" y="1"/>
            <a:ext cx="11772899" cy="802376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GB" noProof="0" dirty="0"/>
              <a:t>Click to modify tit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5047371" y="1295401"/>
            <a:ext cx="6725529" cy="48006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3pPr>
              <a:buClr>
                <a:schemeClr val="accent2"/>
              </a:buCl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text or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584745" y="6470849"/>
            <a:ext cx="182880" cy="182880"/>
          </a:xfrm>
          <a:prstGeom prst="rect">
            <a:avLst/>
          </a:prstGeom>
          <a:solidFill>
            <a:schemeClr val="tx1"/>
          </a:solidFill>
        </p:spPr>
        <p:txBody>
          <a:bodyPr lIns="0" rIns="0" anchor="ctr">
            <a:noAutofit/>
          </a:bodyPr>
          <a:lstStyle>
            <a:lvl1pPr algn="ctr">
              <a:defRPr lang="en-GB" sz="600" b="1" i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  <a:cs typeface="Verdana"/>
              </a:defRPr>
            </a:lvl1pPr>
          </a:lstStyle>
          <a:p>
            <a:pPr>
              <a:lnSpc>
                <a:spcPts val="800"/>
              </a:lnSpc>
              <a:buSzPct val="140000"/>
              <a:buFont typeface="Arial" panose="020B0604020202020204" pitchFamily="34" charset="0"/>
              <a:buNone/>
            </a:pPr>
            <a:fld id="{C9B8EFF2-A7BC-E84F-B242-76DED1133CAC}" type="slidenum">
              <a:rPr lang="en-US" smtClean="0"/>
              <a:pPr>
                <a:lnSpc>
                  <a:spcPts val="800"/>
                </a:lnSpc>
                <a:buSzPct val="140000"/>
                <a:buFont typeface="Arial" panose="020B0604020202020204" pitchFamily="34" charset="0"/>
                <a:buNone/>
              </a:pPr>
              <a:t>‹#›</a:t>
            </a:fld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65618" y="6378775"/>
            <a:ext cx="6953997" cy="365125"/>
          </a:xfrm>
          <a:prstGeom prst="rect">
            <a:avLst/>
          </a:prstGeom>
          <a:noFill/>
        </p:spPr>
        <p:txBody>
          <a:bodyPr anchor="ctr"/>
          <a:lstStyle>
            <a:lvl1pPr marL="0" indent="0" algn="r">
              <a:spcBef>
                <a:spcPts val="0"/>
              </a:spcBef>
              <a:buFontTx/>
              <a:buNone/>
              <a:defRPr lang="en-US" sz="800" b="0" i="1" kern="1200" baseline="0" dirty="0" smtClean="0">
                <a:solidFill>
                  <a:schemeClr val="bg1">
                    <a:lumMod val="65000"/>
                  </a:schemeClr>
                </a:solidFill>
                <a:latin typeface="Verdana"/>
                <a:ea typeface="+mn-ea"/>
                <a:cs typeface="Verdana"/>
              </a:defRPr>
            </a:lvl1pPr>
            <a:lvl2pPr marL="34131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2pPr>
            <a:lvl3pPr marL="627063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3pPr>
            <a:lvl4pPr marL="1371600" indent="0" algn="r">
              <a:spcBef>
                <a:spcPts val="0"/>
              </a:spcBef>
              <a:buFontTx/>
              <a:buNone/>
              <a:defRPr lang="en-US" sz="800" b="0" kern="1200" dirty="0" smtClean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4pPr>
            <a:lvl5pPr marL="1828800" indent="0" algn="r">
              <a:spcBef>
                <a:spcPts val="0"/>
              </a:spcBef>
              <a:buFontTx/>
              <a:buNone/>
              <a:defRPr lang="en-US" sz="800" b="0" kern="1200" dirty="0">
                <a:solidFill>
                  <a:schemeClr val="bg2"/>
                </a:solidFill>
                <a:latin typeface="Verdana"/>
                <a:ea typeface="+mn-ea"/>
                <a:cs typeface="Verdana"/>
              </a:defRPr>
            </a:lvl5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11496674" y="6470849"/>
            <a:ext cx="68661" cy="1828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19101" y="6381749"/>
            <a:ext cx="1562100" cy="321469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   c</a:t>
            </a:r>
          </a:p>
        </p:txBody>
      </p:sp>
    </p:spTree>
    <p:extLst>
      <p:ext uri="{BB962C8B-B14F-4D97-AF65-F5344CB8AC3E}">
        <p14:creationId xmlns:p14="http://schemas.microsoft.com/office/powerpoint/2010/main" val="11904242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BC41F0E-EC30-4D2A-AA16-7B987E32A1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9034" y="1335086"/>
            <a:ext cx="5579907" cy="486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8998C-CA0A-48C9-AF67-405FEF9B2566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Footer of the presentation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B7A985A6-151F-4CB0-B805-7356FF1FA8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20459" y="225788"/>
            <a:ext cx="5593568" cy="46800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6853A371-A21A-4A58-8F72-0F9405B7C1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20459" y="704931"/>
            <a:ext cx="5593568" cy="396000"/>
          </a:xfrm>
        </p:spPr>
        <p:txBody>
          <a:bodyPr vert="horz" lIns="0" tIns="45720" rIns="91440" bIns="45720" rtlCol="0" anchor="t">
            <a:noAutofit/>
          </a:bodyPr>
          <a:lstStyle>
            <a:lvl1pPr>
              <a:defRPr lang="en-US" sz="2000" b="0" cap="all" baseline="0" noProof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subtitle of the slide</a:t>
            </a:r>
          </a:p>
        </p:txBody>
      </p:sp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E7B0015A-A42C-4141-AEE9-CAB0974FD35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34153" y="226800"/>
            <a:ext cx="5880098" cy="5808240"/>
          </a:xfrm>
          <a:noFill/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Photo</a:t>
            </a:r>
          </a:p>
        </p:txBody>
      </p:sp>
    </p:spTree>
    <p:extLst>
      <p:ext uri="{BB962C8B-B14F-4D97-AF65-F5344CB8AC3E}">
        <p14:creationId xmlns:p14="http://schemas.microsoft.com/office/powerpoint/2010/main" val="5062707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9">
            <a:extLst>
              <a:ext uri="{FF2B5EF4-FFF2-40B4-BE49-F238E27FC236}">
                <a16:creationId xmlns:a16="http://schemas.microsoft.com/office/drawing/2014/main" id="{21802463-C738-4F1E-BFDE-BDD4AFBC26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6801" y="226800"/>
            <a:ext cx="11727074" cy="58032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B6D0734-1A48-4B27-8EE6-0BA66553A8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425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B6D0734-1A48-4B27-8EE6-0BA66553A8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E9CE3F-DE2A-4DFA-AC7D-EE704178AA1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934B7DA-FA75-4149-8676-64791F4D66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070989"/>
            <a:ext cx="3624134" cy="523220"/>
          </a:xfrm>
          <a:prstGeom prst="rect">
            <a:avLst/>
          </a:prstGeom>
          <a:noFill/>
          <a:effectLst/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AE34A377-C4E7-474E-AF9C-C0C1512C4B4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096000" y="1784825"/>
            <a:ext cx="5857875" cy="442942"/>
          </a:xfrm>
        </p:spPr>
        <p:txBody>
          <a:bodyPr wrap="square" anchor="t">
            <a:spAutoFit/>
          </a:bodyPr>
          <a:lstStyle>
            <a:lvl1pPr marL="457200" indent="-457200">
              <a:spcAft>
                <a:spcPts val="1200"/>
              </a:spcAft>
              <a:buClr>
                <a:schemeClr val="bg1"/>
              </a:buClr>
              <a:buSzPct val="100000"/>
              <a:buFont typeface="+mj-lt"/>
              <a:buAutoNum type="arabicPeriod"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dirty="0"/>
              <a:t>Chapter titl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1E05C12A-6D66-4BD5-8AA3-E181C54F9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376C4A-7FB1-4A1C-B806-1A31C7A12565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D9927BF-3057-4ED9-A027-6ED3E59441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54014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3CE2ED8-1C60-4EA9-AC5A-86B27FE21C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8559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3CE2ED8-1C60-4EA9-AC5A-86B27FE21C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 9">
            <a:extLst>
              <a:ext uri="{FF2B5EF4-FFF2-40B4-BE49-F238E27FC236}">
                <a16:creationId xmlns:a16="http://schemas.microsoft.com/office/drawing/2014/main" id="{3EEAD76B-6410-4FC8-9FA9-CB7F2B99B1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6801" y="226800"/>
            <a:ext cx="11727074" cy="5803200"/>
          </a:xfrm>
          <a:prstGeom prst="rect">
            <a:avLst/>
          </a:prstGeom>
        </p:spPr>
      </p:pic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720AA41-531C-4E3F-A1F5-2C8B6B5F4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69EA26-D816-4802-8CF7-0F135420A838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95DBAA7-CBEF-4D14-B23C-700CE9F74A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412AB6-7FD5-460F-B722-2C4F455C0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3415" y="1915058"/>
            <a:ext cx="1638269" cy="1190092"/>
          </a:xfrm>
          <a:prstGeom prst="rect">
            <a:avLst/>
          </a:prstGeom>
          <a:noFill/>
        </p:spPr>
        <p:txBody>
          <a:bodyPr wrap="none" tIns="36000" bIns="36000" anchor="t">
            <a:noAutofit/>
          </a:bodyPr>
          <a:lstStyle>
            <a:lvl1pPr algn="l" rtl="0">
              <a:defRPr sz="9200"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##.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61ED590-E3E6-4DF4-9162-2A904771452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103415" y="3281681"/>
            <a:ext cx="5869510" cy="503590"/>
          </a:xfrm>
        </p:spPr>
        <p:txBody>
          <a:bodyPr wrap="square" lIns="0" tIns="36000" rIns="72000" bIns="36000" anchor="t">
            <a:spAutoFit/>
          </a:bodyPr>
          <a:lstStyle>
            <a:lvl1pPr marL="0" indent="0" algn="l" rtl="0">
              <a:lnSpc>
                <a:spcPct val="100000"/>
              </a:lnSpc>
              <a:buNone/>
              <a:defRPr sz="2800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Chapter title</a:t>
            </a:r>
          </a:p>
        </p:txBody>
      </p:sp>
    </p:spTree>
    <p:extLst>
      <p:ext uri="{BB962C8B-B14F-4D97-AF65-F5344CB8AC3E}">
        <p14:creationId xmlns:p14="http://schemas.microsoft.com/office/powerpoint/2010/main" val="251581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1956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BAAAB39-544C-48ED-94AB-DBD7E3CD73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7079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BAAAB39-544C-48ED-94AB-DBD7E3CD73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064F81F-B770-43DC-A6BE-19547C5ED7C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3BF97-DC26-4A72-9C37-EB3DCA4080CF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6853A371-A21A-4A58-8F72-0F9405B7C1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538" y="702413"/>
            <a:ext cx="11726862" cy="417285"/>
          </a:xfrm>
        </p:spPr>
        <p:txBody>
          <a:bodyPr wrap="square" lIns="0" tIns="72000" anchor="t">
            <a:spAutoFit/>
          </a:bodyPr>
          <a:lstStyle>
            <a:lvl1pPr marL="0" indent="0">
              <a:lnSpc>
                <a:spcPts val="2400"/>
              </a:lnSpc>
              <a:buNone/>
              <a:defRPr sz="2400" b="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2" name="Espace réservé du titre 1">
            <a:extLst>
              <a:ext uri="{FF2B5EF4-FFF2-40B4-BE49-F238E27FC236}">
                <a16:creationId xmlns:a16="http://schemas.microsoft.com/office/drawing/2014/main" id="{4F47329B-87EE-4E29-9787-4E4B3AC92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998" y="234085"/>
            <a:ext cx="3624134" cy="451406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bg2">
                <a:alpha val="40000"/>
              </a:schemeClr>
            </a:outerShdw>
          </a:effectLst>
        </p:spPr>
        <p:txBody>
          <a:bodyPr vert="horz" wrap="none" lIns="0" tIns="45720" rIns="0" bIns="45720" rtlCol="0" anchor="ctr">
            <a:spAutoFit/>
          </a:bodyPr>
          <a:lstStyle>
            <a:lvl1pPr>
              <a:defRPr/>
            </a:lvl1pPr>
          </a:lstStyle>
          <a:p>
            <a:pPr lvl="0">
              <a:lnSpc>
                <a:spcPts val="2800"/>
              </a:lnSpc>
            </a:pPr>
            <a:r>
              <a:rPr lang="en-US" noProof="0" dirty="0"/>
              <a:t>Click to edit tit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A6E8F77-F22B-4282-987C-6C71CEA3E17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27013" y="1328738"/>
            <a:ext cx="11736387" cy="4872037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DD6A387-6F83-4EBE-A7B6-35E0877E28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47186" y="6372702"/>
            <a:ext cx="1354538" cy="169277"/>
          </a:xfrm>
        </p:spPr>
        <p:txBody>
          <a:bodyPr wrap="none" lIns="0" tIns="0" rIns="0" bIns="0">
            <a:spAutoFit/>
          </a:bodyPr>
          <a:lstStyle>
            <a:lvl1pPr>
              <a:defRPr sz="1100" i="1">
                <a:solidFill>
                  <a:schemeClr val="accent3"/>
                </a:solidFill>
              </a:defRPr>
            </a:lvl1pPr>
            <a:lvl3pPr marL="266700" indent="0">
              <a:buNone/>
              <a:defRPr/>
            </a:lvl3pPr>
          </a:lstStyle>
          <a:p>
            <a:pPr lvl="0"/>
            <a:r>
              <a:rPr lang="en-GB" dirty="0"/>
              <a:t>Source and footnotes</a:t>
            </a:r>
          </a:p>
        </p:txBody>
      </p:sp>
    </p:spTree>
    <p:extLst>
      <p:ext uri="{BB962C8B-B14F-4D97-AF65-F5344CB8AC3E}">
        <p14:creationId xmlns:p14="http://schemas.microsoft.com/office/powerpoint/2010/main" val="78341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308E1FC-9327-42F5-BA28-74511672F4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3974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308E1FC-9327-42F5-BA28-74511672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21489C2-D242-4834-AEF4-FE5A75D0C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5E9BA6-B673-4524-A344-73E5B69A3CC4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BF74019B-327F-49E1-AE9D-762DC4F8740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538" y="711939"/>
            <a:ext cx="11726862" cy="396000"/>
          </a:xfrm>
        </p:spPr>
        <p:txBody>
          <a:bodyPr wrap="square" lIns="0" tIns="72000" anchor="t"/>
          <a:lstStyle>
            <a:lvl1pPr marL="0" indent="0">
              <a:lnSpc>
                <a:spcPts val="2400"/>
              </a:lnSpc>
              <a:buNone/>
              <a:defRPr sz="2400" b="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29365FA-DF0B-4342-A7B7-9FF8A84C194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40868" y="1328738"/>
            <a:ext cx="5761037" cy="487203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7860436-F119-4C25-A01B-AE55511A5BD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98755" y="1328738"/>
            <a:ext cx="5760000" cy="487203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Espace réservé du titre 1">
            <a:extLst>
              <a:ext uri="{FF2B5EF4-FFF2-40B4-BE49-F238E27FC236}">
                <a16:creationId xmlns:a16="http://schemas.microsoft.com/office/drawing/2014/main" id="{7BF2E139-7683-4C0D-8190-FCB1A266FC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998" y="225788"/>
            <a:ext cx="3708601" cy="468000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bg2">
                <a:alpha val="40000"/>
              </a:schemeClr>
            </a:outerShdw>
          </a:effectLst>
        </p:spPr>
        <p:txBody>
          <a:bodyPr vert="horz" wrap="none" lIns="0" tIns="45720" rIns="0" bIns="45720" rtlCol="0" anchor="ctr">
            <a:spAutoFit/>
          </a:bodyPr>
          <a:lstStyle/>
          <a:p>
            <a:pPr lvl="0">
              <a:lnSpc>
                <a:spcPts val="2800"/>
              </a:lnSpc>
            </a:pPr>
            <a:r>
              <a:rPr lang="en-US" noProof="0" dirty="0"/>
              <a:t>Click to edit titl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F869E3FF-005F-4EEE-BC89-6D1BA2B32B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7186" y="6372702"/>
            <a:ext cx="1354538" cy="169277"/>
          </a:xfrm>
        </p:spPr>
        <p:txBody>
          <a:bodyPr wrap="none" lIns="0" tIns="0" rIns="0" bIns="0">
            <a:spAutoFit/>
          </a:bodyPr>
          <a:lstStyle>
            <a:lvl1pPr>
              <a:defRPr sz="1100" i="1">
                <a:solidFill>
                  <a:schemeClr val="accent3"/>
                </a:solidFill>
              </a:defRPr>
            </a:lvl1pPr>
            <a:lvl3pPr marL="266700" indent="0">
              <a:buNone/>
              <a:defRPr/>
            </a:lvl3pPr>
          </a:lstStyle>
          <a:p>
            <a:pPr lvl="0"/>
            <a:r>
              <a:rPr lang="en-GB" dirty="0"/>
              <a:t>Source and footnotes</a:t>
            </a:r>
          </a:p>
        </p:txBody>
      </p:sp>
    </p:spTree>
    <p:extLst>
      <p:ext uri="{BB962C8B-B14F-4D97-AF65-F5344CB8AC3E}">
        <p14:creationId xmlns:p14="http://schemas.microsoft.com/office/powerpoint/2010/main" val="2905616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0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empha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308E1FC-9327-42F5-BA28-74511672F4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9494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308E1FC-9327-42F5-BA28-74511672F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21489C2-D242-4834-AEF4-FE5A75D0CF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B385C9-F259-42DA-A649-EBE514DBF081}"/>
              </a:ext>
            </a:extLst>
          </p:cNvPr>
          <p:cNvSpPr/>
          <p:nvPr userDrawn="1"/>
        </p:nvSpPr>
        <p:spPr>
          <a:xfrm>
            <a:off x="7749451" y="0"/>
            <a:ext cx="442753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 err="1">
              <a:solidFill>
                <a:schemeClr val="tx2"/>
              </a:solidFill>
            </a:endParaRP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BF74019B-327F-49E1-AE9D-762DC4F8740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537" y="711939"/>
            <a:ext cx="7299325" cy="396000"/>
          </a:xfrm>
        </p:spPr>
        <p:txBody>
          <a:bodyPr wrap="square" lIns="0" tIns="72000" anchor="t"/>
          <a:lstStyle>
            <a:lvl1pPr marL="0" indent="0">
              <a:lnSpc>
                <a:spcPts val="2400"/>
              </a:lnSpc>
              <a:buNone/>
              <a:defRPr sz="2400" b="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29365FA-DF0B-4342-A7B7-9FF8A84C194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27011" y="1328738"/>
            <a:ext cx="7309243" cy="487203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Espace réservé du titre 1">
            <a:extLst>
              <a:ext uri="{FF2B5EF4-FFF2-40B4-BE49-F238E27FC236}">
                <a16:creationId xmlns:a16="http://schemas.microsoft.com/office/drawing/2014/main" id="{7BF2E139-7683-4C0D-8190-FCB1A266FC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998" y="225788"/>
            <a:ext cx="3708601" cy="468000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bg2">
                <a:alpha val="40000"/>
              </a:schemeClr>
            </a:outerShdw>
          </a:effectLst>
        </p:spPr>
        <p:txBody>
          <a:bodyPr vert="horz" wrap="none" lIns="0" tIns="45720" rIns="0" bIns="45720" rtlCol="0" anchor="ctr">
            <a:spAutoFit/>
          </a:bodyPr>
          <a:lstStyle/>
          <a:p>
            <a:pPr lvl="0">
              <a:lnSpc>
                <a:spcPts val="2800"/>
              </a:lnSpc>
            </a:pPr>
            <a:r>
              <a:rPr lang="en-US" noProof="0" dirty="0"/>
              <a:t>Click to edit titl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F869E3FF-005F-4EEE-BC89-6D1BA2B32B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7186" y="6372702"/>
            <a:ext cx="1354538" cy="169277"/>
          </a:xfrm>
        </p:spPr>
        <p:txBody>
          <a:bodyPr wrap="none" lIns="0" tIns="0" rIns="0" bIns="0">
            <a:spAutoFit/>
          </a:bodyPr>
          <a:lstStyle>
            <a:lvl1pPr>
              <a:defRPr sz="1100" i="1">
                <a:solidFill>
                  <a:schemeClr val="accent3"/>
                </a:solidFill>
              </a:defRPr>
            </a:lvl1pPr>
            <a:lvl3pPr marL="266700" indent="0">
              <a:buNone/>
              <a:defRPr/>
            </a:lvl3pPr>
          </a:lstStyle>
          <a:p>
            <a:pPr lvl="0"/>
            <a:r>
              <a:rPr lang="en-GB" dirty="0"/>
              <a:t>Source and footnot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86E029-97C5-4EC9-BC3B-887DCC7245E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49451" y="711940"/>
            <a:ext cx="4427537" cy="6146060"/>
          </a:xfrm>
          <a:noFill/>
        </p:spPr>
        <p:txBody>
          <a:bodyPr lIns="180000" tIns="72000" rIns="180000" bIns="72000"/>
          <a:lstStyle>
            <a:lvl1pPr>
              <a:buClr>
                <a:schemeClr val="tx2"/>
              </a:buClr>
              <a:defRPr sz="20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8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070935" y="6597269"/>
            <a:ext cx="461665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5E9BA6-B673-4524-A344-73E5B69A3CC4}" type="datetime1">
              <a:rPr lang="en-US" smtClean="0"/>
              <a:pPr/>
              <a:t>10/5/2020</a:t>
            </a:fld>
            <a:endParaRPr lang="en-US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769571" y="6386125"/>
            <a:ext cx="763029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12" name="Espace réservé du numéro de diapositive 8">
            <a:extLst>
              <a:ext uri="{FF2B5EF4-FFF2-40B4-BE49-F238E27FC236}">
                <a16:creationId xmlns:a16="http://schemas.microsoft.com/office/drawing/2014/main" id="{E3B8C6B4-66FA-4A03-91DA-278C29B3070D}"/>
              </a:ext>
            </a:extLst>
          </p:cNvPr>
          <p:cNvSpPr txBox="1">
            <a:spLocks/>
          </p:cNvSpPr>
          <p:nvPr userDrawn="1"/>
        </p:nvSpPr>
        <p:spPr>
          <a:xfrm>
            <a:off x="11735427" y="6339959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5A587B-5814-4D9B-9598-FE9CB954CB01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3" name="Connecteur droit 10">
            <a:extLst>
              <a:ext uri="{FF2B5EF4-FFF2-40B4-BE49-F238E27FC236}">
                <a16:creationId xmlns:a16="http://schemas.microsoft.com/office/drawing/2014/main" id="{10C099C6-3772-4881-B5A0-1B9AB6D9B2A2}"/>
              </a:ext>
            </a:extLst>
          </p:cNvPr>
          <p:cNvCxnSpPr/>
          <p:nvPr userDrawn="1"/>
        </p:nvCxnSpPr>
        <p:spPr>
          <a:xfrm>
            <a:off x="11649242" y="6375681"/>
            <a:ext cx="0" cy="1440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930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74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045DFCB-375A-4A39-B446-A87FE60AC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5229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045DFCB-375A-4A39-B446-A87FE60AC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6E9AAE4-56B1-4CFA-846A-3D1432CA04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BC41F0E-EC30-4D2A-AA16-7B987E32A1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2913" y="1328738"/>
            <a:ext cx="5760000" cy="486634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7FED2-853D-403F-AFF2-E7856543F136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E7B0015A-A42C-4141-AEE9-CAB0974FD35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6192002" y="226799"/>
            <a:ext cx="5760000" cy="5973975"/>
          </a:xfrm>
          <a:noFill/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Photo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79801108-10C9-4FB3-81D3-873C23220A1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4227" y="711939"/>
            <a:ext cx="5760000" cy="396000"/>
          </a:xfrm>
        </p:spPr>
        <p:txBody>
          <a:bodyPr wrap="square" lIns="0" tIns="72000" anchor="t"/>
          <a:lstStyle>
            <a:lvl1pPr marL="0" indent="0">
              <a:lnSpc>
                <a:spcPts val="2400"/>
              </a:lnSpc>
              <a:buNone/>
              <a:defRPr sz="2400" b="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5" name="Espace réservé du titre 1">
            <a:extLst>
              <a:ext uri="{FF2B5EF4-FFF2-40B4-BE49-F238E27FC236}">
                <a16:creationId xmlns:a16="http://schemas.microsoft.com/office/drawing/2014/main" id="{EC4C8634-0D2A-4791-AE7C-6EF14FBF05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998" y="225788"/>
            <a:ext cx="3708601" cy="468000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bg2">
                <a:alpha val="40000"/>
              </a:schemeClr>
            </a:outerShdw>
          </a:effectLst>
        </p:spPr>
        <p:txBody>
          <a:bodyPr vert="horz" wrap="none" lIns="0" tIns="45720" rIns="0" bIns="45720" rtlCol="0" anchor="ctr">
            <a:spAutoFit/>
          </a:bodyPr>
          <a:lstStyle/>
          <a:p>
            <a:pPr lvl="0">
              <a:lnSpc>
                <a:spcPts val="2800"/>
              </a:lnSpc>
            </a:pPr>
            <a:r>
              <a:rPr lang="en-US" noProof="0" dirty="0"/>
              <a:t>Click to edit titl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CC2D75F2-86A8-4732-9C68-D54CFE7F5D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7186" y="6372702"/>
            <a:ext cx="1354538" cy="169277"/>
          </a:xfrm>
        </p:spPr>
        <p:txBody>
          <a:bodyPr wrap="none" lIns="0" tIns="0" rIns="0" bIns="0">
            <a:spAutoFit/>
          </a:bodyPr>
          <a:lstStyle>
            <a:lvl1pPr>
              <a:defRPr sz="1100" i="1">
                <a:solidFill>
                  <a:schemeClr val="accent3"/>
                </a:solidFill>
              </a:defRPr>
            </a:lvl1pPr>
            <a:lvl3pPr marL="266700" indent="0">
              <a:buNone/>
              <a:defRPr/>
            </a:lvl3pPr>
          </a:lstStyle>
          <a:p>
            <a:pPr lvl="0"/>
            <a:r>
              <a:rPr lang="en-GB" dirty="0"/>
              <a:t>Source and footnotes</a:t>
            </a:r>
          </a:p>
        </p:txBody>
      </p:sp>
    </p:spTree>
    <p:extLst>
      <p:ext uri="{BB962C8B-B14F-4D97-AF65-F5344CB8AC3E}">
        <p14:creationId xmlns:p14="http://schemas.microsoft.com/office/powerpoint/2010/main" val="3477441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0" userDrawn="1">
          <p15:clr>
            <a:srgbClr val="FBAE40"/>
          </p15:clr>
        </p15:guide>
        <p15:guide id="2" pos="389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F3696C1-0061-44A3-BC62-D0170BC81F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8893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F3696C1-0061-44A3-BC62-D0170BC81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82BFEF-C403-4EDF-A474-3879748EDB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BC41F0E-EC30-4D2A-AA16-7B987E32A1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6207" y="1335086"/>
            <a:ext cx="5760000" cy="4860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716C531-2CFB-4E5B-8F66-A15176016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3375D-A243-4EB9-925E-C2C1E521855E}" type="datetime1">
              <a:rPr lang="en-US" noProof="0" smtClean="0"/>
              <a:t>10/5/2020</a:t>
            </a:fld>
            <a:endParaRPr lang="en-US" noProof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EF3019-6813-4BCE-8FD7-8BAD1DDCC6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</a:t>
            </a:r>
          </a:p>
        </p:txBody>
      </p:sp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E7B0015A-A42C-4141-AEE9-CAB0974FD35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238518" y="226799"/>
            <a:ext cx="5760000" cy="5973975"/>
          </a:xfrm>
          <a:noFill/>
        </p:spPr>
        <p:txBody>
          <a:bodyPr anchor="ctr"/>
          <a:lstStyle>
            <a:lvl1pPr marL="0" indent="0" algn="ctr">
              <a:buNone/>
              <a:defRPr sz="1400" b="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Photo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E302C311-F5CF-4FD3-B247-77DF94DA743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196207" y="711939"/>
            <a:ext cx="5760000" cy="396000"/>
          </a:xfrm>
        </p:spPr>
        <p:txBody>
          <a:bodyPr wrap="square" lIns="0" tIns="72000" anchor="t"/>
          <a:lstStyle>
            <a:lvl1pPr marL="0" indent="0">
              <a:lnSpc>
                <a:spcPts val="2400"/>
              </a:lnSpc>
              <a:buNone/>
              <a:defRPr sz="2400" b="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5" name="Espace réservé du titre 1">
            <a:extLst>
              <a:ext uri="{FF2B5EF4-FFF2-40B4-BE49-F238E27FC236}">
                <a16:creationId xmlns:a16="http://schemas.microsoft.com/office/drawing/2014/main" id="{6A570E1D-554D-4EFD-9D55-65CD5B6506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6207" y="225788"/>
            <a:ext cx="3708601" cy="468000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bg2">
                <a:alpha val="40000"/>
              </a:schemeClr>
            </a:outerShdw>
          </a:effectLst>
        </p:spPr>
        <p:txBody>
          <a:bodyPr vert="horz" wrap="none" lIns="0" tIns="45720" rIns="0" bIns="45720" rtlCol="0" anchor="ctr">
            <a:spAutoFit/>
          </a:bodyPr>
          <a:lstStyle/>
          <a:p>
            <a:pPr lvl="0">
              <a:lnSpc>
                <a:spcPts val="2800"/>
              </a:lnSpc>
            </a:pPr>
            <a:r>
              <a:rPr lang="en-US" noProof="0" dirty="0"/>
              <a:t>Click to edit titl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AB97B3E-5395-4C8D-8B59-B598ED4CC4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7186" y="6372702"/>
            <a:ext cx="1354538" cy="169277"/>
          </a:xfrm>
        </p:spPr>
        <p:txBody>
          <a:bodyPr wrap="none" lIns="0" tIns="0" rIns="0" bIns="0">
            <a:spAutoFit/>
          </a:bodyPr>
          <a:lstStyle>
            <a:lvl1pPr>
              <a:defRPr sz="1100" i="1">
                <a:solidFill>
                  <a:schemeClr val="accent3"/>
                </a:solidFill>
              </a:defRPr>
            </a:lvl1pPr>
            <a:lvl3pPr marL="266700" indent="0">
              <a:buNone/>
              <a:defRPr/>
            </a:lvl3pPr>
          </a:lstStyle>
          <a:p>
            <a:pPr lvl="0"/>
            <a:r>
              <a:rPr lang="en-GB" dirty="0"/>
              <a:t>Source and footnotes</a:t>
            </a:r>
          </a:p>
        </p:txBody>
      </p:sp>
    </p:spTree>
    <p:extLst>
      <p:ext uri="{BB962C8B-B14F-4D97-AF65-F5344CB8AC3E}">
        <p14:creationId xmlns:p14="http://schemas.microsoft.com/office/powerpoint/2010/main" val="3941350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C5C90BF-9343-4577-BC1F-29077F02A2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5577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C5C90BF-9343-4577-BC1F-29077F02A2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184900" y="1328738"/>
            <a:ext cx="5760000" cy="4864100"/>
          </a:xfrm>
          <a:prstGeom prst="rect">
            <a:avLst/>
          </a:prstGeom>
        </p:spPr>
        <p:txBody>
          <a:bodyPr tIns="548640" anchor="ctr"/>
          <a:lstStyle>
            <a:lvl1pPr marL="0" indent="0" algn="ctr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69D1C0-66C7-4A5C-8DE8-5360C904793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27013" y="1337604"/>
            <a:ext cx="5760000" cy="48641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 marL="896938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CE70EDE6-16B8-4360-88C2-7AA22838207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538" y="711939"/>
            <a:ext cx="11726862" cy="396000"/>
          </a:xfrm>
        </p:spPr>
        <p:txBody>
          <a:bodyPr wrap="square" lIns="0" tIns="72000" anchor="t"/>
          <a:lstStyle>
            <a:lvl1pPr marL="0" indent="0">
              <a:lnSpc>
                <a:spcPts val="2400"/>
              </a:lnSpc>
              <a:buNone/>
              <a:defRPr sz="2400" b="0" cap="none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4" name="Espace réservé du titre 1">
            <a:extLst>
              <a:ext uri="{FF2B5EF4-FFF2-40B4-BE49-F238E27FC236}">
                <a16:creationId xmlns:a16="http://schemas.microsoft.com/office/drawing/2014/main" id="{17BE308E-25C6-4408-A670-598A230AE8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998" y="225788"/>
            <a:ext cx="3708601" cy="468000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bg2">
                <a:alpha val="40000"/>
              </a:schemeClr>
            </a:outerShdw>
          </a:effectLst>
        </p:spPr>
        <p:txBody>
          <a:bodyPr vert="horz" wrap="none" lIns="0" tIns="45720" rIns="0" bIns="45720" rtlCol="0" anchor="ctr">
            <a:spAutoFit/>
          </a:bodyPr>
          <a:lstStyle/>
          <a:p>
            <a:pPr lvl="0">
              <a:lnSpc>
                <a:spcPts val="2800"/>
              </a:lnSpc>
            </a:pPr>
            <a:r>
              <a:rPr lang="en-US" noProof="0" dirty="0"/>
              <a:t>Click to edit title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C3E888B0-7276-419E-AB97-E083680916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47186" y="6372702"/>
            <a:ext cx="1354538" cy="169277"/>
          </a:xfrm>
        </p:spPr>
        <p:txBody>
          <a:bodyPr wrap="none" lIns="0" tIns="0" rIns="0" bIns="0">
            <a:spAutoFit/>
          </a:bodyPr>
          <a:lstStyle>
            <a:lvl1pPr>
              <a:defRPr sz="1100" i="1">
                <a:solidFill>
                  <a:schemeClr val="accent3"/>
                </a:solidFill>
              </a:defRPr>
            </a:lvl1pPr>
            <a:lvl3pPr marL="266700" indent="0">
              <a:buNone/>
              <a:defRPr/>
            </a:lvl3pPr>
          </a:lstStyle>
          <a:p>
            <a:pPr lvl="0"/>
            <a:r>
              <a:rPr lang="en-GB" dirty="0"/>
              <a:t>Source and footnotes</a:t>
            </a:r>
          </a:p>
        </p:txBody>
      </p:sp>
      <p:sp>
        <p:nvSpPr>
          <p:cNvPr id="18" name="Espace réservé de la date 3">
            <a:extLst>
              <a:ext uri="{FF2B5EF4-FFF2-40B4-BE49-F238E27FC236}">
                <a16:creationId xmlns:a16="http://schemas.microsoft.com/office/drawing/2014/main" id="{51A85611-61E1-4900-891B-EC0D809CD5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6600" y="6597269"/>
            <a:ext cx="3600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 rtl="0">
              <a:defRPr sz="800" b="1">
                <a:solidFill>
                  <a:schemeClr val="bg2"/>
                </a:solidFill>
              </a:defRPr>
            </a:lvl1pPr>
          </a:lstStyle>
          <a:p>
            <a:fld id="{DCCC7AD6-E2C7-4658-BC8A-508B94BF7977}" type="datetime1">
              <a:rPr lang="en-US" smtClean="0"/>
              <a:t>10/5/2020</a:t>
            </a:fld>
            <a:endParaRPr lang="en-US" dirty="0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4385C0AF-186E-44E0-BB74-3E7801237E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96600" y="6386125"/>
            <a:ext cx="3600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 rtl="0">
              <a:defRPr sz="800" b="1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cxnSp>
        <p:nvCxnSpPr>
          <p:cNvPr id="20" name="Connecteur droit 10">
            <a:extLst>
              <a:ext uri="{FF2B5EF4-FFF2-40B4-BE49-F238E27FC236}">
                <a16:creationId xmlns:a16="http://schemas.microsoft.com/office/drawing/2014/main" id="{34D59C24-8315-4824-AF64-857A35721699}"/>
              </a:ext>
            </a:extLst>
          </p:cNvPr>
          <p:cNvCxnSpPr/>
          <p:nvPr userDrawn="1"/>
        </p:nvCxnSpPr>
        <p:spPr>
          <a:xfrm>
            <a:off x="11649242" y="6375681"/>
            <a:ext cx="0" cy="14400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5769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87412AC-BA9D-4C3B-9153-1CCD6C272A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113841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" name="think-cell Slide" r:id="rId24" imgW="383" imgH="384" progId="TCLayout.ActiveDocument.1">
                  <p:embed/>
                </p:oleObj>
              </mc:Choice>
              <mc:Fallback>
                <p:oleObj name="think-cell Slide" r:id="rId24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87412AC-BA9D-4C3B-9153-1CCD6C272A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270079E-1573-45B0-ADE2-CD398C7371B0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611C2FCF-FDB5-4F39-83C6-34E26A7938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634" y="6186488"/>
            <a:ext cx="1814513" cy="535781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3116353-A2DB-400D-836D-10B770C82C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9779" y="1335086"/>
            <a:ext cx="11714096" cy="4860000"/>
          </a:xfrm>
          <a:prstGeom prst="rect">
            <a:avLst/>
          </a:prstGeom>
        </p:spPr>
        <p:txBody>
          <a:bodyPr vert="horz" lIns="36449" tIns="36449" rIns="36449" bIns="36449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DD59078-F0EA-4B2B-B92A-CB1D0AA4F8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496600" y="6597269"/>
            <a:ext cx="3600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 rtl="0">
              <a:defRPr sz="800" b="1">
                <a:solidFill>
                  <a:schemeClr val="bg2"/>
                </a:solidFill>
              </a:defRPr>
            </a:lvl1pPr>
          </a:lstStyle>
          <a:p>
            <a:fld id="{DCCC7AD6-E2C7-4658-BC8A-508B94BF7977}" type="datetime1">
              <a:rPr lang="en-US" smtClean="0"/>
              <a:t>10/5/2020</a:t>
            </a:fld>
            <a:endParaRPr lang="en-US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6B74129-F7BE-4703-924F-ACEA71B254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96600" y="6386125"/>
            <a:ext cx="3600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 rtl="0">
              <a:defRPr sz="800" b="1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C332AF77-C14B-4B0E-848D-10F9EDBE5903}"/>
              </a:ext>
            </a:extLst>
          </p:cNvPr>
          <p:cNvCxnSpPr/>
          <p:nvPr userDrawn="1"/>
        </p:nvCxnSpPr>
        <p:spPr>
          <a:xfrm>
            <a:off x="11649242" y="6375681"/>
            <a:ext cx="0" cy="14400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numéro de diapositive 8">
            <a:extLst>
              <a:ext uri="{FF2B5EF4-FFF2-40B4-BE49-F238E27FC236}">
                <a16:creationId xmlns:a16="http://schemas.microsoft.com/office/drawing/2014/main" id="{DD37ECDE-4B81-46D9-8E0A-C6966A075930}"/>
              </a:ext>
            </a:extLst>
          </p:cNvPr>
          <p:cNvSpPr txBox="1">
            <a:spLocks/>
          </p:cNvSpPr>
          <p:nvPr userDrawn="1"/>
        </p:nvSpPr>
        <p:spPr>
          <a:xfrm>
            <a:off x="11735427" y="6339959"/>
            <a:ext cx="309700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defPPr>
              <a:defRPr lang="fr-FR"/>
            </a:defPPr>
            <a:lvl1pPr marL="0" algn="r" defTabSz="914400" rtl="0" eaLnBrk="1" latinLnBrk="0" hangingPunct="1">
              <a:defRPr sz="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5A587B-5814-4D9B-9598-FE9CB954CB0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64D49FB5-2D01-4A2B-A53B-16E739157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406" y="236832"/>
            <a:ext cx="6455037" cy="451406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bg2">
                <a:alpha val="40000"/>
              </a:schemeClr>
            </a:outerShdw>
          </a:effectLst>
        </p:spPr>
        <p:txBody>
          <a:bodyPr vert="horz" wrap="none" lIns="0" tIns="45720" rIns="0" bIns="45720" rtlCol="0" anchor="ctr">
            <a:spAutoFit/>
          </a:bodyPr>
          <a:lstStyle/>
          <a:p>
            <a:pPr marL="0" lvl="0">
              <a:lnSpc>
                <a:spcPts val="2800"/>
              </a:lnSpc>
            </a:pPr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7987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60" r:id="rId2"/>
    <p:sldLayoutId id="2147483651" r:id="rId3"/>
    <p:sldLayoutId id="2147483674" r:id="rId4"/>
    <p:sldLayoutId id="2147483650" r:id="rId5"/>
    <p:sldLayoutId id="2147483676" r:id="rId6"/>
    <p:sldLayoutId id="2147483664" r:id="rId7"/>
    <p:sldLayoutId id="2147483672" r:id="rId8"/>
    <p:sldLayoutId id="2147483670" r:id="rId9"/>
    <p:sldLayoutId id="2147483666" r:id="rId10"/>
    <p:sldLayoutId id="2147483667" r:id="rId11"/>
    <p:sldLayoutId id="2147483668" r:id="rId12"/>
    <p:sldLayoutId id="2147483675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GB" sz="2800" b="0" kern="1200" cap="all" baseline="0" noProof="0" smtClean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Clr>
          <a:schemeClr val="bg1"/>
        </a:buClr>
        <a:buSzPct val="25000"/>
        <a:buFont typeface="Arial" panose="020B0604020202020204" pitchFamily="34" charset="0"/>
        <a:buChar char="•"/>
        <a:defRPr lang="en-US" sz="2400" b="0" kern="1200" noProof="0" dirty="0">
          <a:solidFill>
            <a:schemeClr val="bg2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SzPct val="70000"/>
        <a:buFont typeface="Wingdings 3" panose="05040102010807070707" pitchFamily="18" charset="2"/>
        <a:buChar char=""/>
        <a:defRPr lang="en-US" sz="2000" b="0" kern="1200" noProof="0" dirty="0">
          <a:solidFill>
            <a:schemeClr val="tx2"/>
          </a:solidFill>
          <a:latin typeface="+mn-lt"/>
          <a:ea typeface="+mn-ea"/>
          <a:cs typeface="+mn-cs"/>
        </a:defRPr>
      </a:lvl2pPr>
      <a:lvl3pPr marL="534988" indent="-268288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SzPct val="100000"/>
        <a:buFont typeface="Wingdings" panose="05000000000000000000" pitchFamily="2" charset="2"/>
        <a:buChar char="à"/>
        <a:defRPr lang="en-US" sz="2000" b="0" kern="1200" noProof="0" dirty="0">
          <a:solidFill>
            <a:schemeClr val="tx2"/>
          </a:solidFill>
          <a:latin typeface="+mn-lt"/>
          <a:ea typeface="+mn-ea"/>
          <a:cs typeface="+mn-cs"/>
        </a:defRPr>
      </a:lvl3pPr>
      <a:lvl4pPr marL="801688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lang="en-US" sz="2000" b="0" kern="1200" noProof="0" dirty="0">
          <a:solidFill>
            <a:schemeClr val="tx2"/>
          </a:solidFill>
          <a:latin typeface="+mn-lt"/>
          <a:ea typeface="+mn-ea"/>
          <a:cs typeface="+mn-cs"/>
        </a:defRPr>
      </a:lvl4pPr>
      <a:lvl5pPr marL="1077913" indent="-180975" algn="l" defTabSz="914400" rtl="0" eaLnBrk="1" latinLnBrk="0" hangingPunct="1">
        <a:lnSpc>
          <a:spcPct val="100000"/>
        </a:lnSpc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16192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43" userDrawn="1">
          <p15:clr>
            <a:srgbClr val="F26B43"/>
          </p15:clr>
        </p15:guide>
        <p15:guide id="2" orient="horz" pos="837" userDrawn="1">
          <p15:clr>
            <a:srgbClr val="F26B43"/>
          </p15:clr>
        </p15:guide>
        <p15:guide id="3" pos="7530" userDrawn="1">
          <p15:clr>
            <a:srgbClr val="F26B43"/>
          </p15:clr>
        </p15:guide>
        <p15:guide id="4" orient="horz" pos="3906" userDrawn="1">
          <p15:clr>
            <a:srgbClr val="F26B43"/>
          </p15:clr>
        </p15:guide>
        <p15:guide id="5" orient="horz" pos="14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2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4704875" y="3506190"/>
            <a:ext cx="7020000" cy="698071"/>
          </a:xfrm>
        </p:spPr>
        <p:txBody>
          <a:bodyPr>
            <a:normAutofit/>
          </a:bodyPr>
          <a:lstStyle/>
          <a:p>
            <a:pPr>
              <a:lnSpc>
                <a:spcPts val="3000"/>
              </a:lnSpc>
            </a:pPr>
            <a:r>
              <a:rPr lang="ru-RU" b="1" dirty="0"/>
              <a:t>ЕВТЕЛСАТ: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FBE18706-4416-43EA-8990-35CC2E5C9A1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04875" y="4102466"/>
            <a:ext cx="7020000" cy="996940"/>
          </a:xfrm>
        </p:spPr>
        <p:txBody>
          <a:bodyPr/>
          <a:lstStyle/>
          <a:p>
            <a:r>
              <a:rPr lang="ru-RU" b="1" dirty="0"/>
              <a:t>В СЕРДЦЕ ЦИФРОВОГО МИР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13"/>
          </p:nvPr>
        </p:nvSpPr>
        <p:spPr>
          <a:xfrm>
            <a:off x="4704875" y="5751987"/>
            <a:ext cx="7020000" cy="540000"/>
          </a:xfrm>
        </p:spPr>
        <p:txBody>
          <a:bodyPr/>
          <a:lstStyle/>
          <a:p>
            <a:r>
              <a:rPr lang="ru-RU" sz="2000" b="0" dirty="0"/>
              <a:t>8 октября 2020 г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65B23A9-D915-4060-AD81-91E6BEBEC07E}"/>
              </a:ext>
            </a:extLst>
          </p:cNvPr>
          <p:cNvSpPr/>
          <p:nvPr/>
        </p:nvSpPr>
        <p:spPr>
          <a:xfrm>
            <a:off x="4566703" y="2462141"/>
            <a:ext cx="3058594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b="1" dirty="0">
              <a:solidFill>
                <a:schemeClr val="bg1"/>
              </a:solidFill>
            </a:endParaRPr>
          </a:p>
          <a:p>
            <a:r>
              <a:rPr lang="fr-FR" sz="3600" b="1" dirty="0">
                <a:solidFill>
                  <a:schemeClr val="bg1"/>
                </a:solidFill>
              </a:rPr>
              <a:t>C</a:t>
            </a:r>
            <a:r>
              <a:rPr lang="ru-RU" sz="3600" b="1" dirty="0">
                <a:solidFill>
                  <a:schemeClr val="bg1"/>
                </a:solidFill>
              </a:rPr>
              <a:t>АТКОМРУС</a:t>
            </a:r>
          </a:p>
          <a:p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F407E7C-DEE5-49C1-B3B4-59E84AB23265}"/>
              </a:ext>
            </a:extLst>
          </p:cNvPr>
          <p:cNvSpPr txBox="1">
            <a:spLocks/>
          </p:cNvSpPr>
          <p:nvPr/>
        </p:nvSpPr>
        <p:spPr>
          <a:xfrm>
            <a:off x="4708796" y="4903765"/>
            <a:ext cx="7020000" cy="540000"/>
          </a:xfrm>
          <a:prstGeom prst="rect">
            <a:avLst/>
          </a:prstGeom>
        </p:spPr>
        <p:txBody>
          <a:bodyPr vert="horz" lIns="0" tIns="36449" rIns="0" bIns="36449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1"/>
              </a:buClr>
              <a:buSzPct val="25000"/>
              <a:buFont typeface="Arial" panose="020B0604020202020204" pitchFamily="34" charset="0"/>
              <a:buNone/>
              <a:defRPr lang="en-US" sz="2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SzPct val="70000"/>
              <a:buFont typeface="Wingdings 3" panose="05040102010807070707" pitchFamily="18" charset="2"/>
              <a:buNone/>
              <a:defRPr lang="en-US" sz="20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Wingdings" panose="05000000000000000000" pitchFamily="2" charset="2"/>
              <a:buNone/>
              <a:defRPr lang="en-US" sz="18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None/>
              <a:defRPr lang="en-US" sz="1600" b="1" kern="1200" noProof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i="1" dirty="0"/>
              <a:t>Николай Орлов, региональный Вице-президент </a:t>
            </a:r>
            <a:r>
              <a:rPr lang="fr-FR" sz="1800" i="1" dirty="0"/>
              <a:t>Eutelsat S.A.</a:t>
            </a:r>
            <a:endParaRPr lang="ru-RU" sz="1800" i="1" dirty="0"/>
          </a:p>
        </p:txBody>
      </p:sp>
    </p:spTree>
    <p:extLst>
      <p:ext uri="{BB962C8B-B14F-4D97-AF65-F5344CB8AC3E}">
        <p14:creationId xmlns:p14="http://schemas.microsoft.com/office/powerpoint/2010/main" val="898778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94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9333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9333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build="p"/>
      <p:bldP spid="8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/>
          <p:cNvPicPr>
            <a:picLocks noGrp="1" noChangeAspect="1"/>
          </p:cNvPicPr>
          <p:nvPr>
            <p:ph type="pic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7" b="13337"/>
          <a:stretch>
            <a:fillRect/>
          </a:stretch>
        </p:blipFill>
        <p:spPr>
          <a:xfrm>
            <a:off x="238518" y="263337"/>
            <a:ext cx="5760000" cy="5973975"/>
          </a:xfrm>
        </p:spPr>
      </p:pic>
      <p:grpSp>
        <p:nvGrpSpPr>
          <p:cNvPr id="57" name="Group 56">
            <a:extLst>
              <a:ext uri="{FF2B5EF4-FFF2-40B4-BE49-F238E27FC236}">
                <a16:creationId xmlns:a16="http://schemas.microsoft.com/office/drawing/2014/main" id="{98A3D7FC-84BB-4E30-86BD-2E464483109D}"/>
              </a:ext>
            </a:extLst>
          </p:cNvPr>
          <p:cNvGrpSpPr/>
          <p:nvPr/>
        </p:nvGrpSpPr>
        <p:grpSpPr>
          <a:xfrm>
            <a:off x="6152405" y="1845783"/>
            <a:ext cx="3993102" cy="3993102"/>
            <a:chOff x="1149213" y="2116331"/>
            <a:chExt cx="3036296" cy="3036296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CFEF3A44-114B-4B88-9609-68BCC1C927EF}"/>
                </a:ext>
              </a:extLst>
            </p:cNvPr>
            <p:cNvSpPr/>
            <p:nvPr/>
          </p:nvSpPr>
          <p:spPr>
            <a:xfrm>
              <a:off x="1396607" y="2314649"/>
              <a:ext cx="2674798" cy="2625335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 w="57150"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0" scaled="1"/>
                <a:tileRect/>
              </a:gradFill>
            </a:ln>
            <a:effectLst>
              <a:outerShdw blurRad="355600" dist="355600" dir="4200000" algn="t" rotWithShape="0">
                <a:prstClr val="black">
                  <a:alpha val="4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1800"/>
                </a:lnSpc>
              </a:pPr>
              <a:endParaRPr lang="en-US" sz="1050"/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4D55A88C-F496-4B77-A0D6-6E704F7C89FE}"/>
                </a:ext>
              </a:extLst>
            </p:cNvPr>
            <p:cNvSpPr/>
            <p:nvPr/>
          </p:nvSpPr>
          <p:spPr>
            <a:xfrm>
              <a:off x="1149213" y="2116331"/>
              <a:ext cx="3036296" cy="3036296"/>
            </a:xfrm>
            <a:prstGeom prst="ellipse">
              <a:avLst/>
            </a:prstGeom>
            <a:solidFill>
              <a:schemeClr val="bg1">
                <a:lumMod val="95000"/>
                <a:alpha val="1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800"/>
                </a:lnSpc>
              </a:pPr>
              <a:endParaRPr lang="en-US" sz="1600"/>
            </a:p>
          </p:txBody>
        </p:sp>
      </p:grpSp>
      <p:sp>
        <p:nvSpPr>
          <p:cNvPr id="51" name="Rounded Rectangle 37">
            <a:extLst>
              <a:ext uri="{FF2B5EF4-FFF2-40B4-BE49-F238E27FC236}">
                <a16:creationId xmlns:a16="http://schemas.microsoft.com/office/drawing/2014/main" id="{B5958600-5526-4192-9C35-600FAAE0E69B}"/>
              </a:ext>
            </a:extLst>
          </p:cNvPr>
          <p:cNvSpPr/>
          <p:nvPr/>
        </p:nvSpPr>
        <p:spPr>
          <a:xfrm>
            <a:off x="9673960" y="4353480"/>
            <a:ext cx="2111226" cy="1567507"/>
          </a:xfrm>
          <a:prstGeom prst="roundRect">
            <a:avLst>
              <a:gd name="adj" fmla="val 7039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96207" y="198178"/>
            <a:ext cx="2212144" cy="523220"/>
          </a:xfrm>
        </p:spPr>
        <p:txBody>
          <a:bodyPr/>
          <a:lstStyle/>
          <a:p>
            <a:r>
              <a:rPr lang="ru-RU"/>
              <a:t>ДОЛИ СОБСТВЕННОСТИ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0353952-98BB-4DC8-93F9-93812378D75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147186" y="6372702"/>
            <a:ext cx="1907573" cy="169277"/>
          </a:xfrm>
        </p:spPr>
        <p:txBody>
          <a:bodyPr/>
          <a:lstStyle/>
          <a:p>
            <a:r>
              <a:rPr lang="ru-RU"/>
              <a:t> По состоянию на 28 февраля 2019 г.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9521029" y="4343501"/>
            <a:ext cx="2657475" cy="1541593"/>
            <a:chOff x="1895802" y="4193102"/>
            <a:chExt cx="2657475" cy="1541593"/>
          </a:xfrm>
        </p:grpSpPr>
        <p:sp>
          <p:nvSpPr>
            <p:cNvPr id="16" name="TextBox 15"/>
            <p:cNvSpPr txBox="1"/>
            <p:nvPr/>
          </p:nvSpPr>
          <p:spPr>
            <a:xfrm>
              <a:off x="1895802" y="4193102"/>
              <a:ext cx="2657475" cy="78102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800" b="1" i="0" u="none" strike="noStrike" cap="none" normalizeH="0" baseline="0" noProof="0">
                  <a:ln>
                    <a:noFill/>
                  </a:ln>
                  <a:solidFill>
                    <a:schemeClr val="accent5"/>
                  </a:solidFill>
                  <a:uLnTx/>
                  <a:uFillTx/>
                </a:rPr>
                <a:t>6,7</a:t>
              </a:r>
              <a:r>
                <a:rPr kumimoji="0" lang="ru-RU" sz="2800" b="0" i="0" u="none" strike="noStrike" cap="none" normalizeH="0" baseline="0" noProof="0">
                  <a:ln>
                    <a:noFill/>
                  </a:ln>
                  <a:solidFill>
                    <a:schemeClr val="accent5"/>
                  </a:solidFill>
                  <a:uLnTx/>
                  <a:uFillTx/>
                </a:rPr>
                <a:t>%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2203265" y="4996031"/>
              <a:ext cx="2042547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cap="none" normalizeH="0" baseline="0" noProof="0" dirty="0" err="1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+mj-lt"/>
                </a:rPr>
                <a:t>China</a:t>
              </a:r>
              <a:r>
                <a:rPr kumimoji="0" lang="ru-RU" sz="1400" b="1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+mj-lt"/>
                </a:rPr>
                <a:t> </a:t>
              </a:r>
              <a:r>
                <a:rPr kumimoji="0" lang="ru-RU" sz="1400" b="1" i="0" u="none" strike="noStrike" cap="none" normalizeH="0" baseline="0" noProof="0" dirty="0" err="1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+mj-lt"/>
                </a:rPr>
                <a:t>Investment</a:t>
              </a:r>
              <a:r>
                <a:rPr kumimoji="0" lang="ru-RU" sz="1400" b="1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+mj-lt"/>
                </a:rPr>
                <a:t>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cap="none" normalizeH="0" baseline="0" noProof="0" dirty="0" err="1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+mj-lt"/>
                </a:rPr>
                <a:t>Corporation</a:t>
              </a:r>
              <a:endParaRPr kumimoji="0" lang="ru-RU" sz="1400" b="1" i="0" u="none" strike="noStrike" cap="none" normalizeH="0" baseline="0" noProof="0" dirty="0">
                <a:ln>
                  <a:noFill/>
                </a:ln>
                <a:solidFill>
                  <a:schemeClr val="accent5"/>
                </a:solidFill>
                <a:uLnTx/>
                <a:uFillTx/>
                <a:latin typeface="+mj-lt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+mj-lt"/>
                </a:rPr>
                <a:t>(CIC)</a:t>
              </a:r>
            </a:p>
          </p:txBody>
        </p:sp>
      </p:grp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F7856920-039A-48AD-A61F-A23ED5B899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3854620"/>
              </p:ext>
            </p:extLst>
          </p:nvPr>
        </p:nvGraphicFramePr>
        <p:xfrm>
          <a:off x="6056975" y="2381697"/>
          <a:ext cx="4381913" cy="2921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2" name="Rounded Rectangle 34">
            <a:extLst>
              <a:ext uri="{FF2B5EF4-FFF2-40B4-BE49-F238E27FC236}">
                <a16:creationId xmlns:a16="http://schemas.microsoft.com/office/drawing/2014/main" id="{6CB2602F-DF02-418C-8147-23784DC0C775}"/>
              </a:ext>
            </a:extLst>
          </p:cNvPr>
          <p:cNvSpPr/>
          <p:nvPr/>
        </p:nvSpPr>
        <p:spPr>
          <a:xfrm>
            <a:off x="4643311" y="1397574"/>
            <a:ext cx="2128787" cy="1447096"/>
          </a:xfrm>
          <a:prstGeom prst="roundRect">
            <a:avLst>
              <a:gd name="adj" fmla="val 7039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A74FB5E-4A7D-4A36-8B28-9E7FD3286A6A}"/>
              </a:ext>
            </a:extLst>
          </p:cNvPr>
          <p:cNvGrpSpPr/>
          <p:nvPr/>
        </p:nvGrpSpPr>
        <p:grpSpPr>
          <a:xfrm>
            <a:off x="4430053" y="1470509"/>
            <a:ext cx="2529414" cy="1398903"/>
            <a:chOff x="1513555" y="1475466"/>
            <a:chExt cx="2529414" cy="1398903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DD258EDC-682D-4B41-A78F-616712A199C5}"/>
                </a:ext>
              </a:extLst>
            </p:cNvPr>
            <p:cNvSpPr txBox="1"/>
            <p:nvPr/>
          </p:nvSpPr>
          <p:spPr>
            <a:xfrm>
              <a:off x="1738393" y="1475466"/>
              <a:ext cx="2301884" cy="88928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4800" b="1">
                  <a:solidFill>
                    <a:schemeClr val="accent2"/>
                  </a:solidFill>
                </a:rPr>
                <a:t>66</a:t>
              </a:r>
              <a:r>
                <a:rPr kumimoji="0" lang="ru-RU" sz="4800" b="1" i="0" u="none" strike="noStrike" cap="none" normalizeH="0" baseline="0" noProof="0">
                  <a:ln>
                    <a:noFill/>
                  </a:ln>
                  <a:solidFill>
                    <a:schemeClr val="accent2"/>
                  </a:solidFill>
                  <a:uLnTx/>
                  <a:uFillTx/>
                </a:rPr>
                <a:t>,0</a:t>
              </a:r>
              <a:r>
                <a:rPr kumimoji="0" lang="ru-RU" sz="2800" b="0" i="0" u="none" strike="noStrike" cap="none" normalizeH="0" baseline="0" noProof="0">
                  <a:ln>
                    <a:noFill/>
                  </a:ln>
                  <a:solidFill>
                    <a:schemeClr val="accent2"/>
                  </a:solidFill>
                  <a:uLnTx/>
                  <a:uFillTx/>
                </a:rPr>
                <a:t>%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883D9D2-4969-429F-8CE8-6CCEB6D25CB0}"/>
                </a:ext>
              </a:extLst>
            </p:cNvPr>
            <p:cNvSpPr/>
            <p:nvPr/>
          </p:nvSpPr>
          <p:spPr>
            <a:xfrm>
              <a:off x="1513555" y="2135705"/>
              <a:ext cx="2529414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cap="none" normalizeH="0" baseline="0" noProof="0" dirty="0">
                  <a:ln>
                    <a:noFill/>
                  </a:ln>
                  <a:solidFill>
                    <a:schemeClr val="accent2"/>
                  </a:solidFill>
                  <a:uLnTx/>
                  <a:uFillTx/>
                  <a:latin typeface="+mj-lt"/>
                </a:rPr>
                <a:t>Прочие и государственные организации</a:t>
              </a:r>
            </a:p>
          </p:txBody>
        </p:sp>
      </p:grpSp>
      <p:sp>
        <p:nvSpPr>
          <p:cNvPr id="43" name="Rounded Rectangle 35">
            <a:extLst>
              <a:ext uri="{FF2B5EF4-FFF2-40B4-BE49-F238E27FC236}">
                <a16:creationId xmlns:a16="http://schemas.microsoft.com/office/drawing/2014/main" id="{60F2FC4E-A93D-4EAA-9414-7977E33226C9}"/>
              </a:ext>
            </a:extLst>
          </p:cNvPr>
          <p:cNvSpPr/>
          <p:nvPr/>
        </p:nvSpPr>
        <p:spPr>
          <a:xfrm>
            <a:off x="4643311" y="4548786"/>
            <a:ext cx="2160582" cy="1688526"/>
          </a:xfrm>
          <a:prstGeom prst="roundRect">
            <a:avLst>
              <a:gd name="adj" fmla="val 7039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BB70A1D-DBDB-4E97-A9C9-B3E00FDF0204}"/>
              </a:ext>
            </a:extLst>
          </p:cNvPr>
          <p:cNvGrpSpPr/>
          <p:nvPr/>
        </p:nvGrpSpPr>
        <p:grpSpPr>
          <a:xfrm>
            <a:off x="4762381" y="4596667"/>
            <a:ext cx="2023311" cy="1541593"/>
            <a:chOff x="9386839" y="2095120"/>
            <a:chExt cx="3107196" cy="1541593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89A7869A-AAD5-4AD7-BF51-06B0B45BCB22}"/>
                </a:ext>
              </a:extLst>
            </p:cNvPr>
            <p:cNvSpPr txBox="1"/>
            <p:nvPr/>
          </p:nvSpPr>
          <p:spPr>
            <a:xfrm>
              <a:off x="9438750" y="2095120"/>
              <a:ext cx="3003350" cy="130016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800" b="1" i="0" u="none" strike="noStrike" cap="none" normalizeH="0" baseline="0" noProof="0">
                  <a:ln>
                    <a:noFill/>
                  </a:ln>
                  <a:solidFill>
                    <a:schemeClr val="accent3"/>
                  </a:solidFill>
                  <a:uLnTx/>
                  <a:uFillTx/>
                </a:rPr>
                <a:t>7,5</a:t>
              </a:r>
              <a:r>
                <a:rPr kumimoji="0" lang="ru-RU" sz="2800" b="0" i="0" u="none" strike="noStrike" cap="none" normalizeH="0" baseline="0" noProof="0">
                  <a:ln>
                    <a:noFill/>
                  </a:ln>
                  <a:solidFill>
                    <a:schemeClr val="accent3"/>
                  </a:solidFill>
                  <a:uLnTx/>
                  <a:uFillTx/>
                </a:rPr>
                <a:t>%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BC15B9E-1594-4E89-B631-74E5EE040FFD}"/>
                </a:ext>
              </a:extLst>
            </p:cNvPr>
            <p:cNvSpPr/>
            <p:nvPr/>
          </p:nvSpPr>
          <p:spPr>
            <a:xfrm>
              <a:off x="9386839" y="2898049"/>
              <a:ext cx="3107196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uLnTx/>
                  <a:uFillTx/>
                  <a:latin typeface="+mj-lt"/>
                </a:rPr>
                <a:t>Fonds</a:t>
              </a:r>
              <a:r>
                <a:rPr kumimoji="0" lang="ru-RU" sz="1400" b="1" i="0" u="none" strike="noStrike" cap="none" normalizeH="0" baseline="0" noProof="0" dirty="0">
                  <a:ln>
                    <a:noFill/>
                  </a:ln>
                  <a:solidFill>
                    <a:schemeClr val="accent3"/>
                  </a:solidFill>
                  <a:uLnTx/>
                  <a:uFillTx/>
                  <a:latin typeface="+mj-lt"/>
                </a:rPr>
                <a:t> </a:t>
              </a:r>
              <a:r>
                <a:rPr kumimoji="0" lang="ru-RU" sz="1400" b="1" i="0" u="none" strike="noStrike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uLnTx/>
                  <a:uFillTx/>
                  <a:latin typeface="+mj-lt"/>
                </a:rPr>
                <a:t>Stratégique</a:t>
              </a:r>
              <a:br>
                <a:rPr kumimoji="0" lang="ru-RU" sz="1400" b="1" i="0" u="none" strike="noStrike" cap="none" normalizeH="0" baseline="0" noProof="0" dirty="0">
                  <a:ln>
                    <a:noFill/>
                  </a:ln>
                  <a:solidFill>
                    <a:schemeClr val="accent3"/>
                  </a:solidFill>
                  <a:uLnTx/>
                  <a:uFillTx/>
                  <a:latin typeface="+mj-lt"/>
                </a:rPr>
              </a:br>
              <a:r>
                <a:rPr kumimoji="0" lang="ru-RU" sz="1400" b="1" i="0" u="none" strike="noStrike" cap="none" normalizeH="0" baseline="0" noProof="0" dirty="0">
                  <a:ln>
                    <a:noFill/>
                  </a:ln>
                  <a:solidFill>
                    <a:schemeClr val="accent3"/>
                  </a:solidFill>
                  <a:uLnTx/>
                  <a:uFillTx/>
                  <a:latin typeface="+mj-lt"/>
                </a:rPr>
                <a:t> </a:t>
              </a:r>
              <a:r>
                <a:rPr kumimoji="0" lang="ru-RU" sz="1400" b="1" i="0" u="none" strike="noStrike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uLnTx/>
                  <a:uFillTx/>
                  <a:latin typeface="+mj-lt"/>
                </a:rPr>
                <a:t>de</a:t>
              </a:r>
              <a:r>
                <a:rPr kumimoji="0" lang="ru-RU" sz="1400" b="1" i="0" u="none" strike="noStrike" cap="none" normalizeH="0" baseline="0" noProof="0" dirty="0">
                  <a:ln>
                    <a:noFill/>
                  </a:ln>
                  <a:solidFill>
                    <a:schemeClr val="accent3"/>
                  </a:solidFill>
                  <a:uLnTx/>
                  <a:uFillTx/>
                  <a:latin typeface="+mj-lt"/>
                </a:rPr>
                <a:t> </a:t>
              </a:r>
              <a:r>
                <a:rPr kumimoji="0" lang="ru-RU" sz="1400" b="1" i="0" u="none" strike="noStrike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uLnTx/>
                  <a:uFillTx/>
                  <a:latin typeface="+mj-lt"/>
                </a:rPr>
                <a:t>Participations</a:t>
              </a:r>
              <a:r>
                <a:rPr kumimoji="0" lang="ru-RU" sz="1400" b="1" i="0" u="none" strike="noStrike" cap="none" normalizeH="0" baseline="0" noProof="0" dirty="0">
                  <a:ln>
                    <a:noFill/>
                  </a:ln>
                  <a:solidFill>
                    <a:schemeClr val="accent3"/>
                  </a:solidFill>
                  <a:uLnTx/>
                  <a:uFillTx/>
                  <a:latin typeface="+mj-lt"/>
                </a:rPr>
                <a:t> </a:t>
              </a:r>
              <a:br>
                <a:rPr kumimoji="0" lang="ru-RU" sz="1400" b="1" i="0" u="none" strike="noStrike" cap="none" normalizeH="0" baseline="0" noProof="0" dirty="0">
                  <a:ln>
                    <a:noFill/>
                  </a:ln>
                  <a:solidFill>
                    <a:schemeClr val="accent3"/>
                  </a:solidFill>
                  <a:uLnTx/>
                  <a:uFillTx/>
                  <a:latin typeface="+mj-lt"/>
                </a:rPr>
              </a:br>
              <a:r>
                <a:rPr kumimoji="0" lang="ru-RU" sz="1400" b="1" i="0" u="none" strike="noStrike" cap="none" normalizeH="0" baseline="0" noProof="0" dirty="0">
                  <a:ln>
                    <a:noFill/>
                  </a:ln>
                  <a:solidFill>
                    <a:schemeClr val="accent3"/>
                  </a:solidFill>
                  <a:uLnTx/>
                  <a:uFillTx/>
                  <a:latin typeface="+mj-lt"/>
                </a:rPr>
                <a:t>(FSP)</a:t>
              </a:r>
            </a:p>
          </p:txBody>
        </p:sp>
      </p:grpSp>
      <p:sp>
        <p:nvSpPr>
          <p:cNvPr id="47" name="Rounded Rectangle 36">
            <a:extLst>
              <a:ext uri="{FF2B5EF4-FFF2-40B4-BE49-F238E27FC236}">
                <a16:creationId xmlns:a16="http://schemas.microsoft.com/office/drawing/2014/main" id="{6DD6B38E-821D-4547-874F-BB87FDB5D3FD}"/>
              </a:ext>
            </a:extLst>
          </p:cNvPr>
          <p:cNvSpPr/>
          <p:nvPr/>
        </p:nvSpPr>
        <p:spPr>
          <a:xfrm>
            <a:off x="9656399" y="1397574"/>
            <a:ext cx="2128787" cy="1439419"/>
          </a:xfrm>
          <a:prstGeom prst="roundRect">
            <a:avLst>
              <a:gd name="adj" fmla="val 7039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63500" sx="102000" sy="102000" algn="ctr" rotWithShape="0">
              <a:prstClr val="black">
                <a:alpha val="1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232ED8F3-62B6-4164-902D-4C9FC19DCE25}"/>
              </a:ext>
            </a:extLst>
          </p:cNvPr>
          <p:cNvGrpSpPr/>
          <p:nvPr/>
        </p:nvGrpSpPr>
        <p:grpSpPr>
          <a:xfrm>
            <a:off x="9673960" y="1535496"/>
            <a:ext cx="2211027" cy="1309695"/>
            <a:chOff x="8737312" y="3870327"/>
            <a:chExt cx="3003350" cy="1309695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A99E606-19A7-4CD8-A68E-CC246D09E215}"/>
                </a:ext>
              </a:extLst>
            </p:cNvPr>
            <p:cNvSpPr txBox="1"/>
            <p:nvPr/>
          </p:nvSpPr>
          <p:spPr>
            <a:xfrm>
              <a:off x="8737312" y="3870327"/>
              <a:ext cx="3003350" cy="974849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800" b="1" i="0" u="none" strike="noStrike" cap="none" normalizeH="0" baseline="0" noProof="0">
                  <a:ln>
                    <a:noFill/>
                  </a:ln>
                  <a:solidFill>
                    <a:srgbClr val="002060"/>
                  </a:solidFill>
                  <a:uLnTx/>
                  <a:uFillTx/>
                </a:rPr>
                <a:t>19,8</a:t>
              </a:r>
              <a:r>
                <a:rPr kumimoji="0" lang="ru-RU" sz="2800" b="0" i="0" u="none" strike="noStrike" cap="none" normalizeH="0" baseline="0" noProof="0">
                  <a:ln>
                    <a:noFill/>
                  </a:ln>
                  <a:solidFill>
                    <a:srgbClr val="002060"/>
                  </a:solidFill>
                  <a:uLnTx/>
                  <a:uFillTx/>
                </a:rPr>
                <a:t>%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6CB8A0FF-FB3D-4386-84EF-49C4F104C54F}"/>
                </a:ext>
              </a:extLst>
            </p:cNvPr>
            <p:cNvSpPr/>
            <p:nvPr/>
          </p:nvSpPr>
          <p:spPr>
            <a:xfrm>
              <a:off x="8737312" y="4656802"/>
              <a:ext cx="286778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cap="none" normalizeH="0" baseline="0" noProof="0" dirty="0" err="1">
                  <a:ln>
                    <a:noFill/>
                  </a:ln>
                  <a:solidFill>
                    <a:srgbClr val="002060"/>
                  </a:solidFill>
                  <a:uLnTx/>
                  <a:uFillTx/>
                  <a:latin typeface="+mj-lt"/>
                </a:rPr>
                <a:t>Bpi</a:t>
              </a:r>
              <a:r>
                <a:rPr kumimoji="0" lang="ru-RU" sz="1400" b="1" i="0" u="none" strike="noStrike" cap="none" normalizeH="0" baseline="0" noProof="0" dirty="0">
                  <a:ln>
                    <a:noFill/>
                  </a:ln>
                  <a:solidFill>
                    <a:srgbClr val="002060"/>
                  </a:solidFill>
                  <a:uLnTx/>
                  <a:uFillTx/>
                  <a:latin typeface="+mj-lt"/>
                </a:rPr>
                <a:t> </a:t>
              </a:r>
              <a:r>
                <a:rPr lang="ru-RU" sz="1400" b="1" dirty="0">
                  <a:solidFill>
                    <a:srgbClr val="002060"/>
                  </a:solidFill>
                  <a:latin typeface="+mj-lt"/>
                </a:rPr>
                <a:t>F</a:t>
              </a:r>
              <a:r>
                <a:rPr kumimoji="0" lang="ru-RU" sz="1400" b="1" i="0" u="none" strike="noStrike" cap="none" normalizeH="0" baseline="0" noProof="0" dirty="0" err="1">
                  <a:ln>
                    <a:noFill/>
                  </a:ln>
                  <a:solidFill>
                    <a:srgbClr val="002060"/>
                  </a:solidFill>
                  <a:uLnTx/>
                  <a:uFillTx/>
                  <a:latin typeface="+mj-lt"/>
                </a:rPr>
                <a:t>rance</a:t>
              </a:r>
              <a:br>
                <a:rPr kumimoji="0" lang="ru-RU" sz="1400" b="1" i="0" u="none" strike="noStrike" cap="none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uLnTx/>
                  <a:uFillTx/>
                  <a:latin typeface="+mj-lt"/>
                </a:rPr>
              </a:br>
              <a:r>
                <a:rPr kumimoji="0" lang="ru-RU" sz="1400" b="1" i="0" u="none" strike="noStrike" cap="none" normalizeH="0" baseline="0" noProof="0" dirty="0" err="1">
                  <a:ln>
                    <a:noFill/>
                  </a:ln>
                  <a:solidFill>
                    <a:sysClr val="windowText" lastClr="000000"/>
                  </a:solidFill>
                  <a:uLnTx/>
                  <a:uFillTx/>
                  <a:latin typeface="+mj-lt"/>
                </a:rPr>
                <a:t>Participations</a:t>
              </a:r>
              <a:endParaRPr kumimoji="0" lang="ru-RU" sz="1400" b="1" i="0" u="none" strike="noStrike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latin typeface="+mj-lt"/>
              </a:endParaRPr>
            </a:p>
          </p:txBody>
        </p:sp>
      </p:grpSp>
      <p:sp>
        <p:nvSpPr>
          <p:cNvPr id="52" name="Freeform 24">
            <a:extLst>
              <a:ext uri="{FF2B5EF4-FFF2-40B4-BE49-F238E27FC236}">
                <a16:creationId xmlns:a16="http://schemas.microsoft.com/office/drawing/2014/main" id="{D468639E-5E94-4037-A479-275F8E084FE6}"/>
              </a:ext>
            </a:extLst>
          </p:cNvPr>
          <p:cNvSpPr/>
          <p:nvPr/>
        </p:nvSpPr>
        <p:spPr>
          <a:xfrm>
            <a:off x="9415867" y="2829345"/>
            <a:ext cx="1304925" cy="1234505"/>
          </a:xfrm>
          <a:custGeom>
            <a:avLst/>
            <a:gdLst>
              <a:gd name="connsiteX0" fmla="*/ 1304925 w 1304925"/>
              <a:gd name="connsiteY0" fmla="*/ 0 h 666750"/>
              <a:gd name="connsiteX1" fmla="*/ 1114425 w 1304925"/>
              <a:gd name="connsiteY1" fmla="*/ 666750 h 666750"/>
              <a:gd name="connsiteX2" fmla="*/ 0 w 1304925"/>
              <a:gd name="connsiteY2" fmla="*/ 666750 h 66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04925" h="666750">
                <a:moveTo>
                  <a:pt x="1304925" y="0"/>
                </a:moveTo>
                <a:lnTo>
                  <a:pt x="1114425" y="666750"/>
                </a:lnTo>
                <a:lnTo>
                  <a:pt x="0" y="666750"/>
                </a:lnTo>
              </a:path>
            </a:pathLst>
          </a:custGeom>
          <a:noFill/>
          <a:ln>
            <a:solidFill>
              <a:schemeClr val="bg2"/>
            </a:solidFill>
            <a:headEnd type="oval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3" name="Freeform 38">
            <a:extLst>
              <a:ext uri="{FF2B5EF4-FFF2-40B4-BE49-F238E27FC236}">
                <a16:creationId xmlns:a16="http://schemas.microsoft.com/office/drawing/2014/main" id="{1798267A-E408-4C34-BBB3-989386320FB8}"/>
              </a:ext>
            </a:extLst>
          </p:cNvPr>
          <p:cNvSpPr/>
          <p:nvPr/>
        </p:nvSpPr>
        <p:spPr>
          <a:xfrm rot="4342893">
            <a:off x="8739962" y="4880004"/>
            <a:ext cx="754140" cy="867844"/>
          </a:xfrm>
          <a:custGeom>
            <a:avLst/>
            <a:gdLst>
              <a:gd name="connsiteX0" fmla="*/ 1304925 w 1304925"/>
              <a:gd name="connsiteY0" fmla="*/ 0 h 666750"/>
              <a:gd name="connsiteX1" fmla="*/ 1114425 w 1304925"/>
              <a:gd name="connsiteY1" fmla="*/ 666750 h 666750"/>
              <a:gd name="connsiteX2" fmla="*/ 0 w 1304925"/>
              <a:gd name="connsiteY2" fmla="*/ 666750 h 666750"/>
              <a:gd name="connsiteX0" fmla="*/ 1449075 w 1449075"/>
              <a:gd name="connsiteY0" fmla="*/ 0 h 1120661"/>
              <a:gd name="connsiteX1" fmla="*/ 1114425 w 1449075"/>
              <a:gd name="connsiteY1" fmla="*/ 1120661 h 1120661"/>
              <a:gd name="connsiteX2" fmla="*/ 0 w 1449075"/>
              <a:gd name="connsiteY2" fmla="*/ 1120661 h 1120661"/>
              <a:gd name="connsiteX0" fmla="*/ 888799 w 888799"/>
              <a:gd name="connsiteY0" fmla="*/ 0 h 1120661"/>
              <a:gd name="connsiteX1" fmla="*/ 554149 w 888799"/>
              <a:gd name="connsiteY1" fmla="*/ 1120661 h 1120661"/>
              <a:gd name="connsiteX2" fmla="*/ 0 w 888799"/>
              <a:gd name="connsiteY2" fmla="*/ 1118700 h 1120661"/>
              <a:gd name="connsiteX0" fmla="*/ 886877 w 886877"/>
              <a:gd name="connsiteY0" fmla="*/ 0 h 1114324"/>
              <a:gd name="connsiteX1" fmla="*/ 554149 w 886877"/>
              <a:gd name="connsiteY1" fmla="*/ 1114324 h 1114324"/>
              <a:gd name="connsiteX2" fmla="*/ 0 w 886877"/>
              <a:gd name="connsiteY2" fmla="*/ 1112363 h 1114324"/>
              <a:gd name="connsiteX0" fmla="*/ 952820 w 952820"/>
              <a:gd name="connsiteY0" fmla="*/ 0 h 1148137"/>
              <a:gd name="connsiteX1" fmla="*/ 620092 w 952820"/>
              <a:gd name="connsiteY1" fmla="*/ 1114324 h 1148137"/>
              <a:gd name="connsiteX2" fmla="*/ -1 w 952820"/>
              <a:gd name="connsiteY2" fmla="*/ 1148127 h 1148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52820" h="1148137">
                <a:moveTo>
                  <a:pt x="952820" y="0"/>
                </a:moveTo>
                <a:lnTo>
                  <a:pt x="620092" y="1114324"/>
                </a:lnTo>
                <a:cubicBezTo>
                  <a:pt x="435376" y="1113670"/>
                  <a:pt x="184715" y="1148781"/>
                  <a:pt x="-1" y="1148127"/>
                </a:cubicBezTo>
              </a:path>
            </a:pathLst>
          </a:custGeom>
          <a:noFill/>
          <a:ln>
            <a:solidFill>
              <a:schemeClr val="bg2"/>
            </a:solidFill>
            <a:headEnd type="oval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4" name="Freeform 39">
            <a:extLst>
              <a:ext uri="{FF2B5EF4-FFF2-40B4-BE49-F238E27FC236}">
                <a16:creationId xmlns:a16="http://schemas.microsoft.com/office/drawing/2014/main" id="{3B85C530-62A8-40F4-9D7E-F0E362B839EF}"/>
              </a:ext>
            </a:extLst>
          </p:cNvPr>
          <p:cNvSpPr/>
          <p:nvPr/>
        </p:nvSpPr>
        <p:spPr>
          <a:xfrm rot="17257107" flipH="1">
            <a:off x="7001809" y="4835967"/>
            <a:ext cx="886877" cy="1064189"/>
          </a:xfrm>
          <a:custGeom>
            <a:avLst/>
            <a:gdLst>
              <a:gd name="connsiteX0" fmla="*/ 1304925 w 1304925"/>
              <a:gd name="connsiteY0" fmla="*/ 0 h 666750"/>
              <a:gd name="connsiteX1" fmla="*/ 1114425 w 1304925"/>
              <a:gd name="connsiteY1" fmla="*/ 666750 h 666750"/>
              <a:gd name="connsiteX2" fmla="*/ 0 w 1304925"/>
              <a:gd name="connsiteY2" fmla="*/ 666750 h 666750"/>
              <a:gd name="connsiteX0" fmla="*/ 1449075 w 1449075"/>
              <a:gd name="connsiteY0" fmla="*/ 0 h 1120661"/>
              <a:gd name="connsiteX1" fmla="*/ 1114425 w 1449075"/>
              <a:gd name="connsiteY1" fmla="*/ 1120661 h 1120661"/>
              <a:gd name="connsiteX2" fmla="*/ 0 w 1449075"/>
              <a:gd name="connsiteY2" fmla="*/ 1120661 h 1120661"/>
              <a:gd name="connsiteX0" fmla="*/ 888799 w 888799"/>
              <a:gd name="connsiteY0" fmla="*/ 0 h 1120661"/>
              <a:gd name="connsiteX1" fmla="*/ 554149 w 888799"/>
              <a:gd name="connsiteY1" fmla="*/ 1120661 h 1120661"/>
              <a:gd name="connsiteX2" fmla="*/ 0 w 888799"/>
              <a:gd name="connsiteY2" fmla="*/ 1118700 h 1120661"/>
              <a:gd name="connsiteX0" fmla="*/ 886877 w 886877"/>
              <a:gd name="connsiteY0" fmla="*/ 0 h 1114324"/>
              <a:gd name="connsiteX1" fmla="*/ 554149 w 886877"/>
              <a:gd name="connsiteY1" fmla="*/ 1114324 h 1114324"/>
              <a:gd name="connsiteX2" fmla="*/ 0 w 886877"/>
              <a:gd name="connsiteY2" fmla="*/ 1112363 h 1114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6877" h="1114324">
                <a:moveTo>
                  <a:pt x="886877" y="0"/>
                </a:moveTo>
                <a:lnTo>
                  <a:pt x="554149" y="1114324"/>
                </a:lnTo>
                <a:lnTo>
                  <a:pt x="0" y="1112363"/>
                </a:lnTo>
              </a:path>
            </a:pathLst>
          </a:custGeom>
          <a:noFill/>
          <a:ln>
            <a:solidFill>
              <a:schemeClr val="bg2"/>
            </a:solidFill>
            <a:headEnd type="oval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5" name="Freeform 40">
            <a:extLst>
              <a:ext uri="{FF2B5EF4-FFF2-40B4-BE49-F238E27FC236}">
                <a16:creationId xmlns:a16="http://schemas.microsoft.com/office/drawing/2014/main" id="{0F0BFD2A-7E45-4381-8335-23C15952DD85}"/>
              </a:ext>
            </a:extLst>
          </p:cNvPr>
          <p:cNvSpPr/>
          <p:nvPr/>
        </p:nvSpPr>
        <p:spPr>
          <a:xfrm flipH="1">
            <a:off x="6195853" y="2829345"/>
            <a:ext cx="808603" cy="666750"/>
          </a:xfrm>
          <a:custGeom>
            <a:avLst/>
            <a:gdLst>
              <a:gd name="connsiteX0" fmla="*/ 1304925 w 1304925"/>
              <a:gd name="connsiteY0" fmla="*/ 0 h 666750"/>
              <a:gd name="connsiteX1" fmla="*/ 1114425 w 1304925"/>
              <a:gd name="connsiteY1" fmla="*/ 666750 h 666750"/>
              <a:gd name="connsiteX2" fmla="*/ 0 w 1304925"/>
              <a:gd name="connsiteY2" fmla="*/ 666750 h 66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04925" h="666750">
                <a:moveTo>
                  <a:pt x="1304925" y="0"/>
                </a:moveTo>
                <a:lnTo>
                  <a:pt x="1114425" y="666750"/>
                </a:lnTo>
                <a:lnTo>
                  <a:pt x="0" y="666750"/>
                </a:lnTo>
              </a:path>
            </a:pathLst>
          </a:custGeom>
          <a:noFill/>
          <a:ln>
            <a:solidFill>
              <a:schemeClr val="bg2"/>
            </a:solidFill>
            <a:headEnd type="oval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090856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flythrough hasBounce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3" name="Group 49"/>
          <p:cNvGrpSpPr>
            <a:grpSpLocks noChangeAspect="1"/>
          </p:cNvGrpSpPr>
          <p:nvPr/>
        </p:nvGrpSpPr>
        <p:grpSpPr bwMode="auto">
          <a:xfrm>
            <a:off x="6594371" y="1480386"/>
            <a:ext cx="596291" cy="611542"/>
            <a:chOff x="2256" y="533"/>
            <a:chExt cx="3167" cy="3248"/>
          </a:xfrm>
          <a:solidFill>
            <a:schemeClr val="bg2"/>
          </a:solidFill>
        </p:grpSpPr>
        <p:sp>
          <p:nvSpPr>
            <p:cNvPr id="4098" name="Freeform 51"/>
            <p:cNvSpPr>
              <a:spLocks noEditPoints="1"/>
            </p:cNvSpPr>
            <p:nvPr/>
          </p:nvSpPr>
          <p:spPr bwMode="auto">
            <a:xfrm>
              <a:off x="2256" y="533"/>
              <a:ext cx="3167" cy="3248"/>
            </a:xfrm>
            <a:custGeom>
              <a:avLst/>
              <a:gdLst>
                <a:gd name="T0" fmla="*/ 3014 w 6334"/>
                <a:gd name="T1" fmla="*/ 1005 h 6496"/>
                <a:gd name="T2" fmla="*/ 2600 w 6334"/>
                <a:gd name="T3" fmla="*/ 1078 h 6496"/>
                <a:gd name="T4" fmla="*/ 2116 w 6334"/>
                <a:gd name="T5" fmla="*/ 1281 h 6496"/>
                <a:gd name="T6" fmla="*/ 1836 w 6334"/>
                <a:gd name="T7" fmla="*/ 1534 h 6496"/>
                <a:gd name="T8" fmla="*/ 1863 w 6334"/>
                <a:gd name="T9" fmla="*/ 2875 h 6496"/>
                <a:gd name="T10" fmla="*/ 1984 w 6334"/>
                <a:gd name="T11" fmla="*/ 2954 h 6496"/>
                <a:gd name="T12" fmla="*/ 2262 w 6334"/>
                <a:gd name="T13" fmla="*/ 3064 h 6496"/>
                <a:gd name="T14" fmla="*/ 2738 w 6334"/>
                <a:gd name="T15" fmla="*/ 3157 h 6496"/>
                <a:gd name="T16" fmla="*/ 3429 w 6334"/>
                <a:gd name="T17" fmla="*/ 3187 h 6496"/>
                <a:gd name="T18" fmla="*/ 4019 w 6334"/>
                <a:gd name="T19" fmla="*/ 3149 h 6496"/>
                <a:gd name="T20" fmla="*/ 4380 w 6334"/>
                <a:gd name="T21" fmla="*/ 3057 h 6496"/>
                <a:gd name="T22" fmla="*/ 4567 w 6334"/>
                <a:gd name="T23" fmla="*/ 2948 h 6496"/>
                <a:gd name="T24" fmla="*/ 4639 w 6334"/>
                <a:gd name="T25" fmla="*/ 2859 h 6496"/>
                <a:gd name="T26" fmla="*/ 4650 w 6334"/>
                <a:gd name="T27" fmla="*/ 2824 h 6496"/>
                <a:gd name="T28" fmla="*/ 4530 w 6334"/>
                <a:gd name="T29" fmla="*/ 2565 h 6496"/>
                <a:gd name="T30" fmla="*/ 4098 w 6334"/>
                <a:gd name="T31" fmla="*/ 2768 h 6496"/>
                <a:gd name="T32" fmla="*/ 3586 w 6334"/>
                <a:gd name="T33" fmla="*/ 2895 h 6496"/>
                <a:gd name="T34" fmla="*/ 3344 w 6334"/>
                <a:gd name="T35" fmla="*/ 3051 h 6496"/>
                <a:gd name="T36" fmla="*/ 3040 w 6334"/>
                <a:gd name="T37" fmla="*/ 2968 h 6496"/>
                <a:gd name="T38" fmla="*/ 2905 w 6334"/>
                <a:gd name="T39" fmla="*/ 2681 h 6496"/>
                <a:gd name="T40" fmla="*/ 3040 w 6334"/>
                <a:gd name="T41" fmla="*/ 2393 h 6496"/>
                <a:gd name="T42" fmla="*/ 3346 w 6334"/>
                <a:gd name="T43" fmla="*/ 2310 h 6496"/>
                <a:gd name="T44" fmla="*/ 3598 w 6334"/>
                <a:gd name="T45" fmla="*/ 2482 h 6496"/>
                <a:gd name="T46" fmla="*/ 3987 w 6334"/>
                <a:gd name="T47" fmla="*/ 2545 h 6496"/>
                <a:gd name="T48" fmla="*/ 4465 w 6334"/>
                <a:gd name="T49" fmla="*/ 2310 h 6496"/>
                <a:gd name="T50" fmla="*/ 4646 w 6334"/>
                <a:gd name="T51" fmla="*/ 1512 h 6496"/>
                <a:gd name="T52" fmla="*/ 4281 w 6334"/>
                <a:gd name="T53" fmla="*/ 1228 h 6496"/>
                <a:gd name="T54" fmla="*/ 3825 w 6334"/>
                <a:gd name="T55" fmla="*/ 1056 h 6496"/>
                <a:gd name="T56" fmla="*/ 3466 w 6334"/>
                <a:gd name="T57" fmla="*/ 999 h 6496"/>
                <a:gd name="T58" fmla="*/ 3002 w 6334"/>
                <a:gd name="T59" fmla="*/ 0 h 6496"/>
                <a:gd name="T60" fmla="*/ 3091 w 6334"/>
                <a:gd name="T61" fmla="*/ 4 h 6496"/>
                <a:gd name="T62" fmla="*/ 3332 w 6334"/>
                <a:gd name="T63" fmla="*/ 2 h 6496"/>
                <a:gd name="T64" fmla="*/ 3565 w 6334"/>
                <a:gd name="T65" fmla="*/ 20 h 6496"/>
                <a:gd name="T66" fmla="*/ 3896 w 6334"/>
                <a:gd name="T67" fmla="*/ 107 h 6496"/>
                <a:gd name="T68" fmla="*/ 4271 w 6334"/>
                <a:gd name="T69" fmla="*/ 306 h 6496"/>
                <a:gd name="T70" fmla="*/ 4635 w 6334"/>
                <a:gd name="T71" fmla="*/ 663 h 6496"/>
                <a:gd name="T72" fmla="*/ 4935 w 6334"/>
                <a:gd name="T73" fmla="*/ 1228 h 6496"/>
                <a:gd name="T74" fmla="*/ 5262 w 6334"/>
                <a:gd name="T75" fmla="*/ 1627 h 6496"/>
                <a:gd name="T76" fmla="*/ 5017 w 6334"/>
                <a:gd name="T77" fmla="*/ 3380 h 6496"/>
                <a:gd name="T78" fmla="*/ 5166 w 6334"/>
                <a:gd name="T79" fmla="*/ 3499 h 6496"/>
                <a:gd name="T80" fmla="*/ 5213 w 6334"/>
                <a:gd name="T81" fmla="*/ 3801 h 6496"/>
                <a:gd name="T82" fmla="*/ 5310 w 6334"/>
                <a:gd name="T83" fmla="*/ 4004 h 6496"/>
                <a:gd name="T84" fmla="*/ 5572 w 6334"/>
                <a:gd name="T85" fmla="*/ 4139 h 6496"/>
                <a:gd name="T86" fmla="*/ 5827 w 6334"/>
                <a:gd name="T87" fmla="*/ 4399 h 6496"/>
                <a:gd name="T88" fmla="*/ 6332 w 6334"/>
                <a:gd name="T89" fmla="*/ 6421 h 6496"/>
                <a:gd name="T90" fmla="*/ 6291 w 6334"/>
                <a:gd name="T91" fmla="*/ 6492 h 6496"/>
                <a:gd name="T92" fmla="*/ 2203 w 6334"/>
                <a:gd name="T93" fmla="*/ 6435 h 6496"/>
                <a:gd name="T94" fmla="*/ 59 w 6334"/>
                <a:gd name="T95" fmla="*/ 6496 h 6496"/>
                <a:gd name="T96" fmla="*/ 0 w 6334"/>
                <a:gd name="T97" fmla="*/ 6439 h 6496"/>
                <a:gd name="T98" fmla="*/ 486 w 6334"/>
                <a:gd name="T99" fmla="*/ 4464 h 6496"/>
                <a:gd name="T100" fmla="*/ 722 w 6334"/>
                <a:gd name="T101" fmla="*/ 4176 h 6496"/>
                <a:gd name="T102" fmla="*/ 991 w 6334"/>
                <a:gd name="T103" fmla="*/ 4020 h 6496"/>
                <a:gd name="T104" fmla="*/ 1143 w 6334"/>
                <a:gd name="T105" fmla="*/ 3880 h 6496"/>
                <a:gd name="T106" fmla="*/ 1165 w 6334"/>
                <a:gd name="T107" fmla="*/ 3550 h 6496"/>
                <a:gd name="T108" fmla="*/ 1315 w 6334"/>
                <a:gd name="T109" fmla="*/ 3388 h 6496"/>
                <a:gd name="T110" fmla="*/ 1101 w 6334"/>
                <a:gd name="T111" fmla="*/ 2697 h 6496"/>
                <a:gd name="T112" fmla="*/ 1370 w 6334"/>
                <a:gd name="T113" fmla="*/ 1368 h 6496"/>
                <a:gd name="T114" fmla="*/ 1646 w 6334"/>
                <a:gd name="T115" fmla="*/ 762 h 6496"/>
                <a:gd name="T116" fmla="*/ 1996 w 6334"/>
                <a:gd name="T117" fmla="*/ 367 h 6496"/>
                <a:gd name="T118" fmla="*/ 2367 w 6334"/>
                <a:gd name="T119" fmla="*/ 138 h 6496"/>
                <a:gd name="T120" fmla="*/ 2708 w 6334"/>
                <a:gd name="T121" fmla="*/ 32 h 6496"/>
                <a:gd name="T122" fmla="*/ 2965 w 6334"/>
                <a:gd name="T123" fmla="*/ 2 h 6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34" h="6496">
                  <a:moveTo>
                    <a:pt x="3206" y="995"/>
                  </a:moveTo>
                  <a:lnTo>
                    <a:pt x="3174" y="995"/>
                  </a:lnTo>
                  <a:lnTo>
                    <a:pt x="3130" y="997"/>
                  </a:lnTo>
                  <a:lnTo>
                    <a:pt x="3077" y="999"/>
                  </a:lnTo>
                  <a:lnTo>
                    <a:pt x="3014" y="1005"/>
                  </a:lnTo>
                  <a:lnTo>
                    <a:pt x="2943" y="1011"/>
                  </a:lnTo>
                  <a:lnTo>
                    <a:pt x="2864" y="1023"/>
                  </a:lnTo>
                  <a:lnTo>
                    <a:pt x="2781" y="1037"/>
                  </a:lnTo>
                  <a:lnTo>
                    <a:pt x="2692" y="1054"/>
                  </a:lnTo>
                  <a:lnTo>
                    <a:pt x="2600" y="1078"/>
                  </a:lnTo>
                  <a:lnTo>
                    <a:pt x="2503" y="1106"/>
                  </a:lnTo>
                  <a:lnTo>
                    <a:pt x="2406" y="1139"/>
                  </a:lnTo>
                  <a:lnTo>
                    <a:pt x="2309" y="1181"/>
                  </a:lnTo>
                  <a:lnTo>
                    <a:pt x="2213" y="1226"/>
                  </a:lnTo>
                  <a:lnTo>
                    <a:pt x="2116" y="1281"/>
                  </a:lnTo>
                  <a:lnTo>
                    <a:pt x="2025" y="1343"/>
                  </a:lnTo>
                  <a:lnTo>
                    <a:pt x="1936" y="1414"/>
                  </a:lnTo>
                  <a:lnTo>
                    <a:pt x="1851" y="1493"/>
                  </a:lnTo>
                  <a:lnTo>
                    <a:pt x="1840" y="1512"/>
                  </a:lnTo>
                  <a:lnTo>
                    <a:pt x="1836" y="1534"/>
                  </a:lnTo>
                  <a:lnTo>
                    <a:pt x="1836" y="2822"/>
                  </a:lnTo>
                  <a:lnTo>
                    <a:pt x="1840" y="2843"/>
                  </a:lnTo>
                  <a:lnTo>
                    <a:pt x="1851" y="2863"/>
                  </a:lnTo>
                  <a:lnTo>
                    <a:pt x="1855" y="2867"/>
                  </a:lnTo>
                  <a:lnTo>
                    <a:pt x="1863" y="2875"/>
                  </a:lnTo>
                  <a:lnTo>
                    <a:pt x="1877" y="2885"/>
                  </a:lnTo>
                  <a:lnTo>
                    <a:pt x="1895" y="2899"/>
                  </a:lnTo>
                  <a:lnTo>
                    <a:pt x="1919" y="2914"/>
                  </a:lnTo>
                  <a:lnTo>
                    <a:pt x="1948" y="2934"/>
                  </a:lnTo>
                  <a:lnTo>
                    <a:pt x="1984" y="2954"/>
                  </a:lnTo>
                  <a:lnTo>
                    <a:pt x="2025" y="2974"/>
                  </a:lnTo>
                  <a:lnTo>
                    <a:pt x="2074" y="2997"/>
                  </a:lnTo>
                  <a:lnTo>
                    <a:pt x="2130" y="3019"/>
                  </a:lnTo>
                  <a:lnTo>
                    <a:pt x="2191" y="3043"/>
                  </a:lnTo>
                  <a:lnTo>
                    <a:pt x="2262" y="3064"/>
                  </a:lnTo>
                  <a:lnTo>
                    <a:pt x="2341" y="3086"/>
                  </a:lnTo>
                  <a:lnTo>
                    <a:pt x="2426" y="3106"/>
                  </a:lnTo>
                  <a:lnTo>
                    <a:pt x="2521" y="3126"/>
                  </a:lnTo>
                  <a:lnTo>
                    <a:pt x="2625" y="3143"/>
                  </a:lnTo>
                  <a:lnTo>
                    <a:pt x="2738" y="3157"/>
                  </a:lnTo>
                  <a:lnTo>
                    <a:pt x="2860" y="3171"/>
                  </a:lnTo>
                  <a:lnTo>
                    <a:pt x="2992" y="3179"/>
                  </a:lnTo>
                  <a:lnTo>
                    <a:pt x="3134" y="3185"/>
                  </a:lnTo>
                  <a:lnTo>
                    <a:pt x="3286" y="3187"/>
                  </a:lnTo>
                  <a:lnTo>
                    <a:pt x="3429" y="3187"/>
                  </a:lnTo>
                  <a:lnTo>
                    <a:pt x="3569" y="3187"/>
                  </a:lnTo>
                  <a:lnTo>
                    <a:pt x="3697" y="3181"/>
                  </a:lnTo>
                  <a:lnTo>
                    <a:pt x="3813" y="3173"/>
                  </a:lnTo>
                  <a:lnTo>
                    <a:pt x="3922" y="3161"/>
                  </a:lnTo>
                  <a:lnTo>
                    <a:pt x="4019" y="3149"/>
                  </a:lnTo>
                  <a:lnTo>
                    <a:pt x="4108" y="3134"/>
                  </a:lnTo>
                  <a:lnTo>
                    <a:pt x="4188" y="3116"/>
                  </a:lnTo>
                  <a:lnTo>
                    <a:pt x="4260" y="3098"/>
                  </a:lnTo>
                  <a:lnTo>
                    <a:pt x="4323" y="3076"/>
                  </a:lnTo>
                  <a:lnTo>
                    <a:pt x="4380" y="3057"/>
                  </a:lnTo>
                  <a:lnTo>
                    <a:pt x="4429" y="3035"/>
                  </a:lnTo>
                  <a:lnTo>
                    <a:pt x="4473" y="3013"/>
                  </a:lnTo>
                  <a:lnTo>
                    <a:pt x="4510" y="2991"/>
                  </a:lnTo>
                  <a:lnTo>
                    <a:pt x="4542" y="2970"/>
                  </a:lnTo>
                  <a:lnTo>
                    <a:pt x="4567" y="2948"/>
                  </a:lnTo>
                  <a:lnTo>
                    <a:pt x="4589" y="2928"/>
                  </a:lnTo>
                  <a:lnTo>
                    <a:pt x="4607" y="2908"/>
                  </a:lnTo>
                  <a:lnTo>
                    <a:pt x="4621" y="2891"/>
                  </a:lnTo>
                  <a:lnTo>
                    <a:pt x="4631" y="2875"/>
                  </a:lnTo>
                  <a:lnTo>
                    <a:pt x="4639" y="2859"/>
                  </a:lnTo>
                  <a:lnTo>
                    <a:pt x="4644" y="2849"/>
                  </a:lnTo>
                  <a:lnTo>
                    <a:pt x="4646" y="2839"/>
                  </a:lnTo>
                  <a:lnTo>
                    <a:pt x="4648" y="2833"/>
                  </a:lnTo>
                  <a:lnTo>
                    <a:pt x="4648" y="2829"/>
                  </a:lnTo>
                  <a:lnTo>
                    <a:pt x="4650" y="2824"/>
                  </a:lnTo>
                  <a:lnTo>
                    <a:pt x="4650" y="2820"/>
                  </a:lnTo>
                  <a:lnTo>
                    <a:pt x="4650" y="2474"/>
                  </a:lnTo>
                  <a:lnTo>
                    <a:pt x="4593" y="2519"/>
                  </a:lnTo>
                  <a:lnTo>
                    <a:pt x="4534" y="2563"/>
                  </a:lnTo>
                  <a:lnTo>
                    <a:pt x="4530" y="2565"/>
                  </a:lnTo>
                  <a:lnTo>
                    <a:pt x="4528" y="2567"/>
                  </a:lnTo>
                  <a:lnTo>
                    <a:pt x="4427" y="2628"/>
                  </a:lnTo>
                  <a:lnTo>
                    <a:pt x="4321" y="2683"/>
                  </a:lnTo>
                  <a:lnTo>
                    <a:pt x="4212" y="2731"/>
                  </a:lnTo>
                  <a:lnTo>
                    <a:pt x="4098" y="2768"/>
                  </a:lnTo>
                  <a:lnTo>
                    <a:pt x="3981" y="2800"/>
                  </a:lnTo>
                  <a:lnTo>
                    <a:pt x="3863" y="2824"/>
                  </a:lnTo>
                  <a:lnTo>
                    <a:pt x="3740" y="2837"/>
                  </a:lnTo>
                  <a:lnTo>
                    <a:pt x="3618" y="2843"/>
                  </a:lnTo>
                  <a:lnTo>
                    <a:pt x="3586" y="2895"/>
                  </a:lnTo>
                  <a:lnTo>
                    <a:pt x="3549" y="2940"/>
                  </a:lnTo>
                  <a:lnTo>
                    <a:pt x="3506" y="2980"/>
                  </a:lnTo>
                  <a:lnTo>
                    <a:pt x="3456" y="3011"/>
                  </a:lnTo>
                  <a:lnTo>
                    <a:pt x="3401" y="3035"/>
                  </a:lnTo>
                  <a:lnTo>
                    <a:pt x="3344" y="3051"/>
                  </a:lnTo>
                  <a:lnTo>
                    <a:pt x="3281" y="3057"/>
                  </a:lnTo>
                  <a:lnTo>
                    <a:pt x="3213" y="3051"/>
                  </a:lnTo>
                  <a:lnTo>
                    <a:pt x="3150" y="3033"/>
                  </a:lnTo>
                  <a:lnTo>
                    <a:pt x="3091" y="3005"/>
                  </a:lnTo>
                  <a:lnTo>
                    <a:pt x="3040" y="2968"/>
                  </a:lnTo>
                  <a:lnTo>
                    <a:pt x="2994" y="2922"/>
                  </a:lnTo>
                  <a:lnTo>
                    <a:pt x="2957" y="2871"/>
                  </a:lnTo>
                  <a:lnTo>
                    <a:pt x="2929" y="2812"/>
                  </a:lnTo>
                  <a:lnTo>
                    <a:pt x="2911" y="2749"/>
                  </a:lnTo>
                  <a:lnTo>
                    <a:pt x="2905" y="2681"/>
                  </a:lnTo>
                  <a:lnTo>
                    <a:pt x="2911" y="2612"/>
                  </a:lnTo>
                  <a:lnTo>
                    <a:pt x="2929" y="2549"/>
                  </a:lnTo>
                  <a:lnTo>
                    <a:pt x="2957" y="2492"/>
                  </a:lnTo>
                  <a:lnTo>
                    <a:pt x="2994" y="2439"/>
                  </a:lnTo>
                  <a:lnTo>
                    <a:pt x="3040" y="2393"/>
                  </a:lnTo>
                  <a:lnTo>
                    <a:pt x="3091" y="2356"/>
                  </a:lnTo>
                  <a:lnTo>
                    <a:pt x="3150" y="2328"/>
                  </a:lnTo>
                  <a:lnTo>
                    <a:pt x="3213" y="2312"/>
                  </a:lnTo>
                  <a:lnTo>
                    <a:pt x="3281" y="2306"/>
                  </a:lnTo>
                  <a:lnTo>
                    <a:pt x="3346" y="2310"/>
                  </a:lnTo>
                  <a:lnTo>
                    <a:pt x="3407" y="2328"/>
                  </a:lnTo>
                  <a:lnTo>
                    <a:pt x="3464" y="2354"/>
                  </a:lnTo>
                  <a:lnTo>
                    <a:pt x="3515" y="2389"/>
                  </a:lnTo>
                  <a:lnTo>
                    <a:pt x="3561" y="2433"/>
                  </a:lnTo>
                  <a:lnTo>
                    <a:pt x="3598" y="2482"/>
                  </a:lnTo>
                  <a:lnTo>
                    <a:pt x="3626" y="2537"/>
                  </a:lnTo>
                  <a:lnTo>
                    <a:pt x="3646" y="2596"/>
                  </a:lnTo>
                  <a:lnTo>
                    <a:pt x="3762" y="2589"/>
                  </a:lnTo>
                  <a:lnTo>
                    <a:pt x="3877" y="2571"/>
                  </a:lnTo>
                  <a:lnTo>
                    <a:pt x="3987" y="2545"/>
                  </a:lnTo>
                  <a:lnTo>
                    <a:pt x="4096" y="2512"/>
                  </a:lnTo>
                  <a:lnTo>
                    <a:pt x="4200" y="2470"/>
                  </a:lnTo>
                  <a:lnTo>
                    <a:pt x="4301" y="2419"/>
                  </a:lnTo>
                  <a:lnTo>
                    <a:pt x="4396" y="2360"/>
                  </a:lnTo>
                  <a:lnTo>
                    <a:pt x="4465" y="2310"/>
                  </a:lnTo>
                  <a:lnTo>
                    <a:pt x="4528" y="2255"/>
                  </a:lnTo>
                  <a:lnTo>
                    <a:pt x="4593" y="2194"/>
                  </a:lnTo>
                  <a:lnTo>
                    <a:pt x="4650" y="2129"/>
                  </a:lnTo>
                  <a:lnTo>
                    <a:pt x="4650" y="1534"/>
                  </a:lnTo>
                  <a:lnTo>
                    <a:pt x="4646" y="1512"/>
                  </a:lnTo>
                  <a:lnTo>
                    <a:pt x="4635" y="1493"/>
                  </a:lnTo>
                  <a:lnTo>
                    <a:pt x="4552" y="1414"/>
                  </a:lnTo>
                  <a:lnTo>
                    <a:pt x="4463" y="1343"/>
                  </a:lnTo>
                  <a:lnTo>
                    <a:pt x="4374" y="1281"/>
                  </a:lnTo>
                  <a:lnTo>
                    <a:pt x="4281" y="1228"/>
                  </a:lnTo>
                  <a:lnTo>
                    <a:pt x="4188" y="1181"/>
                  </a:lnTo>
                  <a:lnTo>
                    <a:pt x="4096" y="1141"/>
                  </a:lnTo>
                  <a:lnTo>
                    <a:pt x="4003" y="1106"/>
                  </a:lnTo>
                  <a:lnTo>
                    <a:pt x="3912" y="1078"/>
                  </a:lnTo>
                  <a:lnTo>
                    <a:pt x="3825" y="1056"/>
                  </a:lnTo>
                  <a:lnTo>
                    <a:pt x="3742" y="1037"/>
                  </a:lnTo>
                  <a:lnTo>
                    <a:pt x="3663" y="1023"/>
                  </a:lnTo>
                  <a:lnTo>
                    <a:pt x="3590" y="1013"/>
                  </a:lnTo>
                  <a:lnTo>
                    <a:pt x="3525" y="1005"/>
                  </a:lnTo>
                  <a:lnTo>
                    <a:pt x="3466" y="999"/>
                  </a:lnTo>
                  <a:lnTo>
                    <a:pt x="3417" y="997"/>
                  </a:lnTo>
                  <a:lnTo>
                    <a:pt x="3377" y="995"/>
                  </a:lnTo>
                  <a:lnTo>
                    <a:pt x="3348" y="995"/>
                  </a:lnTo>
                  <a:lnTo>
                    <a:pt x="3206" y="995"/>
                  </a:lnTo>
                  <a:close/>
                  <a:moveTo>
                    <a:pt x="3002" y="0"/>
                  </a:moveTo>
                  <a:lnTo>
                    <a:pt x="3034" y="0"/>
                  </a:lnTo>
                  <a:lnTo>
                    <a:pt x="3057" y="2"/>
                  </a:lnTo>
                  <a:lnTo>
                    <a:pt x="3075" y="2"/>
                  </a:lnTo>
                  <a:lnTo>
                    <a:pt x="3087" y="4"/>
                  </a:lnTo>
                  <a:lnTo>
                    <a:pt x="3091" y="4"/>
                  </a:lnTo>
                  <a:lnTo>
                    <a:pt x="3255" y="4"/>
                  </a:lnTo>
                  <a:lnTo>
                    <a:pt x="3261" y="4"/>
                  </a:lnTo>
                  <a:lnTo>
                    <a:pt x="3277" y="2"/>
                  </a:lnTo>
                  <a:lnTo>
                    <a:pt x="3300" y="2"/>
                  </a:lnTo>
                  <a:lnTo>
                    <a:pt x="3332" y="2"/>
                  </a:lnTo>
                  <a:lnTo>
                    <a:pt x="3369" y="2"/>
                  </a:lnTo>
                  <a:lnTo>
                    <a:pt x="3411" y="4"/>
                  </a:lnTo>
                  <a:lnTo>
                    <a:pt x="3458" y="6"/>
                  </a:lnTo>
                  <a:lnTo>
                    <a:pt x="3509" y="12"/>
                  </a:lnTo>
                  <a:lnTo>
                    <a:pt x="3565" y="20"/>
                  </a:lnTo>
                  <a:lnTo>
                    <a:pt x="3626" y="30"/>
                  </a:lnTo>
                  <a:lnTo>
                    <a:pt x="3689" y="43"/>
                  </a:lnTo>
                  <a:lnTo>
                    <a:pt x="3756" y="61"/>
                  </a:lnTo>
                  <a:lnTo>
                    <a:pt x="3825" y="81"/>
                  </a:lnTo>
                  <a:lnTo>
                    <a:pt x="3896" y="107"/>
                  </a:lnTo>
                  <a:lnTo>
                    <a:pt x="3969" y="136"/>
                  </a:lnTo>
                  <a:lnTo>
                    <a:pt x="4044" y="170"/>
                  </a:lnTo>
                  <a:lnTo>
                    <a:pt x="4119" y="209"/>
                  </a:lnTo>
                  <a:lnTo>
                    <a:pt x="4194" y="255"/>
                  </a:lnTo>
                  <a:lnTo>
                    <a:pt x="4271" y="306"/>
                  </a:lnTo>
                  <a:lnTo>
                    <a:pt x="4346" y="363"/>
                  </a:lnTo>
                  <a:lnTo>
                    <a:pt x="4421" y="426"/>
                  </a:lnTo>
                  <a:lnTo>
                    <a:pt x="4494" y="500"/>
                  </a:lnTo>
                  <a:lnTo>
                    <a:pt x="4565" y="577"/>
                  </a:lnTo>
                  <a:lnTo>
                    <a:pt x="4635" y="663"/>
                  </a:lnTo>
                  <a:lnTo>
                    <a:pt x="4702" y="758"/>
                  </a:lnTo>
                  <a:lnTo>
                    <a:pt x="4765" y="863"/>
                  </a:lnTo>
                  <a:lnTo>
                    <a:pt x="4826" y="975"/>
                  </a:lnTo>
                  <a:lnTo>
                    <a:pt x="4883" y="1096"/>
                  </a:lnTo>
                  <a:lnTo>
                    <a:pt x="4935" y="1228"/>
                  </a:lnTo>
                  <a:lnTo>
                    <a:pt x="4982" y="1368"/>
                  </a:lnTo>
                  <a:lnTo>
                    <a:pt x="5241" y="1580"/>
                  </a:lnTo>
                  <a:lnTo>
                    <a:pt x="5252" y="1593"/>
                  </a:lnTo>
                  <a:lnTo>
                    <a:pt x="5260" y="1609"/>
                  </a:lnTo>
                  <a:lnTo>
                    <a:pt x="5262" y="1627"/>
                  </a:lnTo>
                  <a:lnTo>
                    <a:pt x="5262" y="2699"/>
                  </a:lnTo>
                  <a:lnTo>
                    <a:pt x="5260" y="2717"/>
                  </a:lnTo>
                  <a:lnTo>
                    <a:pt x="5250" y="2735"/>
                  </a:lnTo>
                  <a:lnTo>
                    <a:pt x="5017" y="3055"/>
                  </a:lnTo>
                  <a:lnTo>
                    <a:pt x="5017" y="3380"/>
                  </a:lnTo>
                  <a:lnTo>
                    <a:pt x="5047" y="3388"/>
                  </a:lnTo>
                  <a:lnTo>
                    <a:pt x="5077" y="3404"/>
                  </a:lnTo>
                  <a:lnTo>
                    <a:pt x="5108" y="3428"/>
                  </a:lnTo>
                  <a:lnTo>
                    <a:pt x="5138" y="3459"/>
                  </a:lnTo>
                  <a:lnTo>
                    <a:pt x="5166" y="3499"/>
                  </a:lnTo>
                  <a:lnTo>
                    <a:pt x="5187" y="3546"/>
                  </a:lnTo>
                  <a:lnTo>
                    <a:pt x="5201" y="3602"/>
                  </a:lnTo>
                  <a:lnTo>
                    <a:pt x="5211" y="3661"/>
                  </a:lnTo>
                  <a:lnTo>
                    <a:pt x="5215" y="3728"/>
                  </a:lnTo>
                  <a:lnTo>
                    <a:pt x="5213" y="3801"/>
                  </a:lnTo>
                  <a:lnTo>
                    <a:pt x="5205" y="3882"/>
                  </a:lnTo>
                  <a:lnTo>
                    <a:pt x="5193" y="3967"/>
                  </a:lnTo>
                  <a:lnTo>
                    <a:pt x="5227" y="3977"/>
                  </a:lnTo>
                  <a:lnTo>
                    <a:pt x="5266" y="3989"/>
                  </a:lnTo>
                  <a:lnTo>
                    <a:pt x="5310" y="4004"/>
                  </a:lnTo>
                  <a:lnTo>
                    <a:pt x="5359" y="4022"/>
                  </a:lnTo>
                  <a:lnTo>
                    <a:pt x="5410" y="4046"/>
                  </a:lnTo>
                  <a:lnTo>
                    <a:pt x="5464" y="4071"/>
                  </a:lnTo>
                  <a:lnTo>
                    <a:pt x="5517" y="4103"/>
                  </a:lnTo>
                  <a:lnTo>
                    <a:pt x="5572" y="4139"/>
                  </a:lnTo>
                  <a:lnTo>
                    <a:pt x="5627" y="4180"/>
                  </a:lnTo>
                  <a:lnTo>
                    <a:pt x="5681" y="4225"/>
                  </a:lnTo>
                  <a:lnTo>
                    <a:pt x="5732" y="4277"/>
                  </a:lnTo>
                  <a:lnTo>
                    <a:pt x="5781" y="4334"/>
                  </a:lnTo>
                  <a:lnTo>
                    <a:pt x="5827" y="4399"/>
                  </a:lnTo>
                  <a:lnTo>
                    <a:pt x="5866" y="4470"/>
                  </a:lnTo>
                  <a:lnTo>
                    <a:pt x="5902" y="4547"/>
                  </a:lnTo>
                  <a:lnTo>
                    <a:pt x="5931" y="4632"/>
                  </a:lnTo>
                  <a:lnTo>
                    <a:pt x="5953" y="4723"/>
                  </a:lnTo>
                  <a:lnTo>
                    <a:pt x="6332" y="6421"/>
                  </a:lnTo>
                  <a:lnTo>
                    <a:pt x="6334" y="6439"/>
                  </a:lnTo>
                  <a:lnTo>
                    <a:pt x="6330" y="6457"/>
                  </a:lnTo>
                  <a:lnTo>
                    <a:pt x="6320" y="6473"/>
                  </a:lnTo>
                  <a:lnTo>
                    <a:pt x="6306" y="6484"/>
                  </a:lnTo>
                  <a:lnTo>
                    <a:pt x="6291" y="6492"/>
                  </a:lnTo>
                  <a:lnTo>
                    <a:pt x="6273" y="6494"/>
                  </a:lnTo>
                  <a:lnTo>
                    <a:pt x="4161" y="6494"/>
                  </a:lnTo>
                  <a:lnTo>
                    <a:pt x="4161" y="5148"/>
                  </a:lnTo>
                  <a:lnTo>
                    <a:pt x="2203" y="5148"/>
                  </a:lnTo>
                  <a:lnTo>
                    <a:pt x="2203" y="6435"/>
                  </a:lnTo>
                  <a:lnTo>
                    <a:pt x="2199" y="6459"/>
                  </a:lnTo>
                  <a:lnTo>
                    <a:pt x="2185" y="6478"/>
                  </a:lnTo>
                  <a:lnTo>
                    <a:pt x="2165" y="6490"/>
                  </a:lnTo>
                  <a:lnTo>
                    <a:pt x="2142" y="6496"/>
                  </a:lnTo>
                  <a:lnTo>
                    <a:pt x="59" y="6496"/>
                  </a:lnTo>
                  <a:lnTo>
                    <a:pt x="41" y="6492"/>
                  </a:lnTo>
                  <a:lnTo>
                    <a:pt x="26" y="6484"/>
                  </a:lnTo>
                  <a:lnTo>
                    <a:pt x="12" y="6473"/>
                  </a:lnTo>
                  <a:lnTo>
                    <a:pt x="4" y="6457"/>
                  </a:lnTo>
                  <a:lnTo>
                    <a:pt x="0" y="6439"/>
                  </a:lnTo>
                  <a:lnTo>
                    <a:pt x="0" y="6421"/>
                  </a:lnTo>
                  <a:lnTo>
                    <a:pt x="401" y="4719"/>
                  </a:lnTo>
                  <a:lnTo>
                    <a:pt x="422" y="4626"/>
                  </a:lnTo>
                  <a:lnTo>
                    <a:pt x="450" y="4541"/>
                  </a:lnTo>
                  <a:lnTo>
                    <a:pt x="486" y="4464"/>
                  </a:lnTo>
                  <a:lnTo>
                    <a:pt x="525" y="4395"/>
                  </a:lnTo>
                  <a:lnTo>
                    <a:pt x="570" y="4330"/>
                  </a:lnTo>
                  <a:lnTo>
                    <a:pt x="618" y="4273"/>
                  </a:lnTo>
                  <a:lnTo>
                    <a:pt x="669" y="4222"/>
                  </a:lnTo>
                  <a:lnTo>
                    <a:pt x="722" y="4176"/>
                  </a:lnTo>
                  <a:lnTo>
                    <a:pt x="778" y="4135"/>
                  </a:lnTo>
                  <a:lnTo>
                    <a:pt x="833" y="4099"/>
                  </a:lnTo>
                  <a:lnTo>
                    <a:pt x="886" y="4069"/>
                  </a:lnTo>
                  <a:lnTo>
                    <a:pt x="940" y="4042"/>
                  </a:lnTo>
                  <a:lnTo>
                    <a:pt x="991" y="4020"/>
                  </a:lnTo>
                  <a:lnTo>
                    <a:pt x="1038" y="4000"/>
                  </a:lnTo>
                  <a:lnTo>
                    <a:pt x="1082" y="3987"/>
                  </a:lnTo>
                  <a:lnTo>
                    <a:pt x="1121" y="3975"/>
                  </a:lnTo>
                  <a:lnTo>
                    <a:pt x="1155" y="3965"/>
                  </a:lnTo>
                  <a:lnTo>
                    <a:pt x="1143" y="3880"/>
                  </a:lnTo>
                  <a:lnTo>
                    <a:pt x="1135" y="3803"/>
                  </a:lnTo>
                  <a:lnTo>
                    <a:pt x="1133" y="3730"/>
                  </a:lnTo>
                  <a:lnTo>
                    <a:pt x="1139" y="3663"/>
                  </a:lnTo>
                  <a:lnTo>
                    <a:pt x="1149" y="3603"/>
                  </a:lnTo>
                  <a:lnTo>
                    <a:pt x="1165" y="3550"/>
                  </a:lnTo>
                  <a:lnTo>
                    <a:pt x="1186" y="3503"/>
                  </a:lnTo>
                  <a:lnTo>
                    <a:pt x="1214" y="3461"/>
                  </a:lnTo>
                  <a:lnTo>
                    <a:pt x="1245" y="3428"/>
                  </a:lnTo>
                  <a:lnTo>
                    <a:pt x="1281" y="3404"/>
                  </a:lnTo>
                  <a:lnTo>
                    <a:pt x="1315" y="3388"/>
                  </a:lnTo>
                  <a:lnTo>
                    <a:pt x="1344" y="3376"/>
                  </a:lnTo>
                  <a:lnTo>
                    <a:pt x="1344" y="3053"/>
                  </a:lnTo>
                  <a:lnTo>
                    <a:pt x="1111" y="2733"/>
                  </a:lnTo>
                  <a:lnTo>
                    <a:pt x="1103" y="2717"/>
                  </a:lnTo>
                  <a:lnTo>
                    <a:pt x="1101" y="2697"/>
                  </a:lnTo>
                  <a:lnTo>
                    <a:pt x="1101" y="1625"/>
                  </a:lnTo>
                  <a:lnTo>
                    <a:pt x="1103" y="1607"/>
                  </a:lnTo>
                  <a:lnTo>
                    <a:pt x="1111" y="1591"/>
                  </a:lnTo>
                  <a:lnTo>
                    <a:pt x="1123" y="1580"/>
                  </a:lnTo>
                  <a:lnTo>
                    <a:pt x="1370" y="1368"/>
                  </a:lnTo>
                  <a:lnTo>
                    <a:pt x="1417" y="1228"/>
                  </a:lnTo>
                  <a:lnTo>
                    <a:pt x="1469" y="1098"/>
                  </a:lnTo>
                  <a:lnTo>
                    <a:pt x="1524" y="977"/>
                  </a:lnTo>
                  <a:lnTo>
                    <a:pt x="1583" y="865"/>
                  </a:lnTo>
                  <a:lnTo>
                    <a:pt x="1646" y="762"/>
                  </a:lnTo>
                  <a:lnTo>
                    <a:pt x="1713" y="667"/>
                  </a:lnTo>
                  <a:lnTo>
                    <a:pt x="1780" y="582"/>
                  </a:lnTo>
                  <a:lnTo>
                    <a:pt x="1851" y="503"/>
                  </a:lnTo>
                  <a:lnTo>
                    <a:pt x="1923" y="432"/>
                  </a:lnTo>
                  <a:lnTo>
                    <a:pt x="1996" y="367"/>
                  </a:lnTo>
                  <a:lnTo>
                    <a:pt x="2071" y="310"/>
                  </a:lnTo>
                  <a:lnTo>
                    <a:pt x="2146" y="259"/>
                  </a:lnTo>
                  <a:lnTo>
                    <a:pt x="2221" y="213"/>
                  </a:lnTo>
                  <a:lnTo>
                    <a:pt x="2294" y="174"/>
                  </a:lnTo>
                  <a:lnTo>
                    <a:pt x="2367" y="138"/>
                  </a:lnTo>
                  <a:lnTo>
                    <a:pt x="2440" y="109"/>
                  </a:lnTo>
                  <a:lnTo>
                    <a:pt x="2511" y="83"/>
                  </a:lnTo>
                  <a:lnTo>
                    <a:pt x="2578" y="63"/>
                  </a:lnTo>
                  <a:lnTo>
                    <a:pt x="2645" y="45"/>
                  </a:lnTo>
                  <a:lnTo>
                    <a:pt x="2708" y="32"/>
                  </a:lnTo>
                  <a:lnTo>
                    <a:pt x="2767" y="20"/>
                  </a:lnTo>
                  <a:lnTo>
                    <a:pt x="2823" y="12"/>
                  </a:lnTo>
                  <a:lnTo>
                    <a:pt x="2876" y="6"/>
                  </a:lnTo>
                  <a:lnTo>
                    <a:pt x="2923" y="4"/>
                  </a:lnTo>
                  <a:lnTo>
                    <a:pt x="2965" y="2"/>
                  </a:lnTo>
                  <a:lnTo>
                    <a:pt x="300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99" name="Freeform 52"/>
            <p:cNvSpPr>
              <a:spLocks/>
            </p:cNvSpPr>
            <p:nvPr/>
          </p:nvSpPr>
          <p:spPr bwMode="auto">
            <a:xfrm>
              <a:off x="3234" y="1123"/>
              <a:ext cx="411" cy="514"/>
            </a:xfrm>
            <a:custGeom>
              <a:avLst/>
              <a:gdLst>
                <a:gd name="T0" fmla="*/ 691 w 821"/>
                <a:gd name="T1" fmla="*/ 0 h 1026"/>
                <a:gd name="T2" fmla="*/ 722 w 821"/>
                <a:gd name="T3" fmla="*/ 4 h 1026"/>
                <a:gd name="T4" fmla="*/ 752 w 821"/>
                <a:gd name="T5" fmla="*/ 14 h 1026"/>
                <a:gd name="T6" fmla="*/ 778 w 821"/>
                <a:gd name="T7" fmla="*/ 31 h 1026"/>
                <a:gd name="T8" fmla="*/ 799 w 821"/>
                <a:gd name="T9" fmla="*/ 55 h 1026"/>
                <a:gd name="T10" fmla="*/ 815 w 821"/>
                <a:gd name="T11" fmla="*/ 85 h 1026"/>
                <a:gd name="T12" fmla="*/ 821 w 821"/>
                <a:gd name="T13" fmla="*/ 116 h 1026"/>
                <a:gd name="T14" fmla="*/ 817 w 821"/>
                <a:gd name="T15" fmla="*/ 148 h 1026"/>
                <a:gd name="T16" fmla="*/ 807 w 821"/>
                <a:gd name="T17" fmla="*/ 177 h 1026"/>
                <a:gd name="T18" fmla="*/ 790 w 821"/>
                <a:gd name="T19" fmla="*/ 203 h 1026"/>
                <a:gd name="T20" fmla="*/ 766 w 821"/>
                <a:gd name="T21" fmla="*/ 225 h 1026"/>
                <a:gd name="T22" fmla="*/ 736 w 821"/>
                <a:gd name="T23" fmla="*/ 239 h 1026"/>
                <a:gd name="T24" fmla="*/ 636 w 821"/>
                <a:gd name="T25" fmla="*/ 272 h 1026"/>
                <a:gd name="T26" fmla="*/ 547 w 821"/>
                <a:gd name="T27" fmla="*/ 308 h 1026"/>
                <a:gd name="T28" fmla="*/ 472 w 821"/>
                <a:gd name="T29" fmla="*/ 339 h 1026"/>
                <a:gd name="T30" fmla="*/ 407 w 821"/>
                <a:gd name="T31" fmla="*/ 371 h 1026"/>
                <a:gd name="T32" fmla="*/ 351 w 821"/>
                <a:gd name="T33" fmla="*/ 401 h 1026"/>
                <a:gd name="T34" fmla="*/ 308 w 821"/>
                <a:gd name="T35" fmla="*/ 428 h 1026"/>
                <a:gd name="T36" fmla="*/ 272 w 821"/>
                <a:gd name="T37" fmla="*/ 450 h 1026"/>
                <a:gd name="T38" fmla="*/ 247 w 821"/>
                <a:gd name="T39" fmla="*/ 470 h 1026"/>
                <a:gd name="T40" fmla="*/ 247 w 821"/>
                <a:gd name="T41" fmla="*/ 904 h 1026"/>
                <a:gd name="T42" fmla="*/ 243 w 821"/>
                <a:gd name="T43" fmla="*/ 936 h 1026"/>
                <a:gd name="T44" fmla="*/ 231 w 821"/>
                <a:gd name="T45" fmla="*/ 965 h 1026"/>
                <a:gd name="T46" fmla="*/ 211 w 821"/>
                <a:gd name="T47" fmla="*/ 991 h 1026"/>
                <a:gd name="T48" fmla="*/ 186 w 821"/>
                <a:gd name="T49" fmla="*/ 1011 h 1026"/>
                <a:gd name="T50" fmla="*/ 156 w 821"/>
                <a:gd name="T51" fmla="*/ 1023 h 1026"/>
                <a:gd name="T52" fmla="*/ 124 w 821"/>
                <a:gd name="T53" fmla="*/ 1026 h 1026"/>
                <a:gd name="T54" fmla="*/ 91 w 821"/>
                <a:gd name="T55" fmla="*/ 1023 h 1026"/>
                <a:gd name="T56" fmla="*/ 61 w 821"/>
                <a:gd name="T57" fmla="*/ 1011 h 1026"/>
                <a:gd name="T58" fmla="*/ 38 w 821"/>
                <a:gd name="T59" fmla="*/ 991 h 1026"/>
                <a:gd name="T60" fmla="*/ 18 w 821"/>
                <a:gd name="T61" fmla="*/ 965 h 1026"/>
                <a:gd name="T62" fmla="*/ 6 w 821"/>
                <a:gd name="T63" fmla="*/ 936 h 1026"/>
                <a:gd name="T64" fmla="*/ 0 w 821"/>
                <a:gd name="T65" fmla="*/ 904 h 1026"/>
                <a:gd name="T66" fmla="*/ 0 w 821"/>
                <a:gd name="T67" fmla="*/ 414 h 1026"/>
                <a:gd name="T68" fmla="*/ 2 w 821"/>
                <a:gd name="T69" fmla="*/ 393 h 1026"/>
                <a:gd name="T70" fmla="*/ 8 w 821"/>
                <a:gd name="T71" fmla="*/ 371 h 1026"/>
                <a:gd name="T72" fmla="*/ 18 w 821"/>
                <a:gd name="T73" fmla="*/ 351 h 1026"/>
                <a:gd name="T74" fmla="*/ 32 w 821"/>
                <a:gd name="T75" fmla="*/ 333 h 1026"/>
                <a:gd name="T76" fmla="*/ 40 w 821"/>
                <a:gd name="T77" fmla="*/ 328 h 1026"/>
                <a:gd name="T78" fmla="*/ 51 w 821"/>
                <a:gd name="T79" fmla="*/ 314 h 1026"/>
                <a:gd name="T80" fmla="*/ 73 w 821"/>
                <a:gd name="T81" fmla="*/ 296 h 1026"/>
                <a:gd name="T82" fmla="*/ 99 w 821"/>
                <a:gd name="T83" fmla="*/ 274 h 1026"/>
                <a:gd name="T84" fmla="*/ 134 w 821"/>
                <a:gd name="T85" fmla="*/ 249 h 1026"/>
                <a:gd name="T86" fmla="*/ 180 w 821"/>
                <a:gd name="T87" fmla="*/ 219 h 1026"/>
                <a:gd name="T88" fmla="*/ 233 w 821"/>
                <a:gd name="T89" fmla="*/ 187 h 1026"/>
                <a:gd name="T90" fmla="*/ 296 w 821"/>
                <a:gd name="T91" fmla="*/ 152 h 1026"/>
                <a:gd name="T92" fmla="*/ 369 w 821"/>
                <a:gd name="T93" fmla="*/ 116 h 1026"/>
                <a:gd name="T94" fmla="*/ 454 w 821"/>
                <a:gd name="T95" fmla="*/ 79 h 1026"/>
                <a:gd name="T96" fmla="*/ 551 w 821"/>
                <a:gd name="T97" fmla="*/ 43 h 1026"/>
                <a:gd name="T98" fmla="*/ 661 w 821"/>
                <a:gd name="T99" fmla="*/ 6 h 1026"/>
                <a:gd name="T100" fmla="*/ 691 w 821"/>
                <a:gd name="T101" fmla="*/ 0 h 1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1" h="1026">
                  <a:moveTo>
                    <a:pt x="691" y="0"/>
                  </a:moveTo>
                  <a:lnTo>
                    <a:pt x="722" y="4"/>
                  </a:lnTo>
                  <a:lnTo>
                    <a:pt x="752" y="14"/>
                  </a:lnTo>
                  <a:lnTo>
                    <a:pt x="778" y="31"/>
                  </a:lnTo>
                  <a:lnTo>
                    <a:pt x="799" y="55"/>
                  </a:lnTo>
                  <a:lnTo>
                    <a:pt x="815" y="85"/>
                  </a:lnTo>
                  <a:lnTo>
                    <a:pt x="821" y="116"/>
                  </a:lnTo>
                  <a:lnTo>
                    <a:pt x="817" y="148"/>
                  </a:lnTo>
                  <a:lnTo>
                    <a:pt x="807" y="177"/>
                  </a:lnTo>
                  <a:lnTo>
                    <a:pt x="790" y="203"/>
                  </a:lnTo>
                  <a:lnTo>
                    <a:pt x="766" y="225"/>
                  </a:lnTo>
                  <a:lnTo>
                    <a:pt x="736" y="239"/>
                  </a:lnTo>
                  <a:lnTo>
                    <a:pt x="636" y="272"/>
                  </a:lnTo>
                  <a:lnTo>
                    <a:pt x="547" y="308"/>
                  </a:lnTo>
                  <a:lnTo>
                    <a:pt x="472" y="339"/>
                  </a:lnTo>
                  <a:lnTo>
                    <a:pt x="407" y="371"/>
                  </a:lnTo>
                  <a:lnTo>
                    <a:pt x="351" y="401"/>
                  </a:lnTo>
                  <a:lnTo>
                    <a:pt x="308" y="428"/>
                  </a:lnTo>
                  <a:lnTo>
                    <a:pt x="272" y="450"/>
                  </a:lnTo>
                  <a:lnTo>
                    <a:pt x="247" y="470"/>
                  </a:lnTo>
                  <a:lnTo>
                    <a:pt x="247" y="904"/>
                  </a:lnTo>
                  <a:lnTo>
                    <a:pt x="243" y="936"/>
                  </a:lnTo>
                  <a:lnTo>
                    <a:pt x="231" y="965"/>
                  </a:lnTo>
                  <a:lnTo>
                    <a:pt x="211" y="991"/>
                  </a:lnTo>
                  <a:lnTo>
                    <a:pt x="186" y="1011"/>
                  </a:lnTo>
                  <a:lnTo>
                    <a:pt x="156" y="1023"/>
                  </a:lnTo>
                  <a:lnTo>
                    <a:pt x="124" y="1026"/>
                  </a:lnTo>
                  <a:lnTo>
                    <a:pt x="91" y="1023"/>
                  </a:lnTo>
                  <a:lnTo>
                    <a:pt x="61" y="1011"/>
                  </a:lnTo>
                  <a:lnTo>
                    <a:pt x="38" y="991"/>
                  </a:lnTo>
                  <a:lnTo>
                    <a:pt x="18" y="965"/>
                  </a:lnTo>
                  <a:lnTo>
                    <a:pt x="6" y="936"/>
                  </a:lnTo>
                  <a:lnTo>
                    <a:pt x="0" y="904"/>
                  </a:lnTo>
                  <a:lnTo>
                    <a:pt x="0" y="414"/>
                  </a:lnTo>
                  <a:lnTo>
                    <a:pt x="2" y="393"/>
                  </a:lnTo>
                  <a:lnTo>
                    <a:pt x="8" y="371"/>
                  </a:lnTo>
                  <a:lnTo>
                    <a:pt x="18" y="351"/>
                  </a:lnTo>
                  <a:lnTo>
                    <a:pt x="32" y="333"/>
                  </a:lnTo>
                  <a:lnTo>
                    <a:pt x="40" y="328"/>
                  </a:lnTo>
                  <a:lnTo>
                    <a:pt x="51" y="314"/>
                  </a:lnTo>
                  <a:lnTo>
                    <a:pt x="73" y="296"/>
                  </a:lnTo>
                  <a:lnTo>
                    <a:pt x="99" y="274"/>
                  </a:lnTo>
                  <a:lnTo>
                    <a:pt x="134" y="249"/>
                  </a:lnTo>
                  <a:lnTo>
                    <a:pt x="180" y="219"/>
                  </a:lnTo>
                  <a:lnTo>
                    <a:pt x="233" y="187"/>
                  </a:lnTo>
                  <a:lnTo>
                    <a:pt x="296" y="152"/>
                  </a:lnTo>
                  <a:lnTo>
                    <a:pt x="369" y="116"/>
                  </a:lnTo>
                  <a:lnTo>
                    <a:pt x="454" y="79"/>
                  </a:lnTo>
                  <a:lnTo>
                    <a:pt x="551" y="43"/>
                  </a:lnTo>
                  <a:lnTo>
                    <a:pt x="661" y="6"/>
                  </a:lnTo>
                  <a:lnTo>
                    <a:pt x="6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196207" y="220101"/>
            <a:ext cx="5190267" cy="954107"/>
          </a:xfrm>
        </p:spPr>
        <p:txBody>
          <a:bodyPr/>
          <a:lstStyle/>
          <a:p>
            <a:r>
              <a:rPr lang="ru-RU" dirty="0"/>
              <a:t>Ключевой игрок отрасли </a:t>
            </a:r>
            <a:br>
              <a:rPr lang="en-US" dirty="0"/>
            </a:br>
            <a:r>
              <a:rPr lang="ru-RU" dirty="0"/>
              <a:t>космической связи</a:t>
            </a:r>
          </a:p>
        </p:txBody>
      </p:sp>
      <p:sp>
        <p:nvSpPr>
          <p:cNvPr id="5" name="Titre 1"/>
          <p:cNvSpPr txBox="1">
            <a:spLocks/>
          </p:cNvSpPr>
          <p:nvPr/>
        </p:nvSpPr>
        <p:spPr>
          <a:xfrm>
            <a:off x="329417" y="145171"/>
            <a:ext cx="10922600" cy="5159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 cap="none" baseline="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7645932" y="1542253"/>
            <a:ext cx="4426732" cy="1211203"/>
            <a:chOff x="451030" y="1650105"/>
            <a:chExt cx="4426732" cy="1211203"/>
          </a:xfrm>
        </p:grpSpPr>
        <p:sp>
          <p:nvSpPr>
            <p:cNvPr id="19" name="Rectangle 18"/>
            <p:cNvSpPr/>
            <p:nvPr/>
          </p:nvSpPr>
          <p:spPr>
            <a:xfrm>
              <a:off x="473791" y="1650105"/>
              <a:ext cx="4403971" cy="400110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lIns="0" rIns="0">
              <a:spAutoFit/>
            </a:bodyPr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ru-RU" sz="2000" b="1" i="0" u="none" strike="noStrike" cap="none" normalizeH="0" baseline="0" noProof="0" dirty="0">
                  <a:ln>
                    <a:noFill/>
                  </a:ln>
                  <a:solidFill>
                    <a:schemeClr val="bg1"/>
                  </a:solidFill>
                  <a:uLnTx/>
                  <a:uFillTx/>
                </a:rPr>
                <a:t>ПЕРВООТКРЫВАТЕЛЬ КОСМОСА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451030" y="1937978"/>
              <a:ext cx="1076577" cy="923330"/>
            </a:xfrm>
            <a:prstGeom prst="rect">
              <a:avLst/>
            </a:prstGeom>
          </p:spPr>
          <p:txBody>
            <a:bodyPr wrap="none" lIns="0">
              <a:spAutoFit/>
            </a:bodyPr>
            <a:lstStyle/>
            <a:p>
              <a:pPr marL="0" marR="0" lvl="0" indent="0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lang="ru-RU" sz="5400" b="1" noProof="0">
                  <a:solidFill>
                    <a:schemeClr val="accent2"/>
                  </a:solidFill>
                </a:rPr>
                <a:t>4</a:t>
              </a:r>
              <a:r>
                <a:rPr kumimoji="0" lang="ru-RU" sz="5400" b="1" i="0" u="none" strike="noStrike" cap="none" normalizeH="0" baseline="0" noProof="0">
                  <a:ln>
                    <a:noFill/>
                  </a:ln>
                  <a:solidFill>
                    <a:schemeClr val="accent2"/>
                  </a:solidFill>
                  <a:uLnTx/>
                  <a:uFillTx/>
                </a:rPr>
                <a:t>0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1320230" y="2213684"/>
              <a:ext cx="2405404" cy="297517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defTabSz="457189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ru-RU" sz="1600" b="1" i="0" u="none" strike="noStrike" cap="none" normalizeH="0" baseline="0" noProof="0" dirty="0">
                  <a:ln>
                    <a:noFill/>
                  </a:ln>
                  <a:solidFill>
                    <a:schemeClr val="accent2"/>
                  </a:solidFill>
                  <a:uLnTx/>
                  <a:uFillTx/>
                </a:rPr>
                <a:t>ЛЕТ </a:t>
              </a:r>
              <a:r>
                <a:rPr kumimoji="0" lang="ru-RU" sz="1600" b="1" i="0" u="none" strike="noStrike" cap="none" normalizeH="0" baseline="0" noProof="0" dirty="0">
                  <a:ln>
                    <a:noFill/>
                  </a:ln>
                  <a:solidFill>
                    <a:schemeClr val="accent1"/>
                  </a:solidFill>
                  <a:uLnTx/>
                  <a:uFillTx/>
                </a:rPr>
                <a:t>ОПЫТА</a:t>
              </a:r>
            </a:p>
          </p:txBody>
        </p:sp>
      </p:grpSp>
      <p:sp>
        <p:nvSpPr>
          <p:cNvPr id="27" name="Rectangle 26"/>
          <p:cNvSpPr/>
          <p:nvPr/>
        </p:nvSpPr>
        <p:spPr>
          <a:xfrm>
            <a:off x="7668693" y="3292653"/>
            <a:ext cx="2650919" cy="707886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defTabSz="457189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ru-RU" sz="1600" b="1" i="0" u="none" strike="noStrike" cap="none" normalizeH="0" baseline="0" noProof="0" dirty="0">
                <a:ln>
                  <a:noFill/>
                </a:ln>
                <a:solidFill>
                  <a:schemeClr val="accent1"/>
                </a:solidFill>
                <a:uLnTx/>
                <a:uFillTx/>
              </a:rPr>
              <a:t>СПУТНИКОВ</a:t>
            </a:r>
            <a:br>
              <a:rPr kumimoji="0" lang="ru-RU" sz="1600" b="1" i="0" u="none" strike="noStrike" cap="none" normalizeH="0" baseline="0" noProof="0" dirty="0">
                <a:ln>
                  <a:noFill/>
                </a:ln>
                <a:solidFill>
                  <a:schemeClr val="bg1"/>
                </a:solidFill>
                <a:uLnTx/>
                <a:uFillTx/>
              </a:rPr>
            </a:br>
            <a:r>
              <a:rPr kumimoji="0" lang="ru-RU" sz="1600" b="1" i="0" u="none" strike="noStrike" cap="none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</a:rPr>
              <a:t>ОБЕСПЕЧИВАЮТ </a:t>
            </a:r>
            <a:endParaRPr kumimoji="0" lang="en-US" sz="1600" b="1" i="0" u="none" strike="noStrike" cap="none" normalizeH="0" baseline="0" noProof="0" dirty="0">
              <a:ln>
                <a:noFill/>
              </a:ln>
              <a:solidFill>
                <a:schemeClr val="accent2"/>
              </a:solidFill>
              <a:uLnTx/>
              <a:uFillTx/>
            </a:endParaRPr>
          </a:p>
          <a:p>
            <a:pPr marL="0" marR="0" lvl="0" indent="0" defTabSz="457189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ru-RU" sz="1600" b="1" i="0" u="none" strike="noStrike" cap="none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</a:rPr>
              <a:t>ВСЕМИРНОЕ ПОКРЫТИЕ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529062" y="3156035"/>
            <a:ext cx="1076577" cy="923330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defTabSz="45718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lang="ru-RU" sz="5400" b="1">
                <a:solidFill>
                  <a:schemeClr val="accent1"/>
                </a:solidFill>
              </a:rPr>
              <a:t>39</a:t>
            </a:r>
          </a:p>
        </p:txBody>
      </p:sp>
      <p:sp>
        <p:nvSpPr>
          <p:cNvPr id="35" name="Rectangle 34"/>
          <p:cNvSpPr/>
          <p:nvPr/>
        </p:nvSpPr>
        <p:spPr>
          <a:xfrm>
            <a:off x="7874186" y="4732444"/>
            <a:ext cx="2847896" cy="584775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defTabSz="45718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ru-RU" sz="1600" b="1" i="0" u="none" strike="noStrike" cap="none" normalizeH="0" baseline="0" noProof="0">
                <a:ln>
                  <a:noFill/>
                </a:ln>
                <a:solidFill>
                  <a:schemeClr val="accent1"/>
                </a:solidFill>
                <a:uLnTx/>
                <a:uFillTx/>
              </a:rPr>
              <a:t>ПРОЧНАЯ ПРОГРАММА ИНВЕСТИЦИЙ</a:t>
            </a:r>
          </a:p>
        </p:txBody>
      </p:sp>
      <p:sp>
        <p:nvSpPr>
          <p:cNvPr id="36" name="Rectangle 35"/>
          <p:cNvSpPr/>
          <p:nvPr/>
        </p:nvSpPr>
        <p:spPr>
          <a:xfrm>
            <a:off x="8312923" y="5315747"/>
            <a:ext cx="1400383" cy="584775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defTabSz="45718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ru-RU" sz="1600" b="1" i="0" u="none" strike="noStrike" cap="none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</a:rPr>
              <a:t>СПУТНИКОВ,</a:t>
            </a:r>
            <a:r>
              <a:rPr kumimoji="0" lang="ru-RU" sz="1600" b="1" i="0" u="none" strike="noStrike" cap="none" normalizeH="0" baseline="0" noProof="0" dirty="0">
                <a:ln>
                  <a:noFill/>
                </a:ln>
                <a:uLnTx/>
                <a:uFillTx/>
              </a:rPr>
              <a:t> </a:t>
            </a:r>
            <a:br>
              <a:rPr kumimoji="0" lang="ru-RU" sz="1600" b="1" i="0" u="none" strike="noStrike" cap="none" normalizeH="0" baseline="0" noProof="0" dirty="0">
                <a:ln>
                  <a:noFill/>
                </a:ln>
                <a:uLnTx/>
                <a:uFillTx/>
              </a:rPr>
            </a:br>
            <a:r>
              <a:rPr kumimoji="0" lang="ru-RU" sz="1600" b="1" i="0" u="none" strike="noStrike" cap="none" normalizeH="0" baseline="0" noProof="0" dirty="0">
                <a:ln>
                  <a:noFill/>
                </a:ln>
                <a:solidFill>
                  <a:schemeClr val="accent1"/>
                </a:solidFill>
                <a:uLnTx/>
                <a:uFillTx/>
              </a:rPr>
              <a:t>ЗАПЛАНИРОВАННЫХ К ЗАПУСКУ</a:t>
            </a:r>
          </a:p>
        </p:txBody>
      </p:sp>
      <p:sp>
        <p:nvSpPr>
          <p:cNvPr id="37" name="Rectangle 36"/>
          <p:cNvSpPr/>
          <p:nvPr/>
        </p:nvSpPr>
        <p:spPr>
          <a:xfrm>
            <a:off x="7822061" y="5144869"/>
            <a:ext cx="584455" cy="923330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defTabSz="45718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ru-RU" sz="5400" b="1" i="0" u="none" strike="noStrike" cap="none" normalizeH="0" baseline="0" noProof="0">
                <a:ln>
                  <a:noFill/>
                </a:ln>
                <a:solidFill>
                  <a:schemeClr val="accent2"/>
                </a:solidFill>
                <a:uLnTx/>
                <a:uFillTx/>
              </a:rPr>
              <a:t>5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FE4B60B-D9F6-4990-AC41-C8B3880FDE2E}"/>
              </a:ext>
            </a:extLst>
          </p:cNvPr>
          <p:cNvGrpSpPr/>
          <p:nvPr/>
        </p:nvGrpSpPr>
        <p:grpSpPr>
          <a:xfrm>
            <a:off x="6540251" y="2895730"/>
            <a:ext cx="5269578" cy="1492716"/>
            <a:chOff x="6192331" y="2581808"/>
            <a:chExt cx="4952533" cy="1492716"/>
          </a:xfrm>
        </p:grpSpPr>
        <p:cxnSp>
          <p:nvCxnSpPr>
            <p:cNvPr id="30" name="Straight Connector 29"/>
            <p:cNvCxnSpPr/>
            <p:nvPr/>
          </p:nvCxnSpPr>
          <p:spPr>
            <a:xfrm>
              <a:off x="6192331" y="2581808"/>
              <a:ext cx="4928400" cy="0"/>
            </a:xfrm>
            <a:prstGeom prst="line">
              <a:avLst/>
            </a:prstGeom>
            <a:ln w="6350">
              <a:solidFill>
                <a:schemeClr val="bg2">
                  <a:alpha val="37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6214946" y="4074524"/>
              <a:ext cx="4929918" cy="0"/>
            </a:xfrm>
            <a:prstGeom prst="line">
              <a:avLst/>
            </a:prstGeom>
            <a:ln w="6350">
              <a:solidFill>
                <a:schemeClr val="bg2">
                  <a:alpha val="37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A2E75D5C-F172-438E-BC38-4B16A4AD512E}"/>
              </a:ext>
            </a:extLst>
          </p:cNvPr>
          <p:cNvGrpSpPr/>
          <p:nvPr/>
        </p:nvGrpSpPr>
        <p:grpSpPr>
          <a:xfrm>
            <a:off x="11036237" y="3289887"/>
            <a:ext cx="784533" cy="671744"/>
            <a:chOff x="10382554" y="2978731"/>
            <a:chExt cx="859707" cy="736111"/>
          </a:xfrm>
        </p:grpSpPr>
        <p:sp>
          <p:nvSpPr>
            <p:cNvPr id="1154" name="Freeform 23"/>
            <p:cNvSpPr>
              <a:spLocks noEditPoints="1"/>
            </p:cNvSpPr>
            <p:nvPr/>
          </p:nvSpPr>
          <p:spPr bwMode="auto">
            <a:xfrm>
              <a:off x="10433706" y="2978731"/>
              <a:ext cx="737540" cy="736111"/>
            </a:xfrm>
            <a:custGeom>
              <a:avLst/>
              <a:gdLst>
                <a:gd name="T0" fmla="*/ 1483 w 3610"/>
                <a:gd name="T1" fmla="*/ 373 h 3605"/>
                <a:gd name="T2" fmla="*/ 1725 w 3610"/>
                <a:gd name="T3" fmla="*/ 333 h 3605"/>
                <a:gd name="T4" fmla="*/ 1437 w 3610"/>
                <a:gd name="T5" fmla="*/ 606 h 3605"/>
                <a:gd name="T6" fmla="*/ 1450 w 3610"/>
                <a:gd name="T7" fmla="*/ 746 h 3605"/>
                <a:gd name="T8" fmla="*/ 1672 w 3610"/>
                <a:gd name="T9" fmla="*/ 685 h 3605"/>
                <a:gd name="T10" fmla="*/ 1915 w 3610"/>
                <a:gd name="T11" fmla="*/ 672 h 3605"/>
                <a:gd name="T12" fmla="*/ 2135 w 3610"/>
                <a:gd name="T13" fmla="*/ 773 h 3605"/>
                <a:gd name="T14" fmla="*/ 1926 w 3610"/>
                <a:gd name="T15" fmla="*/ 926 h 3605"/>
                <a:gd name="T16" fmla="*/ 1933 w 3610"/>
                <a:gd name="T17" fmla="*/ 974 h 3605"/>
                <a:gd name="T18" fmla="*/ 1885 w 3610"/>
                <a:gd name="T19" fmla="*/ 1053 h 3605"/>
                <a:gd name="T20" fmla="*/ 1862 w 3610"/>
                <a:gd name="T21" fmla="*/ 1166 h 3605"/>
                <a:gd name="T22" fmla="*/ 1755 w 3610"/>
                <a:gd name="T23" fmla="*/ 1561 h 3605"/>
                <a:gd name="T24" fmla="*/ 1753 w 3610"/>
                <a:gd name="T25" fmla="*/ 1759 h 3605"/>
                <a:gd name="T26" fmla="*/ 1368 w 3610"/>
                <a:gd name="T27" fmla="*/ 1363 h 3605"/>
                <a:gd name="T28" fmla="*/ 977 w 3610"/>
                <a:gd name="T29" fmla="*/ 1494 h 3605"/>
                <a:gd name="T30" fmla="*/ 1309 w 3610"/>
                <a:gd name="T31" fmla="*/ 1695 h 3605"/>
                <a:gd name="T32" fmla="*/ 1039 w 3610"/>
                <a:gd name="T33" fmla="*/ 1817 h 3605"/>
                <a:gd name="T34" fmla="*/ 1221 w 3610"/>
                <a:gd name="T35" fmla="*/ 1973 h 3605"/>
                <a:gd name="T36" fmla="*/ 1490 w 3610"/>
                <a:gd name="T37" fmla="*/ 1910 h 3605"/>
                <a:gd name="T38" fmla="*/ 1805 w 3610"/>
                <a:gd name="T39" fmla="*/ 1970 h 3605"/>
                <a:gd name="T40" fmla="*/ 2042 w 3610"/>
                <a:gd name="T41" fmla="*/ 2111 h 3605"/>
                <a:gd name="T42" fmla="*/ 1875 w 3610"/>
                <a:gd name="T43" fmla="*/ 2450 h 3605"/>
                <a:gd name="T44" fmla="*/ 1629 w 3610"/>
                <a:gd name="T45" fmla="*/ 2848 h 3605"/>
                <a:gd name="T46" fmla="*/ 1519 w 3610"/>
                <a:gd name="T47" fmla="*/ 3177 h 3605"/>
                <a:gd name="T48" fmla="*/ 1394 w 3610"/>
                <a:gd name="T49" fmla="*/ 3285 h 3605"/>
                <a:gd name="T50" fmla="*/ 1339 w 3610"/>
                <a:gd name="T51" fmla="*/ 3065 h 3605"/>
                <a:gd name="T52" fmla="*/ 1288 w 3610"/>
                <a:gd name="T53" fmla="*/ 2670 h 3605"/>
                <a:gd name="T54" fmla="*/ 1127 w 3610"/>
                <a:gd name="T55" fmla="*/ 2214 h 3605"/>
                <a:gd name="T56" fmla="*/ 1089 w 3610"/>
                <a:gd name="T57" fmla="*/ 2085 h 3605"/>
                <a:gd name="T58" fmla="*/ 948 w 3610"/>
                <a:gd name="T59" fmla="*/ 1789 h 3605"/>
                <a:gd name="T60" fmla="*/ 753 w 3610"/>
                <a:gd name="T61" fmla="*/ 1497 h 3605"/>
                <a:gd name="T62" fmla="*/ 675 w 3610"/>
                <a:gd name="T63" fmla="*/ 1695 h 3605"/>
                <a:gd name="T64" fmla="*/ 625 w 3610"/>
                <a:gd name="T65" fmla="*/ 1357 h 3605"/>
                <a:gd name="T66" fmla="*/ 338 w 3610"/>
                <a:gd name="T67" fmla="*/ 1362 h 3605"/>
                <a:gd name="T68" fmla="*/ 442 w 3610"/>
                <a:gd name="T69" fmla="*/ 2528 h 3605"/>
                <a:gd name="T70" fmla="*/ 1360 w 3610"/>
                <a:gd name="T71" fmla="*/ 3298 h 3605"/>
                <a:gd name="T72" fmla="*/ 2550 w 3610"/>
                <a:gd name="T73" fmla="*/ 3187 h 3605"/>
                <a:gd name="T74" fmla="*/ 2532 w 3610"/>
                <a:gd name="T75" fmla="*/ 2942 h 3605"/>
                <a:gd name="T76" fmla="*/ 2516 w 3610"/>
                <a:gd name="T77" fmla="*/ 2332 h 3605"/>
                <a:gd name="T78" fmla="*/ 2616 w 3610"/>
                <a:gd name="T79" fmla="*/ 2218 h 3605"/>
                <a:gd name="T80" fmla="*/ 2833 w 3610"/>
                <a:gd name="T81" fmla="*/ 2385 h 3605"/>
                <a:gd name="T82" fmla="*/ 2959 w 3610"/>
                <a:gd name="T83" fmla="*/ 2265 h 3605"/>
                <a:gd name="T84" fmla="*/ 3087 w 3610"/>
                <a:gd name="T85" fmla="*/ 2218 h 3605"/>
                <a:gd name="T86" fmla="*/ 3330 w 3610"/>
                <a:gd name="T87" fmla="*/ 1955 h 3605"/>
                <a:gd name="T88" fmla="*/ 3111 w 3610"/>
                <a:gd name="T89" fmla="*/ 1611 h 3605"/>
                <a:gd name="T90" fmla="*/ 2934 w 3610"/>
                <a:gd name="T91" fmla="*/ 1428 h 3605"/>
                <a:gd name="T92" fmla="*/ 3030 w 3610"/>
                <a:gd name="T93" fmla="*/ 997 h 3605"/>
                <a:gd name="T94" fmla="*/ 2877 w 3610"/>
                <a:gd name="T95" fmla="*/ 766 h 3605"/>
                <a:gd name="T96" fmla="*/ 2697 w 3610"/>
                <a:gd name="T97" fmla="*/ 798 h 3605"/>
                <a:gd name="T98" fmla="*/ 2574 w 3610"/>
                <a:gd name="T99" fmla="*/ 690 h 3605"/>
                <a:gd name="T100" fmla="*/ 2397 w 3610"/>
                <a:gd name="T101" fmla="*/ 581 h 3605"/>
                <a:gd name="T102" fmla="*/ 2235 w 3610"/>
                <a:gd name="T103" fmla="*/ 320 h 3605"/>
                <a:gd name="T104" fmla="*/ 1986 w 3610"/>
                <a:gd name="T105" fmla="*/ 413 h 3605"/>
                <a:gd name="T106" fmla="*/ 1810 w 3610"/>
                <a:gd name="T107" fmla="*/ 0 h 3605"/>
                <a:gd name="T108" fmla="*/ 2922 w 3610"/>
                <a:gd name="T109" fmla="*/ 389 h 3605"/>
                <a:gd name="T110" fmla="*/ 3583 w 3610"/>
                <a:gd name="T111" fmla="*/ 1480 h 3605"/>
                <a:gd name="T112" fmla="*/ 3330 w 3610"/>
                <a:gd name="T113" fmla="*/ 2772 h 3605"/>
                <a:gd name="T114" fmla="*/ 2288 w 3610"/>
                <a:gd name="T115" fmla="*/ 3542 h 3605"/>
                <a:gd name="T116" fmla="*/ 943 w 3610"/>
                <a:gd name="T117" fmla="*/ 3389 h 3605"/>
                <a:gd name="T118" fmla="*/ 98 w 3610"/>
                <a:gd name="T119" fmla="*/ 2389 h 3605"/>
                <a:gd name="T120" fmla="*/ 160 w 3610"/>
                <a:gd name="T121" fmla="*/ 1068 h 3605"/>
                <a:gd name="T122" fmla="*/ 1104 w 3610"/>
                <a:gd name="T123" fmla="*/ 146 h 3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10" h="3605">
                  <a:moveTo>
                    <a:pt x="1729" y="273"/>
                  </a:moveTo>
                  <a:lnTo>
                    <a:pt x="1610" y="288"/>
                  </a:lnTo>
                  <a:lnTo>
                    <a:pt x="1492" y="304"/>
                  </a:lnTo>
                  <a:lnTo>
                    <a:pt x="1484" y="307"/>
                  </a:lnTo>
                  <a:lnTo>
                    <a:pt x="1477" y="311"/>
                  </a:lnTo>
                  <a:lnTo>
                    <a:pt x="1469" y="318"/>
                  </a:lnTo>
                  <a:lnTo>
                    <a:pt x="1465" y="325"/>
                  </a:lnTo>
                  <a:lnTo>
                    <a:pt x="1463" y="330"/>
                  </a:lnTo>
                  <a:lnTo>
                    <a:pt x="1464" y="340"/>
                  </a:lnTo>
                  <a:lnTo>
                    <a:pt x="1467" y="351"/>
                  </a:lnTo>
                  <a:lnTo>
                    <a:pt x="1472" y="361"/>
                  </a:lnTo>
                  <a:lnTo>
                    <a:pt x="1477" y="369"/>
                  </a:lnTo>
                  <a:lnTo>
                    <a:pt x="1483" y="373"/>
                  </a:lnTo>
                  <a:lnTo>
                    <a:pt x="1502" y="375"/>
                  </a:lnTo>
                  <a:lnTo>
                    <a:pt x="1523" y="375"/>
                  </a:lnTo>
                  <a:lnTo>
                    <a:pt x="1543" y="373"/>
                  </a:lnTo>
                  <a:lnTo>
                    <a:pt x="1562" y="368"/>
                  </a:lnTo>
                  <a:lnTo>
                    <a:pt x="1585" y="357"/>
                  </a:lnTo>
                  <a:lnTo>
                    <a:pt x="1608" y="342"/>
                  </a:lnTo>
                  <a:lnTo>
                    <a:pt x="1630" y="328"/>
                  </a:lnTo>
                  <a:lnTo>
                    <a:pt x="1654" y="316"/>
                  </a:lnTo>
                  <a:lnTo>
                    <a:pt x="1672" y="309"/>
                  </a:lnTo>
                  <a:lnTo>
                    <a:pt x="1689" y="307"/>
                  </a:lnTo>
                  <a:lnTo>
                    <a:pt x="1703" y="311"/>
                  </a:lnTo>
                  <a:lnTo>
                    <a:pt x="1715" y="320"/>
                  </a:lnTo>
                  <a:lnTo>
                    <a:pt x="1725" y="333"/>
                  </a:lnTo>
                  <a:lnTo>
                    <a:pt x="1731" y="351"/>
                  </a:lnTo>
                  <a:lnTo>
                    <a:pt x="1735" y="375"/>
                  </a:lnTo>
                  <a:lnTo>
                    <a:pt x="1734" y="397"/>
                  </a:lnTo>
                  <a:lnTo>
                    <a:pt x="1728" y="419"/>
                  </a:lnTo>
                  <a:lnTo>
                    <a:pt x="1719" y="437"/>
                  </a:lnTo>
                  <a:lnTo>
                    <a:pt x="1704" y="453"/>
                  </a:lnTo>
                  <a:lnTo>
                    <a:pt x="1686" y="467"/>
                  </a:lnTo>
                  <a:lnTo>
                    <a:pt x="1645" y="491"/>
                  </a:lnTo>
                  <a:lnTo>
                    <a:pt x="1602" y="515"/>
                  </a:lnTo>
                  <a:lnTo>
                    <a:pt x="1558" y="537"/>
                  </a:lnTo>
                  <a:lnTo>
                    <a:pt x="1516" y="560"/>
                  </a:lnTo>
                  <a:lnTo>
                    <a:pt x="1476" y="582"/>
                  </a:lnTo>
                  <a:lnTo>
                    <a:pt x="1437" y="606"/>
                  </a:lnTo>
                  <a:lnTo>
                    <a:pt x="1400" y="631"/>
                  </a:lnTo>
                  <a:lnTo>
                    <a:pt x="1386" y="645"/>
                  </a:lnTo>
                  <a:lnTo>
                    <a:pt x="1376" y="658"/>
                  </a:lnTo>
                  <a:lnTo>
                    <a:pt x="1368" y="674"/>
                  </a:lnTo>
                  <a:lnTo>
                    <a:pt x="1365" y="691"/>
                  </a:lnTo>
                  <a:lnTo>
                    <a:pt x="1367" y="709"/>
                  </a:lnTo>
                  <a:lnTo>
                    <a:pt x="1375" y="727"/>
                  </a:lnTo>
                  <a:lnTo>
                    <a:pt x="1384" y="738"/>
                  </a:lnTo>
                  <a:lnTo>
                    <a:pt x="1396" y="746"/>
                  </a:lnTo>
                  <a:lnTo>
                    <a:pt x="1409" y="749"/>
                  </a:lnTo>
                  <a:lnTo>
                    <a:pt x="1422" y="750"/>
                  </a:lnTo>
                  <a:lnTo>
                    <a:pt x="1436" y="749"/>
                  </a:lnTo>
                  <a:lnTo>
                    <a:pt x="1450" y="746"/>
                  </a:lnTo>
                  <a:lnTo>
                    <a:pt x="1464" y="741"/>
                  </a:lnTo>
                  <a:lnTo>
                    <a:pt x="1494" y="728"/>
                  </a:lnTo>
                  <a:lnTo>
                    <a:pt x="1525" y="713"/>
                  </a:lnTo>
                  <a:lnTo>
                    <a:pt x="1554" y="697"/>
                  </a:lnTo>
                  <a:lnTo>
                    <a:pt x="1572" y="685"/>
                  </a:lnTo>
                  <a:lnTo>
                    <a:pt x="1588" y="673"/>
                  </a:lnTo>
                  <a:lnTo>
                    <a:pt x="1604" y="661"/>
                  </a:lnTo>
                  <a:lnTo>
                    <a:pt x="1621" y="653"/>
                  </a:lnTo>
                  <a:lnTo>
                    <a:pt x="1635" y="649"/>
                  </a:lnTo>
                  <a:lnTo>
                    <a:pt x="1646" y="650"/>
                  </a:lnTo>
                  <a:lnTo>
                    <a:pt x="1656" y="657"/>
                  </a:lnTo>
                  <a:lnTo>
                    <a:pt x="1664" y="668"/>
                  </a:lnTo>
                  <a:lnTo>
                    <a:pt x="1672" y="685"/>
                  </a:lnTo>
                  <a:lnTo>
                    <a:pt x="1682" y="709"/>
                  </a:lnTo>
                  <a:lnTo>
                    <a:pt x="1695" y="728"/>
                  </a:lnTo>
                  <a:lnTo>
                    <a:pt x="1711" y="739"/>
                  </a:lnTo>
                  <a:lnTo>
                    <a:pt x="1729" y="746"/>
                  </a:lnTo>
                  <a:lnTo>
                    <a:pt x="1748" y="746"/>
                  </a:lnTo>
                  <a:lnTo>
                    <a:pt x="1771" y="739"/>
                  </a:lnTo>
                  <a:lnTo>
                    <a:pt x="1794" y="727"/>
                  </a:lnTo>
                  <a:lnTo>
                    <a:pt x="1818" y="710"/>
                  </a:lnTo>
                  <a:lnTo>
                    <a:pt x="1843" y="692"/>
                  </a:lnTo>
                  <a:lnTo>
                    <a:pt x="1867" y="676"/>
                  </a:lnTo>
                  <a:lnTo>
                    <a:pt x="1883" y="669"/>
                  </a:lnTo>
                  <a:lnTo>
                    <a:pt x="1900" y="668"/>
                  </a:lnTo>
                  <a:lnTo>
                    <a:pt x="1915" y="672"/>
                  </a:lnTo>
                  <a:lnTo>
                    <a:pt x="1928" y="678"/>
                  </a:lnTo>
                  <a:lnTo>
                    <a:pt x="1938" y="689"/>
                  </a:lnTo>
                  <a:lnTo>
                    <a:pt x="1946" y="702"/>
                  </a:lnTo>
                  <a:lnTo>
                    <a:pt x="1950" y="718"/>
                  </a:lnTo>
                  <a:lnTo>
                    <a:pt x="1953" y="740"/>
                  </a:lnTo>
                  <a:lnTo>
                    <a:pt x="1957" y="757"/>
                  </a:lnTo>
                  <a:lnTo>
                    <a:pt x="1964" y="769"/>
                  </a:lnTo>
                  <a:lnTo>
                    <a:pt x="1974" y="777"/>
                  </a:lnTo>
                  <a:lnTo>
                    <a:pt x="1988" y="781"/>
                  </a:lnTo>
                  <a:lnTo>
                    <a:pt x="2005" y="783"/>
                  </a:lnTo>
                  <a:lnTo>
                    <a:pt x="2027" y="780"/>
                  </a:lnTo>
                  <a:lnTo>
                    <a:pt x="2131" y="767"/>
                  </a:lnTo>
                  <a:lnTo>
                    <a:pt x="2135" y="773"/>
                  </a:lnTo>
                  <a:lnTo>
                    <a:pt x="2140" y="777"/>
                  </a:lnTo>
                  <a:lnTo>
                    <a:pt x="2133" y="792"/>
                  </a:lnTo>
                  <a:lnTo>
                    <a:pt x="2126" y="806"/>
                  </a:lnTo>
                  <a:lnTo>
                    <a:pt x="2119" y="820"/>
                  </a:lnTo>
                  <a:lnTo>
                    <a:pt x="2111" y="833"/>
                  </a:lnTo>
                  <a:lnTo>
                    <a:pt x="2102" y="843"/>
                  </a:lnTo>
                  <a:lnTo>
                    <a:pt x="2072" y="863"/>
                  </a:lnTo>
                  <a:lnTo>
                    <a:pt x="2039" y="881"/>
                  </a:lnTo>
                  <a:lnTo>
                    <a:pt x="2006" y="896"/>
                  </a:lnTo>
                  <a:lnTo>
                    <a:pt x="1982" y="906"/>
                  </a:lnTo>
                  <a:lnTo>
                    <a:pt x="1961" y="914"/>
                  </a:lnTo>
                  <a:lnTo>
                    <a:pt x="1942" y="920"/>
                  </a:lnTo>
                  <a:lnTo>
                    <a:pt x="1926" y="926"/>
                  </a:lnTo>
                  <a:lnTo>
                    <a:pt x="1916" y="929"/>
                  </a:lnTo>
                  <a:lnTo>
                    <a:pt x="1911" y="932"/>
                  </a:lnTo>
                  <a:lnTo>
                    <a:pt x="1914" y="933"/>
                  </a:lnTo>
                  <a:lnTo>
                    <a:pt x="1918" y="935"/>
                  </a:lnTo>
                  <a:lnTo>
                    <a:pt x="1926" y="938"/>
                  </a:lnTo>
                  <a:lnTo>
                    <a:pt x="1934" y="943"/>
                  </a:lnTo>
                  <a:lnTo>
                    <a:pt x="1942" y="947"/>
                  </a:lnTo>
                  <a:lnTo>
                    <a:pt x="1948" y="952"/>
                  </a:lnTo>
                  <a:lnTo>
                    <a:pt x="1953" y="957"/>
                  </a:lnTo>
                  <a:lnTo>
                    <a:pt x="1954" y="962"/>
                  </a:lnTo>
                  <a:lnTo>
                    <a:pt x="1952" y="966"/>
                  </a:lnTo>
                  <a:lnTo>
                    <a:pt x="1944" y="970"/>
                  </a:lnTo>
                  <a:lnTo>
                    <a:pt x="1933" y="974"/>
                  </a:lnTo>
                  <a:lnTo>
                    <a:pt x="1920" y="980"/>
                  </a:lnTo>
                  <a:lnTo>
                    <a:pt x="1909" y="986"/>
                  </a:lnTo>
                  <a:lnTo>
                    <a:pt x="1898" y="994"/>
                  </a:lnTo>
                  <a:lnTo>
                    <a:pt x="1887" y="1002"/>
                  </a:lnTo>
                  <a:lnTo>
                    <a:pt x="1878" y="1011"/>
                  </a:lnTo>
                  <a:lnTo>
                    <a:pt x="1870" y="1019"/>
                  </a:lnTo>
                  <a:lnTo>
                    <a:pt x="1863" y="1028"/>
                  </a:lnTo>
                  <a:lnTo>
                    <a:pt x="1858" y="1036"/>
                  </a:lnTo>
                  <a:lnTo>
                    <a:pt x="1857" y="1041"/>
                  </a:lnTo>
                  <a:lnTo>
                    <a:pt x="1860" y="1047"/>
                  </a:lnTo>
                  <a:lnTo>
                    <a:pt x="1864" y="1050"/>
                  </a:lnTo>
                  <a:lnTo>
                    <a:pt x="1872" y="1053"/>
                  </a:lnTo>
                  <a:lnTo>
                    <a:pt x="1885" y="1053"/>
                  </a:lnTo>
                  <a:lnTo>
                    <a:pt x="1902" y="1049"/>
                  </a:lnTo>
                  <a:lnTo>
                    <a:pt x="1924" y="1044"/>
                  </a:lnTo>
                  <a:lnTo>
                    <a:pt x="1947" y="1036"/>
                  </a:lnTo>
                  <a:lnTo>
                    <a:pt x="1973" y="1029"/>
                  </a:lnTo>
                  <a:lnTo>
                    <a:pt x="2004" y="1021"/>
                  </a:lnTo>
                  <a:lnTo>
                    <a:pt x="1992" y="1050"/>
                  </a:lnTo>
                  <a:lnTo>
                    <a:pt x="1978" y="1074"/>
                  </a:lnTo>
                  <a:lnTo>
                    <a:pt x="1962" y="1095"/>
                  </a:lnTo>
                  <a:lnTo>
                    <a:pt x="1944" y="1113"/>
                  </a:lnTo>
                  <a:lnTo>
                    <a:pt x="1925" y="1128"/>
                  </a:lnTo>
                  <a:lnTo>
                    <a:pt x="1903" y="1142"/>
                  </a:lnTo>
                  <a:lnTo>
                    <a:pt x="1883" y="1154"/>
                  </a:lnTo>
                  <a:lnTo>
                    <a:pt x="1862" y="1166"/>
                  </a:lnTo>
                  <a:lnTo>
                    <a:pt x="1827" y="1187"/>
                  </a:lnTo>
                  <a:lnTo>
                    <a:pt x="1798" y="1212"/>
                  </a:lnTo>
                  <a:lnTo>
                    <a:pt x="1774" y="1240"/>
                  </a:lnTo>
                  <a:lnTo>
                    <a:pt x="1754" y="1269"/>
                  </a:lnTo>
                  <a:lnTo>
                    <a:pt x="1738" y="1301"/>
                  </a:lnTo>
                  <a:lnTo>
                    <a:pt x="1727" y="1334"/>
                  </a:lnTo>
                  <a:lnTo>
                    <a:pt x="1720" y="1368"/>
                  </a:lnTo>
                  <a:lnTo>
                    <a:pt x="1717" y="1402"/>
                  </a:lnTo>
                  <a:lnTo>
                    <a:pt x="1718" y="1437"/>
                  </a:lnTo>
                  <a:lnTo>
                    <a:pt x="1721" y="1470"/>
                  </a:lnTo>
                  <a:lnTo>
                    <a:pt x="1729" y="1503"/>
                  </a:lnTo>
                  <a:lnTo>
                    <a:pt x="1740" y="1533"/>
                  </a:lnTo>
                  <a:lnTo>
                    <a:pt x="1755" y="1561"/>
                  </a:lnTo>
                  <a:lnTo>
                    <a:pt x="1772" y="1587"/>
                  </a:lnTo>
                  <a:lnTo>
                    <a:pt x="1790" y="1611"/>
                  </a:lnTo>
                  <a:lnTo>
                    <a:pt x="1806" y="1638"/>
                  </a:lnTo>
                  <a:lnTo>
                    <a:pt x="1820" y="1666"/>
                  </a:lnTo>
                  <a:lnTo>
                    <a:pt x="1826" y="1682"/>
                  </a:lnTo>
                  <a:lnTo>
                    <a:pt x="1829" y="1699"/>
                  </a:lnTo>
                  <a:lnTo>
                    <a:pt x="1829" y="1716"/>
                  </a:lnTo>
                  <a:lnTo>
                    <a:pt x="1825" y="1730"/>
                  </a:lnTo>
                  <a:lnTo>
                    <a:pt x="1817" y="1742"/>
                  </a:lnTo>
                  <a:lnTo>
                    <a:pt x="1803" y="1753"/>
                  </a:lnTo>
                  <a:lnTo>
                    <a:pt x="1789" y="1758"/>
                  </a:lnTo>
                  <a:lnTo>
                    <a:pt x="1772" y="1760"/>
                  </a:lnTo>
                  <a:lnTo>
                    <a:pt x="1753" y="1759"/>
                  </a:lnTo>
                  <a:lnTo>
                    <a:pt x="1736" y="1755"/>
                  </a:lnTo>
                  <a:lnTo>
                    <a:pt x="1722" y="1748"/>
                  </a:lnTo>
                  <a:lnTo>
                    <a:pt x="1680" y="1711"/>
                  </a:lnTo>
                  <a:lnTo>
                    <a:pt x="1639" y="1671"/>
                  </a:lnTo>
                  <a:lnTo>
                    <a:pt x="1602" y="1627"/>
                  </a:lnTo>
                  <a:lnTo>
                    <a:pt x="1576" y="1592"/>
                  </a:lnTo>
                  <a:lnTo>
                    <a:pt x="1553" y="1557"/>
                  </a:lnTo>
                  <a:lnTo>
                    <a:pt x="1529" y="1520"/>
                  </a:lnTo>
                  <a:lnTo>
                    <a:pt x="1504" y="1485"/>
                  </a:lnTo>
                  <a:lnTo>
                    <a:pt x="1477" y="1451"/>
                  </a:lnTo>
                  <a:lnTo>
                    <a:pt x="1441" y="1414"/>
                  </a:lnTo>
                  <a:lnTo>
                    <a:pt x="1405" y="1385"/>
                  </a:lnTo>
                  <a:lnTo>
                    <a:pt x="1368" y="1363"/>
                  </a:lnTo>
                  <a:lnTo>
                    <a:pt x="1331" y="1347"/>
                  </a:lnTo>
                  <a:lnTo>
                    <a:pt x="1294" y="1338"/>
                  </a:lnTo>
                  <a:lnTo>
                    <a:pt x="1257" y="1335"/>
                  </a:lnTo>
                  <a:lnTo>
                    <a:pt x="1219" y="1336"/>
                  </a:lnTo>
                  <a:lnTo>
                    <a:pt x="1182" y="1344"/>
                  </a:lnTo>
                  <a:lnTo>
                    <a:pt x="1145" y="1356"/>
                  </a:lnTo>
                  <a:lnTo>
                    <a:pt x="1109" y="1372"/>
                  </a:lnTo>
                  <a:lnTo>
                    <a:pt x="1073" y="1393"/>
                  </a:lnTo>
                  <a:lnTo>
                    <a:pt x="1037" y="1418"/>
                  </a:lnTo>
                  <a:lnTo>
                    <a:pt x="1003" y="1446"/>
                  </a:lnTo>
                  <a:lnTo>
                    <a:pt x="987" y="1462"/>
                  </a:lnTo>
                  <a:lnTo>
                    <a:pt x="979" y="1478"/>
                  </a:lnTo>
                  <a:lnTo>
                    <a:pt x="977" y="1494"/>
                  </a:lnTo>
                  <a:lnTo>
                    <a:pt x="983" y="1508"/>
                  </a:lnTo>
                  <a:lnTo>
                    <a:pt x="994" y="1522"/>
                  </a:lnTo>
                  <a:lnTo>
                    <a:pt x="1011" y="1536"/>
                  </a:lnTo>
                  <a:lnTo>
                    <a:pt x="1034" y="1550"/>
                  </a:lnTo>
                  <a:lnTo>
                    <a:pt x="1058" y="1560"/>
                  </a:lnTo>
                  <a:lnTo>
                    <a:pt x="1158" y="1599"/>
                  </a:lnTo>
                  <a:lnTo>
                    <a:pt x="1257" y="1638"/>
                  </a:lnTo>
                  <a:lnTo>
                    <a:pt x="1276" y="1647"/>
                  </a:lnTo>
                  <a:lnTo>
                    <a:pt x="1295" y="1660"/>
                  </a:lnTo>
                  <a:lnTo>
                    <a:pt x="1304" y="1669"/>
                  </a:lnTo>
                  <a:lnTo>
                    <a:pt x="1311" y="1677"/>
                  </a:lnTo>
                  <a:lnTo>
                    <a:pt x="1312" y="1686"/>
                  </a:lnTo>
                  <a:lnTo>
                    <a:pt x="1309" y="1695"/>
                  </a:lnTo>
                  <a:lnTo>
                    <a:pt x="1302" y="1702"/>
                  </a:lnTo>
                  <a:lnTo>
                    <a:pt x="1290" y="1709"/>
                  </a:lnTo>
                  <a:lnTo>
                    <a:pt x="1256" y="1720"/>
                  </a:lnTo>
                  <a:lnTo>
                    <a:pt x="1221" y="1728"/>
                  </a:lnTo>
                  <a:lnTo>
                    <a:pt x="1188" y="1733"/>
                  </a:lnTo>
                  <a:lnTo>
                    <a:pt x="1156" y="1739"/>
                  </a:lnTo>
                  <a:lnTo>
                    <a:pt x="1123" y="1746"/>
                  </a:lnTo>
                  <a:lnTo>
                    <a:pt x="1092" y="1756"/>
                  </a:lnTo>
                  <a:lnTo>
                    <a:pt x="1078" y="1764"/>
                  </a:lnTo>
                  <a:lnTo>
                    <a:pt x="1064" y="1775"/>
                  </a:lnTo>
                  <a:lnTo>
                    <a:pt x="1052" y="1788"/>
                  </a:lnTo>
                  <a:lnTo>
                    <a:pt x="1043" y="1803"/>
                  </a:lnTo>
                  <a:lnTo>
                    <a:pt x="1039" y="1817"/>
                  </a:lnTo>
                  <a:lnTo>
                    <a:pt x="1040" y="1830"/>
                  </a:lnTo>
                  <a:lnTo>
                    <a:pt x="1047" y="1843"/>
                  </a:lnTo>
                  <a:lnTo>
                    <a:pt x="1057" y="1857"/>
                  </a:lnTo>
                  <a:lnTo>
                    <a:pt x="1069" y="1870"/>
                  </a:lnTo>
                  <a:lnTo>
                    <a:pt x="1082" y="1881"/>
                  </a:lnTo>
                  <a:lnTo>
                    <a:pt x="1093" y="1890"/>
                  </a:lnTo>
                  <a:lnTo>
                    <a:pt x="1107" y="1896"/>
                  </a:lnTo>
                  <a:lnTo>
                    <a:pt x="1122" y="1901"/>
                  </a:lnTo>
                  <a:lnTo>
                    <a:pt x="1137" y="1909"/>
                  </a:lnTo>
                  <a:lnTo>
                    <a:pt x="1160" y="1924"/>
                  </a:lnTo>
                  <a:lnTo>
                    <a:pt x="1185" y="1940"/>
                  </a:lnTo>
                  <a:lnTo>
                    <a:pt x="1205" y="1959"/>
                  </a:lnTo>
                  <a:lnTo>
                    <a:pt x="1221" y="1973"/>
                  </a:lnTo>
                  <a:lnTo>
                    <a:pt x="1236" y="1984"/>
                  </a:lnTo>
                  <a:lnTo>
                    <a:pt x="1250" y="1990"/>
                  </a:lnTo>
                  <a:lnTo>
                    <a:pt x="1266" y="1991"/>
                  </a:lnTo>
                  <a:lnTo>
                    <a:pt x="1283" y="1987"/>
                  </a:lnTo>
                  <a:lnTo>
                    <a:pt x="1302" y="1978"/>
                  </a:lnTo>
                  <a:lnTo>
                    <a:pt x="1360" y="1943"/>
                  </a:lnTo>
                  <a:lnTo>
                    <a:pt x="1419" y="1907"/>
                  </a:lnTo>
                  <a:lnTo>
                    <a:pt x="1437" y="1896"/>
                  </a:lnTo>
                  <a:lnTo>
                    <a:pt x="1450" y="1890"/>
                  </a:lnTo>
                  <a:lnTo>
                    <a:pt x="1462" y="1888"/>
                  </a:lnTo>
                  <a:lnTo>
                    <a:pt x="1472" y="1890"/>
                  </a:lnTo>
                  <a:lnTo>
                    <a:pt x="1480" y="1898"/>
                  </a:lnTo>
                  <a:lnTo>
                    <a:pt x="1490" y="1910"/>
                  </a:lnTo>
                  <a:lnTo>
                    <a:pt x="1500" y="1928"/>
                  </a:lnTo>
                  <a:lnTo>
                    <a:pt x="1512" y="1949"/>
                  </a:lnTo>
                  <a:lnTo>
                    <a:pt x="1527" y="1969"/>
                  </a:lnTo>
                  <a:lnTo>
                    <a:pt x="1543" y="1987"/>
                  </a:lnTo>
                  <a:lnTo>
                    <a:pt x="1561" y="2001"/>
                  </a:lnTo>
                  <a:lnTo>
                    <a:pt x="1580" y="2012"/>
                  </a:lnTo>
                  <a:lnTo>
                    <a:pt x="1601" y="2020"/>
                  </a:lnTo>
                  <a:lnTo>
                    <a:pt x="1625" y="2022"/>
                  </a:lnTo>
                  <a:lnTo>
                    <a:pt x="1652" y="2020"/>
                  </a:lnTo>
                  <a:lnTo>
                    <a:pt x="1690" y="2011"/>
                  </a:lnTo>
                  <a:lnTo>
                    <a:pt x="1728" y="1998"/>
                  </a:lnTo>
                  <a:lnTo>
                    <a:pt x="1766" y="1984"/>
                  </a:lnTo>
                  <a:lnTo>
                    <a:pt x="1805" y="1970"/>
                  </a:lnTo>
                  <a:lnTo>
                    <a:pt x="1830" y="1961"/>
                  </a:lnTo>
                  <a:lnTo>
                    <a:pt x="1856" y="1951"/>
                  </a:lnTo>
                  <a:lnTo>
                    <a:pt x="1882" y="1943"/>
                  </a:lnTo>
                  <a:lnTo>
                    <a:pt x="1909" y="1937"/>
                  </a:lnTo>
                  <a:lnTo>
                    <a:pt x="1935" y="1937"/>
                  </a:lnTo>
                  <a:lnTo>
                    <a:pt x="1960" y="1943"/>
                  </a:lnTo>
                  <a:lnTo>
                    <a:pt x="1982" y="1954"/>
                  </a:lnTo>
                  <a:lnTo>
                    <a:pt x="2001" y="1971"/>
                  </a:lnTo>
                  <a:lnTo>
                    <a:pt x="2017" y="1992"/>
                  </a:lnTo>
                  <a:lnTo>
                    <a:pt x="2029" y="2017"/>
                  </a:lnTo>
                  <a:lnTo>
                    <a:pt x="2038" y="2045"/>
                  </a:lnTo>
                  <a:lnTo>
                    <a:pt x="2042" y="2075"/>
                  </a:lnTo>
                  <a:lnTo>
                    <a:pt x="2042" y="2111"/>
                  </a:lnTo>
                  <a:lnTo>
                    <a:pt x="2035" y="2143"/>
                  </a:lnTo>
                  <a:lnTo>
                    <a:pt x="2025" y="2174"/>
                  </a:lnTo>
                  <a:lnTo>
                    <a:pt x="2010" y="2203"/>
                  </a:lnTo>
                  <a:lnTo>
                    <a:pt x="1992" y="2230"/>
                  </a:lnTo>
                  <a:lnTo>
                    <a:pt x="1971" y="2255"/>
                  </a:lnTo>
                  <a:lnTo>
                    <a:pt x="1946" y="2280"/>
                  </a:lnTo>
                  <a:lnTo>
                    <a:pt x="1925" y="2300"/>
                  </a:lnTo>
                  <a:lnTo>
                    <a:pt x="1908" y="2323"/>
                  </a:lnTo>
                  <a:lnTo>
                    <a:pt x="1893" y="2345"/>
                  </a:lnTo>
                  <a:lnTo>
                    <a:pt x="1882" y="2370"/>
                  </a:lnTo>
                  <a:lnTo>
                    <a:pt x="1875" y="2394"/>
                  </a:lnTo>
                  <a:lnTo>
                    <a:pt x="1872" y="2421"/>
                  </a:lnTo>
                  <a:lnTo>
                    <a:pt x="1875" y="2450"/>
                  </a:lnTo>
                  <a:lnTo>
                    <a:pt x="1882" y="2481"/>
                  </a:lnTo>
                  <a:lnTo>
                    <a:pt x="1891" y="2519"/>
                  </a:lnTo>
                  <a:lnTo>
                    <a:pt x="1893" y="2554"/>
                  </a:lnTo>
                  <a:lnTo>
                    <a:pt x="1889" y="2589"/>
                  </a:lnTo>
                  <a:lnTo>
                    <a:pt x="1878" y="2622"/>
                  </a:lnTo>
                  <a:lnTo>
                    <a:pt x="1861" y="2652"/>
                  </a:lnTo>
                  <a:lnTo>
                    <a:pt x="1838" y="2681"/>
                  </a:lnTo>
                  <a:lnTo>
                    <a:pt x="1811" y="2707"/>
                  </a:lnTo>
                  <a:lnTo>
                    <a:pt x="1762" y="2747"/>
                  </a:lnTo>
                  <a:lnTo>
                    <a:pt x="1710" y="2784"/>
                  </a:lnTo>
                  <a:lnTo>
                    <a:pt x="1658" y="2820"/>
                  </a:lnTo>
                  <a:lnTo>
                    <a:pt x="1644" y="2832"/>
                  </a:lnTo>
                  <a:lnTo>
                    <a:pt x="1629" y="2848"/>
                  </a:lnTo>
                  <a:lnTo>
                    <a:pt x="1615" y="2869"/>
                  </a:lnTo>
                  <a:lnTo>
                    <a:pt x="1599" y="2893"/>
                  </a:lnTo>
                  <a:lnTo>
                    <a:pt x="1584" y="2921"/>
                  </a:lnTo>
                  <a:lnTo>
                    <a:pt x="1570" y="2950"/>
                  </a:lnTo>
                  <a:lnTo>
                    <a:pt x="1555" y="2980"/>
                  </a:lnTo>
                  <a:lnTo>
                    <a:pt x="1543" y="3010"/>
                  </a:lnTo>
                  <a:lnTo>
                    <a:pt x="1532" y="3042"/>
                  </a:lnTo>
                  <a:lnTo>
                    <a:pt x="1523" y="3071"/>
                  </a:lnTo>
                  <a:lnTo>
                    <a:pt x="1517" y="3100"/>
                  </a:lnTo>
                  <a:lnTo>
                    <a:pt x="1513" y="3126"/>
                  </a:lnTo>
                  <a:lnTo>
                    <a:pt x="1513" y="3148"/>
                  </a:lnTo>
                  <a:lnTo>
                    <a:pt x="1516" y="3168"/>
                  </a:lnTo>
                  <a:lnTo>
                    <a:pt x="1519" y="3177"/>
                  </a:lnTo>
                  <a:lnTo>
                    <a:pt x="1520" y="3184"/>
                  </a:lnTo>
                  <a:lnTo>
                    <a:pt x="1521" y="3191"/>
                  </a:lnTo>
                  <a:lnTo>
                    <a:pt x="1520" y="3201"/>
                  </a:lnTo>
                  <a:lnTo>
                    <a:pt x="1518" y="3223"/>
                  </a:lnTo>
                  <a:lnTo>
                    <a:pt x="1512" y="3241"/>
                  </a:lnTo>
                  <a:lnTo>
                    <a:pt x="1505" y="3254"/>
                  </a:lnTo>
                  <a:lnTo>
                    <a:pt x="1495" y="3263"/>
                  </a:lnTo>
                  <a:lnTo>
                    <a:pt x="1484" y="3269"/>
                  </a:lnTo>
                  <a:lnTo>
                    <a:pt x="1471" y="3273"/>
                  </a:lnTo>
                  <a:lnTo>
                    <a:pt x="1454" y="3277"/>
                  </a:lnTo>
                  <a:lnTo>
                    <a:pt x="1436" y="3279"/>
                  </a:lnTo>
                  <a:lnTo>
                    <a:pt x="1417" y="3281"/>
                  </a:lnTo>
                  <a:lnTo>
                    <a:pt x="1394" y="3285"/>
                  </a:lnTo>
                  <a:lnTo>
                    <a:pt x="1383" y="3284"/>
                  </a:lnTo>
                  <a:lnTo>
                    <a:pt x="1374" y="3278"/>
                  </a:lnTo>
                  <a:lnTo>
                    <a:pt x="1367" y="3269"/>
                  </a:lnTo>
                  <a:lnTo>
                    <a:pt x="1362" y="3256"/>
                  </a:lnTo>
                  <a:lnTo>
                    <a:pt x="1358" y="3240"/>
                  </a:lnTo>
                  <a:lnTo>
                    <a:pt x="1355" y="3223"/>
                  </a:lnTo>
                  <a:lnTo>
                    <a:pt x="1353" y="3206"/>
                  </a:lnTo>
                  <a:lnTo>
                    <a:pt x="1350" y="3189"/>
                  </a:lnTo>
                  <a:lnTo>
                    <a:pt x="1348" y="3173"/>
                  </a:lnTo>
                  <a:lnTo>
                    <a:pt x="1346" y="3159"/>
                  </a:lnTo>
                  <a:lnTo>
                    <a:pt x="1340" y="3129"/>
                  </a:lnTo>
                  <a:lnTo>
                    <a:pt x="1338" y="3098"/>
                  </a:lnTo>
                  <a:lnTo>
                    <a:pt x="1339" y="3065"/>
                  </a:lnTo>
                  <a:lnTo>
                    <a:pt x="1342" y="3034"/>
                  </a:lnTo>
                  <a:lnTo>
                    <a:pt x="1349" y="3005"/>
                  </a:lnTo>
                  <a:lnTo>
                    <a:pt x="1359" y="2976"/>
                  </a:lnTo>
                  <a:lnTo>
                    <a:pt x="1371" y="2946"/>
                  </a:lnTo>
                  <a:lnTo>
                    <a:pt x="1382" y="2917"/>
                  </a:lnTo>
                  <a:lnTo>
                    <a:pt x="1391" y="2883"/>
                  </a:lnTo>
                  <a:lnTo>
                    <a:pt x="1394" y="2850"/>
                  </a:lnTo>
                  <a:lnTo>
                    <a:pt x="1392" y="2819"/>
                  </a:lnTo>
                  <a:lnTo>
                    <a:pt x="1384" y="2789"/>
                  </a:lnTo>
                  <a:lnTo>
                    <a:pt x="1371" y="2761"/>
                  </a:lnTo>
                  <a:lnTo>
                    <a:pt x="1353" y="2734"/>
                  </a:lnTo>
                  <a:lnTo>
                    <a:pt x="1329" y="2707"/>
                  </a:lnTo>
                  <a:lnTo>
                    <a:pt x="1288" y="2670"/>
                  </a:lnTo>
                  <a:lnTo>
                    <a:pt x="1247" y="2633"/>
                  </a:lnTo>
                  <a:lnTo>
                    <a:pt x="1213" y="2597"/>
                  </a:lnTo>
                  <a:lnTo>
                    <a:pt x="1183" y="2560"/>
                  </a:lnTo>
                  <a:lnTo>
                    <a:pt x="1158" y="2520"/>
                  </a:lnTo>
                  <a:lnTo>
                    <a:pt x="1137" y="2478"/>
                  </a:lnTo>
                  <a:lnTo>
                    <a:pt x="1121" y="2436"/>
                  </a:lnTo>
                  <a:lnTo>
                    <a:pt x="1109" y="2390"/>
                  </a:lnTo>
                  <a:lnTo>
                    <a:pt x="1101" y="2343"/>
                  </a:lnTo>
                  <a:lnTo>
                    <a:pt x="1096" y="2295"/>
                  </a:lnTo>
                  <a:lnTo>
                    <a:pt x="1097" y="2269"/>
                  </a:lnTo>
                  <a:lnTo>
                    <a:pt x="1103" y="2246"/>
                  </a:lnTo>
                  <a:lnTo>
                    <a:pt x="1112" y="2229"/>
                  </a:lnTo>
                  <a:lnTo>
                    <a:pt x="1127" y="2214"/>
                  </a:lnTo>
                  <a:lnTo>
                    <a:pt x="1145" y="2204"/>
                  </a:lnTo>
                  <a:lnTo>
                    <a:pt x="1166" y="2196"/>
                  </a:lnTo>
                  <a:lnTo>
                    <a:pt x="1193" y="2192"/>
                  </a:lnTo>
                  <a:lnTo>
                    <a:pt x="1233" y="2187"/>
                  </a:lnTo>
                  <a:lnTo>
                    <a:pt x="1229" y="2162"/>
                  </a:lnTo>
                  <a:lnTo>
                    <a:pt x="1221" y="2143"/>
                  </a:lnTo>
                  <a:lnTo>
                    <a:pt x="1210" y="2128"/>
                  </a:lnTo>
                  <a:lnTo>
                    <a:pt x="1195" y="2118"/>
                  </a:lnTo>
                  <a:lnTo>
                    <a:pt x="1176" y="2111"/>
                  </a:lnTo>
                  <a:lnTo>
                    <a:pt x="1151" y="2108"/>
                  </a:lnTo>
                  <a:lnTo>
                    <a:pt x="1128" y="2104"/>
                  </a:lnTo>
                  <a:lnTo>
                    <a:pt x="1107" y="2096"/>
                  </a:lnTo>
                  <a:lnTo>
                    <a:pt x="1089" y="2085"/>
                  </a:lnTo>
                  <a:lnTo>
                    <a:pt x="1075" y="2071"/>
                  </a:lnTo>
                  <a:lnTo>
                    <a:pt x="1061" y="2054"/>
                  </a:lnTo>
                  <a:lnTo>
                    <a:pt x="1051" y="2034"/>
                  </a:lnTo>
                  <a:lnTo>
                    <a:pt x="1043" y="2013"/>
                  </a:lnTo>
                  <a:lnTo>
                    <a:pt x="1038" y="1991"/>
                  </a:lnTo>
                  <a:lnTo>
                    <a:pt x="1032" y="1970"/>
                  </a:lnTo>
                  <a:lnTo>
                    <a:pt x="1021" y="1941"/>
                  </a:lnTo>
                  <a:lnTo>
                    <a:pt x="1011" y="1910"/>
                  </a:lnTo>
                  <a:lnTo>
                    <a:pt x="1000" y="1881"/>
                  </a:lnTo>
                  <a:lnTo>
                    <a:pt x="987" y="1852"/>
                  </a:lnTo>
                  <a:lnTo>
                    <a:pt x="971" y="1826"/>
                  </a:lnTo>
                  <a:lnTo>
                    <a:pt x="959" y="1807"/>
                  </a:lnTo>
                  <a:lnTo>
                    <a:pt x="948" y="1789"/>
                  </a:lnTo>
                  <a:lnTo>
                    <a:pt x="939" y="1770"/>
                  </a:lnTo>
                  <a:lnTo>
                    <a:pt x="931" y="1751"/>
                  </a:lnTo>
                  <a:lnTo>
                    <a:pt x="926" y="1730"/>
                  </a:lnTo>
                  <a:lnTo>
                    <a:pt x="925" y="1708"/>
                  </a:lnTo>
                  <a:lnTo>
                    <a:pt x="923" y="1690"/>
                  </a:lnTo>
                  <a:lnTo>
                    <a:pt x="915" y="1672"/>
                  </a:lnTo>
                  <a:lnTo>
                    <a:pt x="905" y="1655"/>
                  </a:lnTo>
                  <a:lnTo>
                    <a:pt x="894" y="1639"/>
                  </a:lnTo>
                  <a:lnTo>
                    <a:pt x="857" y="1598"/>
                  </a:lnTo>
                  <a:lnTo>
                    <a:pt x="818" y="1559"/>
                  </a:lnTo>
                  <a:lnTo>
                    <a:pt x="779" y="1520"/>
                  </a:lnTo>
                  <a:lnTo>
                    <a:pt x="767" y="1507"/>
                  </a:lnTo>
                  <a:lnTo>
                    <a:pt x="753" y="1497"/>
                  </a:lnTo>
                  <a:lnTo>
                    <a:pt x="738" y="1485"/>
                  </a:lnTo>
                  <a:lnTo>
                    <a:pt x="720" y="1470"/>
                  </a:lnTo>
                  <a:lnTo>
                    <a:pt x="718" y="1497"/>
                  </a:lnTo>
                  <a:lnTo>
                    <a:pt x="718" y="1520"/>
                  </a:lnTo>
                  <a:lnTo>
                    <a:pt x="717" y="1540"/>
                  </a:lnTo>
                  <a:lnTo>
                    <a:pt x="716" y="1559"/>
                  </a:lnTo>
                  <a:lnTo>
                    <a:pt x="713" y="1586"/>
                  </a:lnTo>
                  <a:lnTo>
                    <a:pt x="711" y="1613"/>
                  </a:lnTo>
                  <a:lnTo>
                    <a:pt x="707" y="1638"/>
                  </a:lnTo>
                  <a:lnTo>
                    <a:pt x="700" y="1663"/>
                  </a:lnTo>
                  <a:lnTo>
                    <a:pt x="695" y="1674"/>
                  </a:lnTo>
                  <a:lnTo>
                    <a:pt x="686" y="1685"/>
                  </a:lnTo>
                  <a:lnTo>
                    <a:pt x="675" y="1695"/>
                  </a:lnTo>
                  <a:lnTo>
                    <a:pt x="662" y="1702"/>
                  </a:lnTo>
                  <a:lnTo>
                    <a:pt x="652" y="1704"/>
                  </a:lnTo>
                  <a:lnTo>
                    <a:pt x="640" y="1701"/>
                  </a:lnTo>
                  <a:lnTo>
                    <a:pt x="626" y="1694"/>
                  </a:lnTo>
                  <a:lnTo>
                    <a:pt x="615" y="1684"/>
                  </a:lnTo>
                  <a:lnTo>
                    <a:pt x="605" y="1673"/>
                  </a:lnTo>
                  <a:lnTo>
                    <a:pt x="599" y="1662"/>
                  </a:lnTo>
                  <a:lnTo>
                    <a:pt x="594" y="1635"/>
                  </a:lnTo>
                  <a:lnTo>
                    <a:pt x="590" y="1608"/>
                  </a:lnTo>
                  <a:lnTo>
                    <a:pt x="591" y="1580"/>
                  </a:lnTo>
                  <a:lnTo>
                    <a:pt x="595" y="1553"/>
                  </a:lnTo>
                  <a:lnTo>
                    <a:pt x="613" y="1456"/>
                  </a:lnTo>
                  <a:lnTo>
                    <a:pt x="625" y="1357"/>
                  </a:lnTo>
                  <a:lnTo>
                    <a:pt x="632" y="1259"/>
                  </a:lnTo>
                  <a:lnTo>
                    <a:pt x="632" y="1160"/>
                  </a:lnTo>
                  <a:lnTo>
                    <a:pt x="624" y="1061"/>
                  </a:lnTo>
                  <a:lnTo>
                    <a:pt x="616" y="1000"/>
                  </a:lnTo>
                  <a:lnTo>
                    <a:pt x="608" y="938"/>
                  </a:lnTo>
                  <a:lnTo>
                    <a:pt x="600" y="872"/>
                  </a:lnTo>
                  <a:lnTo>
                    <a:pt x="553" y="930"/>
                  </a:lnTo>
                  <a:lnTo>
                    <a:pt x="509" y="993"/>
                  </a:lnTo>
                  <a:lnTo>
                    <a:pt x="469" y="1060"/>
                  </a:lnTo>
                  <a:lnTo>
                    <a:pt x="431" y="1131"/>
                  </a:lnTo>
                  <a:lnTo>
                    <a:pt x="397" y="1205"/>
                  </a:lnTo>
                  <a:lnTo>
                    <a:pt x="365" y="1281"/>
                  </a:lnTo>
                  <a:lnTo>
                    <a:pt x="338" y="1362"/>
                  </a:lnTo>
                  <a:lnTo>
                    <a:pt x="316" y="1443"/>
                  </a:lnTo>
                  <a:lnTo>
                    <a:pt x="297" y="1529"/>
                  </a:lnTo>
                  <a:lnTo>
                    <a:pt x="283" y="1615"/>
                  </a:lnTo>
                  <a:lnTo>
                    <a:pt x="274" y="1703"/>
                  </a:lnTo>
                  <a:lnTo>
                    <a:pt x="270" y="1793"/>
                  </a:lnTo>
                  <a:lnTo>
                    <a:pt x="271" y="1884"/>
                  </a:lnTo>
                  <a:lnTo>
                    <a:pt x="277" y="1975"/>
                  </a:lnTo>
                  <a:lnTo>
                    <a:pt x="289" y="2068"/>
                  </a:lnTo>
                  <a:lnTo>
                    <a:pt x="307" y="2160"/>
                  </a:lnTo>
                  <a:lnTo>
                    <a:pt x="331" y="2253"/>
                  </a:lnTo>
                  <a:lnTo>
                    <a:pt x="361" y="2345"/>
                  </a:lnTo>
                  <a:lnTo>
                    <a:pt x="398" y="2437"/>
                  </a:lnTo>
                  <a:lnTo>
                    <a:pt x="442" y="2528"/>
                  </a:lnTo>
                  <a:lnTo>
                    <a:pt x="490" y="2614"/>
                  </a:lnTo>
                  <a:lnTo>
                    <a:pt x="543" y="2696"/>
                  </a:lnTo>
                  <a:lnTo>
                    <a:pt x="600" y="2773"/>
                  </a:lnTo>
                  <a:lnTo>
                    <a:pt x="661" y="2847"/>
                  </a:lnTo>
                  <a:lnTo>
                    <a:pt x="726" y="2915"/>
                  </a:lnTo>
                  <a:lnTo>
                    <a:pt x="795" y="2980"/>
                  </a:lnTo>
                  <a:lnTo>
                    <a:pt x="868" y="3041"/>
                  </a:lnTo>
                  <a:lnTo>
                    <a:pt x="943" y="3095"/>
                  </a:lnTo>
                  <a:lnTo>
                    <a:pt x="1021" y="3146"/>
                  </a:lnTo>
                  <a:lnTo>
                    <a:pt x="1102" y="3192"/>
                  </a:lnTo>
                  <a:lnTo>
                    <a:pt x="1186" y="3232"/>
                  </a:lnTo>
                  <a:lnTo>
                    <a:pt x="1272" y="3268"/>
                  </a:lnTo>
                  <a:lnTo>
                    <a:pt x="1360" y="3298"/>
                  </a:lnTo>
                  <a:lnTo>
                    <a:pt x="1449" y="3323"/>
                  </a:lnTo>
                  <a:lnTo>
                    <a:pt x="1541" y="3342"/>
                  </a:lnTo>
                  <a:lnTo>
                    <a:pt x="1634" y="3356"/>
                  </a:lnTo>
                  <a:lnTo>
                    <a:pt x="1728" y="3364"/>
                  </a:lnTo>
                  <a:lnTo>
                    <a:pt x="1823" y="3368"/>
                  </a:lnTo>
                  <a:lnTo>
                    <a:pt x="1918" y="3364"/>
                  </a:lnTo>
                  <a:lnTo>
                    <a:pt x="2015" y="3355"/>
                  </a:lnTo>
                  <a:lnTo>
                    <a:pt x="2111" y="3340"/>
                  </a:lnTo>
                  <a:lnTo>
                    <a:pt x="2208" y="3318"/>
                  </a:lnTo>
                  <a:lnTo>
                    <a:pt x="2298" y="3293"/>
                  </a:lnTo>
                  <a:lnTo>
                    <a:pt x="2386" y="3262"/>
                  </a:lnTo>
                  <a:lnTo>
                    <a:pt x="2470" y="3226"/>
                  </a:lnTo>
                  <a:lnTo>
                    <a:pt x="2550" y="3187"/>
                  </a:lnTo>
                  <a:lnTo>
                    <a:pt x="2628" y="3144"/>
                  </a:lnTo>
                  <a:lnTo>
                    <a:pt x="2701" y="3097"/>
                  </a:lnTo>
                  <a:lnTo>
                    <a:pt x="2686" y="3092"/>
                  </a:lnTo>
                  <a:lnTo>
                    <a:pt x="2670" y="3086"/>
                  </a:lnTo>
                  <a:lnTo>
                    <a:pt x="2654" y="3080"/>
                  </a:lnTo>
                  <a:lnTo>
                    <a:pt x="2638" y="3072"/>
                  </a:lnTo>
                  <a:lnTo>
                    <a:pt x="2621" y="3062"/>
                  </a:lnTo>
                  <a:lnTo>
                    <a:pt x="2605" y="3049"/>
                  </a:lnTo>
                  <a:lnTo>
                    <a:pt x="2588" y="3034"/>
                  </a:lnTo>
                  <a:lnTo>
                    <a:pt x="2572" y="3016"/>
                  </a:lnTo>
                  <a:lnTo>
                    <a:pt x="2558" y="2995"/>
                  </a:lnTo>
                  <a:lnTo>
                    <a:pt x="2544" y="2970"/>
                  </a:lnTo>
                  <a:lnTo>
                    <a:pt x="2532" y="2942"/>
                  </a:lnTo>
                  <a:lnTo>
                    <a:pt x="2521" y="2908"/>
                  </a:lnTo>
                  <a:lnTo>
                    <a:pt x="2511" y="2871"/>
                  </a:lnTo>
                  <a:lnTo>
                    <a:pt x="2504" y="2829"/>
                  </a:lnTo>
                  <a:lnTo>
                    <a:pt x="2498" y="2782"/>
                  </a:lnTo>
                  <a:lnTo>
                    <a:pt x="2495" y="2728"/>
                  </a:lnTo>
                  <a:lnTo>
                    <a:pt x="2493" y="2659"/>
                  </a:lnTo>
                  <a:lnTo>
                    <a:pt x="2493" y="2594"/>
                  </a:lnTo>
                  <a:lnTo>
                    <a:pt x="2494" y="2537"/>
                  </a:lnTo>
                  <a:lnTo>
                    <a:pt x="2496" y="2485"/>
                  </a:lnTo>
                  <a:lnTo>
                    <a:pt x="2500" y="2439"/>
                  </a:lnTo>
                  <a:lnTo>
                    <a:pt x="2505" y="2398"/>
                  </a:lnTo>
                  <a:lnTo>
                    <a:pt x="2511" y="2363"/>
                  </a:lnTo>
                  <a:lnTo>
                    <a:pt x="2516" y="2332"/>
                  </a:lnTo>
                  <a:lnTo>
                    <a:pt x="2524" y="2305"/>
                  </a:lnTo>
                  <a:lnTo>
                    <a:pt x="2531" y="2283"/>
                  </a:lnTo>
                  <a:lnTo>
                    <a:pt x="2539" y="2264"/>
                  </a:lnTo>
                  <a:lnTo>
                    <a:pt x="2547" y="2250"/>
                  </a:lnTo>
                  <a:lnTo>
                    <a:pt x="2554" y="2239"/>
                  </a:lnTo>
                  <a:lnTo>
                    <a:pt x="2562" y="2231"/>
                  </a:lnTo>
                  <a:lnTo>
                    <a:pt x="2570" y="2225"/>
                  </a:lnTo>
                  <a:lnTo>
                    <a:pt x="2578" y="2222"/>
                  </a:lnTo>
                  <a:lnTo>
                    <a:pt x="2585" y="2221"/>
                  </a:lnTo>
                  <a:lnTo>
                    <a:pt x="2593" y="2221"/>
                  </a:lnTo>
                  <a:lnTo>
                    <a:pt x="2601" y="2220"/>
                  </a:lnTo>
                  <a:lnTo>
                    <a:pt x="2607" y="2218"/>
                  </a:lnTo>
                  <a:lnTo>
                    <a:pt x="2616" y="2218"/>
                  </a:lnTo>
                  <a:lnTo>
                    <a:pt x="2624" y="2218"/>
                  </a:lnTo>
                  <a:lnTo>
                    <a:pt x="2633" y="2220"/>
                  </a:lnTo>
                  <a:lnTo>
                    <a:pt x="2643" y="2223"/>
                  </a:lnTo>
                  <a:lnTo>
                    <a:pt x="2656" y="2227"/>
                  </a:lnTo>
                  <a:lnTo>
                    <a:pt x="2668" y="2235"/>
                  </a:lnTo>
                  <a:lnTo>
                    <a:pt x="2683" y="2245"/>
                  </a:lnTo>
                  <a:lnTo>
                    <a:pt x="2699" y="2260"/>
                  </a:lnTo>
                  <a:lnTo>
                    <a:pt x="2719" y="2277"/>
                  </a:lnTo>
                  <a:lnTo>
                    <a:pt x="2740" y="2299"/>
                  </a:lnTo>
                  <a:lnTo>
                    <a:pt x="2765" y="2325"/>
                  </a:lnTo>
                  <a:lnTo>
                    <a:pt x="2789" y="2351"/>
                  </a:lnTo>
                  <a:lnTo>
                    <a:pt x="2812" y="2371"/>
                  </a:lnTo>
                  <a:lnTo>
                    <a:pt x="2833" y="2385"/>
                  </a:lnTo>
                  <a:lnTo>
                    <a:pt x="2852" y="2395"/>
                  </a:lnTo>
                  <a:lnTo>
                    <a:pt x="2870" y="2400"/>
                  </a:lnTo>
                  <a:lnTo>
                    <a:pt x="2886" y="2401"/>
                  </a:lnTo>
                  <a:lnTo>
                    <a:pt x="2901" y="2398"/>
                  </a:lnTo>
                  <a:lnTo>
                    <a:pt x="2913" y="2392"/>
                  </a:lnTo>
                  <a:lnTo>
                    <a:pt x="2923" y="2382"/>
                  </a:lnTo>
                  <a:lnTo>
                    <a:pt x="2932" y="2370"/>
                  </a:lnTo>
                  <a:lnTo>
                    <a:pt x="2940" y="2355"/>
                  </a:lnTo>
                  <a:lnTo>
                    <a:pt x="2946" y="2339"/>
                  </a:lnTo>
                  <a:lnTo>
                    <a:pt x="2949" y="2321"/>
                  </a:lnTo>
                  <a:lnTo>
                    <a:pt x="2952" y="2302"/>
                  </a:lnTo>
                  <a:lnTo>
                    <a:pt x="2955" y="2285"/>
                  </a:lnTo>
                  <a:lnTo>
                    <a:pt x="2959" y="2265"/>
                  </a:lnTo>
                  <a:lnTo>
                    <a:pt x="2965" y="2246"/>
                  </a:lnTo>
                  <a:lnTo>
                    <a:pt x="2973" y="2227"/>
                  </a:lnTo>
                  <a:lnTo>
                    <a:pt x="2982" y="2211"/>
                  </a:lnTo>
                  <a:lnTo>
                    <a:pt x="2992" y="2195"/>
                  </a:lnTo>
                  <a:lnTo>
                    <a:pt x="3003" y="2181"/>
                  </a:lnTo>
                  <a:lnTo>
                    <a:pt x="3014" y="2170"/>
                  </a:lnTo>
                  <a:lnTo>
                    <a:pt x="3026" y="2162"/>
                  </a:lnTo>
                  <a:lnTo>
                    <a:pt x="3037" y="2159"/>
                  </a:lnTo>
                  <a:lnTo>
                    <a:pt x="3048" y="2160"/>
                  </a:lnTo>
                  <a:lnTo>
                    <a:pt x="3059" y="2166"/>
                  </a:lnTo>
                  <a:lnTo>
                    <a:pt x="3069" y="2177"/>
                  </a:lnTo>
                  <a:lnTo>
                    <a:pt x="3078" y="2194"/>
                  </a:lnTo>
                  <a:lnTo>
                    <a:pt x="3087" y="2218"/>
                  </a:lnTo>
                  <a:lnTo>
                    <a:pt x="3102" y="2267"/>
                  </a:lnTo>
                  <a:lnTo>
                    <a:pt x="3122" y="2316"/>
                  </a:lnTo>
                  <a:lnTo>
                    <a:pt x="3144" y="2366"/>
                  </a:lnTo>
                  <a:lnTo>
                    <a:pt x="3168" y="2414"/>
                  </a:lnTo>
                  <a:lnTo>
                    <a:pt x="3193" y="2460"/>
                  </a:lnTo>
                  <a:lnTo>
                    <a:pt x="3217" y="2503"/>
                  </a:lnTo>
                  <a:lnTo>
                    <a:pt x="3256" y="2414"/>
                  </a:lnTo>
                  <a:lnTo>
                    <a:pt x="3291" y="2326"/>
                  </a:lnTo>
                  <a:lnTo>
                    <a:pt x="3318" y="2236"/>
                  </a:lnTo>
                  <a:lnTo>
                    <a:pt x="3340" y="2147"/>
                  </a:lnTo>
                  <a:lnTo>
                    <a:pt x="3355" y="2057"/>
                  </a:lnTo>
                  <a:lnTo>
                    <a:pt x="3364" y="1969"/>
                  </a:lnTo>
                  <a:lnTo>
                    <a:pt x="3330" y="1955"/>
                  </a:lnTo>
                  <a:lnTo>
                    <a:pt x="3295" y="1940"/>
                  </a:lnTo>
                  <a:lnTo>
                    <a:pt x="3259" y="1919"/>
                  </a:lnTo>
                  <a:lnTo>
                    <a:pt x="3228" y="1897"/>
                  </a:lnTo>
                  <a:lnTo>
                    <a:pt x="3201" y="1871"/>
                  </a:lnTo>
                  <a:lnTo>
                    <a:pt x="3177" y="1842"/>
                  </a:lnTo>
                  <a:lnTo>
                    <a:pt x="3158" y="1811"/>
                  </a:lnTo>
                  <a:lnTo>
                    <a:pt x="3145" y="1775"/>
                  </a:lnTo>
                  <a:lnTo>
                    <a:pt x="3136" y="1738"/>
                  </a:lnTo>
                  <a:lnTo>
                    <a:pt x="3131" y="1697"/>
                  </a:lnTo>
                  <a:lnTo>
                    <a:pt x="3130" y="1667"/>
                  </a:lnTo>
                  <a:lnTo>
                    <a:pt x="3126" y="1645"/>
                  </a:lnTo>
                  <a:lnTo>
                    <a:pt x="3120" y="1626"/>
                  </a:lnTo>
                  <a:lnTo>
                    <a:pt x="3111" y="1611"/>
                  </a:lnTo>
                  <a:lnTo>
                    <a:pt x="3097" y="1600"/>
                  </a:lnTo>
                  <a:lnTo>
                    <a:pt x="3079" y="1591"/>
                  </a:lnTo>
                  <a:lnTo>
                    <a:pt x="3057" y="1583"/>
                  </a:lnTo>
                  <a:lnTo>
                    <a:pt x="3028" y="1577"/>
                  </a:lnTo>
                  <a:lnTo>
                    <a:pt x="3000" y="1569"/>
                  </a:lnTo>
                  <a:lnTo>
                    <a:pt x="2977" y="1560"/>
                  </a:lnTo>
                  <a:lnTo>
                    <a:pt x="2958" y="1549"/>
                  </a:lnTo>
                  <a:lnTo>
                    <a:pt x="2943" y="1535"/>
                  </a:lnTo>
                  <a:lnTo>
                    <a:pt x="2933" y="1520"/>
                  </a:lnTo>
                  <a:lnTo>
                    <a:pt x="2928" y="1502"/>
                  </a:lnTo>
                  <a:lnTo>
                    <a:pt x="2925" y="1480"/>
                  </a:lnTo>
                  <a:lnTo>
                    <a:pt x="2928" y="1456"/>
                  </a:lnTo>
                  <a:lnTo>
                    <a:pt x="2934" y="1428"/>
                  </a:lnTo>
                  <a:lnTo>
                    <a:pt x="2949" y="1384"/>
                  </a:lnTo>
                  <a:lnTo>
                    <a:pt x="2966" y="1341"/>
                  </a:lnTo>
                  <a:lnTo>
                    <a:pt x="2985" y="1299"/>
                  </a:lnTo>
                  <a:lnTo>
                    <a:pt x="3004" y="1256"/>
                  </a:lnTo>
                  <a:lnTo>
                    <a:pt x="3017" y="1227"/>
                  </a:lnTo>
                  <a:lnTo>
                    <a:pt x="3027" y="1198"/>
                  </a:lnTo>
                  <a:lnTo>
                    <a:pt x="3035" y="1168"/>
                  </a:lnTo>
                  <a:lnTo>
                    <a:pt x="3039" y="1138"/>
                  </a:lnTo>
                  <a:lnTo>
                    <a:pt x="3039" y="1105"/>
                  </a:lnTo>
                  <a:lnTo>
                    <a:pt x="3035" y="1073"/>
                  </a:lnTo>
                  <a:lnTo>
                    <a:pt x="3031" y="1047"/>
                  </a:lnTo>
                  <a:lnTo>
                    <a:pt x="3029" y="1021"/>
                  </a:lnTo>
                  <a:lnTo>
                    <a:pt x="3030" y="997"/>
                  </a:lnTo>
                  <a:lnTo>
                    <a:pt x="3036" y="971"/>
                  </a:lnTo>
                  <a:lnTo>
                    <a:pt x="3045" y="947"/>
                  </a:lnTo>
                  <a:lnTo>
                    <a:pt x="3059" y="924"/>
                  </a:lnTo>
                  <a:lnTo>
                    <a:pt x="3079" y="901"/>
                  </a:lnTo>
                  <a:lnTo>
                    <a:pt x="3005" y="815"/>
                  </a:lnTo>
                  <a:lnTo>
                    <a:pt x="2930" y="733"/>
                  </a:lnTo>
                  <a:lnTo>
                    <a:pt x="2919" y="723"/>
                  </a:lnTo>
                  <a:lnTo>
                    <a:pt x="2909" y="720"/>
                  </a:lnTo>
                  <a:lnTo>
                    <a:pt x="2898" y="721"/>
                  </a:lnTo>
                  <a:lnTo>
                    <a:pt x="2891" y="727"/>
                  </a:lnTo>
                  <a:lnTo>
                    <a:pt x="2884" y="738"/>
                  </a:lnTo>
                  <a:lnTo>
                    <a:pt x="2879" y="752"/>
                  </a:lnTo>
                  <a:lnTo>
                    <a:pt x="2877" y="766"/>
                  </a:lnTo>
                  <a:lnTo>
                    <a:pt x="2876" y="779"/>
                  </a:lnTo>
                  <a:lnTo>
                    <a:pt x="2867" y="806"/>
                  </a:lnTo>
                  <a:lnTo>
                    <a:pt x="2856" y="826"/>
                  </a:lnTo>
                  <a:lnTo>
                    <a:pt x="2842" y="842"/>
                  </a:lnTo>
                  <a:lnTo>
                    <a:pt x="2827" y="851"/>
                  </a:lnTo>
                  <a:lnTo>
                    <a:pt x="2810" y="854"/>
                  </a:lnTo>
                  <a:lnTo>
                    <a:pt x="2789" y="851"/>
                  </a:lnTo>
                  <a:lnTo>
                    <a:pt x="2768" y="842"/>
                  </a:lnTo>
                  <a:lnTo>
                    <a:pt x="2744" y="827"/>
                  </a:lnTo>
                  <a:lnTo>
                    <a:pt x="2734" y="818"/>
                  </a:lnTo>
                  <a:lnTo>
                    <a:pt x="2724" y="811"/>
                  </a:lnTo>
                  <a:lnTo>
                    <a:pt x="2713" y="804"/>
                  </a:lnTo>
                  <a:lnTo>
                    <a:pt x="2697" y="798"/>
                  </a:lnTo>
                  <a:lnTo>
                    <a:pt x="2681" y="794"/>
                  </a:lnTo>
                  <a:lnTo>
                    <a:pt x="2666" y="792"/>
                  </a:lnTo>
                  <a:lnTo>
                    <a:pt x="2650" y="792"/>
                  </a:lnTo>
                  <a:lnTo>
                    <a:pt x="2628" y="795"/>
                  </a:lnTo>
                  <a:lnTo>
                    <a:pt x="2610" y="796"/>
                  </a:lnTo>
                  <a:lnTo>
                    <a:pt x="2595" y="794"/>
                  </a:lnTo>
                  <a:lnTo>
                    <a:pt x="2586" y="789"/>
                  </a:lnTo>
                  <a:lnTo>
                    <a:pt x="2579" y="780"/>
                  </a:lnTo>
                  <a:lnTo>
                    <a:pt x="2576" y="767"/>
                  </a:lnTo>
                  <a:lnTo>
                    <a:pt x="2576" y="750"/>
                  </a:lnTo>
                  <a:lnTo>
                    <a:pt x="2577" y="728"/>
                  </a:lnTo>
                  <a:lnTo>
                    <a:pt x="2577" y="705"/>
                  </a:lnTo>
                  <a:lnTo>
                    <a:pt x="2574" y="690"/>
                  </a:lnTo>
                  <a:lnTo>
                    <a:pt x="2567" y="677"/>
                  </a:lnTo>
                  <a:lnTo>
                    <a:pt x="2554" y="668"/>
                  </a:lnTo>
                  <a:lnTo>
                    <a:pt x="2539" y="664"/>
                  </a:lnTo>
                  <a:lnTo>
                    <a:pt x="2517" y="664"/>
                  </a:lnTo>
                  <a:lnTo>
                    <a:pt x="2493" y="666"/>
                  </a:lnTo>
                  <a:lnTo>
                    <a:pt x="2468" y="668"/>
                  </a:lnTo>
                  <a:lnTo>
                    <a:pt x="2448" y="666"/>
                  </a:lnTo>
                  <a:lnTo>
                    <a:pt x="2430" y="659"/>
                  </a:lnTo>
                  <a:lnTo>
                    <a:pt x="2415" y="649"/>
                  </a:lnTo>
                  <a:lnTo>
                    <a:pt x="2404" y="636"/>
                  </a:lnTo>
                  <a:lnTo>
                    <a:pt x="2397" y="620"/>
                  </a:lnTo>
                  <a:lnTo>
                    <a:pt x="2395" y="601"/>
                  </a:lnTo>
                  <a:lnTo>
                    <a:pt x="2397" y="581"/>
                  </a:lnTo>
                  <a:lnTo>
                    <a:pt x="2406" y="556"/>
                  </a:lnTo>
                  <a:lnTo>
                    <a:pt x="2416" y="532"/>
                  </a:lnTo>
                  <a:lnTo>
                    <a:pt x="2424" y="506"/>
                  </a:lnTo>
                  <a:lnTo>
                    <a:pt x="2427" y="494"/>
                  </a:lnTo>
                  <a:lnTo>
                    <a:pt x="2430" y="480"/>
                  </a:lnTo>
                  <a:lnTo>
                    <a:pt x="2431" y="467"/>
                  </a:lnTo>
                  <a:lnTo>
                    <a:pt x="2430" y="457"/>
                  </a:lnTo>
                  <a:lnTo>
                    <a:pt x="2425" y="448"/>
                  </a:lnTo>
                  <a:lnTo>
                    <a:pt x="2385" y="411"/>
                  </a:lnTo>
                  <a:lnTo>
                    <a:pt x="2343" y="375"/>
                  </a:lnTo>
                  <a:lnTo>
                    <a:pt x="2298" y="344"/>
                  </a:lnTo>
                  <a:lnTo>
                    <a:pt x="2267" y="328"/>
                  </a:lnTo>
                  <a:lnTo>
                    <a:pt x="2235" y="320"/>
                  </a:lnTo>
                  <a:lnTo>
                    <a:pt x="2204" y="318"/>
                  </a:lnTo>
                  <a:lnTo>
                    <a:pt x="2172" y="320"/>
                  </a:lnTo>
                  <a:lnTo>
                    <a:pt x="2141" y="326"/>
                  </a:lnTo>
                  <a:lnTo>
                    <a:pt x="2109" y="333"/>
                  </a:lnTo>
                  <a:lnTo>
                    <a:pt x="2078" y="341"/>
                  </a:lnTo>
                  <a:lnTo>
                    <a:pt x="2047" y="349"/>
                  </a:lnTo>
                  <a:lnTo>
                    <a:pt x="2044" y="372"/>
                  </a:lnTo>
                  <a:lnTo>
                    <a:pt x="2039" y="389"/>
                  </a:lnTo>
                  <a:lnTo>
                    <a:pt x="2034" y="402"/>
                  </a:lnTo>
                  <a:lnTo>
                    <a:pt x="2026" y="411"/>
                  </a:lnTo>
                  <a:lnTo>
                    <a:pt x="2016" y="415"/>
                  </a:lnTo>
                  <a:lnTo>
                    <a:pt x="2004" y="415"/>
                  </a:lnTo>
                  <a:lnTo>
                    <a:pt x="1986" y="413"/>
                  </a:lnTo>
                  <a:lnTo>
                    <a:pt x="1964" y="406"/>
                  </a:lnTo>
                  <a:lnTo>
                    <a:pt x="1932" y="396"/>
                  </a:lnTo>
                  <a:lnTo>
                    <a:pt x="1900" y="384"/>
                  </a:lnTo>
                  <a:lnTo>
                    <a:pt x="1869" y="370"/>
                  </a:lnTo>
                  <a:lnTo>
                    <a:pt x="1839" y="354"/>
                  </a:lnTo>
                  <a:lnTo>
                    <a:pt x="1811" y="335"/>
                  </a:lnTo>
                  <a:lnTo>
                    <a:pt x="1785" y="312"/>
                  </a:lnTo>
                  <a:lnTo>
                    <a:pt x="1762" y="286"/>
                  </a:lnTo>
                  <a:lnTo>
                    <a:pt x="1753" y="279"/>
                  </a:lnTo>
                  <a:lnTo>
                    <a:pt x="1740" y="274"/>
                  </a:lnTo>
                  <a:lnTo>
                    <a:pt x="1729" y="273"/>
                  </a:lnTo>
                  <a:close/>
                  <a:moveTo>
                    <a:pt x="1790" y="0"/>
                  </a:moveTo>
                  <a:lnTo>
                    <a:pt x="1810" y="0"/>
                  </a:lnTo>
                  <a:lnTo>
                    <a:pt x="1883" y="6"/>
                  </a:lnTo>
                  <a:lnTo>
                    <a:pt x="1957" y="13"/>
                  </a:lnTo>
                  <a:lnTo>
                    <a:pt x="2030" y="21"/>
                  </a:lnTo>
                  <a:lnTo>
                    <a:pt x="2104" y="31"/>
                  </a:lnTo>
                  <a:lnTo>
                    <a:pt x="2207" y="52"/>
                  </a:lnTo>
                  <a:lnTo>
                    <a:pt x="2307" y="77"/>
                  </a:lnTo>
                  <a:lnTo>
                    <a:pt x="2404" y="107"/>
                  </a:lnTo>
                  <a:lnTo>
                    <a:pt x="2497" y="142"/>
                  </a:lnTo>
                  <a:lnTo>
                    <a:pt x="2588" y="182"/>
                  </a:lnTo>
                  <a:lnTo>
                    <a:pt x="2676" y="227"/>
                  </a:lnTo>
                  <a:lnTo>
                    <a:pt x="2761" y="276"/>
                  </a:lnTo>
                  <a:lnTo>
                    <a:pt x="2842" y="330"/>
                  </a:lnTo>
                  <a:lnTo>
                    <a:pt x="2922" y="389"/>
                  </a:lnTo>
                  <a:lnTo>
                    <a:pt x="2997" y="453"/>
                  </a:lnTo>
                  <a:lnTo>
                    <a:pt x="3070" y="522"/>
                  </a:lnTo>
                  <a:lnTo>
                    <a:pt x="3140" y="594"/>
                  </a:lnTo>
                  <a:lnTo>
                    <a:pt x="3208" y="673"/>
                  </a:lnTo>
                  <a:lnTo>
                    <a:pt x="3272" y="755"/>
                  </a:lnTo>
                  <a:lnTo>
                    <a:pt x="3329" y="839"/>
                  </a:lnTo>
                  <a:lnTo>
                    <a:pt x="3382" y="924"/>
                  </a:lnTo>
                  <a:lnTo>
                    <a:pt x="3429" y="1011"/>
                  </a:lnTo>
                  <a:lnTo>
                    <a:pt x="3471" y="1101"/>
                  </a:lnTo>
                  <a:lnTo>
                    <a:pt x="3507" y="1193"/>
                  </a:lnTo>
                  <a:lnTo>
                    <a:pt x="3538" y="1287"/>
                  </a:lnTo>
                  <a:lnTo>
                    <a:pt x="3563" y="1383"/>
                  </a:lnTo>
                  <a:lnTo>
                    <a:pt x="3583" y="1480"/>
                  </a:lnTo>
                  <a:lnTo>
                    <a:pt x="3597" y="1580"/>
                  </a:lnTo>
                  <a:lnTo>
                    <a:pt x="3607" y="1691"/>
                  </a:lnTo>
                  <a:lnTo>
                    <a:pt x="3610" y="1798"/>
                  </a:lnTo>
                  <a:lnTo>
                    <a:pt x="3608" y="1905"/>
                  </a:lnTo>
                  <a:lnTo>
                    <a:pt x="3600" y="2009"/>
                  </a:lnTo>
                  <a:lnTo>
                    <a:pt x="3587" y="2112"/>
                  </a:lnTo>
                  <a:lnTo>
                    <a:pt x="3567" y="2213"/>
                  </a:lnTo>
                  <a:lnTo>
                    <a:pt x="3543" y="2310"/>
                  </a:lnTo>
                  <a:lnTo>
                    <a:pt x="3511" y="2408"/>
                  </a:lnTo>
                  <a:lnTo>
                    <a:pt x="3475" y="2502"/>
                  </a:lnTo>
                  <a:lnTo>
                    <a:pt x="3433" y="2594"/>
                  </a:lnTo>
                  <a:lnTo>
                    <a:pt x="3384" y="2684"/>
                  </a:lnTo>
                  <a:lnTo>
                    <a:pt x="3330" y="2772"/>
                  </a:lnTo>
                  <a:lnTo>
                    <a:pt x="3269" y="2858"/>
                  </a:lnTo>
                  <a:lnTo>
                    <a:pt x="3204" y="2942"/>
                  </a:lnTo>
                  <a:lnTo>
                    <a:pt x="3132" y="3024"/>
                  </a:lnTo>
                  <a:lnTo>
                    <a:pt x="3055" y="3103"/>
                  </a:lnTo>
                  <a:lnTo>
                    <a:pt x="2979" y="3173"/>
                  </a:lnTo>
                  <a:lnTo>
                    <a:pt x="2902" y="3238"/>
                  </a:lnTo>
                  <a:lnTo>
                    <a:pt x="2822" y="3296"/>
                  </a:lnTo>
                  <a:lnTo>
                    <a:pt x="2739" y="3351"/>
                  </a:lnTo>
                  <a:lnTo>
                    <a:pt x="2653" y="3399"/>
                  </a:lnTo>
                  <a:lnTo>
                    <a:pt x="2566" y="3443"/>
                  </a:lnTo>
                  <a:lnTo>
                    <a:pt x="2476" y="3482"/>
                  </a:lnTo>
                  <a:lnTo>
                    <a:pt x="2382" y="3514"/>
                  </a:lnTo>
                  <a:lnTo>
                    <a:pt x="2288" y="3542"/>
                  </a:lnTo>
                  <a:lnTo>
                    <a:pt x="2191" y="3566"/>
                  </a:lnTo>
                  <a:lnTo>
                    <a:pt x="2091" y="3584"/>
                  </a:lnTo>
                  <a:lnTo>
                    <a:pt x="1990" y="3596"/>
                  </a:lnTo>
                  <a:lnTo>
                    <a:pt x="1876" y="3603"/>
                  </a:lnTo>
                  <a:lnTo>
                    <a:pt x="1764" y="3605"/>
                  </a:lnTo>
                  <a:lnTo>
                    <a:pt x="1655" y="3599"/>
                  </a:lnTo>
                  <a:lnTo>
                    <a:pt x="1547" y="3588"/>
                  </a:lnTo>
                  <a:lnTo>
                    <a:pt x="1441" y="3571"/>
                  </a:lnTo>
                  <a:lnTo>
                    <a:pt x="1337" y="3547"/>
                  </a:lnTo>
                  <a:lnTo>
                    <a:pt x="1236" y="3517"/>
                  </a:lnTo>
                  <a:lnTo>
                    <a:pt x="1137" y="3481"/>
                  </a:lnTo>
                  <a:lnTo>
                    <a:pt x="1039" y="3438"/>
                  </a:lnTo>
                  <a:lnTo>
                    <a:pt x="943" y="3389"/>
                  </a:lnTo>
                  <a:lnTo>
                    <a:pt x="851" y="3333"/>
                  </a:lnTo>
                  <a:lnTo>
                    <a:pt x="760" y="3271"/>
                  </a:lnTo>
                  <a:lnTo>
                    <a:pt x="671" y="3203"/>
                  </a:lnTo>
                  <a:lnTo>
                    <a:pt x="585" y="3129"/>
                  </a:lnTo>
                  <a:lnTo>
                    <a:pt x="510" y="3057"/>
                  </a:lnTo>
                  <a:lnTo>
                    <a:pt x="441" y="2982"/>
                  </a:lnTo>
                  <a:lnTo>
                    <a:pt x="377" y="2906"/>
                  </a:lnTo>
                  <a:lnTo>
                    <a:pt x="317" y="2825"/>
                  </a:lnTo>
                  <a:lnTo>
                    <a:pt x="263" y="2744"/>
                  </a:lnTo>
                  <a:lnTo>
                    <a:pt x="215" y="2659"/>
                  </a:lnTo>
                  <a:lnTo>
                    <a:pt x="171" y="2571"/>
                  </a:lnTo>
                  <a:lnTo>
                    <a:pt x="132" y="2482"/>
                  </a:lnTo>
                  <a:lnTo>
                    <a:pt x="98" y="2389"/>
                  </a:lnTo>
                  <a:lnTo>
                    <a:pt x="69" y="2293"/>
                  </a:lnTo>
                  <a:lnTo>
                    <a:pt x="45" y="2196"/>
                  </a:lnTo>
                  <a:lnTo>
                    <a:pt x="26" y="2096"/>
                  </a:lnTo>
                  <a:lnTo>
                    <a:pt x="11" y="1994"/>
                  </a:lnTo>
                  <a:lnTo>
                    <a:pt x="2" y="1886"/>
                  </a:lnTo>
                  <a:lnTo>
                    <a:pt x="0" y="1779"/>
                  </a:lnTo>
                  <a:lnTo>
                    <a:pt x="4" y="1673"/>
                  </a:lnTo>
                  <a:lnTo>
                    <a:pt x="16" y="1568"/>
                  </a:lnTo>
                  <a:lnTo>
                    <a:pt x="33" y="1464"/>
                  </a:lnTo>
                  <a:lnTo>
                    <a:pt x="56" y="1362"/>
                  </a:lnTo>
                  <a:lnTo>
                    <a:pt x="84" y="1262"/>
                  </a:lnTo>
                  <a:lnTo>
                    <a:pt x="119" y="1163"/>
                  </a:lnTo>
                  <a:lnTo>
                    <a:pt x="160" y="1068"/>
                  </a:lnTo>
                  <a:lnTo>
                    <a:pt x="206" y="975"/>
                  </a:lnTo>
                  <a:lnTo>
                    <a:pt x="256" y="885"/>
                  </a:lnTo>
                  <a:lnTo>
                    <a:pt x="313" y="798"/>
                  </a:lnTo>
                  <a:lnTo>
                    <a:pt x="372" y="714"/>
                  </a:lnTo>
                  <a:lnTo>
                    <a:pt x="437" y="634"/>
                  </a:lnTo>
                  <a:lnTo>
                    <a:pt x="507" y="557"/>
                  </a:lnTo>
                  <a:lnTo>
                    <a:pt x="581" y="485"/>
                  </a:lnTo>
                  <a:lnTo>
                    <a:pt x="659" y="416"/>
                  </a:lnTo>
                  <a:lnTo>
                    <a:pt x="741" y="353"/>
                  </a:lnTo>
                  <a:lnTo>
                    <a:pt x="826" y="293"/>
                  </a:lnTo>
                  <a:lnTo>
                    <a:pt x="916" y="239"/>
                  </a:lnTo>
                  <a:lnTo>
                    <a:pt x="1009" y="190"/>
                  </a:lnTo>
                  <a:lnTo>
                    <a:pt x="1104" y="146"/>
                  </a:lnTo>
                  <a:lnTo>
                    <a:pt x="1203" y="108"/>
                  </a:lnTo>
                  <a:lnTo>
                    <a:pt x="1304" y="77"/>
                  </a:lnTo>
                  <a:lnTo>
                    <a:pt x="1409" y="50"/>
                  </a:lnTo>
                  <a:lnTo>
                    <a:pt x="1516" y="31"/>
                  </a:lnTo>
                  <a:lnTo>
                    <a:pt x="1607" y="19"/>
                  </a:lnTo>
                  <a:lnTo>
                    <a:pt x="1699" y="10"/>
                  </a:lnTo>
                  <a:lnTo>
                    <a:pt x="179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611" name="Group 9"/>
            <p:cNvGrpSpPr>
              <a:grpSpLocks noChangeAspect="1"/>
            </p:cNvGrpSpPr>
            <p:nvPr/>
          </p:nvGrpSpPr>
          <p:grpSpPr bwMode="auto">
            <a:xfrm>
              <a:off x="10855520" y="3168069"/>
              <a:ext cx="374752" cy="374984"/>
              <a:chOff x="2238" y="557"/>
              <a:chExt cx="3204" cy="3206"/>
            </a:xfrm>
            <a:solidFill>
              <a:schemeClr val="accent1"/>
            </a:solidFill>
          </p:grpSpPr>
          <p:sp>
            <p:nvSpPr>
              <p:cNvPr id="801" name="Freeform 10"/>
              <p:cNvSpPr>
                <a:spLocks noEditPoints="1"/>
              </p:cNvSpPr>
              <p:nvPr/>
            </p:nvSpPr>
            <p:spPr bwMode="auto">
              <a:xfrm>
                <a:off x="2238" y="557"/>
                <a:ext cx="3204" cy="3206"/>
              </a:xfrm>
              <a:custGeom>
                <a:avLst/>
                <a:gdLst>
                  <a:gd name="T0" fmla="*/ 879 w 3204"/>
                  <a:gd name="T1" fmla="*/ 198 h 3206"/>
                  <a:gd name="T2" fmla="*/ 923 w 3204"/>
                  <a:gd name="T3" fmla="*/ 242 h 3206"/>
                  <a:gd name="T4" fmla="*/ 1363 w 3204"/>
                  <a:gd name="T5" fmla="*/ 682 h 3206"/>
                  <a:gd name="T6" fmla="*/ 1405 w 3204"/>
                  <a:gd name="T7" fmla="*/ 1122 h 3206"/>
                  <a:gd name="T8" fmla="*/ 1405 w 3204"/>
                  <a:gd name="T9" fmla="*/ 1122 h 3206"/>
                  <a:gd name="T10" fmla="*/ 440 w 3204"/>
                  <a:gd name="T11" fmla="*/ 638 h 3206"/>
                  <a:gd name="T12" fmla="*/ 484 w 3204"/>
                  <a:gd name="T13" fmla="*/ 682 h 3206"/>
                  <a:gd name="T14" fmla="*/ 726 w 3204"/>
                  <a:gd name="T15" fmla="*/ 924 h 3206"/>
                  <a:gd name="T16" fmla="*/ 198 w 3204"/>
                  <a:gd name="T17" fmla="*/ 484 h 3206"/>
                  <a:gd name="T18" fmla="*/ 198 w 3204"/>
                  <a:gd name="T19" fmla="*/ 484 h 3206"/>
                  <a:gd name="T20" fmla="*/ 440 w 3204"/>
                  <a:gd name="T21" fmla="*/ 724 h 3206"/>
                  <a:gd name="T22" fmla="*/ 484 w 3204"/>
                  <a:gd name="T23" fmla="*/ 1164 h 3206"/>
                  <a:gd name="T24" fmla="*/ 923 w 3204"/>
                  <a:gd name="T25" fmla="*/ 1208 h 3206"/>
                  <a:gd name="T26" fmla="*/ 2281 w 3204"/>
                  <a:gd name="T27" fmla="*/ 1996 h 3206"/>
                  <a:gd name="T28" fmla="*/ 2281 w 3204"/>
                  <a:gd name="T29" fmla="*/ 1996 h 3206"/>
                  <a:gd name="T30" fmla="*/ 2325 w 3204"/>
                  <a:gd name="T31" fmla="*/ 2040 h 3206"/>
                  <a:gd name="T32" fmla="*/ 2764 w 3204"/>
                  <a:gd name="T33" fmla="*/ 2084 h 3206"/>
                  <a:gd name="T34" fmla="*/ 2808 w 3204"/>
                  <a:gd name="T35" fmla="*/ 2524 h 3206"/>
                  <a:gd name="T36" fmla="*/ 1819 w 3204"/>
                  <a:gd name="T37" fmla="*/ 1870 h 3206"/>
                  <a:gd name="T38" fmla="*/ 1435 w 3204"/>
                  <a:gd name="T39" fmla="*/ 2250 h 3206"/>
                  <a:gd name="T40" fmla="*/ 1387 w 3204"/>
                  <a:gd name="T41" fmla="*/ 2270 h 3206"/>
                  <a:gd name="T42" fmla="*/ 1333 w 3204"/>
                  <a:gd name="T43" fmla="*/ 2270 h 3206"/>
                  <a:gd name="T44" fmla="*/ 1285 w 3204"/>
                  <a:gd name="T45" fmla="*/ 2250 h 3206"/>
                  <a:gd name="T46" fmla="*/ 851 w 3204"/>
                  <a:gd name="T47" fmla="*/ 2402 h 3206"/>
                  <a:gd name="T48" fmla="*/ 973 w 3204"/>
                  <a:gd name="T49" fmla="*/ 1942 h 3206"/>
                  <a:gd name="T50" fmla="*/ 943 w 3204"/>
                  <a:gd name="T51" fmla="*/ 1896 h 3206"/>
                  <a:gd name="T52" fmla="*/ 933 w 3204"/>
                  <a:gd name="T53" fmla="*/ 1844 h 3206"/>
                  <a:gd name="T54" fmla="*/ 943 w 3204"/>
                  <a:gd name="T55" fmla="*/ 1794 h 3206"/>
                  <a:gd name="T56" fmla="*/ 973 w 3204"/>
                  <a:gd name="T57" fmla="*/ 1748 h 3206"/>
                  <a:gd name="T58" fmla="*/ 965 w 3204"/>
                  <a:gd name="T59" fmla="*/ 1166 h 3206"/>
                  <a:gd name="T60" fmla="*/ 1383 w 3204"/>
                  <a:gd name="T61" fmla="*/ 1336 h 3206"/>
                  <a:gd name="T62" fmla="*/ 1769 w 3204"/>
                  <a:gd name="T63" fmla="*/ 956 h 3206"/>
                  <a:gd name="T64" fmla="*/ 1819 w 3204"/>
                  <a:gd name="T65" fmla="*/ 936 h 3206"/>
                  <a:gd name="T66" fmla="*/ 1871 w 3204"/>
                  <a:gd name="T67" fmla="*/ 936 h 3206"/>
                  <a:gd name="T68" fmla="*/ 1919 w 3204"/>
                  <a:gd name="T69" fmla="*/ 956 h 3206"/>
                  <a:gd name="T70" fmla="*/ 2231 w 3204"/>
                  <a:gd name="T71" fmla="*/ 1264 h 3206"/>
                  <a:gd name="T72" fmla="*/ 2261 w 3204"/>
                  <a:gd name="T73" fmla="*/ 1310 h 3206"/>
                  <a:gd name="T74" fmla="*/ 2271 w 3204"/>
                  <a:gd name="T75" fmla="*/ 1360 h 3206"/>
                  <a:gd name="T76" fmla="*/ 2261 w 3204"/>
                  <a:gd name="T77" fmla="*/ 1412 h 3206"/>
                  <a:gd name="T78" fmla="*/ 2231 w 3204"/>
                  <a:gd name="T79" fmla="*/ 1458 h 3206"/>
                  <a:gd name="T80" fmla="*/ 2239 w 3204"/>
                  <a:gd name="T81" fmla="*/ 2040 h 3206"/>
                  <a:gd name="T82" fmla="*/ 1819 w 3204"/>
                  <a:gd name="T83" fmla="*/ 1870 h 3206"/>
                  <a:gd name="T84" fmla="*/ 1913 w 3204"/>
                  <a:gd name="T85" fmla="*/ 1044 h 3206"/>
                  <a:gd name="T86" fmla="*/ 1845 w 3204"/>
                  <a:gd name="T87" fmla="*/ 1024 h 3206"/>
                  <a:gd name="T88" fmla="*/ 1777 w 3204"/>
                  <a:gd name="T89" fmla="*/ 1044 h 3206"/>
                  <a:gd name="T90" fmla="*/ 1061 w 3204"/>
                  <a:gd name="T91" fmla="*/ 1758 h 3206"/>
                  <a:gd name="T92" fmla="*/ 1033 w 3204"/>
                  <a:gd name="T93" fmla="*/ 1798 h 3206"/>
                  <a:gd name="T94" fmla="*/ 1033 w 3204"/>
                  <a:gd name="T95" fmla="*/ 1892 h 3206"/>
                  <a:gd name="T96" fmla="*/ 1061 w 3204"/>
                  <a:gd name="T97" fmla="*/ 1932 h 3206"/>
                  <a:gd name="T98" fmla="*/ 2480 w 3204"/>
                  <a:gd name="T99" fmla="*/ 2282 h 3206"/>
                  <a:gd name="T100" fmla="*/ 2522 w 3204"/>
                  <a:gd name="T101" fmla="*/ 2326 h 3206"/>
                  <a:gd name="T102" fmla="*/ 2566 w 3204"/>
                  <a:gd name="T103" fmla="*/ 2766 h 3206"/>
                  <a:gd name="T104" fmla="*/ 2566 w 3204"/>
                  <a:gd name="T105" fmla="*/ 2766 h 3206"/>
                  <a:gd name="T106" fmla="*/ 1997 w 3204"/>
                  <a:gd name="T107" fmla="*/ 2282 h 3206"/>
                  <a:gd name="T108" fmla="*/ 2039 w 3204"/>
                  <a:gd name="T109" fmla="*/ 2722 h 3206"/>
                  <a:gd name="T110" fmla="*/ 2083 w 3204"/>
                  <a:gd name="T111" fmla="*/ 2766 h 3206"/>
                  <a:gd name="T112" fmla="*/ 2325 w 3204"/>
                  <a:gd name="T113" fmla="*/ 3008 h 3206"/>
                  <a:gd name="T114" fmla="*/ 2325 w 3204"/>
                  <a:gd name="T115" fmla="*/ 3008 h 3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204" h="3206">
                    <a:moveTo>
                      <a:pt x="682" y="396"/>
                    </a:moveTo>
                    <a:lnTo>
                      <a:pt x="484" y="198"/>
                    </a:lnTo>
                    <a:lnTo>
                      <a:pt x="682" y="0"/>
                    </a:lnTo>
                    <a:lnTo>
                      <a:pt x="879" y="198"/>
                    </a:lnTo>
                    <a:lnTo>
                      <a:pt x="682" y="396"/>
                    </a:lnTo>
                    <a:close/>
                    <a:moveTo>
                      <a:pt x="923" y="638"/>
                    </a:moveTo>
                    <a:lnTo>
                      <a:pt x="1121" y="440"/>
                    </a:lnTo>
                    <a:lnTo>
                      <a:pt x="923" y="242"/>
                    </a:lnTo>
                    <a:lnTo>
                      <a:pt x="726" y="440"/>
                    </a:lnTo>
                    <a:lnTo>
                      <a:pt x="923" y="638"/>
                    </a:lnTo>
                    <a:close/>
                    <a:moveTo>
                      <a:pt x="1165" y="880"/>
                    </a:moveTo>
                    <a:lnTo>
                      <a:pt x="1363" y="682"/>
                    </a:lnTo>
                    <a:lnTo>
                      <a:pt x="1165" y="484"/>
                    </a:lnTo>
                    <a:lnTo>
                      <a:pt x="965" y="682"/>
                    </a:lnTo>
                    <a:lnTo>
                      <a:pt x="1165" y="880"/>
                    </a:lnTo>
                    <a:close/>
                    <a:moveTo>
                      <a:pt x="1405" y="1122"/>
                    </a:moveTo>
                    <a:lnTo>
                      <a:pt x="1603" y="922"/>
                    </a:lnTo>
                    <a:lnTo>
                      <a:pt x="1405" y="724"/>
                    </a:lnTo>
                    <a:lnTo>
                      <a:pt x="1207" y="924"/>
                    </a:lnTo>
                    <a:lnTo>
                      <a:pt x="1405" y="1122"/>
                    </a:lnTo>
                    <a:close/>
                    <a:moveTo>
                      <a:pt x="638" y="440"/>
                    </a:moveTo>
                    <a:lnTo>
                      <a:pt x="440" y="242"/>
                    </a:lnTo>
                    <a:lnTo>
                      <a:pt x="242" y="440"/>
                    </a:lnTo>
                    <a:lnTo>
                      <a:pt x="440" y="638"/>
                    </a:lnTo>
                    <a:lnTo>
                      <a:pt x="638" y="440"/>
                    </a:lnTo>
                    <a:close/>
                    <a:moveTo>
                      <a:pt x="879" y="682"/>
                    </a:moveTo>
                    <a:lnTo>
                      <a:pt x="682" y="484"/>
                    </a:lnTo>
                    <a:lnTo>
                      <a:pt x="484" y="682"/>
                    </a:lnTo>
                    <a:lnTo>
                      <a:pt x="682" y="880"/>
                    </a:lnTo>
                    <a:lnTo>
                      <a:pt x="879" y="682"/>
                    </a:lnTo>
                    <a:close/>
                    <a:moveTo>
                      <a:pt x="923" y="724"/>
                    </a:moveTo>
                    <a:lnTo>
                      <a:pt x="726" y="924"/>
                    </a:lnTo>
                    <a:lnTo>
                      <a:pt x="923" y="1122"/>
                    </a:lnTo>
                    <a:lnTo>
                      <a:pt x="1121" y="924"/>
                    </a:lnTo>
                    <a:lnTo>
                      <a:pt x="923" y="724"/>
                    </a:lnTo>
                    <a:close/>
                    <a:moveTo>
                      <a:pt x="198" y="484"/>
                    </a:moveTo>
                    <a:lnTo>
                      <a:pt x="0" y="682"/>
                    </a:lnTo>
                    <a:lnTo>
                      <a:pt x="198" y="880"/>
                    </a:lnTo>
                    <a:lnTo>
                      <a:pt x="396" y="682"/>
                    </a:lnTo>
                    <a:lnTo>
                      <a:pt x="198" y="484"/>
                    </a:lnTo>
                    <a:close/>
                    <a:moveTo>
                      <a:pt x="242" y="924"/>
                    </a:moveTo>
                    <a:lnTo>
                      <a:pt x="440" y="1122"/>
                    </a:lnTo>
                    <a:lnTo>
                      <a:pt x="638" y="924"/>
                    </a:lnTo>
                    <a:lnTo>
                      <a:pt x="440" y="724"/>
                    </a:lnTo>
                    <a:lnTo>
                      <a:pt x="242" y="924"/>
                    </a:lnTo>
                    <a:close/>
                    <a:moveTo>
                      <a:pt x="879" y="1164"/>
                    </a:moveTo>
                    <a:lnTo>
                      <a:pt x="682" y="966"/>
                    </a:lnTo>
                    <a:lnTo>
                      <a:pt x="484" y="1164"/>
                    </a:lnTo>
                    <a:lnTo>
                      <a:pt x="682" y="1364"/>
                    </a:lnTo>
                    <a:lnTo>
                      <a:pt x="879" y="1164"/>
                    </a:lnTo>
                    <a:close/>
                    <a:moveTo>
                      <a:pt x="1121" y="1406"/>
                    </a:moveTo>
                    <a:lnTo>
                      <a:pt x="923" y="1208"/>
                    </a:lnTo>
                    <a:lnTo>
                      <a:pt x="726" y="1406"/>
                    </a:lnTo>
                    <a:lnTo>
                      <a:pt x="923" y="1604"/>
                    </a:lnTo>
                    <a:lnTo>
                      <a:pt x="1121" y="1406"/>
                    </a:lnTo>
                    <a:close/>
                    <a:moveTo>
                      <a:pt x="2281" y="1996"/>
                    </a:moveTo>
                    <a:lnTo>
                      <a:pt x="2478" y="1798"/>
                    </a:lnTo>
                    <a:lnTo>
                      <a:pt x="2281" y="1600"/>
                    </a:lnTo>
                    <a:lnTo>
                      <a:pt x="2083" y="1798"/>
                    </a:lnTo>
                    <a:lnTo>
                      <a:pt x="2281" y="1996"/>
                    </a:lnTo>
                    <a:close/>
                    <a:moveTo>
                      <a:pt x="2522" y="2238"/>
                    </a:moveTo>
                    <a:lnTo>
                      <a:pt x="2720" y="2040"/>
                    </a:lnTo>
                    <a:lnTo>
                      <a:pt x="2522" y="1842"/>
                    </a:lnTo>
                    <a:lnTo>
                      <a:pt x="2325" y="2040"/>
                    </a:lnTo>
                    <a:lnTo>
                      <a:pt x="2522" y="2238"/>
                    </a:lnTo>
                    <a:close/>
                    <a:moveTo>
                      <a:pt x="2764" y="2480"/>
                    </a:moveTo>
                    <a:lnTo>
                      <a:pt x="2962" y="2282"/>
                    </a:lnTo>
                    <a:lnTo>
                      <a:pt x="2764" y="2084"/>
                    </a:lnTo>
                    <a:lnTo>
                      <a:pt x="2566" y="2282"/>
                    </a:lnTo>
                    <a:lnTo>
                      <a:pt x="2764" y="2480"/>
                    </a:lnTo>
                    <a:close/>
                    <a:moveTo>
                      <a:pt x="3006" y="2326"/>
                    </a:moveTo>
                    <a:lnTo>
                      <a:pt x="2808" y="2524"/>
                    </a:lnTo>
                    <a:lnTo>
                      <a:pt x="3006" y="2722"/>
                    </a:lnTo>
                    <a:lnTo>
                      <a:pt x="3204" y="2524"/>
                    </a:lnTo>
                    <a:lnTo>
                      <a:pt x="3006" y="2326"/>
                    </a:lnTo>
                    <a:close/>
                    <a:moveTo>
                      <a:pt x="1819" y="1870"/>
                    </a:moveTo>
                    <a:lnTo>
                      <a:pt x="1457" y="2232"/>
                    </a:lnTo>
                    <a:lnTo>
                      <a:pt x="1457" y="2232"/>
                    </a:lnTo>
                    <a:lnTo>
                      <a:pt x="1447" y="2242"/>
                    </a:lnTo>
                    <a:lnTo>
                      <a:pt x="1435" y="2250"/>
                    </a:lnTo>
                    <a:lnTo>
                      <a:pt x="1423" y="2256"/>
                    </a:lnTo>
                    <a:lnTo>
                      <a:pt x="1411" y="2262"/>
                    </a:lnTo>
                    <a:lnTo>
                      <a:pt x="1399" y="2266"/>
                    </a:lnTo>
                    <a:lnTo>
                      <a:pt x="1387" y="2270"/>
                    </a:lnTo>
                    <a:lnTo>
                      <a:pt x="1373" y="2272"/>
                    </a:lnTo>
                    <a:lnTo>
                      <a:pt x="1359" y="2272"/>
                    </a:lnTo>
                    <a:lnTo>
                      <a:pt x="1347" y="2272"/>
                    </a:lnTo>
                    <a:lnTo>
                      <a:pt x="1333" y="2270"/>
                    </a:lnTo>
                    <a:lnTo>
                      <a:pt x="1321" y="2266"/>
                    </a:lnTo>
                    <a:lnTo>
                      <a:pt x="1309" y="2262"/>
                    </a:lnTo>
                    <a:lnTo>
                      <a:pt x="1297" y="2256"/>
                    </a:lnTo>
                    <a:lnTo>
                      <a:pt x="1285" y="2250"/>
                    </a:lnTo>
                    <a:lnTo>
                      <a:pt x="1273" y="2242"/>
                    </a:lnTo>
                    <a:lnTo>
                      <a:pt x="1263" y="2232"/>
                    </a:lnTo>
                    <a:lnTo>
                      <a:pt x="1143" y="2110"/>
                    </a:lnTo>
                    <a:lnTo>
                      <a:pt x="851" y="2402"/>
                    </a:lnTo>
                    <a:lnTo>
                      <a:pt x="803" y="2354"/>
                    </a:lnTo>
                    <a:lnTo>
                      <a:pt x="1095" y="2062"/>
                    </a:lnTo>
                    <a:lnTo>
                      <a:pt x="973" y="1942"/>
                    </a:lnTo>
                    <a:lnTo>
                      <a:pt x="973" y="1942"/>
                    </a:lnTo>
                    <a:lnTo>
                      <a:pt x="963" y="1932"/>
                    </a:lnTo>
                    <a:lnTo>
                      <a:pt x="955" y="1920"/>
                    </a:lnTo>
                    <a:lnTo>
                      <a:pt x="949" y="1908"/>
                    </a:lnTo>
                    <a:lnTo>
                      <a:pt x="943" y="1896"/>
                    </a:lnTo>
                    <a:lnTo>
                      <a:pt x="939" y="1884"/>
                    </a:lnTo>
                    <a:lnTo>
                      <a:pt x="935" y="1872"/>
                    </a:lnTo>
                    <a:lnTo>
                      <a:pt x="933" y="1858"/>
                    </a:lnTo>
                    <a:lnTo>
                      <a:pt x="933" y="1844"/>
                    </a:lnTo>
                    <a:lnTo>
                      <a:pt x="933" y="1832"/>
                    </a:lnTo>
                    <a:lnTo>
                      <a:pt x="935" y="1818"/>
                    </a:lnTo>
                    <a:lnTo>
                      <a:pt x="939" y="1806"/>
                    </a:lnTo>
                    <a:lnTo>
                      <a:pt x="943" y="1794"/>
                    </a:lnTo>
                    <a:lnTo>
                      <a:pt x="949" y="1780"/>
                    </a:lnTo>
                    <a:lnTo>
                      <a:pt x="955" y="1770"/>
                    </a:lnTo>
                    <a:lnTo>
                      <a:pt x="963" y="1758"/>
                    </a:lnTo>
                    <a:lnTo>
                      <a:pt x="973" y="1748"/>
                    </a:lnTo>
                    <a:lnTo>
                      <a:pt x="1335" y="1386"/>
                    </a:lnTo>
                    <a:lnTo>
                      <a:pt x="1239" y="1288"/>
                    </a:lnTo>
                    <a:lnTo>
                      <a:pt x="1165" y="1364"/>
                    </a:lnTo>
                    <a:lnTo>
                      <a:pt x="965" y="1166"/>
                    </a:lnTo>
                    <a:lnTo>
                      <a:pt x="1165" y="966"/>
                    </a:lnTo>
                    <a:lnTo>
                      <a:pt x="1363" y="1164"/>
                    </a:lnTo>
                    <a:lnTo>
                      <a:pt x="1287" y="1240"/>
                    </a:lnTo>
                    <a:lnTo>
                      <a:pt x="1383" y="1336"/>
                    </a:lnTo>
                    <a:lnTo>
                      <a:pt x="1747" y="974"/>
                    </a:lnTo>
                    <a:lnTo>
                      <a:pt x="1747" y="974"/>
                    </a:lnTo>
                    <a:lnTo>
                      <a:pt x="1757" y="964"/>
                    </a:lnTo>
                    <a:lnTo>
                      <a:pt x="1769" y="956"/>
                    </a:lnTo>
                    <a:lnTo>
                      <a:pt x="1781" y="950"/>
                    </a:lnTo>
                    <a:lnTo>
                      <a:pt x="1793" y="944"/>
                    </a:lnTo>
                    <a:lnTo>
                      <a:pt x="1805" y="940"/>
                    </a:lnTo>
                    <a:lnTo>
                      <a:pt x="1819" y="936"/>
                    </a:lnTo>
                    <a:lnTo>
                      <a:pt x="1831" y="934"/>
                    </a:lnTo>
                    <a:lnTo>
                      <a:pt x="1845" y="934"/>
                    </a:lnTo>
                    <a:lnTo>
                      <a:pt x="1857" y="934"/>
                    </a:lnTo>
                    <a:lnTo>
                      <a:pt x="1871" y="936"/>
                    </a:lnTo>
                    <a:lnTo>
                      <a:pt x="1883" y="940"/>
                    </a:lnTo>
                    <a:lnTo>
                      <a:pt x="1895" y="944"/>
                    </a:lnTo>
                    <a:lnTo>
                      <a:pt x="1909" y="950"/>
                    </a:lnTo>
                    <a:lnTo>
                      <a:pt x="1919" y="956"/>
                    </a:lnTo>
                    <a:lnTo>
                      <a:pt x="1931" y="964"/>
                    </a:lnTo>
                    <a:lnTo>
                      <a:pt x="1941" y="974"/>
                    </a:lnTo>
                    <a:lnTo>
                      <a:pt x="2231" y="1264"/>
                    </a:lnTo>
                    <a:lnTo>
                      <a:pt x="2231" y="1264"/>
                    </a:lnTo>
                    <a:lnTo>
                      <a:pt x="2241" y="1274"/>
                    </a:lnTo>
                    <a:lnTo>
                      <a:pt x="2249" y="1286"/>
                    </a:lnTo>
                    <a:lnTo>
                      <a:pt x="2255" y="1296"/>
                    </a:lnTo>
                    <a:lnTo>
                      <a:pt x="2261" y="1310"/>
                    </a:lnTo>
                    <a:lnTo>
                      <a:pt x="2265" y="1322"/>
                    </a:lnTo>
                    <a:lnTo>
                      <a:pt x="2269" y="1334"/>
                    </a:lnTo>
                    <a:lnTo>
                      <a:pt x="2271" y="1348"/>
                    </a:lnTo>
                    <a:lnTo>
                      <a:pt x="2271" y="1360"/>
                    </a:lnTo>
                    <a:lnTo>
                      <a:pt x="2271" y="1374"/>
                    </a:lnTo>
                    <a:lnTo>
                      <a:pt x="2269" y="1386"/>
                    </a:lnTo>
                    <a:lnTo>
                      <a:pt x="2265" y="1400"/>
                    </a:lnTo>
                    <a:lnTo>
                      <a:pt x="2261" y="1412"/>
                    </a:lnTo>
                    <a:lnTo>
                      <a:pt x="2255" y="1424"/>
                    </a:lnTo>
                    <a:lnTo>
                      <a:pt x="2249" y="1436"/>
                    </a:lnTo>
                    <a:lnTo>
                      <a:pt x="2241" y="1446"/>
                    </a:lnTo>
                    <a:lnTo>
                      <a:pt x="2231" y="1458"/>
                    </a:lnTo>
                    <a:lnTo>
                      <a:pt x="1869" y="1820"/>
                    </a:lnTo>
                    <a:lnTo>
                      <a:pt x="1965" y="1918"/>
                    </a:lnTo>
                    <a:lnTo>
                      <a:pt x="2041" y="1842"/>
                    </a:lnTo>
                    <a:lnTo>
                      <a:pt x="2239" y="2040"/>
                    </a:lnTo>
                    <a:lnTo>
                      <a:pt x="2041" y="2240"/>
                    </a:lnTo>
                    <a:lnTo>
                      <a:pt x="1843" y="2040"/>
                    </a:lnTo>
                    <a:lnTo>
                      <a:pt x="1917" y="1966"/>
                    </a:lnTo>
                    <a:lnTo>
                      <a:pt x="1819" y="1870"/>
                    </a:lnTo>
                    <a:close/>
                    <a:moveTo>
                      <a:pt x="1931" y="1060"/>
                    </a:moveTo>
                    <a:lnTo>
                      <a:pt x="1931" y="1060"/>
                    </a:lnTo>
                    <a:lnTo>
                      <a:pt x="1923" y="1052"/>
                    </a:lnTo>
                    <a:lnTo>
                      <a:pt x="1913" y="1044"/>
                    </a:lnTo>
                    <a:lnTo>
                      <a:pt x="1901" y="1038"/>
                    </a:lnTo>
                    <a:lnTo>
                      <a:pt x="1891" y="1034"/>
                    </a:lnTo>
                    <a:lnTo>
                      <a:pt x="1867" y="1026"/>
                    </a:lnTo>
                    <a:lnTo>
                      <a:pt x="1845" y="1024"/>
                    </a:lnTo>
                    <a:lnTo>
                      <a:pt x="1821" y="1026"/>
                    </a:lnTo>
                    <a:lnTo>
                      <a:pt x="1797" y="1034"/>
                    </a:lnTo>
                    <a:lnTo>
                      <a:pt x="1787" y="1038"/>
                    </a:lnTo>
                    <a:lnTo>
                      <a:pt x="1777" y="1044"/>
                    </a:lnTo>
                    <a:lnTo>
                      <a:pt x="1767" y="1052"/>
                    </a:lnTo>
                    <a:lnTo>
                      <a:pt x="1757" y="1060"/>
                    </a:lnTo>
                    <a:lnTo>
                      <a:pt x="1061" y="1758"/>
                    </a:lnTo>
                    <a:lnTo>
                      <a:pt x="1061" y="1758"/>
                    </a:lnTo>
                    <a:lnTo>
                      <a:pt x="1051" y="1768"/>
                    </a:lnTo>
                    <a:lnTo>
                      <a:pt x="1045" y="1776"/>
                    </a:lnTo>
                    <a:lnTo>
                      <a:pt x="1039" y="1788"/>
                    </a:lnTo>
                    <a:lnTo>
                      <a:pt x="1033" y="1798"/>
                    </a:lnTo>
                    <a:lnTo>
                      <a:pt x="1027" y="1822"/>
                    </a:lnTo>
                    <a:lnTo>
                      <a:pt x="1025" y="1844"/>
                    </a:lnTo>
                    <a:lnTo>
                      <a:pt x="1027" y="1868"/>
                    </a:lnTo>
                    <a:lnTo>
                      <a:pt x="1033" y="1892"/>
                    </a:lnTo>
                    <a:lnTo>
                      <a:pt x="1039" y="1902"/>
                    </a:lnTo>
                    <a:lnTo>
                      <a:pt x="1045" y="1912"/>
                    </a:lnTo>
                    <a:lnTo>
                      <a:pt x="1051" y="1922"/>
                    </a:lnTo>
                    <a:lnTo>
                      <a:pt x="1061" y="1932"/>
                    </a:lnTo>
                    <a:lnTo>
                      <a:pt x="1931" y="1060"/>
                    </a:lnTo>
                    <a:close/>
                    <a:moveTo>
                      <a:pt x="2083" y="2282"/>
                    </a:moveTo>
                    <a:lnTo>
                      <a:pt x="2283" y="2480"/>
                    </a:lnTo>
                    <a:lnTo>
                      <a:pt x="2480" y="2282"/>
                    </a:lnTo>
                    <a:lnTo>
                      <a:pt x="2283" y="2084"/>
                    </a:lnTo>
                    <a:lnTo>
                      <a:pt x="2083" y="2282"/>
                    </a:lnTo>
                    <a:close/>
                    <a:moveTo>
                      <a:pt x="2720" y="2524"/>
                    </a:moveTo>
                    <a:lnTo>
                      <a:pt x="2522" y="2326"/>
                    </a:lnTo>
                    <a:lnTo>
                      <a:pt x="2325" y="2524"/>
                    </a:lnTo>
                    <a:lnTo>
                      <a:pt x="2522" y="2722"/>
                    </a:lnTo>
                    <a:lnTo>
                      <a:pt x="2720" y="2524"/>
                    </a:lnTo>
                    <a:close/>
                    <a:moveTo>
                      <a:pt x="2566" y="2766"/>
                    </a:moveTo>
                    <a:lnTo>
                      <a:pt x="2764" y="2964"/>
                    </a:lnTo>
                    <a:lnTo>
                      <a:pt x="2962" y="2766"/>
                    </a:lnTo>
                    <a:lnTo>
                      <a:pt x="2764" y="2568"/>
                    </a:lnTo>
                    <a:lnTo>
                      <a:pt x="2566" y="2766"/>
                    </a:lnTo>
                    <a:close/>
                    <a:moveTo>
                      <a:pt x="1799" y="2084"/>
                    </a:moveTo>
                    <a:lnTo>
                      <a:pt x="1599" y="2282"/>
                    </a:lnTo>
                    <a:lnTo>
                      <a:pt x="1799" y="2480"/>
                    </a:lnTo>
                    <a:lnTo>
                      <a:pt x="1997" y="2282"/>
                    </a:lnTo>
                    <a:lnTo>
                      <a:pt x="1799" y="2084"/>
                    </a:lnTo>
                    <a:close/>
                    <a:moveTo>
                      <a:pt x="2039" y="2326"/>
                    </a:moveTo>
                    <a:lnTo>
                      <a:pt x="1841" y="2524"/>
                    </a:lnTo>
                    <a:lnTo>
                      <a:pt x="2039" y="2722"/>
                    </a:lnTo>
                    <a:lnTo>
                      <a:pt x="2237" y="2524"/>
                    </a:lnTo>
                    <a:lnTo>
                      <a:pt x="2039" y="2326"/>
                    </a:lnTo>
                    <a:close/>
                    <a:moveTo>
                      <a:pt x="2281" y="2568"/>
                    </a:moveTo>
                    <a:lnTo>
                      <a:pt x="2083" y="2766"/>
                    </a:lnTo>
                    <a:lnTo>
                      <a:pt x="2281" y="2964"/>
                    </a:lnTo>
                    <a:lnTo>
                      <a:pt x="2478" y="2766"/>
                    </a:lnTo>
                    <a:lnTo>
                      <a:pt x="2281" y="2568"/>
                    </a:lnTo>
                    <a:close/>
                    <a:moveTo>
                      <a:pt x="2325" y="3008"/>
                    </a:moveTo>
                    <a:lnTo>
                      <a:pt x="2522" y="3206"/>
                    </a:lnTo>
                    <a:lnTo>
                      <a:pt x="2720" y="3008"/>
                    </a:lnTo>
                    <a:lnTo>
                      <a:pt x="2522" y="2810"/>
                    </a:lnTo>
                    <a:lnTo>
                      <a:pt x="2325" y="3008"/>
                    </a:lnTo>
                    <a:close/>
                    <a:moveTo>
                      <a:pt x="294" y="2320"/>
                    </a:moveTo>
                    <a:lnTo>
                      <a:pt x="294" y="23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2" name="Freeform 11"/>
              <p:cNvSpPr>
                <a:spLocks/>
              </p:cNvSpPr>
              <p:nvPr/>
            </p:nvSpPr>
            <p:spPr bwMode="auto">
              <a:xfrm>
                <a:off x="2722" y="557"/>
                <a:ext cx="395" cy="396"/>
              </a:xfrm>
              <a:custGeom>
                <a:avLst/>
                <a:gdLst>
                  <a:gd name="T0" fmla="*/ 198 w 395"/>
                  <a:gd name="T1" fmla="*/ 396 h 396"/>
                  <a:gd name="T2" fmla="*/ 0 w 395"/>
                  <a:gd name="T3" fmla="*/ 198 h 396"/>
                  <a:gd name="T4" fmla="*/ 198 w 395"/>
                  <a:gd name="T5" fmla="*/ 0 h 396"/>
                  <a:gd name="T6" fmla="*/ 395 w 395"/>
                  <a:gd name="T7" fmla="*/ 198 h 396"/>
                  <a:gd name="T8" fmla="*/ 198 w 395"/>
                  <a:gd name="T9" fmla="*/ 396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396">
                    <a:moveTo>
                      <a:pt x="198" y="396"/>
                    </a:moveTo>
                    <a:lnTo>
                      <a:pt x="0" y="198"/>
                    </a:lnTo>
                    <a:lnTo>
                      <a:pt x="198" y="0"/>
                    </a:lnTo>
                    <a:lnTo>
                      <a:pt x="395" y="198"/>
                    </a:lnTo>
                    <a:lnTo>
                      <a:pt x="198" y="396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3" name="Freeform 12"/>
              <p:cNvSpPr>
                <a:spLocks/>
              </p:cNvSpPr>
              <p:nvPr/>
            </p:nvSpPr>
            <p:spPr bwMode="auto">
              <a:xfrm>
                <a:off x="2964" y="799"/>
                <a:ext cx="395" cy="396"/>
              </a:xfrm>
              <a:custGeom>
                <a:avLst/>
                <a:gdLst>
                  <a:gd name="T0" fmla="*/ 197 w 395"/>
                  <a:gd name="T1" fmla="*/ 396 h 396"/>
                  <a:gd name="T2" fmla="*/ 395 w 395"/>
                  <a:gd name="T3" fmla="*/ 198 h 396"/>
                  <a:gd name="T4" fmla="*/ 197 w 395"/>
                  <a:gd name="T5" fmla="*/ 0 h 396"/>
                  <a:gd name="T6" fmla="*/ 0 w 395"/>
                  <a:gd name="T7" fmla="*/ 198 h 396"/>
                  <a:gd name="T8" fmla="*/ 197 w 395"/>
                  <a:gd name="T9" fmla="*/ 396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396">
                    <a:moveTo>
                      <a:pt x="197" y="396"/>
                    </a:moveTo>
                    <a:lnTo>
                      <a:pt x="395" y="198"/>
                    </a:lnTo>
                    <a:lnTo>
                      <a:pt x="197" y="0"/>
                    </a:lnTo>
                    <a:lnTo>
                      <a:pt x="0" y="198"/>
                    </a:lnTo>
                    <a:lnTo>
                      <a:pt x="197" y="396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4" name="Freeform 13"/>
              <p:cNvSpPr>
                <a:spLocks/>
              </p:cNvSpPr>
              <p:nvPr/>
            </p:nvSpPr>
            <p:spPr bwMode="auto">
              <a:xfrm>
                <a:off x="3203" y="1041"/>
                <a:ext cx="398" cy="396"/>
              </a:xfrm>
              <a:custGeom>
                <a:avLst/>
                <a:gdLst>
                  <a:gd name="T0" fmla="*/ 200 w 398"/>
                  <a:gd name="T1" fmla="*/ 396 h 396"/>
                  <a:gd name="T2" fmla="*/ 398 w 398"/>
                  <a:gd name="T3" fmla="*/ 198 h 396"/>
                  <a:gd name="T4" fmla="*/ 200 w 398"/>
                  <a:gd name="T5" fmla="*/ 0 h 396"/>
                  <a:gd name="T6" fmla="*/ 0 w 398"/>
                  <a:gd name="T7" fmla="*/ 198 h 396"/>
                  <a:gd name="T8" fmla="*/ 200 w 398"/>
                  <a:gd name="T9" fmla="*/ 396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396">
                    <a:moveTo>
                      <a:pt x="200" y="396"/>
                    </a:moveTo>
                    <a:lnTo>
                      <a:pt x="398" y="198"/>
                    </a:lnTo>
                    <a:lnTo>
                      <a:pt x="200" y="0"/>
                    </a:lnTo>
                    <a:lnTo>
                      <a:pt x="0" y="198"/>
                    </a:lnTo>
                    <a:lnTo>
                      <a:pt x="200" y="396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5" name="Freeform 14"/>
              <p:cNvSpPr>
                <a:spLocks/>
              </p:cNvSpPr>
              <p:nvPr/>
            </p:nvSpPr>
            <p:spPr bwMode="auto">
              <a:xfrm>
                <a:off x="3445" y="1281"/>
                <a:ext cx="396" cy="398"/>
              </a:xfrm>
              <a:custGeom>
                <a:avLst/>
                <a:gdLst>
                  <a:gd name="T0" fmla="*/ 198 w 396"/>
                  <a:gd name="T1" fmla="*/ 398 h 398"/>
                  <a:gd name="T2" fmla="*/ 396 w 396"/>
                  <a:gd name="T3" fmla="*/ 198 h 398"/>
                  <a:gd name="T4" fmla="*/ 198 w 396"/>
                  <a:gd name="T5" fmla="*/ 0 h 398"/>
                  <a:gd name="T6" fmla="*/ 0 w 396"/>
                  <a:gd name="T7" fmla="*/ 200 h 398"/>
                  <a:gd name="T8" fmla="*/ 198 w 396"/>
                  <a:gd name="T9" fmla="*/ 398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6" h="398">
                    <a:moveTo>
                      <a:pt x="198" y="398"/>
                    </a:moveTo>
                    <a:lnTo>
                      <a:pt x="396" y="198"/>
                    </a:lnTo>
                    <a:lnTo>
                      <a:pt x="198" y="0"/>
                    </a:lnTo>
                    <a:lnTo>
                      <a:pt x="0" y="200"/>
                    </a:lnTo>
                    <a:lnTo>
                      <a:pt x="198" y="398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6" name="Freeform 15"/>
              <p:cNvSpPr>
                <a:spLocks/>
              </p:cNvSpPr>
              <p:nvPr/>
            </p:nvSpPr>
            <p:spPr bwMode="auto">
              <a:xfrm>
                <a:off x="2480" y="799"/>
                <a:ext cx="396" cy="396"/>
              </a:xfrm>
              <a:custGeom>
                <a:avLst/>
                <a:gdLst>
                  <a:gd name="T0" fmla="*/ 396 w 396"/>
                  <a:gd name="T1" fmla="*/ 198 h 396"/>
                  <a:gd name="T2" fmla="*/ 198 w 396"/>
                  <a:gd name="T3" fmla="*/ 0 h 396"/>
                  <a:gd name="T4" fmla="*/ 0 w 396"/>
                  <a:gd name="T5" fmla="*/ 198 h 396"/>
                  <a:gd name="T6" fmla="*/ 198 w 396"/>
                  <a:gd name="T7" fmla="*/ 396 h 396"/>
                  <a:gd name="T8" fmla="*/ 396 w 396"/>
                  <a:gd name="T9" fmla="*/ 198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6" h="396">
                    <a:moveTo>
                      <a:pt x="396" y="198"/>
                    </a:moveTo>
                    <a:lnTo>
                      <a:pt x="198" y="0"/>
                    </a:lnTo>
                    <a:lnTo>
                      <a:pt x="0" y="198"/>
                    </a:lnTo>
                    <a:lnTo>
                      <a:pt x="198" y="396"/>
                    </a:lnTo>
                    <a:lnTo>
                      <a:pt x="396" y="198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7" name="Freeform 16"/>
              <p:cNvSpPr>
                <a:spLocks/>
              </p:cNvSpPr>
              <p:nvPr/>
            </p:nvSpPr>
            <p:spPr bwMode="auto">
              <a:xfrm>
                <a:off x="2722" y="1041"/>
                <a:ext cx="395" cy="396"/>
              </a:xfrm>
              <a:custGeom>
                <a:avLst/>
                <a:gdLst>
                  <a:gd name="T0" fmla="*/ 395 w 395"/>
                  <a:gd name="T1" fmla="*/ 198 h 396"/>
                  <a:gd name="T2" fmla="*/ 198 w 395"/>
                  <a:gd name="T3" fmla="*/ 0 h 396"/>
                  <a:gd name="T4" fmla="*/ 0 w 395"/>
                  <a:gd name="T5" fmla="*/ 198 h 396"/>
                  <a:gd name="T6" fmla="*/ 198 w 395"/>
                  <a:gd name="T7" fmla="*/ 396 h 396"/>
                  <a:gd name="T8" fmla="*/ 395 w 395"/>
                  <a:gd name="T9" fmla="*/ 198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396">
                    <a:moveTo>
                      <a:pt x="395" y="198"/>
                    </a:moveTo>
                    <a:lnTo>
                      <a:pt x="198" y="0"/>
                    </a:lnTo>
                    <a:lnTo>
                      <a:pt x="0" y="198"/>
                    </a:lnTo>
                    <a:lnTo>
                      <a:pt x="198" y="396"/>
                    </a:lnTo>
                    <a:lnTo>
                      <a:pt x="395" y="198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8" name="Freeform 17"/>
              <p:cNvSpPr>
                <a:spLocks/>
              </p:cNvSpPr>
              <p:nvPr/>
            </p:nvSpPr>
            <p:spPr bwMode="auto">
              <a:xfrm>
                <a:off x="2964" y="1281"/>
                <a:ext cx="395" cy="398"/>
              </a:xfrm>
              <a:custGeom>
                <a:avLst/>
                <a:gdLst>
                  <a:gd name="T0" fmla="*/ 197 w 395"/>
                  <a:gd name="T1" fmla="*/ 0 h 398"/>
                  <a:gd name="T2" fmla="*/ 0 w 395"/>
                  <a:gd name="T3" fmla="*/ 200 h 398"/>
                  <a:gd name="T4" fmla="*/ 197 w 395"/>
                  <a:gd name="T5" fmla="*/ 398 h 398"/>
                  <a:gd name="T6" fmla="*/ 395 w 395"/>
                  <a:gd name="T7" fmla="*/ 200 h 398"/>
                  <a:gd name="T8" fmla="*/ 197 w 395"/>
                  <a:gd name="T9" fmla="*/ 0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398">
                    <a:moveTo>
                      <a:pt x="197" y="0"/>
                    </a:moveTo>
                    <a:lnTo>
                      <a:pt x="0" y="200"/>
                    </a:lnTo>
                    <a:lnTo>
                      <a:pt x="197" y="398"/>
                    </a:lnTo>
                    <a:lnTo>
                      <a:pt x="395" y="200"/>
                    </a:lnTo>
                    <a:lnTo>
                      <a:pt x="197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9" name="Freeform 18"/>
              <p:cNvSpPr>
                <a:spLocks/>
              </p:cNvSpPr>
              <p:nvPr/>
            </p:nvSpPr>
            <p:spPr bwMode="auto">
              <a:xfrm>
                <a:off x="2238" y="1041"/>
                <a:ext cx="396" cy="396"/>
              </a:xfrm>
              <a:custGeom>
                <a:avLst/>
                <a:gdLst>
                  <a:gd name="T0" fmla="*/ 198 w 396"/>
                  <a:gd name="T1" fmla="*/ 0 h 396"/>
                  <a:gd name="T2" fmla="*/ 0 w 396"/>
                  <a:gd name="T3" fmla="*/ 198 h 396"/>
                  <a:gd name="T4" fmla="*/ 198 w 396"/>
                  <a:gd name="T5" fmla="*/ 396 h 396"/>
                  <a:gd name="T6" fmla="*/ 396 w 396"/>
                  <a:gd name="T7" fmla="*/ 198 h 396"/>
                  <a:gd name="T8" fmla="*/ 198 w 396"/>
                  <a:gd name="T9" fmla="*/ 0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6" h="396">
                    <a:moveTo>
                      <a:pt x="198" y="0"/>
                    </a:moveTo>
                    <a:lnTo>
                      <a:pt x="0" y="198"/>
                    </a:lnTo>
                    <a:lnTo>
                      <a:pt x="198" y="396"/>
                    </a:lnTo>
                    <a:lnTo>
                      <a:pt x="396" y="198"/>
                    </a:lnTo>
                    <a:lnTo>
                      <a:pt x="198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0" name="Freeform 19"/>
              <p:cNvSpPr>
                <a:spLocks/>
              </p:cNvSpPr>
              <p:nvPr/>
            </p:nvSpPr>
            <p:spPr bwMode="auto">
              <a:xfrm>
                <a:off x="2480" y="1281"/>
                <a:ext cx="396" cy="398"/>
              </a:xfrm>
              <a:custGeom>
                <a:avLst/>
                <a:gdLst>
                  <a:gd name="T0" fmla="*/ 0 w 396"/>
                  <a:gd name="T1" fmla="*/ 200 h 398"/>
                  <a:gd name="T2" fmla="*/ 198 w 396"/>
                  <a:gd name="T3" fmla="*/ 398 h 398"/>
                  <a:gd name="T4" fmla="*/ 396 w 396"/>
                  <a:gd name="T5" fmla="*/ 200 h 398"/>
                  <a:gd name="T6" fmla="*/ 198 w 396"/>
                  <a:gd name="T7" fmla="*/ 0 h 398"/>
                  <a:gd name="T8" fmla="*/ 0 w 396"/>
                  <a:gd name="T9" fmla="*/ 200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6" h="398">
                    <a:moveTo>
                      <a:pt x="0" y="200"/>
                    </a:moveTo>
                    <a:lnTo>
                      <a:pt x="198" y="398"/>
                    </a:lnTo>
                    <a:lnTo>
                      <a:pt x="396" y="200"/>
                    </a:lnTo>
                    <a:lnTo>
                      <a:pt x="198" y="0"/>
                    </a:lnTo>
                    <a:lnTo>
                      <a:pt x="0" y="20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1" name="Freeform 20"/>
              <p:cNvSpPr>
                <a:spLocks/>
              </p:cNvSpPr>
              <p:nvPr/>
            </p:nvSpPr>
            <p:spPr bwMode="auto">
              <a:xfrm>
                <a:off x="2722" y="1523"/>
                <a:ext cx="395" cy="398"/>
              </a:xfrm>
              <a:custGeom>
                <a:avLst/>
                <a:gdLst>
                  <a:gd name="T0" fmla="*/ 395 w 395"/>
                  <a:gd name="T1" fmla="*/ 198 h 398"/>
                  <a:gd name="T2" fmla="*/ 198 w 395"/>
                  <a:gd name="T3" fmla="*/ 0 h 398"/>
                  <a:gd name="T4" fmla="*/ 0 w 395"/>
                  <a:gd name="T5" fmla="*/ 198 h 398"/>
                  <a:gd name="T6" fmla="*/ 198 w 395"/>
                  <a:gd name="T7" fmla="*/ 398 h 398"/>
                  <a:gd name="T8" fmla="*/ 395 w 395"/>
                  <a:gd name="T9" fmla="*/ 198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398">
                    <a:moveTo>
                      <a:pt x="395" y="198"/>
                    </a:moveTo>
                    <a:lnTo>
                      <a:pt x="198" y="0"/>
                    </a:lnTo>
                    <a:lnTo>
                      <a:pt x="0" y="198"/>
                    </a:lnTo>
                    <a:lnTo>
                      <a:pt x="198" y="398"/>
                    </a:lnTo>
                    <a:lnTo>
                      <a:pt x="395" y="198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2" name="Freeform 21"/>
              <p:cNvSpPr>
                <a:spLocks/>
              </p:cNvSpPr>
              <p:nvPr/>
            </p:nvSpPr>
            <p:spPr bwMode="auto">
              <a:xfrm>
                <a:off x="2964" y="1765"/>
                <a:ext cx="395" cy="396"/>
              </a:xfrm>
              <a:custGeom>
                <a:avLst/>
                <a:gdLst>
                  <a:gd name="T0" fmla="*/ 395 w 395"/>
                  <a:gd name="T1" fmla="*/ 198 h 396"/>
                  <a:gd name="T2" fmla="*/ 197 w 395"/>
                  <a:gd name="T3" fmla="*/ 0 h 396"/>
                  <a:gd name="T4" fmla="*/ 0 w 395"/>
                  <a:gd name="T5" fmla="*/ 198 h 396"/>
                  <a:gd name="T6" fmla="*/ 197 w 395"/>
                  <a:gd name="T7" fmla="*/ 396 h 396"/>
                  <a:gd name="T8" fmla="*/ 395 w 395"/>
                  <a:gd name="T9" fmla="*/ 198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396">
                    <a:moveTo>
                      <a:pt x="395" y="198"/>
                    </a:moveTo>
                    <a:lnTo>
                      <a:pt x="197" y="0"/>
                    </a:lnTo>
                    <a:lnTo>
                      <a:pt x="0" y="198"/>
                    </a:lnTo>
                    <a:lnTo>
                      <a:pt x="197" y="396"/>
                    </a:lnTo>
                    <a:lnTo>
                      <a:pt x="395" y="198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3" name="Freeform 22"/>
              <p:cNvSpPr>
                <a:spLocks/>
              </p:cNvSpPr>
              <p:nvPr/>
            </p:nvSpPr>
            <p:spPr bwMode="auto">
              <a:xfrm>
                <a:off x="4321" y="2157"/>
                <a:ext cx="395" cy="396"/>
              </a:xfrm>
              <a:custGeom>
                <a:avLst/>
                <a:gdLst>
                  <a:gd name="T0" fmla="*/ 198 w 395"/>
                  <a:gd name="T1" fmla="*/ 396 h 396"/>
                  <a:gd name="T2" fmla="*/ 395 w 395"/>
                  <a:gd name="T3" fmla="*/ 198 h 396"/>
                  <a:gd name="T4" fmla="*/ 198 w 395"/>
                  <a:gd name="T5" fmla="*/ 0 h 396"/>
                  <a:gd name="T6" fmla="*/ 0 w 395"/>
                  <a:gd name="T7" fmla="*/ 198 h 396"/>
                  <a:gd name="T8" fmla="*/ 198 w 395"/>
                  <a:gd name="T9" fmla="*/ 396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396">
                    <a:moveTo>
                      <a:pt x="198" y="396"/>
                    </a:moveTo>
                    <a:lnTo>
                      <a:pt x="395" y="198"/>
                    </a:lnTo>
                    <a:lnTo>
                      <a:pt x="198" y="0"/>
                    </a:lnTo>
                    <a:lnTo>
                      <a:pt x="0" y="198"/>
                    </a:lnTo>
                    <a:lnTo>
                      <a:pt x="198" y="396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4" name="Freeform 23"/>
              <p:cNvSpPr>
                <a:spLocks/>
              </p:cNvSpPr>
              <p:nvPr/>
            </p:nvSpPr>
            <p:spPr bwMode="auto">
              <a:xfrm>
                <a:off x="4563" y="2399"/>
                <a:ext cx="395" cy="396"/>
              </a:xfrm>
              <a:custGeom>
                <a:avLst/>
                <a:gdLst>
                  <a:gd name="T0" fmla="*/ 197 w 395"/>
                  <a:gd name="T1" fmla="*/ 396 h 396"/>
                  <a:gd name="T2" fmla="*/ 395 w 395"/>
                  <a:gd name="T3" fmla="*/ 198 h 396"/>
                  <a:gd name="T4" fmla="*/ 197 w 395"/>
                  <a:gd name="T5" fmla="*/ 0 h 396"/>
                  <a:gd name="T6" fmla="*/ 0 w 395"/>
                  <a:gd name="T7" fmla="*/ 198 h 396"/>
                  <a:gd name="T8" fmla="*/ 197 w 395"/>
                  <a:gd name="T9" fmla="*/ 396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396">
                    <a:moveTo>
                      <a:pt x="197" y="396"/>
                    </a:moveTo>
                    <a:lnTo>
                      <a:pt x="395" y="198"/>
                    </a:lnTo>
                    <a:lnTo>
                      <a:pt x="197" y="0"/>
                    </a:lnTo>
                    <a:lnTo>
                      <a:pt x="0" y="198"/>
                    </a:lnTo>
                    <a:lnTo>
                      <a:pt x="197" y="396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5" name="Freeform 24"/>
              <p:cNvSpPr>
                <a:spLocks/>
              </p:cNvSpPr>
              <p:nvPr/>
            </p:nvSpPr>
            <p:spPr bwMode="auto">
              <a:xfrm>
                <a:off x="4804" y="2641"/>
                <a:ext cx="396" cy="396"/>
              </a:xfrm>
              <a:custGeom>
                <a:avLst/>
                <a:gdLst>
                  <a:gd name="T0" fmla="*/ 198 w 396"/>
                  <a:gd name="T1" fmla="*/ 396 h 396"/>
                  <a:gd name="T2" fmla="*/ 396 w 396"/>
                  <a:gd name="T3" fmla="*/ 198 h 396"/>
                  <a:gd name="T4" fmla="*/ 198 w 396"/>
                  <a:gd name="T5" fmla="*/ 0 h 396"/>
                  <a:gd name="T6" fmla="*/ 0 w 396"/>
                  <a:gd name="T7" fmla="*/ 198 h 396"/>
                  <a:gd name="T8" fmla="*/ 198 w 396"/>
                  <a:gd name="T9" fmla="*/ 396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6" h="396">
                    <a:moveTo>
                      <a:pt x="198" y="396"/>
                    </a:moveTo>
                    <a:lnTo>
                      <a:pt x="396" y="198"/>
                    </a:lnTo>
                    <a:lnTo>
                      <a:pt x="198" y="0"/>
                    </a:lnTo>
                    <a:lnTo>
                      <a:pt x="0" y="198"/>
                    </a:lnTo>
                    <a:lnTo>
                      <a:pt x="198" y="396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6" name="Freeform 25"/>
              <p:cNvSpPr>
                <a:spLocks/>
              </p:cNvSpPr>
              <p:nvPr/>
            </p:nvSpPr>
            <p:spPr bwMode="auto">
              <a:xfrm>
                <a:off x="5046" y="2883"/>
                <a:ext cx="396" cy="396"/>
              </a:xfrm>
              <a:custGeom>
                <a:avLst/>
                <a:gdLst>
                  <a:gd name="T0" fmla="*/ 198 w 396"/>
                  <a:gd name="T1" fmla="*/ 0 h 396"/>
                  <a:gd name="T2" fmla="*/ 0 w 396"/>
                  <a:gd name="T3" fmla="*/ 198 h 396"/>
                  <a:gd name="T4" fmla="*/ 198 w 396"/>
                  <a:gd name="T5" fmla="*/ 396 h 396"/>
                  <a:gd name="T6" fmla="*/ 396 w 396"/>
                  <a:gd name="T7" fmla="*/ 198 h 396"/>
                  <a:gd name="T8" fmla="*/ 198 w 396"/>
                  <a:gd name="T9" fmla="*/ 0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6" h="396">
                    <a:moveTo>
                      <a:pt x="198" y="0"/>
                    </a:moveTo>
                    <a:lnTo>
                      <a:pt x="0" y="198"/>
                    </a:lnTo>
                    <a:lnTo>
                      <a:pt x="198" y="396"/>
                    </a:lnTo>
                    <a:lnTo>
                      <a:pt x="396" y="198"/>
                    </a:lnTo>
                    <a:lnTo>
                      <a:pt x="198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7" name="Freeform 26"/>
              <p:cNvSpPr>
                <a:spLocks/>
              </p:cNvSpPr>
              <p:nvPr/>
            </p:nvSpPr>
            <p:spPr bwMode="auto">
              <a:xfrm>
                <a:off x="3041" y="1491"/>
                <a:ext cx="1468" cy="1468"/>
              </a:xfrm>
              <a:custGeom>
                <a:avLst/>
                <a:gdLst>
                  <a:gd name="T0" fmla="*/ 654 w 1468"/>
                  <a:gd name="T1" fmla="*/ 1298 h 1468"/>
                  <a:gd name="T2" fmla="*/ 644 w 1468"/>
                  <a:gd name="T3" fmla="*/ 1308 h 1468"/>
                  <a:gd name="T4" fmla="*/ 620 w 1468"/>
                  <a:gd name="T5" fmla="*/ 1322 h 1468"/>
                  <a:gd name="T6" fmla="*/ 596 w 1468"/>
                  <a:gd name="T7" fmla="*/ 1332 h 1468"/>
                  <a:gd name="T8" fmla="*/ 570 w 1468"/>
                  <a:gd name="T9" fmla="*/ 1338 h 1468"/>
                  <a:gd name="T10" fmla="*/ 544 w 1468"/>
                  <a:gd name="T11" fmla="*/ 1338 h 1468"/>
                  <a:gd name="T12" fmla="*/ 518 w 1468"/>
                  <a:gd name="T13" fmla="*/ 1332 h 1468"/>
                  <a:gd name="T14" fmla="*/ 494 w 1468"/>
                  <a:gd name="T15" fmla="*/ 1322 h 1468"/>
                  <a:gd name="T16" fmla="*/ 470 w 1468"/>
                  <a:gd name="T17" fmla="*/ 1308 h 1468"/>
                  <a:gd name="T18" fmla="*/ 340 w 1468"/>
                  <a:gd name="T19" fmla="*/ 1176 h 1468"/>
                  <a:gd name="T20" fmla="*/ 0 w 1468"/>
                  <a:gd name="T21" fmla="*/ 1420 h 1468"/>
                  <a:gd name="T22" fmla="*/ 170 w 1468"/>
                  <a:gd name="T23" fmla="*/ 1008 h 1468"/>
                  <a:gd name="T24" fmla="*/ 160 w 1468"/>
                  <a:gd name="T25" fmla="*/ 998 h 1468"/>
                  <a:gd name="T26" fmla="*/ 146 w 1468"/>
                  <a:gd name="T27" fmla="*/ 974 h 1468"/>
                  <a:gd name="T28" fmla="*/ 136 w 1468"/>
                  <a:gd name="T29" fmla="*/ 950 h 1468"/>
                  <a:gd name="T30" fmla="*/ 130 w 1468"/>
                  <a:gd name="T31" fmla="*/ 924 h 1468"/>
                  <a:gd name="T32" fmla="*/ 130 w 1468"/>
                  <a:gd name="T33" fmla="*/ 898 h 1468"/>
                  <a:gd name="T34" fmla="*/ 136 w 1468"/>
                  <a:gd name="T35" fmla="*/ 872 h 1468"/>
                  <a:gd name="T36" fmla="*/ 146 w 1468"/>
                  <a:gd name="T37" fmla="*/ 846 h 1468"/>
                  <a:gd name="T38" fmla="*/ 160 w 1468"/>
                  <a:gd name="T39" fmla="*/ 824 h 1468"/>
                  <a:gd name="T40" fmla="*/ 532 w 1468"/>
                  <a:gd name="T41" fmla="*/ 452 h 1468"/>
                  <a:gd name="T42" fmla="*/ 362 w 1468"/>
                  <a:gd name="T43" fmla="*/ 430 h 1468"/>
                  <a:gd name="T44" fmla="*/ 362 w 1468"/>
                  <a:gd name="T45" fmla="*/ 32 h 1468"/>
                  <a:gd name="T46" fmla="*/ 484 w 1468"/>
                  <a:gd name="T47" fmla="*/ 306 h 1468"/>
                  <a:gd name="T48" fmla="*/ 944 w 1468"/>
                  <a:gd name="T49" fmla="*/ 40 h 1468"/>
                  <a:gd name="T50" fmla="*/ 954 w 1468"/>
                  <a:gd name="T51" fmla="*/ 30 h 1468"/>
                  <a:gd name="T52" fmla="*/ 978 w 1468"/>
                  <a:gd name="T53" fmla="*/ 16 h 1468"/>
                  <a:gd name="T54" fmla="*/ 1002 w 1468"/>
                  <a:gd name="T55" fmla="*/ 6 h 1468"/>
                  <a:gd name="T56" fmla="*/ 1028 w 1468"/>
                  <a:gd name="T57" fmla="*/ 0 h 1468"/>
                  <a:gd name="T58" fmla="*/ 1054 w 1468"/>
                  <a:gd name="T59" fmla="*/ 0 h 1468"/>
                  <a:gd name="T60" fmla="*/ 1080 w 1468"/>
                  <a:gd name="T61" fmla="*/ 6 h 1468"/>
                  <a:gd name="T62" fmla="*/ 1106 w 1468"/>
                  <a:gd name="T63" fmla="*/ 16 h 1468"/>
                  <a:gd name="T64" fmla="*/ 1128 w 1468"/>
                  <a:gd name="T65" fmla="*/ 30 h 1468"/>
                  <a:gd name="T66" fmla="*/ 1428 w 1468"/>
                  <a:gd name="T67" fmla="*/ 330 h 1468"/>
                  <a:gd name="T68" fmla="*/ 1438 w 1468"/>
                  <a:gd name="T69" fmla="*/ 340 h 1468"/>
                  <a:gd name="T70" fmla="*/ 1452 w 1468"/>
                  <a:gd name="T71" fmla="*/ 362 h 1468"/>
                  <a:gd name="T72" fmla="*/ 1462 w 1468"/>
                  <a:gd name="T73" fmla="*/ 388 h 1468"/>
                  <a:gd name="T74" fmla="*/ 1468 w 1468"/>
                  <a:gd name="T75" fmla="*/ 414 h 1468"/>
                  <a:gd name="T76" fmla="*/ 1468 w 1468"/>
                  <a:gd name="T77" fmla="*/ 440 h 1468"/>
                  <a:gd name="T78" fmla="*/ 1462 w 1468"/>
                  <a:gd name="T79" fmla="*/ 466 h 1468"/>
                  <a:gd name="T80" fmla="*/ 1452 w 1468"/>
                  <a:gd name="T81" fmla="*/ 490 h 1468"/>
                  <a:gd name="T82" fmla="*/ 1438 w 1468"/>
                  <a:gd name="T83" fmla="*/ 512 h 1468"/>
                  <a:gd name="T84" fmla="*/ 1066 w 1468"/>
                  <a:gd name="T85" fmla="*/ 886 h 1468"/>
                  <a:gd name="T86" fmla="*/ 1238 w 1468"/>
                  <a:gd name="T87" fmla="*/ 908 h 1468"/>
                  <a:gd name="T88" fmla="*/ 1238 w 1468"/>
                  <a:gd name="T89" fmla="*/ 1306 h 1468"/>
                  <a:gd name="T90" fmla="*/ 1114 w 1468"/>
                  <a:gd name="T91" fmla="*/ 1032 h 1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468" h="1468">
                    <a:moveTo>
                      <a:pt x="1016" y="936"/>
                    </a:moveTo>
                    <a:lnTo>
                      <a:pt x="654" y="1298"/>
                    </a:lnTo>
                    <a:lnTo>
                      <a:pt x="654" y="1298"/>
                    </a:lnTo>
                    <a:lnTo>
                      <a:pt x="644" y="1308"/>
                    </a:lnTo>
                    <a:lnTo>
                      <a:pt x="632" y="1316"/>
                    </a:lnTo>
                    <a:lnTo>
                      <a:pt x="620" y="1322"/>
                    </a:lnTo>
                    <a:lnTo>
                      <a:pt x="608" y="1328"/>
                    </a:lnTo>
                    <a:lnTo>
                      <a:pt x="596" y="1332"/>
                    </a:lnTo>
                    <a:lnTo>
                      <a:pt x="584" y="1336"/>
                    </a:lnTo>
                    <a:lnTo>
                      <a:pt x="570" y="1338"/>
                    </a:lnTo>
                    <a:lnTo>
                      <a:pt x="556" y="1338"/>
                    </a:lnTo>
                    <a:lnTo>
                      <a:pt x="544" y="1338"/>
                    </a:lnTo>
                    <a:lnTo>
                      <a:pt x="530" y="1336"/>
                    </a:lnTo>
                    <a:lnTo>
                      <a:pt x="518" y="1332"/>
                    </a:lnTo>
                    <a:lnTo>
                      <a:pt x="506" y="1328"/>
                    </a:lnTo>
                    <a:lnTo>
                      <a:pt x="494" y="1322"/>
                    </a:lnTo>
                    <a:lnTo>
                      <a:pt x="482" y="1316"/>
                    </a:lnTo>
                    <a:lnTo>
                      <a:pt x="470" y="1308"/>
                    </a:lnTo>
                    <a:lnTo>
                      <a:pt x="460" y="1298"/>
                    </a:lnTo>
                    <a:lnTo>
                      <a:pt x="340" y="1176"/>
                    </a:lnTo>
                    <a:lnTo>
                      <a:pt x="48" y="1468"/>
                    </a:lnTo>
                    <a:lnTo>
                      <a:pt x="0" y="1420"/>
                    </a:lnTo>
                    <a:lnTo>
                      <a:pt x="292" y="1128"/>
                    </a:lnTo>
                    <a:lnTo>
                      <a:pt x="170" y="1008"/>
                    </a:lnTo>
                    <a:lnTo>
                      <a:pt x="170" y="1008"/>
                    </a:lnTo>
                    <a:lnTo>
                      <a:pt x="160" y="998"/>
                    </a:lnTo>
                    <a:lnTo>
                      <a:pt x="152" y="986"/>
                    </a:lnTo>
                    <a:lnTo>
                      <a:pt x="146" y="974"/>
                    </a:lnTo>
                    <a:lnTo>
                      <a:pt x="140" y="962"/>
                    </a:lnTo>
                    <a:lnTo>
                      <a:pt x="136" y="950"/>
                    </a:lnTo>
                    <a:lnTo>
                      <a:pt x="132" y="938"/>
                    </a:lnTo>
                    <a:lnTo>
                      <a:pt x="130" y="924"/>
                    </a:lnTo>
                    <a:lnTo>
                      <a:pt x="130" y="910"/>
                    </a:lnTo>
                    <a:lnTo>
                      <a:pt x="130" y="898"/>
                    </a:lnTo>
                    <a:lnTo>
                      <a:pt x="132" y="884"/>
                    </a:lnTo>
                    <a:lnTo>
                      <a:pt x="136" y="872"/>
                    </a:lnTo>
                    <a:lnTo>
                      <a:pt x="140" y="860"/>
                    </a:lnTo>
                    <a:lnTo>
                      <a:pt x="146" y="846"/>
                    </a:lnTo>
                    <a:lnTo>
                      <a:pt x="152" y="836"/>
                    </a:lnTo>
                    <a:lnTo>
                      <a:pt x="160" y="824"/>
                    </a:lnTo>
                    <a:lnTo>
                      <a:pt x="170" y="814"/>
                    </a:lnTo>
                    <a:lnTo>
                      <a:pt x="532" y="452"/>
                    </a:lnTo>
                    <a:lnTo>
                      <a:pt x="436" y="354"/>
                    </a:lnTo>
                    <a:lnTo>
                      <a:pt x="362" y="430"/>
                    </a:lnTo>
                    <a:lnTo>
                      <a:pt x="162" y="232"/>
                    </a:lnTo>
                    <a:lnTo>
                      <a:pt x="362" y="32"/>
                    </a:lnTo>
                    <a:lnTo>
                      <a:pt x="560" y="230"/>
                    </a:lnTo>
                    <a:lnTo>
                      <a:pt x="484" y="306"/>
                    </a:lnTo>
                    <a:lnTo>
                      <a:pt x="580" y="402"/>
                    </a:lnTo>
                    <a:lnTo>
                      <a:pt x="944" y="40"/>
                    </a:lnTo>
                    <a:lnTo>
                      <a:pt x="944" y="40"/>
                    </a:lnTo>
                    <a:lnTo>
                      <a:pt x="954" y="30"/>
                    </a:lnTo>
                    <a:lnTo>
                      <a:pt x="966" y="22"/>
                    </a:lnTo>
                    <a:lnTo>
                      <a:pt x="978" y="16"/>
                    </a:lnTo>
                    <a:lnTo>
                      <a:pt x="990" y="10"/>
                    </a:lnTo>
                    <a:lnTo>
                      <a:pt x="1002" y="6"/>
                    </a:lnTo>
                    <a:lnTo>
                      <a:pt x="1016" y="2"/>
                    </a:lnTo>
                    <a:lnTo>
                      <a:pt x="1028" y="0"/>
                    </a:lnTo>
                    <a:lnTo>
                      <a:pt x="1042" y="0"/>
                    </a:lnTo>
                    <a:lnTo>
                      <a:pt x="1054" y="0"/>
                    </a:lnTo>
                    <a:lnTo>
                      <a:pt x="1068" y="2"/>
                    </a:lnTo>
                    <a:lnTo>
                      <a:pt x="1080" y="6"/>
                    </a:lnTo>
                    <a:lnTo>
                      <a:pt x="1092" y="10"/>
                    </a:lnTo>
                    <a:lnTo>
                      <a:pt x="1106" y="16"/>
                    </a:lnTo>
                    <a:lnTo>
                      <a:pt x="1116" y="22"/>
                    </a:lnTo>
                    <a:lnTo>
                      <a:pt x="1128" y="30"/>
                    </a:lnTo>
                    <a:lnTo>
                      <a:pt x="1138" y="40"/>
                    </a:lnTo>
                    <a:lnTo>
                      <a:pt x="1428" y="330"/>
                    </a:lnTo>
                    <a:lnTo>
                      <a:pt x="1428" y="330"/>
                    </a:lnTo>
                    <a:lnTo>
                      <a:pt x="1438" y="340"/>
                    </a:lnTo>
                    <a:lnTo>
                      <a:pt x="1446" y="352"/>
                    </a:lnTo>
                    <a:lnTo>
                      <a:pt x="1452" y="362"/>
                    </a:lnTo>
                    <a:lnTo>
                      <a:pt x="1458" y="376"/>
                    </a:lnTo>
                    <a:lnTo>
                      <a:pt x="1462" y="388"/>
                    </a:lnTo>
                    <a:lnTo>
                      <a:pt x="1466" y="400"/>
                    </a:lnTo>
                    <a:lnTo>
                      <a:pt x="1468" y="414"/>
                    </a:lnTo>
                    <a:lnTo>
                      <a:pt x="1468" y="426"/>
                    </a:lnTo>
                    <a:lnTo>
                      <a:pt x="1468" y="440"/>
                    </a:lnTo>
                    <a:lnTo>
                      <a:pt x="1466" y="452"/>
                    </a:lnTo>
                    <a:lnTo>
                      <a:pt x="1462" y="466"/>
                    </a:lnTo>
                    <a:lnTo>
                      <a:pt x="1458" y="478"/>
                    </a:lnTo>
                    <a:lnTo>
                      <a:pt x="1452" y="490"/>
                    </a:lnTo>
                    <a:lnTo>
                      <a:pt x="1446" y="502"/>
                    </a:lnTo>
                    <a:lnTo>
                      <a:pt x="1438" y="512"/>
                    </a:lnTo>
                    <a:lnTo>
                      <a:pt x="1428" y="524"/>
                    </a:lnTo>
                    <a:lnTo>
                      <a:pt x="1066" y="886"/>
                    </a:lnTo>
                    <a:lnTo>
                      <a:pt x="1162" y="984"/>
                    </a:lnTo>
                    <a:lnTo>
                      <a:pt x="1238" y="908"/>
                    </a:lnTo>
                    <a:lnTo>
                      <a:pt x="1436" y="1106"/>
                    </a:lnTo>
                    <a:lnTo>
                      <a:pt x="1238" y="1306"/>
                    </a:lnTo>
                    <a:lnTo>
                      <a:pt x="1040" y="1106"/>
                    </a:lnTo>
                    <a:lnTo>
                      <a:pt x="1114" y="1032"/>
                    </a:lnTo>
                    <a:lnTo>
                      <a:pt x="1016" y="936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8" name="Freeform 27"/>
              <p:cNvSpPr>
                <a:spLocks/>
              </p:cNvSpPr>
              <p:nvPr/>
            </p:nvSpPr>
            <p:spPr bwMode="auto">
              <a:xfrm>
                <a:off x="3263" y="1581"/>
                <a:ext cx="906" cy="908"/>
              </a:xfrm>
              <a:custGeom>
                <a:avLst/>
                <a:gdLst>
                  <a:gd name="T0" fmla="*/ 906 w 906"/>
                  <a:gd name="T1" fmla="*/ 36 h 908"/>
                  <a:gd name="T2" fmla="*/ 906 w 906"/>
                  <a:gd name="T3" fmla="*/ 36 h 908"/>
                  <a:gd name="T4" fmla="*/ 898 w 906"/>
                  <a:gd name="T5" fmla="*/ 28 h 908"/>
                  <a:gd name="T6" fmla="*/ 888 w 906"/>
                  <a:gd name="T7" fmla="*/ 20 h 908"/>
                  <a:gd name="T8" fmla="*/ 876 w 906"/>
                  <a:gd name="T9" fmla="*/ 14 h 908"/>
                  <a:gd name="T10" fmla="*/ 866 w 906"/>
                  <a:gd name="T11" fmla="*/ 10 h 908"/>
                  <a:gd name="T12" fmla="*/ 842 w 906"/>
                  <a:gd name="T13" fmla="*/ 2 h 908"/>
                  <a:gd name="T14" fmla="*/ 820 w 906"/>
                  <a:gd name="T15" fmla="*/ 0 h 908"/>
                  <a:gd name="T16" fmla="*/ 796 w 906"/>
                  <a:gd name="T17" fmla="*/ 2 h 908"/>
                  <a:gd name="T18" fmla="*/ 772 w 906"/>
                  <a:gd name="T19" fmla="*/ 10 h 908"/>
                  <a:gd name="T20" fmla="*/ 762 w 906"/>
                  <a:gd name="T21" fmla="*/ 14 h 908"/>
                  <a:gd name="T22" fmla="*/ 752 w 906"/>
                  <a:gd name="T23" fmla="*/ 20 h 908"/>
                  <a:gd name="T24" fmla="*/ 742 w 906"/>
                  <a:gd name="T25" fmla="*/ 28 h 908"/>
                  <a:gd name="T26" fmla="*/ 732 w 906"/>
                  <a:gd name="T27" fmla="*/ 36 h 908"/>
                  <a:gd name="T28" fmla="*/ 36 w 906"/>
                  <a:gd name="T29" fmla="*/ 734 h 908"/>
                  <a:gd name="T30" fmla="*/ 36 w 906"/>
                  <a:gd name="T31" fmla="*/ 734 h 908"/>
                  <a:gd name="T32" fmla="*/ 26 w 906"/>
                  <a:gd name="T33" fmla="*/ 744 h 908"/>
                  <a:gd name="T34" fmla="*/ 20 w 906"/>
                  <a:gd name="T35" fmla="*/ 752 h 908"/>
                  <a:gd name="T36" fmla="*/ 14 w 906"/>
                  <a:gd name="T37" fmla="*/ 764 h 908"/>
                  <a:gd name="T38" fmla="*/ 8 w 906"/>
                  <a:gd name="T39" fmla="*/ 774 h 908"/>
                  <a:gd name="T40" fmla="*/ 2 w 906"/>
                  <a:gd name="T41" fmla="*/ 798 h 908"/>
                  <a:gd name="T42" fmla="*/ 0 w 906"/>
                  <a:gd name="T43" fmla="*/ 820 h 908"/>
                  <a:gd name="T44" fmla="*/ 2 w 906"/>
                  <a:gd name="T45" fmla="*/ 844 h 908"/>
                  <a:gd name="T46" fmla="*/ 8 w 906"/>
                  <a:gd name="T47" fmla="*/ 868 h 908"/>
                  <a:gd name="T48" fmla="*/ 14 w 906"/>
                  <a:gd name="T49" fmla="*/ 878 h 908"/>
                  <a:gd name="T50" fmla="*/ 20 w 906"/>
                  <a:gd name="T51" fmla="*/ 888 h 908"/>
                  <a:gd name="T52" fmla="*/ 26 w 906"/>
                  <a:gd name="T53" fmla="*/ 898 h 908"/>
                  <a:gd name="T54" fmla="*/ 36 w 906"/>
                  <a:gd name="T55" fmla="*/ 908 h 908"/>
                  <a:gd name="T56" fmla="*/ 906 w 906"/>
                  <a:gd name="T57" fmla="*/ 36 h 9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06" h="908">
                    <a:moveTo>
                      <a:pt x="906" y="36"/>
                    </a:moveTo>
                    <a:lnTo>
                      <a:pt x="906" y="36"/>
                    </a:lnTo>
                    <a:lnTo>
                      <a:pt x="898" y="28"/>
                    </a:lnTo>
                    <a:lnTo>
                      <a:pt x="888" y="20"/>
                    </a:lnTo>
                    <a:lnTo>
                      <a:pt x="876" y="14"/>
                    </a:lnTo>
                    <a:lnTo>
                      <a:pt x="866" y="10"/>
                    </a:lnTo>
                    <a:lnTo>
                      <a:pt x="842" y="2"/>
                    </a:lnTo>
                    <a:lnTo>
                      <a:pt x="820" y="0"/>
                    </a:lnTo>
                    <a:lnTo>
                      <a:pt x="796" y="2"/>
                    </a:lnTo>
                    <a:lnTo>
                      <a:pt x="772" y="10"/>
                    </a:lnTo>
                    <a:lnTo>
                      <a:pt x="762" y="14"/>
                    </a:lnTo>
                    <a:lnTo>
                      <a:pt x="752" y="20"/>
                    </a:lnTo>
                    <a:lnTo>
                      <a:pt x="742" y="28"/>
                    </a:lnTo>
                    <a:lnTo>
                      <a:pt x="732" y="36"/>
                    </a:lnTo>
                    <a:lnTo>
                      <a:pt x="36" y="734"/>
                    </a:lnTo>
                    <a:lnTo>
                      <a:pt x="36" y="734"/>
                    </a:lnTo>
                    <a:lnTo>
                      <a:pt x="26" y="744"/>
                    </a:lnTo>
                    <a:lnTo>
                      <a:pt x="20" y="752"/>
                    </a:lnTo>
                    <a:lnTo>
                      <a:pt x="14" y="764"/>
                    </a:lnTo>
                    <a:lnTo>
                      <a:pt x="8" y="774"/>
                    </a:lnTo>
                    <a:lnTo>
                      <a:pt x="2" y="798"/>
                    </a:lnTo>
                    <a:lnTo>
                      <a:pt x="0" y="820"/>
                    </a:lnTo>
                    <a:lnTo>
                      <a:pt x="2" y="844"/>
                    </a:lnTo>
                    <a:lnTo>
                      <a:pt x="8" y="868"/>
                    </a:lnTo>
                    <a:lnTo>
                      <a:pt x="14" y="878"/>
                    </a:lnTo>
                    <a:lnTo>
                      <a:pt x="20" y="888"/>
                    </a:lnTo>
                    <a:lnTo>
                      <a:pt x="26" y="898"/>
                    </a:lnTo>
                    <a:lnTo>
                      <a:pt x="36" y="908"/>
                    </a:lnTo>
                    <a:lnTo>
                      <a:pt x="906" y="36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9" name="Freeform 28"/>
              <p:cNvSpPr>
                <a:spLocks/>
              </p:cNvSpPr>
              <p:nvPr/>
            </p:nvSpPr>
            <p:spPr bwMode="auto">
              <a:xfrm>
                <a:off x="4321" y="2641"/>
                <a:ext cx="397" cy="396"/>
              </a:xfrm>
              <a:custGeom>
                <a:avLst/>
                <a:gdLst>
                  <a:gd name="T0" fmla="*/ 0 w 397"/>
                  <a:gd name="T1" fmla="*/ 198 h 396"/>
                  <a:gd name="T2" fmla="*/ 200 w 397"/>
                  <a:gd name="T3" fmla="*/ 396 h 396"/>
                  <a:gd name="T4" fmla="*/ 397 w 397"/>
                  <a:gd name="T5" fmla="*/ 198 h 396"/>
                  <a:gd name="T6" fmla="*/ 200 w 397"/>
                  <a:gd name="T7" fmla="*/ 0 h 396"/>
                  <a:gd name="T8" fmla="*/ 0 w 397"/>
                  <a:gd name="T9" fmla="*/ 198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7" h="396">
                    <a:moveTo>
                      <a:pt x="0" y="198"/>
                    </a:moveTo>
                    <a:lnTo>
                      <a:pt x="200" y="396"/>
                    </a:lnTo>
                    <a:lnTo>
                      <a:pt x="397" y="198"/>
                    </a:lnTo>
                    <a:lnTo>
                      <a:pt x="200" y="0"/>
                    </a:lnTo>
                    <a:lnTo>
                      <a:pt x="0" y="198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0" name="Freeform 29"/>
              <p:cNvSpPr>
                <a:spLocks/>
              </p:cNvSpPr>
              <p:nvPr/>
            </p:nvSpPr>
            <p:spPr bwMode="auto">
              <a:xfrm>
                <a:off x="4563" y="2883"/>
                <a:ext cx="395" cy="396"/>
              </a:xfrm>
              <a:custGeom>
                <a:avLst/>
                <a:gdLst>
                  <a:gd name="T0" fmla="*/ 395 w 395"/>
                  <a:gd name="T1" fmla="*/ 198 h 396"/>
                  <a:gd name="T2" fmla="*/ 197 w 395"/>
                  <a:gd name="T3" fmla="*/ 0 h 396"/>
                  <a:gd name="T4" fmla="*/ 0 w 395"/>
                  <a:gd name="T5" fmla="*/ 198 h 396"/>
                  <a:gd name="T6" fmla="*/ 197 w 395"/>
                  <a:gd name="T7" fmla="*/ 396 h 396"/>
                  <a:gd name="T8" fmla="*/ 395 w 395"/>
                  <a:gd name="T9" fmla="*/ 198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396">
                    <a:moveTo>
                      <a:pt x="395" y="198"/>
                    </a:moveTo>
                    <a:lnTo>
                      <a:pt x="197" y="0"/>
                    </a:lnTo>
                    <a:lnTo>
                      <a:pt x="0" y="198"/>
                    </a:lnTo>
                    <a:lnTo>
                      <a:pt x="197" y="396"/>
                    </a:lnTo>
                    <a:lnTo>
                      <a:pt x="395" y="198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1" name="Freeform 30"/>
              <p:cNvSpPr>
                <a:spLocks/>
              </p:cNvSpPr>
              <p:nvPr/>
            </p:nvSpPr>
            <p:spPr bwMode="auto">
              <a:xfrm>
                <a:off x="4804" y="3125"/>
                <a:ext cx="396" cy="396"/>
              </a:xfrm>
              <a:custGeom>
                <a:avLst/>
                <a:gdLst>
                  <a:gd name="T0" fmla="*/ 0 w 396"/>
                  <a:gd name="T1" fmla="*/ 198 h 396"/>
                  <a:gd name="T2" fmla="*/ 198 w 396"/>
                  <a:gd name="T3" fmla="*/ 396 h 396"/>
                  <a:gd name="T4" fmla="*/ 396 w 396"/>
                  <a:gd name="T5" fmla="*/ 198 h 396"/>
                  <a:gd name="T6" fmla="*/ 198 w 396"/>
                  <a:gd name="T7" fmla="*/ 0 h 396"/>
                  <a:gd name="T8" fmla="*/ 0 w 396"/>
                  <a:gd name="T9" fmla="*/ 198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6" h="396">
                    <a:moveTo>
                      <a:pt x="0" y="198"/>
                    </a:moveTo>
                    <a:lnTo>
                      <a:pt x="198" y="396"/>
                    </a:lnTo>
                    <a:lnTo>
                      <a:pt x="396" y="198"/>
                    </a:lnTo>
                    <a:lnTo>
                      <a:pt x="198" y="0"/>
                    </a:lnTo>
                    <a:lnTo>
                      <a:pt x="0" y="198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2" name="Freeform 31"/>
              <p:cNvSpPr>
                <a:spLocks/>
              </p:cNvSpPr>
              <p:nvPr/>
            </p:nvSpPr>
            <p:spPr bwMode="auto">
              <a:xfrm>
                <a:off x="3837" y="2641"/>
                <a:ext cx="398" cy="396"/>
              </a:xfrm>
              <a:custGeom>
                <a:avLst/>
                <a:gdLst>
                  <a:gd name="T0" fmla="*/ 200 w 398"/>
                  <a:gd name="T1" fmla="*/ 0 h 396"/>
                  <a:gd name="T2" fmla="*/ 0 w 398"/>
                  <a:gd name="T3" fmla="*/ 198 h 396"/>
                  <a:gd name="T4" fmla="*/ 200 w 398"/>
                  <a:gd name="T5" fmla="*/ 396 h 396"/>
                  <a:gd name="T6" fmla="*/ 398 w 398"/>
                  <a:gd name="T7" fmla="*/ 198 h 396"/>
                  <a:gd name="T8" fmla="*/ 200 w 398"/>
                  <a:gd name="T9" fmla="*/ 0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396">
                    <a:moveTo>
                      <a:pt x="200" y="0"/>
                    </a:moveTo>
                    <a:lnTo>
                      <a:pt x="0" y="198"/>
                    </a:lnTo>
                    <a:lnTo>
                      <a:pt x="200" y="396"/>
                    </a:lnTo>
                    <a:lnTo>
                      <a:pt x="398" y="198"/>
                    </a:lnTo>
                    <a:lnTo>
                      <a:pt x="200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3" name="Freeform 32"/>
              <p:cNvSpPr>
                <a:spLocks/>
              </p:cNvSpPr>
              <p:nvPr/>
            </p:nvSpPr>
            <p:spPr bwMode="auto">
              <a:xfrm>
                <a:off x="4079" y="2883"/>
                <a:ext cx="396" cy="396"/>
              </a:xfrm>
              <a:custGeom>
                <a:avLst/>
                <a:gdLst>
                  <a:gd name="T0" fmla="*/ 198 w 396"/>
                  <a:gd name="T1" fmla="*/ 0 h 396"/>
                  <a:gd name="T2" fmla="*/ 0 w 396"/>
                  <a:gd name="T3" fmla="*/ 198 h 396"/>
                  <a:gd name="T4" fmla="*/ 198 w 396"/>
                  <a:gd name="T5" fmla="*/ 396 h 396"/>
                  <a:gd name="T6" fmla="*/ 396 w 396"/>
                  <a:gd name="T7" fmla="*/ 198 h 396"/>
                  <a:gd name="T8" fmla="*/ 198 w 396"/>
                  <a:gd name="T9" fmla="*/ 0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6" h="396">
                    <a:moveTo>
                      <a:pt x="198" y="0"/>
                    </a:moveTo>
                    <a:lnTo>
                      <a:pt x="0" y="198"/>
                    </a:lnTo>
                    <a:lnTo>
                      <a:pt x="198" y="396"/>
                    </a:lnTo>
                    <a:lnTo>
                      <a:pt x="396" y="198"/>
                    </a:lnTo>
                    <a:lnTo>
                      <a:pt x="198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4" name="Freeform 33"/>
              <p:cNvSpPr>
                <a:spLocks/>
              </p:cNvSpPr>
              <p:nvPr/>
            </p:nvSpPr>
            <p:spPr bwMode="auto">
              <a:xfrm>
                <a:off x="4321" y="3125"/>
                <a:ext cx="395" cy="396"/>
              </a:xfrm>
              <a:custGeom>
                <a:avLst/>
                <a:gdLst>
                  <a:gd name="T0" fmla="*/ 198 w 395"/>
                  <a:gd name="T1" fmla="*/ 0 h 396"/>
                  <a:gd name="T2" fmla="*/ 0 w 395"/>
                  <a:gd name="T3" fmla="*/ 198 h 396"/>
                  <a:gd name="T4" fmla="*/ 198 w 395"/>
                  <a:gd name="T5" fmla="*/ 396 h 396"/>
                  <a:gd name="T6" fmla="*/ 395 w 395"/>
                  <a:gd name="T7" fmla="*/ 198 h 396"/>
                  <a:gd name="T8" fmla="*/ 198 w 395"/>
                  <a:gd name="T9" fmla="*/ 0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396">
                    <a:moveTo>
                      <a:pt x="198" y="0"/>
                    </a:moveTo>
                    <a:lnTo>
                      <a:pt x="0" y="198"/>
                    </a:lnTo>
                    <a:lnTo>
                      <a:pt x="198" y="396"/>
                    </a:lnTo>
                    <a:lnTo>
                      <a:pt x="395" y="198"/>
                    </a:lnTo>
                    <a:lnTo>
                      <a:pt x="198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5" name="Freeform 34"/>
              <p:cNvSpPr>
                <a:spLocks/>
              </p:cNvSpPr>
              <p:nvPr/>
            </p:nvSpPr>
            <p:spPr bwMode="auto">
              <a:xfrm>
                <a:off x="4563" y="3367"/>
                <a:ext cx="395" cy="396"/>
              </a:xfrm>
              <a:custGeom>
                <a:avLst/>
                <a:gdLst>
                  <a:gd name="T0" fmla="*/ 0 w 395"/>
                  <a:gd name="T1" fmla="*/ 198 h 396"/>
                  <a:gd name="T2" fmla="*/ 197 w 395"/>
                  <a:gd name="T3" fmla="*/ 396 h 396"/>
                  <a:gd name="T4" fmla="*/ 395 w 395"/>
                  <a:gd name="T5" fmla="*/ 198 h 396"/>
                  <a:gd name="T6" fmla="*/ 197 w 395"/>
                  <a:gd name="T7" fmla="*/ 0 h 396"/>
                  <a:gd name="T8" fmla="*/ 0 w 395"/>
                  <a:gd name="T9" fmla="*/ 198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396">
                    <a:moveTo>
                      <a:pt x="0" y="198"/>
                    </a:moveTo>
                    <a:lnTo>
                      <a:pt x="197" y="396"/>
                    </a:lnTo>
                    <a:lnTo>
                      <a:pt x="395" y="198"/>
                    </a:lnTo>
                    <a:lnTo>
                      <a:pt x="197" y="0"/>
                    </a:lnTo>
                    <a:lnTo>
                      <a:pt x="0" y="198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6" name="Line 35"/>
              <p:cNvSpPr>
                <a:spLocks noChangeShapeType="1"/>
              </p:cNvSpPr>
              <p:nvPr/>
            </p:nvSpPr>
            <p:spPr bwMode="auto">
              <a:xfrm>
                <a:off x="2532" y="2877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52" name="Freeform 1151"/>
            <p:cNvSpPr/>
            <p:nvPr/>
          </p:nvSpPr>
          <p:spPr>
            <a:xfrm>
              <a:off x="10382554" y="3229495"/>
              <a:ext cx="859707" cy="226292"/>
            </a:xfrm>
            <a:custGeom>
              <a:avLst/>
              <a:gdLst>
                <a:gd name="connsiteX0" fmla="*/ 0 w 746760"/>
                <a:gd name="connsiteY0" fmla="*/ 114300 h 114300"/>
                <a:gd name="connsiteX1" fmla="*/ 746760 w 746760"/>
                <a:gd name="connsiteY1" fmla="*/ 0 h 114300"/>
                <a:gd name="connsiteX2" fmla="*/ 746760 w 746760"/>
                <a:gd name="connsiteY2" fmla="*/ 0 h 114300"/>
                <a:gd name="connsiteX0" fmla="*/ 0 w 815340"/>
                <a:gd name="connsiteY0" fmla="*/ 182880 h 182880"/>
                <a:gd name="connsiteX1" fmla="*/ 815340 w 815340"/>
                <a:gd name="connsiteY1" fmla="*/ 0 h 182880"/>
                <a:gd name="connsiteX2" fmla="*/ 815340 w 815340"/>
                <a:gd name="connsiteY2" fmla="*/ 0 h 182880"/>
                <a:gd name="connsiteX0" fmla="*/ 412 w 815752"/>
                <a:gd name="connsiteY0" fmla="*/ 182880 h 347374"/>
                <a:gd name="connsiteX1" fmla="*/ 815752 w 815752"/>
                <a:gd name="connsiteY1" fmla="*/ 0 h 347374"/>
                <a:gd name="connsiteX2" fmla="*/ 815752 w 815752"/>
                <a:gd name="connsiteY2" fmla="*/ 0 h 347374"/>
                <a:gd name="connsiteX0" fmla="*/ 238 w 832072"/>
                <a:gd name="connsiteY0" fmla="*/ 182880 h 382693"/>
                <a:gd name="connsiteX1" fmla="*/ 815578 w 832072"/>
                <a:gd name="connsiteY1" fmla="*/ 0 h 382693"/>
                <a:gd name="connsiteX2" fmla="*/ 815578 w 832072"/>
                <a:gd name="connsiteY2" fmla="*/ 0 h 382693"/>
                <a:gd name="connsiteX0" fmla="*/ 354 w 769974"/>
                <a:gd name="connsiteY0" fmla="*/ 106680 h 278646"/>
                <a:gd name="connsiteX1" fmla="*/ 769974 w 769974"/>
                <a:gd name="connsiteY1" fmla="*/ 0 h 278646"/>
                <a:gd name="connsiteX2" fmla="*/ 769974 w 769974"/>
                <a:gd name="connsiteY2" fmla="*/ 0 h 278646"/>
                <a:gd name="connsiteX0" fmla="*/ 300 w 769920"/>
                <a:gd name="connsiteY0" fmla="*/ 106680 h 315423"/>
                <a:gd name="connsiteX1" fmla="*/ 769920 w 769920"/>
                <a:gd name="connsiteY1" fmla="*/ 0 h 315423"/>
                <a:gd name="connsiteX2" fmla="*/ 769920 w 769920"/>
                <a:gd name="connsiteY2" fmla="*/ 0 h 315423"/>
                <a:gd name="connsiteX0" fmla="*/ 259 w 780405"/>
                <a:gd name="connsiteY0" fmla="*/ 106680 h 312023"/>
                <a:gd name="connsiteX1" fmla="*/ 769879 w 780405"/>
                <a:gd name="connsiteY1" fmla="*/ 0 h 312023"/>
                <a:gd name="connsiteX2" fmla="*/ 769879 w 780405"/>
                <a:gd name="connsiteY2" fmla="*/ 0 h 312023"/>
                <a:gd name="connsiteX0" fmla="*/ 343 w 803608"/>
                <a:gd name="connsiteY0" fmla="*/ 106736 h 274409"/>
                <a:gd name="connsiteX1" fmla="*/ 769963 w 803608"/>
                <a:gd name="connsiteY1" fmla="*/ 56 h 274409"/>
                <a:gd name="connsiteX2" fmla="*/ 653282 w 803608"/>
                <a:gd name="connsiteY2" fmla="*/ 145312 h 274409"/>
                <a:gd name="connsiteX0" fmla="*/ 356 w 781030"/>
                <a:gd name="connsiteY0" fmla="*/ 109117 h 276322"/>
                <a:gd name="connsiteX1" fmla="*/ 743782 w 781030"/>
                <a:gd name="connsiteY1" fmla="*/ 56 h 276322"/>
                <a:gd name="connsiteX2" fmla="*/ 653295 w 781030"/>
                <a:gd name="connsiteY2" fmla="*/ 147693 h 276322"/>
                <a:gd name="connsiteX0" fmla="*/ 356 w 743782"/>
                <a:gd name="connsiteY0" fmla="*/ 109117 h 276322"/>
                <a:gd name="connsiteX1" fmla="*/ 743782 w 743782"/>
                <a:gd name="connsiteY1" fmla="*/ 56 h 276322"/>
                <a:gd name="connsiteX0" fmla="*/ 268 w 753720"/>
                <a:gd name="connsiteY0" fmla="*/ 109061 h 310565"/>
                <a:gd name="connsiteX1" fmla="*/ 743694 w 753720"/>
                <a:gd name="connsiteY1" fmla="*/ 0 h 310565"/>
                <a:gd name="connsiteX0" fmla="*/ 268 w 753720"/>
                <a:gd name="connsiteY0" fmla="*/ 116205 h 315807"/>
                <a:gd name="connsiteX1" fmla="*/ 743694 w 753720"/>
                <a:gd name="connsiteY1" fmla="*/ 0 h 315807"/>
                <a:gd name="connsiteX0" fmla="*/ 0 w 754135"/>
                <a:gd name="connsiteY0" fmla="*/ 116205 h 206817"/>
                <a:gd name="connsiteX1" fmla="*/ 743426 w 754135"/>
                <a:gd name="connsiteY1" fmla="*/ 0 h 206817"/>
                <a:gd name="connsiteX0" fmla="*/ 0 w 742373"/>
                <a:gd name="connsiteY0" fmla="*/ 106680 h 199919"/>
                <a:gd name="connsiteX1" fmla="*/ 731519 w 742373"/>
                <a:gd name="connsiteY1" fmla="*/ 0 h 199919"/>
                <a:gd name="connsiteX0" fmla="*/ 0 w 758840"/>
                <a:gd name="connsiteY0" fmla="*/ 106680 h 199919"/>
                <a:gd name="connsiteX1" fmla="*/ 748188 w 758840"/>
                <a:gd name="connsiteY1" fmla="*/ 0 h 199919"/>
                <a:gd name="connsiteX0" fmla="*/ 0 w 751782"/>
                <a:gd name="connsiteY0" fmla="*/ 109061 h 201631"/>
                <a:gd name="connsiteX1" fmla="*/ 741044 w 751782"/>
                <a:gd name="connsiteY1" fmla="*/ 0 h 201631"/>
                <a:gd name="connsiteX0" fmla="*/ 0 w 836053"/>
                <a:gd name="connsiteY0" fmla="*/ 109061 h 179592"/>
                <a:gd name="connsiteX1" fmla="*/ 741044 w 836053"/>
                <a:gd name="connsiteY1" fmla="*/ 0 h 179592"/>
                <a:gd name="connsiteX0" fmla="*/ 41712 w 859707"/>
                <a:gd name="connsiteY0" fmla="*/ 109061 h 226292"/>
                <a:gd name="connsiteX1" fmla="*/ 782756 w 859707"/>
                <a:gd name="connsiteY1" fmla="*/ 0 h 226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9707" h="226292">
                  <a:moveTo>
                    <a:pt x="41712" y="109061"/>
                  </a:moveTo>
                  <a:cubicBezTo>
                    <a:pt x="-261817" y="405288"/>
                    <a:pt x="1204952" y="53102"/>
                    <a:pt x="782756" y="0"/>
                  </a:cubicBezTo>
                </a:path>
              </a:pathLst>
            </a:custGeom>
            <a:no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72" name="Group 38"/>
          <p:cNvGrpSpPr>
            <a:grpSpLocks noChangeAspect="1"/>
          </p:cNvGrpSpPr>
          <p:nvPr/>
        </p:nvGrpSpPr>
        <p:grpSpPr bwMode="auto">
          <a:xfrm flipH="1">
            <a:off x="6584918" y="1903615"/>
            <a:ext cx="615196" cy="591165"/>
            <a:chOff x="2880" y="1234"/>
            <a:chExt cx="1920" cy="1845"/>
          </a:xfrm>
          <a:solidFill>
            <a:schemeClr val="accent2"/>
          </a:solidFill>
        </p:grpSpPr>
        <p:sp>
          <p:nvSpPr>
            <p:cNvPr id="1175" name="Freeform 40"/>
            <p:cNvSpPr>
              <a:spLocks/>
            </p:cNvSpPr>
            <p:nvPr/>
          </p:nvSpPr>
          <p:spPr bwMode="auto">
            <a:xfrm>
              <a:off x="3267" y="2027"/>
              <a:ext cx="263" cy="263"/>
            </a:xfrm>
            <a:custGeom>
              <a:avLst/>
              <a:gdLst>
                <a:gd name="T0" fmla="*/ 42 w 526"/>
                <a:gd name="T1" fmla="*/ 0 h 525"/>
                <a:gd name="T2" fmla="*/ 484 w 526"/>
                <a:gd name="T3" fmla="*/ 0 h 525"/>
                <a:gd name="T4" fmla="*/ 500 w 526"/>
                <a:gd name="T5" fmla="*/ 3 h 525"/>
                <a:gd name="T6" fmla="*/ 513 w 526"/>
                <a:gd name="T7" fmla="*/ 11 h 525"/>
                <a:gd name="T8" fmla="*/ 522 w 526"/>
                <a:gd name="T9" fmla="*/ 25 h 525"/>
                <a:gd name="T10" fmla="*/ 526 w 526"/>
                <a:gd name="T11" fmla="*/ 42 h 525"/>
                <a:gd name="T12" fmla="*/ 526 w 526"/>
                <a:gd name="T13" fmla="*/ 483 h 525"/>
                <a:gd name="T14" fmla="*/ 522 w 526"/>
                <a:gd name="T15" fmla="*/ 500 h 525"/>
                <a:gd name="T16" fmla="*/ 513 w 526"/>
                <a:gd name="T17" fmla="*/ 512 h 525"/>
                <a:gd name="T18" fmla="*/ 500 w 526"/>
                <a:gd name="T19" fmla="*/ 522 h 525"/>
                <a:gd name="T20" fmla="*/ 484 w 526"/>
                <a:gd name="T21" fmla="*/ 525 h 525"/>
                <a:gd name="T22" fmla="*/ 42 w 526"/>
                <a:gd name="T23" fmla="*/ 525 h 525"/>
                <a:gd name="T24" fmla="*/ 26 w 526"/>
                <a:gd name="T25" fmla="*/ 522 h 525"/>
                <a:gd name="T26" fmla="*/ 12 w 526"/>
                <a:gd name="T27" fmla="*/ 512 h 525"/>
                <a:gd name="T28" fmla="*/ 3 w 526"/>
                <a:gd name="T29" fmla="*/ 500 h 525"/>
                <a:gd name="T30" fmla="*/ 0 w 526"/>
                <a:gd name="T31" fmla="*/ 483 h 525"/>
                <a:gd name="T32" fmla="*/ 0 w 526"/>
                <a:gd name="T33" fmla="*/ 42 h 525"/>
                <a:gd name="T34" fmla="*/ 3 w 526"/>
                <a:gd name="T35" fmla="*/ 25 h 525"/>
                <a:gd name="T36" fmla="*/ 12 w 526"/>
                <a:gd name="T37" fmla="*/ 11 h 525"/>
                <a:gd name="T38" fmla="*/ 26 w 526"/>
                <a:gd name="T39" fmla="*/ 3 h 525"/>
                <a:gd name="T40" fmla="*/ 42 w 526"/>
                <a:gd name="T41" fmla="*/ 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6" h="525">
                  <a:moveTo>
                    <a:pt x="42" y="0"/>
                  </a:moveTo>
                  <a:lnTo>
                    <a:pt x="484" y="0"/>
                  </a:lnTo>
                  <a:lnTo>
                    <a:pt x="500" y="3"/>
                  </a:lnTo>
                  <a:lnTo>
                    <a:pt x="513" y="11"/>
                  </a:lnTo>
                  <a:lnTo>
                    <a:pt x="522" y="25"/>
                  </a:lnTo>
                  <a:lnTo>
                    <a:pt x="526" y="42"/>
                  </a:lnTo>
                  <a:lnTo>
                    <a:pt x="526" y="483"/>
                  </a:lnTo>
                  <a:lnTo>
                    <a:pt x="522" y="500"/>
                  </a:lnTo>
                  <a:lnTo>
                    <a:pt x="513" y="512"/>
                  </a:lnTo>
                  <a:lnTo>
                    <a:pt x="500" y="522"/>
                  </a:lnTo>
                  <a:lnTo>
                    <a:pt x="484" y="525"/>
                  </a:lnTo>
                  <a:lnTo>
                    <a:pt x="42" y="525"/>
                  </a:lnTo>
                  <a:lnTo>
                    <a:pt x="26" y="522"/>
                  </a:lnTo>
                  <a:lnTo>
                    <a:pt x="12" y="512"/>
                  </a:lnTo>
                  <a:lnTo>
                    <a:pt x="3" y="500"/>
                  </a:lnTo>
                  <a:lnTo>
                    <a:pt x="0" y="483"/>
                  </a:lnTo>
                  <a:lnTo>
                    <a:pt x="0" y="42"/>
                  </a:lnTo>
                  <a:lnTo>
                    <a:pt x="3" y="25"/>
                  </a:lnTo>
                  <a:lnTo>
                    <a:pt x="12" y="11"/>
                  </a:lnTo>
                  <a:lnTo>
                    <a:pt x="26" y="3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76" name="Freeform 41"/>
            <p:cNvSpPr>
              <a:spLocks/>
            </p:cNvSpPr>
            <p:nvPr/>
          </p:nvSpPr>
          <p:spPr bwMode="auto">
            <a:xfrm>
              <a:off x="3709" y="2027"/>
              <a:ext cx="262" cy="263"/>
            </a:xfrm>
            <a:custGeom>
              <a:avLst/>
              <a:gdLst>
                <a:gd name="T0" fmla="*/ 42 w 526"/>
                <a:gd name="T1" fmla="*/ 0 h 525"/>
                <a:gd name="T2" fmla="*/ 484 w 526"/>
                <a:gd name="T3" fmla="*/ 0 h 525"/>
                <a:gd name="T4" fmla="*/ 500 w 526"/>
                <a:gd name="T5" fmla="*/ 3 h 525"/>
                <a:gd name="T6" fmla="*/ 514 w 526"/>
                <a:gd name="T7" fmla="*/ 11 h 525"/>
                <a:gd name="T8" fmla="*/ 522 w 526"/>
                <a:gd name="T9" fmla="*/ 25 h 525"/>
                <a:gd name="T10" fmla="*/ 526 w 526"/>
                <a:gd name="T11" fmla="*/ 42 h 525"/>
                <a:gd name="T12" fmla="*/ 526 w 526"/>
                <a:gd name="T13" fmla="*/ 483 h 525"/>
                <a:gd name="T14" fmla="*/ 522 w 526"/>
                <a:gd name="T15" fmla="*/ 500 h 525"/>
                <a:gd name="T16" fmla="*/ 514 w 526"/>
                <a:gd name="T17" fmla="*/ 512 h 525"/>
                <a:gd name="T18" fmla="*/ 500 w 526"/>
                <a:gd name="T19" fmla="*/ 522 h 525"/>
                <a:gd name="T20" fmla="*/ 484 w 526"/>
                <a:gd name="T21" fmla="*/ 525 h 525"/>
                <a:gd name="T22" fmla="*/ 42 w 526"/>
                <a:gd name="T23" fmla="*/ 525 h 525"/>
                <a:gd name="T24" fmla="*/ 26 w 526"/>
                <a:gd name="T25" fmla="*/ 522 h 525"/>
                <a:gd name="T26" fmla="*/ 12 w 526"/>
                <a:gd name="T27" fmla="*/ 512 h 525"/>
                <a:gd name="T28" fmla="*/ 4 w 526"/>
                <a:gd name="T29" fmla="*/ 500 h 525"/>
                <a:gd name="T30" fmla="*/ 0 w 526"/>
                <a:gd name="T31" fmla="*/ 483 h 525"/>
                <a:gd name="T32" fmla="*/ 0 w 526"/>
                <a:gd name="T33" fmla="*/ 42 h 525"/>
                <a:gd name="T34" fmla="*/ 4 w 526"/>
                <a:gd name="T35" fmla="*/ 25 h 525"/>
                <a:gd name="T36" fmla="*/ 12 w 526"/>
                <a:gd name="T37" fmla="*/ 11 h 525"/>
                <a:gd name="T38" fmla="*/ 26 w 526"/>
                <a:gd name="T39" fmla="*/ 3 h 525"/>
                <a:gd name="T40" fmla="*/ 42 w 526"/>
                <a:gd name="T41" fmla="*/ 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6" h="525">
                  <a:moveTo>
                    <a:pt x="42" y="0"/>
                  </a:moveTo>
                  <a:lnTo>
                    <a:pt x="484" y="0"/>
                  </a:lnTo>
                  <a:lnTo>
                    <a:pt x="500" y="3"/>
                  </a:lnTo>
                  <a:lnTo>
                    <a:pt x="514" y="11"/>
                  </a:lnTo>
                  <a:lnTo>
                    <a:pt x="522" y="25"/>
                  </a:lnTo>
                  <a:lnTo>
                    <a:pt x="526" y="42"/>
                  </a:lnTo>
                  <a:lnTo>
                    <a:pt x="526" y="483"/>
                  </a:lnTo>
                  <a:lnTo>
                    <a:pt x="522" y="500"/>
                  </a:lnTo>
                  <a:lnTo>
                    <a:pt x="514" y="512"/>
                  </a:lnTo>
                  <a:lnTo>
                    <a:pt x="500" y="522"/>
                  </a:lnTo>
                  <a:lnTo>
                    <a:pt x="484" y="525"/>
                  </a:lnTo>
                  <a:lnTo>
                    <a:pt x="42" y="525"/>
                  </a:lnTo>
                  <a:lnTo>
                    <a:pt x="26" y="522"/>
                  </a:lnTo>
                  <a:lnTo>
                    <a:pt x="12" y="512"/>
                  </a:lnTo>
                  <a:lnTo>
                    <a:pt x="4" y="500"/>
                  </a:lnTo>
                  <a:lnTo>
                    <a:pt x="0" y="483"/>
                  </a:lnTo>
                  <a:lnTo>
                    <a:pt x="0" y="42"/>
                  </a:lnTo>
                  <a:lnTo>
                    <a:pt x="4" y="25"/>
                  </a:lnTo>
                  <a:lnTo>
                    <a:pt x="12" y="11"/>
                  </a:lnTo>
                  <a:lnTo>
                    <a:pt x="26" y="3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77" name="Freeform 42"/>
            <p:cNvSpPr>
              <a:spLocks/>
            </p:cNvSpPr>
            <p:nvPr/>
          </p:nvSpPr>
          <p:spPr bwMode="auto">
            <a:xfrm>
              <a:off x="4150" y="2027"/>
              <a:ext cx="263" cy="263"/>
            </a:xfrm>
            <a:custGeom>
              <a:avLst/>
              <a:gdLst>
                <a:gd name="T0" fmla="*/ 42 w 526"/>
                <a:gd name="T1" fmla="*/ 0 h 525"/>
                <a:gd name="T2" fmla="*/ 484 w 526"/>
                <a:gd name="T3" fmla="*/ 0 h 525"/>
                <a:gd name="T4" fmla="*/ 500 w 526"/>
                <a:gd name="T5" fmla="*/ 3 h 525"/>
                <a:gd name="T6" fmla="*/ 514 w 526"/>
                <a:gd name="T7" fmla="*/ 11 h 525"/>
                <a:gd name="T8" fmla="*/ 523 w 526"/>
                <a:gd name="T9" fmla="*/ 25 h 525"/>
                <a:gd name="T10" fmla="*/ 526 w 526"/>
                <a:gd name="T11" fmla="*/ 42 h 525"/>
                <a:gd name="T12" fmla="*/ 526 w 526"/>
                <a:gd name="T13" fmla="*/ 483 h 525"/>
                <a:gd name="T14" fmla="*/ 523 w 526"/>
                <a:gd name="T15" fmla="*/ 500 h 525"/>
                <a:gd name="T16" fmla="*/ 514 w 526"/>
                <a:gd name="T17" fmla="*/ 512 h 525"/>
                <a:gd name="T18" fmla="*/ 500 w 526"/>
                <a:gd name="T19" fmla="*/ 522 h 525"/>
                <a:gd name="T20" fmla="*/ 484 w 526"/>
                <a:gd name="T21" fmla="*/ 525 h 525"/>
                <a:gd name="T22" fmla="*/ 42 w 526"/>
                <a:gd name="T23" fmla="*/ 525 h 525"/>
                <a:gd name="T24" fmla="*/ 26 w 526"/>
                <a:gd name="T25" fmla="*/ 522 h 525"/>
                <a:gd name="T26" fmla="*/ 13 w 526"/>
                <a:gd name="T27" fmla="*/ 512 h 525"/>
                <a:gd name="T28" fmla="*/ 4 w 526"/>
                <a:gd name="T29" fmla="*/ 500 h 525"/>
                <a:gd name="T30" fmla="*/ 0 w 526"/>
                <a:gd name="T31" fmla="*/ 483 h 525"/>
                <a:gd name="T32" fmla="*/ 0 w 526"/>
                <a:gd name="T33" fmla="*/ 42 h 525"/>
                <a:gd name="T34" fmla="*/ 4 w 526"/>
                <a:gd name="T35" fmla="*/ 25 h 525"/>
                <a:gd name="T36" fmla="*/ 13 w 526"/>
                <a:gd name="T37" fmla="*/ 11 h 525"/>
                <a:gd name="T38" fmla="*/ 26 w 526"/>
                <a:gd name="T39" fmla="*/ 3 h 525"/>
                <a:gd name="T40" fmla="*/ 42 w 526"/>
                <a:gd name="T41" fmla="*/ 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6" h="525">
                  <a:moveTo>
                    <a:pt x="42" y="0"/>
                  </a:moveTo>
                  <a:lnTo>
                    <a:pt x="484" y="0"/>
                  </a:lnTo>
                  <a:lnTo>
                    <a:pt x="500" y="3"/>
                  </a:lnTo>
                  <a:lnTo>
                    <a:pt x="514" y="11"/>
                  </a:lnTo>
                  <a:lnTo>
                    <a:pt x="523" y="25"/>
                  </a:lnTo>
                  <a:lnTo>
                    <a:pt x="526" y="42"/>
                  </a:lnTo>
                  <a:lnTo>
                    <a:pt x="526" y="483"/>
                  </a:lnTo>
                  <a:lnTo>
                    <a:pt x="523" y="500"/>
                  </a:lnTo>
                  <a:lnTo>
                    <a:pt x="514" y="512"/>
                  </a:lnTo>
                  <a:lnTo>
                    <a:pt x="500" y="522"/>
                  </a:lnTo>
                  <a:lnTo>
                    <a:pt x="484" y="525"/>
                  </a:lnTo>
                  <a:lnTo>
                    <a:pt x="42" y="525"/>
                  </a:lnTo>
                  <a:lnTo>
                    <a:pt x="26" y="522"/>
                  </a:lnTo>
                  <a:lnTo>
                    <a:pt x="13" y="512"/>
                  </a:lnTo>
                  <a:lnTo>
                    <a:pt x="4" y="500"/>
                  </a:lnTo>
                  <a:lnTo>
                    <a:pt x="0" y="483"/>
                  </a:lnTo>
                  <a:lnTo>
                    <a:pt x="0" y="42"/>
                  </a:lnTo>
                  <a:lnTo>
                    <a:pt x="4" y="25"/>
                  </a:lnTo>
                  <a:lnTo>
                    <a:pt x="13" y="11"/>
                  </a:lnTo>
                  <a:lnTo>
                    <a:pt x="26" y="3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78" name="Freeform 43"/>
            <p:cNvSpPr>
              <a:spLocks/>
            </p:cNvSpPr>
            <p:nvPr/>
          </p:nvSpPr>
          <p:spPr bwMode="auto">
            <a:xfrm>
              <a:off x="3267" y="2467"/>
              <a:ext cx="263" cy="263"/>
            </a:xfrm>
            <a:custGeom>
              <a:avLst/>
              <a:gdLst>
                <a:gd name="T0" fmla="*/ 42 w 526"/>
                <a:gd name="T1" fmla="*/ 0 h 525"/>
                <a:gd name="T2" fmla="*/ 484 w 526"/>
                <a:gd name="T3" fmla="*/ 0 h 525"/>
                <a:gd name="T4" fmla="*/ 500 w 526"/>
                <a:gd name="T5" fmla="*/ 3 h 525"/>
                <a:gd name="T6" fmla="*/ 513 w 526"/>
                <a:gd name="T7" fmla="*/ 13 h 525"/>
                <a:gd name="T8" fmla="*/ 522 w 526"/>
                <a:gd name="T9" fmla="*/ 25 h 525"/>
                <a:gd name="T10" fmla="*/ 526 w 526"/>
                <a:gd name="T11" fmla="*/ 42 h 525"/>
                <a:gd name="T12" fmla="*/ 526 w 526"/>
                <a:gd name="T13" fmla="*/ 483 h 525"/>
                <a:gd name="T14" fmla="*/ 522 w 526"/>
                <a:gd name="T15" fmla="*/ 500 h 525"/>
                <a:gd name="T16" fmla="*/ 513 w 526"/>
                <a:gd name="T17" fmla="*/ 514 h 525"/>
                <a:gd name="T18" fmla="*/ 500 w 526"/>
                <a:gd name="T19" fmla="*/ 522 h 525"/>
                <a:gd name="T20" fmla="*/ 484 w 526"/>
                <a:gd name="T21" fmla="*/ 525 h 525"/>
                <a:gd name="T22" fmla="*/ 42 w 526"/>
                <a:gd name="T23" fmla="*/ 525 h 525"/>
                <a:gd name="T24" fmla="*/ 26 w 526"/>
                <a:gd name="T25" fmla="*/ 522 h 525"/>
                <a:gd name="T26" fmla="*/ 12 w 526"/>
                <a:gd name="T27" fmla="*/ 514 h 525"/>
                <a:gd name="T28" fmla="*/ 3 w 526"/>
                <a:gd name="T29" fmla="*/ 500 h 525"/>
                <a:gd name="T30" fmla="*/ 0 w 526"/>
                <a:gd name="T31" fmla="*/ 483 h 525"/>
                <a:gd name="T32" fmla="*/ 0 w 526"/>
                <a:gd name="T33" fmla="*/ 42 h 525"/>
                <a:gd name="T34" fmla="*/ 3 w 526"/>
                <a:gd name="T35" fmla="*/ 25 h 525"/>
                <a:gd name="T36" fmla="*/ 12 w 526"/>
                <a:gd name="T37" fmla="*/ 13 h 525"/>
                <a:gd name="T38" fmla="*/ 26 w 526"/>
                <a:gd name="T39" fmla="*/ 3 h 525"/>
                <a:gd name="T40" fmla="*/ 42 w 526"/>
                <a:gd name="T41" fmla="*/ 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6" h="525">
                  <a:moveTo>
                    <a:pt x="42" y="0"/>
                  </a:moveTo>
                  <a:lnTo>
                    <a:pt x="484" y="0"/>
                  </a:lnTo>
                  <a:lnTo>
                    <a:pt x="500" y="3"/>
                  </a:lnTo>
                  <a:lnTo>
                    <a:pt x="513" y="13"/>
                  </a:lnTo>
                  <a:lnTo>
                    <a:pt x="522" y="25"/>
                  </a:lnTo>
                  <a:lnTo>
                    <a:pt x="526" y="42"/>
                  </a:lnTo>
                  <a:lnTo>
                    <a:pt x="526" y="483"/>
                  </a:lnTo>
                  <a:lnTo>
                    <a:pt x="522" y="500"/>
                  </a:lnTo>
                  <a:lnTo>
                    <a:pt x="513" y="514"/>
                  </a:lnTo>
                  <a:lnTo>
                    <a:pt x="500" y="522"/>
                  </a:lnTo>
                  <a:lnTo>
                    <a:pt x="484" y="525"/>
                  </a:lnTo>
                  <a:lnTo>
                    <a:pt x="42" y="525"/>
                  </a:lnTo>
                  <a:lnTo>
                    <a:pt x="26" y="522"/>
                  </a:lnTo>
                  <a:lnTo>
                    <a:pt x="12" y="514"/>
                  </a:lnTo>
                  <a:lnTo>
                    <a:pt x="3" y="500"/>
                  </a:lnTo>
                  <a:lnTo>
                    <a:pt x="0" y="483"/>
                  </a:lnTo>
                  <a:lnTo>
                    <a:pt x="0" y="42"/>
                  </a:lnTo>
                  <a:lnTo>
                    <a:pt x="3" y="25"/>
                  </a:lnTo>
                  <a:lnTo>
                    <a:pt x="12" y="13"/>
                  </a:lnTo>
                  <a:lnTo>
                    <a:pt x="26" y="3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79" name="Freeform 44"/>
            <p:cNvSpPr>
              <a:spLocks/>
            </p:cNvSpPr>
            <p:nvPr/>
          </p:nvSpPr>
          <p:spPr bwMode="auto">
            <a:xfrm>
              <a:off x="3709" y="2467"/>
              <a:ext cx="262" cy="263"/>
            </a:xfrm>
            <a:custGeom>
              <a:avLst/>
              <a:gdLst>
                <a:gd name="T0" fmla="*/ 42 w 526"/>
                <a:gd name="T1" fmla="*/ 0 h 525"/>
                <a:gd name="T2" fmla="*/ 484 w 526"/>
                <a:gd name="T3" fmla="*/ 0 h 525"/>
                <a:gd name="T4" fmla="*/ 500 w 526"/>
                <a:gd name="T5" fmla="*/ 3 h 525"/>
                <a:gd name="T6" fmla="*/ 514 w 526"/>
                <a:gd name="T7" fmla="*/ 13 h 525"/>
                <a:gd name="T8" fmla="*/ 522 w 526"/>
                <a:gd name="T9" fmla="*/ 25 h 525"/>
                <a:gd name="T10" fmla="*/ 526 w 526"/>
                <a:gd name="T11" fmla="*/ 42 h 525"/>
                <a:gd name="T12" fmla="*/ 526 w 526"/>
                <a:gd name="T13" fmla="*/ 483 h 525"/>
                <a:gd name="T14" fmla="*/ 522 w 526"/>
                <a:gd name="T15" fmla="*/ 500 h 525"/>
                <a:gd name="T16" fmla="*/ 514 w 526"/>
                <a:gd name="T17" fmla="*/ 514 h 525"/>
                <a:gd name="T18" fmla="*/ 500 w 526"/>
                <a:gd name="T19" fmla="*/ 522 h 525"/>
                <a:gd name="T20" fmla="*/ 484 w 526"/>
                <a:gd name="T21" fmla="*/ 525 h 525"/>
                <a:gd name="T22" fmla="*/ 42 w 526"/>
                <a:gd name="T23" fmla="*/ 525 h 525"/>
                <a:gd name="T24" fmla="*/ 26 w 526"/>
                <a:gd name="T25" fmla="*/ 522 h 525"/>
                <a:gd name="T26" fmla="*/ 12 w 526"/>
                <a:gd name="T27" fmla="*/ 514 h 525"/>
                <a:gd name="T28" fmla="*/ 4 w 526"/>
                <a:gd name="T29" fmla="*/ 500 h 525"/>
                <a:gd name="T30" fmla="*/ 0 w 526"/>
                <a:gd name="T31" fmla="*/ 483 h 525"/>
                <a:gd name="T32" fmla="*/ 0 w 526"/>
                <a:gd name="T33" fmla="*/ 42 h 525"/>
                <a:gd name="T34" fmla="*/ 4 w 526"/>
                <a:gd name="T35" fmla="*/ 25 h 525"/>
                <a:gd name="T36" fmla="*/ 12 w 526"/>
                <a:gd name="T37" fmla="*/ 13 h 525"/>
                <a:gd name="T38" fmla="*/ 26 w 526"/>
                <a:gd name="T39" fmla="*/ 3 h 525"/>
                <a:gd name="T40" fmla="*/ 42 w 526"/>
                <a:gd name="T41" fmla="*/ 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6" h="525">
                  <a:moveTo>
                    <a:pt x="42" y="0"/>
                  </a:moveTo>
                  <a:lnTo>
                    <a:pt x="484" y="0"/>
                  </a:lnTo>
                  <a:lnTo>
                    <a:pt x="500" y="3"/>
                  </a:lnTo>
                  <a:lnTo>
                    <a:pt x="514" y="13"/>
                  </a:lnTo>
                  <a:lnTo>
                    <a:pt x="522" y="25"/>
                  </a:lnTo>
                  <a:lnTo>
                    <a:pt x="526" y="42"/>
                  </a:lnTo>
                  <a:lnTo>
                    <a:pt x="526" y="483"/>
                  </a:lnTo>
                  <a:lnTo>
                    <a:pt x="522" y="500"/>
                  </a:lnTo>
                  <a:lnTo>
                    <a:pt x="514" y="514"/>
                  </a:lnTo>
                  <a:lnTo>
                    <a:pt x="500" y="522"/>
                  </a:lnTo>
                  <a:lnTo>
                    <a:pt x="484" y="525"/>
                  </a:lnTo>
                  <a:lnTo>
                    <a:pt x="42" y="525"/>
                  </a:lnTo>
                  <a:lnTo>
                    <a:pt x="26" y="522"/>
                  </a:lnTo>
                  <a:lnTo>
                    <a:pt x="12" y="514"/>
                  </a:lnTo>
                  <a:lnTo>
                    <a:pt x="4" y="500"/>
                  </a:lnTo>
                  <a:lnTo>
                    <a:pt x="0" y="483"/>
                  </a:lnTo>
                  <a:lnTo>
                    <a:pt x="0" y="42"/>
                  </a:lnTo>
                  <a:lnTo>
                    <a:pt x="4" y="25"/>
                  </a:lnTo>
                  <a:lnTo>
                    <a:pt x="12" y="13"/>
                  </a:lnTo>
                  <a:lnTo>
                    <a:pt x="26" y="3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80" name="Freeform 45"/>
            <p:cNvSpPr>
              <a:spLocks/>
            </p:cNvSpPr>
            <p:nvPr/>
          </p:nvSpPr>
          <p:spPr bwMode="auto">
            <a:xfrm>
              <a:off x="4150" y="2467"/>
              <a:ext cx="263" cy="263"/>
            </a:xfrm>
            <a:custGeom>
              <a:avLst/>
              <a:gdLst>
                <a:gd name="T0" fmla="*/ 42 w 526"/>
                <a:gd name="T1" fmla="*/ 0 h 525"/>
                <a:gd name="T2" fmla="*/ 484 w 526"/>
                <a:gd name="T3" fmla="*/ 0 h 525"/>
                <a:gd name="T4" fmla="*/ 500 w 526"/>
                <a:gd name="T5" fmla="*/ 3 h 525"/>
                <a:gd name="T6" fmla="*/ 514 w 526"/>
                <a:gd name="T7" fmla="*/ 13 h 525"/>
                <a:gd name="T8" fmla="*/ 523 w 526"/>
                <a:gd name="T9" fmla="*/ 25 h 525"/>
                <a:gd name="T10" fmla="*/ 526 w 526"/>
                <a:gd name="T11" fmla="*/ 42 h 525"/>
                <a:gd name="T12" fmla="*/ 526 w 526"/>
                <a:gd name="T13" fmla="*/ 483 h 525"/>
                <a:gd name="T14" fmla="*/ 523 w 526"/>
                <a:gd name="T15" fmla="*/ 500 h 525"/>
                <a:gd name="T16" fmla="*/ 514 w 526"/>
                <a:gd name="T17" fmla="*/ 514 h 525"/>
                <a:gd name="T18" fmla="*/ 500 w 526"/>
                <a:gd name="T19" fmla="*/ 522 h 525"/>
                <a:gd name="T20" fmla="*/ 484 w 526"/>
                <a:gd name="T21" fmla="*/ 525 h 525"/>
                <a:gd name="T22" fmla="*/ 42 w 526"/>
                <a:gd name="T23" fmla="*/ 525 h 525"/>
                <a:gd name="T24" fmla="*/ 26 w 526"/>
                <a:gd name="T25" fmla="*/ 522 h 525"/>
                <a:gd name="T26" fmla="*/ 13 w 526"/>
                <a:gd name="T27" fmla="*/ 514 h 525"/>
                <a:gd name="T28" fmla="*/ 4 w 526"/>
                <a:gd name="T29" fmla="*/ 500 h 525"/>
                <a:gd name="T30" fmla="*/ 0 w 526"/>
                <a:gd name="T31" fmla="*/ 483 h 525"/>
                <a:gd name="T32" fmla="*/ 0 w 526"/>
                <a:gd name="T33" fmla="*/ 42 h 525"/>
                <a:gd name="T34" fmla="*/ 4 w 526"/>
                <a:gd name="T35" fmla="*/ 25 h 525"/>
                <a:gd name="T36" fmla="*/ 13 w 526"/>
                <a:gd name="T37" fmla="*/ 13 h 525"/>
                <a:gd name="T38" fmla="*/ 26 w 526"/>
                <a:gd name="T39" fmla="*/ 3 h 525"/>
                <a:gd name="T40" fmla="*/ 42 w 526"/>
                <a:gd name="T41" fmla="*/ 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6" h="525">
                  <a:moveTo>
                    <a:pt x="42" y="0"/>
                  </a:moveTo>
                  <a:lnTo>
                    <a:pt x="484" y="0"/>
                  </a:lnTo>
                  <a:lnTo>
                    <a:pt x="500" y="3"/>
                  </a:lnTo>
                  <a:lnTo>
                    <a:pt x="514" y="13"/>
                  </a:lnTo>
                  <a:lnTo>
                    <a:pt x="523" y="25"/>
                  </a:lnTo>
                  <a:lnTo>
                    <a:pt x="526" y="42"/>
                  </a:lnTo>
                  <a:lnTo>
                    <a:pt x="526" y="483"/>
                  </a:lnTo>
                  <a:lnTo>
                    <a:pt x="523" y="500"/>
                  </a:lnTo>
                  <a:lnTo>
                    <a:pt x="514" y="514"/>
                  </a:lnTo>
                  <a:lnTo>
                    <a:pt x="500" y="522"/>
                  </a:lnTo>
                  <a:lnTo>
                    <a:pt x="484" y="525"/>
                  </a:lnTo>
                  <a:lnTo>
                    <a:pt x="42" y="525"/>
                  </a:lnTo>
                  <a:lnTo>
                    <a:pt x="26" y="522"/>
                  </a:lnTo>
                  <a:lnTo>
                    <a:pt x="13" y="514"/>
                  </a:lnTo>
                  <a:lnTo>
                    <a:pt x="4" y="500"/>
                  </a:lnTo>
                  <a:lnTo>
                    <a:pt x="0" y="483"/>
                  </a:lnTo>
                  <a:lnTo>
                    <a:pt x="0" y="42"/>
                  </a:lnTo>
                  <a:lnTo>
                    <a:pt x="4" y="25"/>
                  </a:lnTo>
                  <a:lnTo>
                    <a:pt x="13" y="13"/>
                  </a:lnTo>
                  <a:lnTo>
                    <a:pt x="26" y="3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81" name="Freeform 46"/>
            <p:cNvSpPr>
              <a:spLocks noEditPoints="1"/>
            </p:cNvSpPr>
            <p:nvPr/>
          </p:nvSpPr>
          <p:spPr bwMode="auto">
            <a:xfrm>
              <a:off x="2880" y="1234"/>
              <a:ext cx="1920" cy="1845"/>
            </a:xfrm>
            <a:custGeom>
              <a:avLst/>
              <a:gdLst>
                <a:gd name="T0" fmla="*/ 312 w 3840"/>
                <a:gd name="T1" fmla="*/ 3380 h 3691"/>
                <a:gd name="T2" fmla="*/ 3528 w 3840"/>
                <a:gd name="T3" fmla="*/ 1193 h 3691"/>
                <a:gd name="T4" fmla="*/ 104 w 3840"/>
                <a:gd name="T5" fmla="*/ 0 h 3691"/>
                <a:gd name="T6" fmla="*/ 576 w 3840"/>
                <a:gd name="T7" fmla="*/ 115 h 3691"/>
                <a:gd name="T8" fmla="*/ 588 w 3840"/>
                <a:gd name="T9" fmla="*/ 191 h 3691"/>
                <a:gd name="T10" fmla="*/ 621 w 3840"/>
                <a:gd name="T11" fmla="*/ 256 h 3691"/>
                <a:gd name="T12" fmla="*/ 674 w 3840"/>
                <a:gd name="T13" fmla="*/ 307 h 3691"/>
                <a:gd name="T14" fmla="*/ 739 w 3840"/>
                <a:gd name="T15" fmla="*/ 341 h 3691"/>
                <a:gd name="T16" fmla="*/ 815 w 3840"/>
                <a:gd name="T17" fmla="*/ 354 h 3691"/>
                <a:gd name="T18" fmla="*/ 889 w 3840"/>
                <a:gd name="T19" fmla="*/ 350 h 3691"/>
                <a:gd name="T20" fmla="*/ 959 w 3840"/>
                <a:gd name="T21" fmla="*/ 327 h 3691"/>
                <a:gd name="T22" fmla="*/ 1018 w 3840"/>
                <a:gd name="T23" fmla="*/ 284 h 3691"/>
                <a:gd name="T24" fmla="*/ 1061 w 3840"/>
                <a:gd name="T25" fmla="*/ 225 h 3691"/>
                <a:gd name="T26" fmla="*/ 1085 w 3840"/>
                <a:gd name="T27" fmla="*/ 154 h 3691"/>
                <a:gd name="T28" fmla="*/ 1088 w 3840"/>
                <a:gd name="T29" fmla="*/ 0 h 3691"/>
                <a:gd name="T30" fmla="*/ 1664 w 3840"/>
                <a:gd name="T31" fmla="*/ 115 h 3691"/>
                <a:gd name="T32" fmla="*/ 1676 w 3840"/>
                <a:gd name="T33" fmla="*/ 191 h 3691"/>
                <a:gd name="T34" fmla="*/ 1709 w 3840"/>
                <a:gd name="T35" fmla="*/ 256 h 3691"/>
                <a:gd name="T36" fmla="*/ 1762 w 3840"/>
                <a:gd name="T37" fmla="*/ 307 h 3691"/>
                <a:gd name="T38" fmla="*/ 1827 w 3840"/>
                <a:gd name="T39" fmla="*/ 341 h 3691"/>
                <a:gd name="T40" fmla="*/ 1903 w 3840"/>
                <a:gd name="T41" fmla="*/ 354 h 3691"/>
                <a:gd name="T42" fmla="*/ 1977 w 3840"/>
                <a:gd name="T43" fmla="*/ 350 h 3691"/>
                <a:gd name="T44" fmla="*/ 2047 w 3840"/>
                <a:gd name="T45" fmla="*/ 327 h 3691"/>
                <a:gd name="T46" fmla="*/ 2106 w 3840"/>
                <a:gd name="T47" fmla="*/ 284 h 3691"/>
                <a:gd name="T48" fmla="*/ 2149 w 3840"/>
                <a:gd name="T49" fmla="*/ 225 h 3691"/>
                <a:gd name="T50" fmla="*/ 2173 w 3840"/>
                <a:gd name="T51" fmla="*/ 154 h 3691"/>
                <a:gd name="T52" fmla="*/ 2176 w 3840"/>
                <a:gd name="T53" fmla="*/ 0 h 3691"/>
                <a:gd name="T54" fmla="*/ 2752 w 3840"/>
                <a:gd name="T55" fmla="*/ 115 h 3691"/>
                <a:gd name="T56" fmla="*/ 2764 w 3840"/>
                <a:gd name="T57" fmla="*/ 191 h 3691"/>
                <a:gd name="T58" fmla="*/ 2797 w 3840"/>
                <a:gd name="T59" fmla="*/ 256 h 3691"/>
                <a:gd name="T60" fmla="*/ 2850 w 3840"/>
                <a:gd name="T61" fmla="*/ 307 h 3691"/>
                <a:gd name="T62" fmla="*/ 2915 w 3840"/>
                <a:gd name="T63" fmla="*/ 341 h 3691"/>
                <a:gd name="T64" fmla="*/ 2991 w 3840"/>
                <a:gd name="T65" fmla="*/ 354 h 3691"/>
                <a:gd name="T66" fmla="*/ 3065 w 3840"/>
                <a:gd name="T67" fmla="*/ 350 h 3691"/>
                <a:gd name="T68" fmla="*/ 3135 w 3840"/>
                <a:gd name="T69" fmla="*/ 327 h 3691"/>
                <a:gd name="T70" fmla="*/ 3194 w 3840"/>
                <a:gd name="T71" fmla="*/ 284 h 3691"/>
                <a:gd name="T72" fmla="*/ 3237 w 3840"/>
                <a:gd name="T73" fmla="*/ 225 h 3691"/>
                <a:gd name="T74" fmla="*/ 3261 w 3840"/>
                <a:gd name="T75" fmla="*/ 154 h 3691"/>
                <a:gd name="T76" fmla="*/ 3264 w 3840"/>
                <a:gd name="T77" fmla="*/ 0 h 3691"/>
                <a:gd name="T78" fmla="*/ 3760 w 3840"/>
                <a:gd name="T79" fmla="*/ 2 h 3691"/>
                <a:gd name="T80" fmla="*/ 3802 w 3840"/>
                <a:gd name="T81" fmla="*/ 23 h 3691"/>
                <a:gd name="T82" fmla="*/ 3830 w 3840"/>
                <a:gd name="T83" fmla="*/ 58 h 3691"/>
                <a:gd name="T84" fmla="*/ 3840 w 3840"/>
                <a:gd name="T85" fmla="*/ 104 h 3691"/>
                <a:gd name="T86" fmla="*/ 3838 w 3840"/>
                <a:gd name="T87" fmla="*/ 3612 h 3691"/>
                <a:gd name="T88" fmla="*/ 3817 w 3840"/>
                <a:gd name="T89" fmla="*/ 3652 h 3691"/>
                <a:gd name="T90" fmla="*/ 3782 w 3840"/>
                <a:gd name="T91" fmla="*/ 3680 h 3691"/>
                <a:gd name="T92" fmla="*/ 3736 w 3840"/>
                <a:gd name="T93" fmla="*/ 3691 h 3691"/>
                <a:gd name="T94" fmla="*/ 80 w 3840"/>
                <a:gd name="T95" fmla="*/ 3688 h 3691"/>
                <a:gd name="T96" fmla="*/ 38 w 3840"/>
                <a:gd name="T97" fmla="*/ 3669 h 3691"/>
                <a:gd name="T98" fmla="*/ 10 w 3840"/>
                <a:gd name="T99" fmla="*/ 3633 h 3691"/>
                <a:gd name="T100" fmla="*/ 0 w 3840"/>
                <a:gd name="T101" fmla="*/ 3587 h 3691"/>
                <a:gd name="T102" fmla="*/ 2 w 3840"/>
                <a:gd name="T103" fmla="*/ 80 h 3691"/>
                <a:gd name="T104" fmla="*/ 23 w 3840"/>
                <a:gd name="T105" fmla="*/ 40 h 3691"/>
                <a:gd name="T106" fmla="*/ 58 w 3840"/>
                <a:gd name="T107" fmla="*/ 11 h 3691"/>
                <a:gd name="T108" fmla="*/ 104 w 3840"/>
                <a:gd name="T109" fmla="*/ 0 h 3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40" h="3691">
                  <a:moveTo>
                    <a:pt x="312" y="1193"/>
                  </a:moveTo>
                  <a:lnTo>
                    <a:pt x="312" y="3380"/>
                  </a:lnTo>
                  <a:lnTo>
                    <a:pt x="3528" y="3380"/>
                  </a:lnTo>
                  <a:lnTo>
                    <a:pt x="3528" y="1193"/>
                  </a:lnTo>
                  <a:lnTo>
                    <a:pt x="312" y="1193"/>
                  </a:lnTo>
                  <a:close/>
                  <a:moveTo>
                    <a:pt x="104" y="0"/>
                  </a:moveTo>
                  <a:lnTo>
                    <a:pt x="576" y="0"/>
                  </a:lnTo>
                  <a:lnTo>
                    <a:pt x="576" y="115"/>
                  </a:lnTo>
                  <a:lnTo>
                    <a:pt x="579" y="154"/>
                  </a:lnTo>
                  <a:lnTo>
                    <a:pt x="588" y="191"/>
                  </a:lnTo>
                  <a:lnTo>
                    <a:pt x="603" y="225"/>
                  </a:lnTo>
                  <a:lnTo>
                    <a:pt x="621" y="256"/>
                  </a:lnTo>
                  <a:lnTo>
                    <a:pt x="646" y="284"/>
                  </a:lnTo>
                  <a:lnTo>
                    <a:pt x="674" y="307"/>
                  </a:lnTo>
                  <a:lnTo>
                    <a:pt x="705" y="327"/>
                  </a:lnTo>
                  <a:lnTo>
                    <a:pt x="739" y="341"/>
                  </a:lnTo>
                  <a:lnTo>
                    <a:pt x="775" y="350"/>
                  </a:lnTo>
                  <a:lnTo>
                    <a:pt x="815" y="354"/>
                  </a:lnTo>
                  <a:lnTo>
                    <a:pt x="849" y="354"/>
                  </a:lnTo>
                  <a:lnTo>
                    <a:pt x="889" y="350"/>
                  </a:lnTo>
                  <a:lnTo>
                    <a:pt x="925" y="341"/>
                  </a:lnTo>
                  <a:lnTo>
                    <a:pt x="959" y="327"/>
                  </a:lnTo>
                  <a:lnTo>
                    <a:pt x="990" y="307"/>
                  </a:lnTo>
                  <a:lnTo>
                    <a:pt x="1018" y="284"/>
                  </a:lnTo>
                  <a:lnTo>
                    <a:pt x="1043" y="256"/>
                  </a:lnTo>
                  <a:lnTo>
                    <a:pt x="1061" y="225"/>
                  </a:lnTo>
                  <a:lnTo>
                    <a:pt x="1076" y="191"/>
                  </a:lnTo>
                  <a:lnTo>
                    <a:pt x="1085" y="154"/>
                  </a:lnTo>
                  <a:lnTo>
                    <a:pt x="1088" y="115"/>
                  </a:lnTo>
                  <a:lnTo>
                    <a:pt x="1088" y="0"/>
                  </a:lnTo>
                  <a:lnTo>
                    <a:pt x="1664" y="0"/>
                  </a:lnTo>
                  <a:lnTo>
                    <a:pt x="1664" y="115"/>
                  </a:lnTo>
                  <a:lnTo>
                    <a:pt x="1667" y="154"/>
                  </a:lnTo>
                  <a:lnTo>
                    <a:pt x="1676" y="191"/>
                  </a:lnTo>
                  <a:lnTo>
                    <a:pt x="1691" y="225"/>
                  </a:lnTo>
                  <a:lnTo>
                    <a:pt x="1709" y="256"/>
                  </a:lnTo>
                  <a:lnTo>
                    <a:pt x="1734" y="284"/>
                  </a:lnTo>
                  <a:lnTo>
                    <a:pt x="1762" y="307"/>
                  </a:lnTo>
                  <a:lnTo>
                    <a:pt x="1793" y="327"/>
                  </a:lnTo>
                  <a:lnTo>
                    <a:pt x="1827" y="341"/>
                  </a:lnTo>
                  <a:lnTo>
                    <a:pt x="1863" y="350"/>
                  </a:lnTo>
                  <a:lnTo>
                    <a:pt x="1903" y="354"/>
                  </a:lnTo>
                  <a:lnTo>
                    <a:pt x="1937" y="354"/>
                  </a:lnTo>
                  <a:lnTo>
                    <a:pt x="1977" y="350"/>
                  </a:lnTo>
                  <a:lnTo>
                    <a:pt x="2013" y="341"/>
                  </a:lnTo>
                  <a:lnTo>
                    <a:pt x="2047" y="327"/>
                  </a:lnTo>
                  <a:lnTo>
                    <a:pt x="2078" y="307"/>
                  </a:lnTo>
                  <a:lnTo>
                    <a:pt x="2106" y="284"/>
                  </a:lnTo>
                  <a:lnTo>
                    <a:pt x="2131" y="256"/>
                  </a:lnTo>
                  <a:lnTo>
                    <a:pt x="2149" y="225"/>
                  </a:lnTo>
                  <a:lnTo>
                    <a:pt x="2164" y="191"/>
                  </a:lnTo>
                  <a:lnTo>
                    <a:pt x="2173" y="154"/>
                  </a:lnTo>
                  <a:lnTo>
                    <a:pt x="2176" y="115"/>
                  </a:lnTo>
                  <a:lnTo>
                    <a:pt x="2176" y="0"/>
                  </a:lnTo>
                  <a:lnTo>
                    <a:pt x="2752" y="0"/>
                  </a:lnTo>
                  <a:lnTo>
                    <a:pt x="2752" y="115"/>
                  </a:lnTo>
                  <a:lnTo>
                    <a:pt x="2755" y="154"/>
                  </a:lnTo>
                  <a:lnTo>
                    <a:pt x="2764" y="191"/>
                  </a:lnTo>
                  <a:lnTo>
                    <a:pt x="2779" y="225"/>
                  </a:lnTo>
                  <a:lnTo>
                    <a:pt x="2797" y="256"/>
                  </a:lnTo>
                  <a:lnTo>
                    <a:pt x="2822" y="284"/>
                  </a:lnTo>
                  <a:lnTo>
                    <a:pt x="2850" y="307"/>
                  </a:lnTo>
                  <a:lnTo>
                    <a:pt x="2881" y="327"/>
                  </a:lnTo>
                  <a:lnTo>
                    <a:pt x="2915" y="341"/>
                  </a:lnTo>
                  <a:lnTo>
                    <a:pt x="2951" y="350"/>
                  </a:lnTo>
                  <a:lnTo>
                    <a:pt x="2991" y="354"/>
                  </a:lnTo>
                  <a:lnTo>
                    <a:pt x="3025" y="354"/>
                  </a:lnTo>
                  <a:lnTo>
                    <a:pt x="3065" y="350"/>
                  </a:lnTo>
                  <a:lnTo>
                    <a:pt x="3101" y="341"/>
                  </a:lnTo>
                  <a:lnTo>
                    <a:pt x="3135" y="327"/>
                  </a:lnTo>
                  <a:lnTo>
                    <a:pt x="3166" y="307"/>
                  </a:lnTo>
                  <a:lnTo>
                    <a:pt x="3194" y="284"/>
                  </a:lnTo>
                  <a:lnTo>
                    <a:pt x="3219" y="256"/>
                  </a:lnTo>
                  <a:lnTo>
                    <a:pt x="3237" y="225"/>
                  </a:lnTo>
                  <a:lnTo>
                    <a:pt x="3252" y="191"/>
                  </a:lnTo>
                  <a:lnTo>
                    <a:pt x="3261" y="154"/>
                  </a:lnTo>
                  <a:lnTo>
                    <a:pt x="3264" y="115"/>
                  </a:lnTo>
                  <a:lnTo>
                    <a:pt x="3264" y="0"/>
                  </a:lnTo>
                  <a:lnTo>
                    <a:pt x="3736" y="0"/>
                  </a:lnTo>
                  <a:lnTo>
                    <a:pt x="3760" y="2"/>
                  </a:lnTo>
                  <a:lnTo>
                    <a:pt x="3782" y="11"/>
                  </a:lnTo>
                  <a:lnTo>
                    <a:pt x="3802" y="23"/>
                  </a:lnTo>
                  <a:lnTo>
                    <a:pt x="3817" y="40"/>
                  </a:lnTo>
                  <a:lnTo>
                    <a:pt x="3830" y="58"/>
                  </a:lnTo>
                  <a:lnTo>
                    <a:pt x="3838" y="80"/>
                  </a:lnTo>
                  <a:lnTo>
                    <a:pt x="3840" y="104"/>
                  </a:lnTo>
                  <a:lnTo>
                    <a:pt x="3840" y="3587"/>
                  </a:lnTo>
                  <a:lnTo>
                    <a:pt x="3838" y="3612"/>
                  </a:lnTo>
                  <a:lnTo>
                    <a:pt x="3830" y="3633"/>
                  </a:lnTo>
                  <a:lnTo>
                    <a:pt x="3817" y="3652"/>
                  </a:lnTo>
                  <a:lnTo>
                    <a:pt x="3802" y="3669"/>
                  </a:lnTo>
                  <a:lnTo>
                    <a:pt x="3782" y="3680"/>
                  </a:lnTo>
                  <a:lnTo>
                    <a:pt x="3760" y="3688"/>
                  </a:lnTo>
                  <a:lnTo>
                    <a:pt x="3736" y="3691"/>
                  </a:lnTo>
                  <a:lnTo>
                    <a:pt x="104" y="3691"/>
                  </a:lnTo>
                  <a:lnTo>
                    <a:pt x="80" y="3688"/>
                  </a:lnTo>
                  <a:lnTo>
                    <a:pt x="58" y="3680"/>
                  </a:lnTo>
                  <a:lnTo>
                    <a:pt x="38" y="3669"/>
                  </a:lnTo>
                  <a:lnTo>
                    <a:pt x="23" y="3652"/>
                  </a:lnTo>
                  <a:lnTo>
                    <a:pt x="10" y="3633"/>
                  </a:lnTo>
                  <a:lnTo>
                    <a:pt x="2" y="3612"/>
                  </a:lnTo>
                  <a:lnTo>
                    <a:pt x="0" y="3587"/>
                  </a:lnTo>
                  <a:lnTo>
                    <a:pt x="0" y="104"/>
                  </a:lnTo>
                  <a:lnTo>
                    <a:pt x="2" y="80"/>
                  </a:lnTo>
                  <a:lnTo>
                    <a:pt x="10" y="58"/>
                  </a:lnTo>
                  <a:lnTo>
                    <a:pt x="23" y="40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80" y="2"/>
                  </a:lnTo>
                  <a:lnTo>
                    <a:pt x="10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6523409" y="5023304"/>
            <a:ext cx="969512" cy="888724"/>
            <a:chOff x="6314932" y="4297752"/>
            <a:chExt cx="1362926" cy="1249332"/>
          </a:xfrm>
          <a:solidFill>
            <a:schemeClr val="bg2"/>
          </a:solidFill>
        </p:grpSpPr>
        <p:sp>
          <p:nvSpPr>
            <p:cNvPr id="90" name="Freeform 7"/>
            <p:cNvSpPr>
              <a:spLocks noEditPoints="1"/>
            </p:cNvSpPr>
            <p:nvPr/>
          </p:nvSpPr>
          <p:spPr bwMode="auto">
            <a:xfrm rot="18876030">
              <a:off x="7135395" y="4992165"/>
              <a:ext cx="542590" cy="542336"/>
            </a:xfrm>
            <a:custGeom>
              <a:avLst/>
              <a:gdLst>
                <a:gd name="T0" fmla="*/ 3034 w 4257"/>
                <a:gd name="T1" fmla="*/ 658 h 4255"/>
                <a:gd name="T2" fmla="*/ 2863 w 4257"/>
                <a:gd name="T3" fmla="*/ 792 h 4255"/>
                <a:gd name="T4" fmla="*/ 2777 w 4257"/>
                <a:gd name="T5" fmla="*/ 985 h 4255"/>
                <a:gd name="T6" fmla="*/ 2790 w 4257"/>
                <a:gd name="T7" fmla="*/ 1193 h 4255"/>
                <a:gd name="T8" fmla="*/ 2900 w 4257"/>
                <a:gd name="T9" fmla="*/ 1376 h 4255"/>
                <a:gd name="T10" fmla="*/ 3084 w 4257"/>
                <a:gd name="T11" fmla="*/ 1486 h 4255"/>
                <a:gd name="T12" fmla="*/ 3292 w 4257"/>
                <a:gd name="T13" fmla="*/ 1499 h 4255"/>
                <a:gd name="T14" fmla="*/ 3484 w 4257"/>
                <a:gd name="T15" fmla="*/ 1412 h 4255"/>
                <a:gd name="T16" fmla="*/ 3618 w 4257"/>
                <a:gd name="T17" fmla="*/ 1242 h 4255"/>
                <a:gd name="T18" fmla="*/ 3656 w 4257"/>
                <a:gd name="T19" fmla="*/ 1037 h 4255"/>
                <a:gd name="T20" fmla="*/ 3595 w 4257"/>
                <a:gd name="T21" fmla="*/ 837 h 4255"/>
                <a:gd name="T22" fmla="*/ 3440 w 4257"/>
                <a:gd name="T23" fmla="*/ 683 h 4255"/>
                <a:gd name="T24" fmla="*/ 3240 w 4257"/>
                <a:gd name="T25" fmla="*/ 622 h 4255"/>
                <a:gd name="T26" fmla="*/ 3893 w 4257"/>
                <a:gd name="T27" fmla="*/ 12 h 4255"/>
                <a:gd name="T28" fmla="*/ 4088 w 4257"/>
                <a:gd name="T29" fmla="*/ 93 h 4255"/>
                <a:gd name="T30" fmla="*/ 4213 w 4257"/>
                <a:gd name="T31" fmla="*/ 257 h 4255"/>
                <a:gd name="T32" fmla="*/ 4257 w 4257"/>
                <a:gd name="T33" fmla="*/ 486 h 4255"/>
                <a:gd name="T34" fmla="*/ 4230 w 4257"/>
                <a:gd name="T35" fmla="*/ 767 h 4255"/>
                <a:gd name="T36" fmla="*/ 4135 w 4257"/>
                <a:gd name="T37" fmla="*/ 1089 h 4255"/>
                <a:gd name="T38" fmla="*/ 3981 w 4257"/>
                <a:gd name="T39" fmla="*/ 1437 h 4255"/>
                <a:gd name="T40" fmla="*/ 3776 w 4257"/>
                <a:gd name="T41" fmla="*/ 1799 h 4255"/>
                <a:gd name="T42" fmla="*/ 3526 w 4257"/>
                <a:gd name="T43" fmla="*/ 2161 h 4255"/>
                <a:gd name="T44" fmla="*/ 3239 w 4257"/>
                <a:gd name="T45" fmla="*/ 2513 h 4255"/>
                <a:gd name="T46" fmla="*/ 3137 w 4257"/>
                <a:gd name="T47" fmla="*/ 2625 h 4255"/>
                <a:gd name="T48" fmla="*/ 3129 w 4257"/>
                <a:gd name="T49" fmla="*/ 2694 h 4255"/>
                <a:gd name="T50" fmla="*/ 3190 w 4257"/>
                <a:gd name="T51" fmla="*/ 3070 h 4255"/>
                <a:gd name="T52" fmla="*/ 3124 w 4257"/>
                <a:gd name="T53" fmla="*/ 3203 h 4255"/>
                <a:gd name="T54" fmla="*/ 2041 w 4257"/>
                <a:gd name="T55" fmla="*/ 4255 h 4255"/>
                <a:gd name="T56" fmla="*/ 1983 w 4257"/>
                <a:gd name="T57" fmla="*/ 4209 h 4255"/>
                <a:gd name="T58" fmla="*/ 1862 w 4257"/>
                <a:gd name="T59" fmla="*/ 3371 h 4255"/>
                <a:gd name="T60" fmla="*/ 1918 w 4257"/>
                <a:gd name="T61" fmla="*/ 3227 h 4255"/>
                <a:gd name="T62" fmla="*/ 1953 w 4257"/>
                <a:gd name="T63" fmla="*/ 3182 h 4255"/>
                <a:gd name="T64" fmla="*/ 1939 w 4257"/>
                <a:gd name="T65" fmla="*/ 3122 h 4255"/>
                <a:gd name="T66" fmla="*/ 1744 w 4257"/>
                <a:gd name="T67" fmla="*/ 2927 h 4255"/>
                <a:gd name="T68" fmla="*/ 1510 w 4257"/>
                <a:gd name="T69" fmla="*/ 2694 h 4255"/>
                <a:gd name="T70" fmla="*/ 1280 w 4257"/>
                <a:gd name="T71" fmla="*/ 2464 h 4255"/>
                <a:gd name="T72" fmla="*/ 1117 w 4257"/>
                <a:gd name="T73" fmla="*/ 2306 h 4255"/>
                <a:gd name="T74" fmla="*/ 1066 w 4257"/>
                <a:gd name="T75" fmla="*/ 2311 h 4255"/>
                <a:gd name="T76" fmla="*/ 997 w 4257"/>
                <a:gd name="T77" fmla="*/ 2360 h 4255"/>
                <a:gd name="T78" fmla="*/ 848 w 4257"/>
                <a:gd name="T79" fmla="*/ 2400 h 4255"/>
                <a:gd name="T80" fmla="*/ 26 w 4257"/>
                <a:gd name="T81" fmla="*/ 2265 h 4255"/>
                <a:gd name="T82" fmla="*/ 5 w 4257"/>
                <a:gd name="T83" fmla="*/ 2199 h 4255"/>
                <a:gd name="T84" fmla="*/ 1082 w 4257"/>
                <a:gd name="T85" fmla="*/ 1115 h 4255"/>
                <a:gd name="T86" fmla="*/ 1225 w 4257"/>
                <a:gd name="T87" fmla="*/ 1064 h 4255"/>
                <a:gd name="T88" fmla="*/ 1601 w 4257"/>
                <a:gd name="T89" fmla="*/ 1138 h 4255"/>
                <a:gd name="T90" fmla="*/ 1671 w 4257"/>
                <a:gd name="T91" fmla="*/ 1118 h 4255"/>
                <a:gd name="T92" fmla="*/ 1861 w 4257"/>
                <a:gd name="T93" fmla="*/ 950 h 4255"/>
                <a:gd name="T94" fmla="*/ 2214 w 4257"/>
                <a:gd name="T95" fmla="*/ 674 h 4255"/>
                <a:gd name="T96" fmla="*/ 2574 w 4257"/>
                <a:gd name="T97" fmla="*/ 434 h 4255"/>
                <a:gd name="T98" fmla="*/ 2928 w 4257"/>
                <a:gd name="T99" fmla="*/ 239 h 4255"/>
                <a:gd name="T100" fmla="*/ 3263 w 4257"/>
                <a:gd name="T101" fmla="*/ 97 h 4255"/>
                <a:gd name="T102" fmla="*/ 3570 w 4257"/>
                <a:gd name="T103" fmla="*/ 17 h 4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257" h="4255">
                  <a:moveTo>
                    <a:pt x="3188" y="622"/>
                  </a:moveTo>
                  <a:lnTo>
                    <a:pt x="3136" y="628"/>
                  </a:lnTo>
                  <a:lnTo>
                    <a:pt x="3084" y="640"/>
                  </a:lnTo>
                  <a:lnTo>
                    <a:pt x="3034" y="658"/>
                  </a:lnTo>
                  <a:lnTo>
                    <a:pt x="2986" y="683"/>
                  </a:lnTo>
                  <a:lnTo>
                    <a:pt x="2942" y="714"/>
                  </a:lnTo>
                  <a:lnTo>
                    <a:pt x="2900" y="750"/>
                  </a:lnTo>
                  <a:lnTo>
                    <a:pt x="2863" y="792"/>
                  </a:lnTo>
                  <a:lnTo>
                    <a:pt x="2833" y="837"/>
                  </a:lnTo>
                  <a:lnTo>
                    <a:pt x="2808" y="885"/>
                  </a:lnTo>
                  <a:lnTo>
                    <a:pt x="2790" y="935"/>
                  </a:lnTo>
                  <a:lnTo>
                    <a:pt x="2777" y="985"/>
                  </a:lnTo>
                  <a:lnTo>
                    <a:pt x="2772" y="1037"/>
                  </a:lnTo>
                  <a:lnTo>
                    <a:pt x="2772" y="1089"/>
                  </a:lnTo>
                  <a:lnTo>
                    <a:pt x="2777" y="1141"/>
                  </a:lnTo>
                  <a:lnTo>
                    <a:pt x="2790" y="1193"/>
                  </a:lnTo>
                  <a:lnTo>
                    <a:pt x="2808" y="1242"/>
                  </a:lnTo>
                  <a:lnTo>
                    <a:pt x="2833" y="1289"/>
                  </a:lnTo>
                  <a:lnTo>
                    <a:pt x="2863" y="1335"/>
                  </a:lnTo>
                  <a:lnTo>
                    <a:pt x="2900" y="1376"/>
                  </a:lnTo>
                  <a:lnTo>
                    <a:pt x="2942" y="1412"/>
                  </a:lnTo>
                  <a:lnTo>
                    <a:pt x="2986" y="1444"/>
                  </a:lnTo>
                  <a:lnTo>
                    <a:pt x="3034" y="1468"/>
                  </a:lnTo>
                  <a:lnTo>
                    <a:pt x="3084" y="1486"/>
                  </a:lnTo>
                  <a:lnTo>
                    <a:pt x="3136" y="1499"/>
                  </a:lnTo>
                  <a:lnTo>
                    <a:pt x="3188" y="1505"/>
                  </a:lnTo>
                  <a:lnTo>
                    <a:pt x="3240" y="1505"/>
                  </a:lnTo>
                  <a:lnTo>
                    <a:pt x="3292" y="1499"/>
                  </a:lnTo>
                  <a:lnTo>
                    <a:pt x="3343" y="1486"/>
                  </a:lnTo>
                  <a:lnTo>
                    <a:pt x="3392" y="1468"/>
                  </a:lnTo>
                  <a:lnTo>
                    <a:pt x="3440" y="1444"/>
                  </a:lnTo>
                  <a:lnTo>
                    <a:pt x="3484" y="1412"/>
                  </a:lnTo>
                  <a:lnTo>
                    <a:pt x="3527" y="1376"/>
                  </a:lnTo>
                  <a:lnTo>
                    <a:pt x="3564" y="1335"/>
                  </a:lnTo>
                  <a:lnTo>
                    <a:pt x="3595" y="1289"/>
                  </a:lnTo>
                  <a:lnTo>
                    <a:pt x="3618" y="1242"/>
                  </a:lnTo>
                  <a:lnTo>
                    <a:pt x="3638" y="1193"/>
                  </a:lnTo>
                  <a:lnTo>
                    <a:pt x="3650" y="1141"/>
                  </a:lnTo>
                  <a:lnTo>
                    <a:pt x="3656" y="1089"/>
                  </a:lnTo>
                  <a:lnTo>
                    <a:pt x="3656" y="1037"/>
                  </a:lnTo>
                  <a:lnTo>
                    <a:pt x="3650" y="985"/>
                  </a:lnTo>
                  <a:lnTo>
                    <a:pt x="3638" y="935"/>
                  </a:lnTo>
                  <a:lnTo>
                    <a:pt x="3618" y="885"/>
                  </a:lnTo>
                  <a:lnTo>
                    <a:pt x="3595" y="837"/>
                  </a:lnTo>
                  <a:lnTo>
                    <a:pt x="3564" y="792"/>
                  </a:lnTo>
                  <a:lnTo>
                    <a:pt x="3527" y="750"/>
                  </a:lnTo>
                  <a:lnTo>
                    <a:pt x="3484" y="714"/>
                  </a:lnTo>
                  <a:lnTo>
                    <a:pt x="3440" y="683"/>
                  </a:lnTo>
                  <a:lnTo>
                    <a:pt x="3392" y="658"/>
                  </a:lnTo>
                  <a:lnTo>
                    <a:pt x="3343" y="640"/>
                  </a:lnTo>
                  <a:lnTo>
                    <a:pt x="3292" y="628"/>
                  </a:lnTo>
                  <a:lnTo>
                    <a:pt x="3240" y="622"/>
                  </a:lnTo>
                  <a:lnTo>
                    <a:pt x="3188" y="622"/>
                  </a:lnTo>
                  <a:close/>
                  <a:moveTo>
                    <a:pt x="3773" y="0"/>
                  </a:moveTo>
                  <a:lnTo>
                    <a:pt x="3834" y="3"/>
                  </a:lnTo>
                  <a:lnTo>
                    <a:pt x="3893" y="12"/>
                  </a:lnTo>
                  <a:lnTo>
                    <a:pt x="3948" y="25"/>
                  </a:lnTo>
                  <a:lnTo>
                    <a:pt x="3998" y="43"/>
                  </a:lnTo>
                  <a:lnTo>
                    <a:pt x="4045" y="65"/>
                  </a:lnTo>
                  <a:lnTo>
                    <a:pt x="4088" y="93"/>
                  </a:lnTo>
                  <a:lnTo>
                    <a:pt x="4127" y="127"/>
                  </a:lnTo>
                  <a:lnTo>
                    <a:pt x="4161" y="166"/>
                  </a:lnTo>
                  <a:lnTo>
                    <a:pt x="4189" y="209"/>
                  </a:lnTo>
                  <a:lnTo>
                    <a:pt x="4213" y="257"/>
                  </a:lnTo>
                  <a:lnTo>
                    <a:pt x="4231" y="309"/>
                  </a:lnTo>
                  <a:lnTo>
                    <a:pt x="4245" y="363"/>
                  </a:lnTo>
                  <a:lnTo>
                    <a:pt x="4253" y="423"/>
                  </a:lnTo>
                  <a:lnTo>
                    <a:pt x="4257" y="486"/>
                  </a:lnTo>
                  <a:lnTo>
                    <a:pt x="4257" y="552"/>
                  </a:lnTo>
                  <a:lnTo>
                    <a:pt x="4252" y="621"/>
                  </a:lnTo>
                  <a:lnTo>
                    <a:pt x="4243" y="693"/>
                  </a:lnTo>
                  <a:lnTo>
                    <a:pt x="4230" y="767"/>
                  </a:lnTo>
                  <a:lnTo>
                    <a:pt x="4212" y="845"/>
                  </a:lnTo>
                  <a:lnTo>
                    <a:pt x="4189" y="924"/>
                  </a:lnTo>
                  <a:lnTo>
                    <a:pt x="4163" y="1005"/>
                  </a:lnTo>
                  <a:lnTo>
                    <a:pt x="4135" y="1089"/>
                  </a:lnTo>
                  <a:lnTo>
                    <a:pt x="4101" y="1174"/>
                  </a:lnTo>
                  <a:lnTo>
                    <a:pt x="4065" y="1261"/>
                  </a:lnTo>
                  <a:lnTo>
                    <a:pt x="4024" y="1347"/>
                  </a:lnTo>
                  <a:lnTo>
                    <a:pt x="3981" y="1437"/>
                  </a:lnTo>
                  <a:lnTo>
                    <a:pt x="3935" y="1527"/>
                  </a:lnTo>
                  <a:lnTo>
                    <a:pt x="3885" y="1616"/>
                  </a:lnTo>
                  <a:lnTo>
                    <a:pt x="3832" y="1707"/>
                  </a:lnTo>
                  <a:lnTo>
                    <a:pt x="3776" y="1799"/>
                  </a:lnTo>
                  <a:lnTo>
                    <a:pt x="3717" y="1890"/>
                  </a:lnTo>
                  <a:lnTo>
                    <a:pt x="3656" y="1981"/>
                  </a:lnTo>
                  <a:lnTo>
                    <a:pt x="3592" y="2072"/>
                  </a:lnTo>
                  <a:lnTo>
                    <a:pt x="3526" y="2161"/>
                  </a:lnTo>
                  <a:lnTo>
                    <a:pt x="3457" y="2251"/>
                  </a:lnTo>
                  <a:lnTo>
                    <a:pt x="3387" y="2339"/>
                  </a:lnTo>
                  <a:lnTo>
                    <a:pt x="3314" y="2428"/>
                  </a:lnTo>
                  <a:lnTo>
                    <a:pt x="3239" y="2513"/>
                  </a:lnTo>
                  <a:lnTo>
                    <a:pt x="3162" y="2598"/>
                  </a:lnTo>
                  <a:lnTo>
                    <a:pt x="3155" y="2605"/>
                  </a:lnTo>
                  <a:lnTo>
                    <a:pt x="3146" y="2615"/>
                  </a:lnTo>
                  <a:lnTo>
                    <a:pt x="3137" y="2625"/>
                  </a:lnTo>
                  <a:lnTo>
                    <a:pt x="3131" y="2638"/>
                  </a:lnTo>
                  <a:lnTo>
                    <a:pt x="3125" y="2653"/>
                  </a:lnTo>
                  <a:lnTo>
                    <a:pt x="3124" y="2672"/>
                  </a:lnTo>
                  <a:lnTo>
                    <a:pt x="3129" y="2694"/>
                  </a:lnTo>
                  <a:lnTo>
                    <a:pt x="3193" y="2960"/>
                  </a:lnTo>
                  <a:lnTo>
                    <a:pt x="3197" y="2995"/>
                  </a:lnTo>
                  <a:lnTo>
                    <a:pt x="3197" y="3033"/>
                  </a:lnTo>
                  <a:lnTo>
                    <a:pt x="3190" y="3070"/>
                  </a:lnTo>
                  <a:lnTo>
                    <a:pt x="3180" y="3108"/>
                  </a:lnTo>
                  <a:lnTo>
                    <a:pt x="3166" y="3144"/>
                  </a:lnTo>
                  <a:lnTo>
                    <a:pt x="3146" y="3175"/>
                  </a:lnTo>
                  <a:lnTo>
                    <a:pt x="3124" y="3203"/>
                  </a:lnTo>
                  <a:lnTo>
                    <a:pt x="2102" y="4223"/>
                  </a:lnTo>
                  <a:lnTo>
                    <a:pt x="2081" y="4240"/>
                  </a:lnTo>
                  <a:lnTo>
                    <a:pt x="2060" y="4250"/>
                  </a:lnTo>
                  <a:lnTo>
                    <a:pt x="2041" y="4255"/>
                  </a:lnTo>
                  <a:lnTo>
                    <a:pt x="2024" y="4253"/>
                  </a:lnTo>
                  <a:lnTo>
                    <a:pt x="2007" y="4244"/>
                  </a:lnTo>
                  <a:lnTo>
                    <a:pt x="1994" y="4229"/>
                  </a:lnTo>
                  <a:lnTo>
                    <a:pt x="1983" y="4209"/>
                  </a:lnTo>
                  <a:lnTo>
                    <a:pt x="1977" y="4181"/>
                  </a:lnTo>
                  <a:lnTo>
                    <a:pt x="1861" y="3444"/>
                  </a:lnTo>
                  <a:lnTo>
                    <a:pt x="1858" y="3409"/>
                  </a:lnTo>
                  <a:lnTo>
                    <a:pt x="1862" y="3371"/>
                  </a:lnTo>
                  <a:lnTo>
                    <a:pt x="1870" y="3332"/>
                  </a:lnTo>
                  <a:lnTo>
                    <a:pt x="1882" y="3295"/>
                  </a:lnTo>
                  <a:lnTo>
                    <a:pt x="1899" y="3260"/>
                  </a:lnTo>
                  <a:lnTo>
                    <a:pt x="1918" y="3227"/>
                  </a:lnTo>
                  <a:lnTo>
                    <a:pt x="1940" y="3200"/>
                  </a:lnTo>
                  <a:lnTo>
                    <a:pt x="1943" y="3197"/>
                  </a:lnTo>
                  <a:lnTo>
                    <a:pt x="1948" y="3191"/>
                  </a:lnTo>
                  <a:lnTo>
                    <a:pt x="1953" y="3182"/>
                  </a:lnTo>
                  <a:lnTo>
                    <a:pt x="1957" y="3169"/>
                  </a:lnTo>
                  <a:lnTo>
                    <a:pt x="1957" y="3155"/>
                  </a:lnTo>
                  <a:lnTo>
                    <a:pt x="1952" y="3139"/>
                  </a:lnTo>
                  <a:lnTo>
                    <a:pt x="1939" y="3122"/>
                  </a:lnTo>
                  <a:lnTo>
                    <a:pt x="1896" y="3079"/>
                  </a:lnTo>
                  <a:lnTo>
                    <a:pt x="1849" y="3033"/>
                  </a:lnTo>
                  <a:lnTo>
                    <a:pt x="1799" y="2982"/>
                  </a:lnTo>
                  <a:lnTo>
                    <a:pt x="1744" y="2927"/>
                  </a:lnTo>
                  <a:lnTo>
                    <a:pt x="1688" y="2872"/>
                  </a:lnTo>
                  <a:lnTo>
                    <a:pt x="1630" y="2813"/>
                  </a:lnTo>
                  <a:lnTo>
                    <a:pt x="1570" y="2753"/>
                  </a:lnTo>
                  <a:lnTo>
                    <a:pt x="1510" y="2694"/>
                  </a:lnTo>
                  <a:lnTo>
                    <a:pt x="1450" y="2634"/>
                  </a:lnTo>
                  <a:lnTo>
                    <a:pt x="1392" y="2576"/>
                  </a:lnTo>
                  <a:lnTo>
                    <a:pt x="1334" y="2518"/>
                  </a:lnTo>
                  <a:lnTo>
                    <a:pt x="1280" y="2464"/>
                  </a:lnTo>
                  <a:lnTo>
                    <a:pt x="1228" y="2411"/>
                  </a:lnTo>
                  <a:lnTo>
                    <a:pt x="1178" y="2363"/>
                  </a:lnTo>
                  <a:lnTo>
                    <a:pt x="1134" y="2319"/>
                  </a:lnTo>
                  <a:lnTo>
                    <a:pt x="1117" y="2306"/>
                  </a:lnTo>
                  <a:lnTo>
                    <a:pt x="1101" y="2302"/>
                  </a:lnTo>
                  <a:lnTo>
                    <a:pt x="1087" y="2302"/>
                  </a:lnTo>
                  <a:lnTo>
                    <a:pt x="1075" y="2306"/>
                  </a:lnTo>
                  <a:lnTo>
                    <a:pt x="1066" y="2311"/>
                  </a:lnTo>
                  <a:lnTo>
                    <a:pt x="1060" y="2316"/>
                  </a:lnTo>
                  <a:lnTo>
                    <a:pt x="1057" y="2319"/>
                  </a:lnTo>
                  <a:lnTo>
                    <a:pt x="1030" y="2341"/>
                  </a:lnTo>
                  <a:lnTo>
                    <a:pt x="997" y="2360"/>
                  </a:lnTo>
                  <a:lnTo>
                    <a:pt x="962" y="2377"/>
                  </a:lnTo>
                  <a:lnTo>
                    <a:pt x="925" y="2389"/>
                  </a:lnTo>
                  <a:lnTo>
                    <a:pt x="886" y="2396"/>
                  </a:lnTo>
                  <a:lnTo>
                    <a:pt x="848" y="2400"/>
                  </a:lnTo>
                  <a:lnTo>
                    <a:pt x="813" y="2398"/>
                  </a:lnTo>
                  <a:lnTo>
                    <a:pt x="74" y="2282"/>
                  </a:lnTo>
                  <a:lnTo>
                    <a:pt x="47" y="2276"/>
                  </a:lnTo>
                  <a:lnTo>
                    <a:pt x="26" y="2265"/>
                  </a:lnTo>
                  <a:lnTo>
                    <a:pt x="11" y="2252"/>
                  </a:lnTo>
                  <a:lnTo>
                    <a:pt x="2" y="2235"/>
                  </a:lnTo>
                  <a:lnTo>
                    <a:pt x="0" y="2219"/>
                  </a:lnTo>
                  <a:lnTo>
                    <a:pt x="5" y="2199"/>
                  </a:lnTo>
                  <a:lnTo>
                    <a:pt x="15" y="2178"/>
                  </a:lnTo>
                  <a:lnTo>
                    <a:pt x="32" y="2158"/>
                  </a:lnTo>
                  <a:lnTo>
                    <a:pt x="1055" y="1137"/>
                  </a:lnTo>
                  <a:lnTo>
                    <a:pt x="1082" y="1115"/>
                  </a:lnTo>
                  <a:lnTo>
                    <a:pt x="1113" y="1096"/>
                  </a:lnTo>
                  <a:lnTo>
                    <a:pt x="1150" y="1081"/>
                  </a:lnTo>
                  <a:lnTo>
                    <a:pt x="1187" y="1071"/>
                  </a:lnTo>
                  <a:lnTo>
                    <a:pt x="1225" y="1064"/>
                  </a:lnTo>
                  <a:lnTo>
                    <a:pt x="1263" y="1064"/>
                  </a:lnTo>
                  <a:lnTo>
                    <a:pt x="1298" y="1068"/>
                  </a:lnTo>
                  <a:lnTo>
                    <a:pt x="1576" y="1135"/>
                  </a:lnTo>
                  <a:lnTo>
                    <a:pt x="1601" y="1138"/>
                  </a:lnTo>
                  <a:lnTo>
                    <a:pt x="1623" y="1137"/>
                  </a:lnTo>
                  <a:lnTo>
                    <a:pt x="1641" y="1132"/>
                  </a:lnTo>
                  <a:lnTo>
                    <a:pt x="1658" y="1126"/>
                  </a:lnTo>
                  <a:lnTo>
                    <a:pt x="1671" y="1118"/>
                  </a:lnTo>
                  <a:lnTo>
                    <a:pt x="1682" y="1109"/>
                  </a:lnTo>
                  <a:lnTo>
                    <a:pt x="1691" y="1101"/>
                  </a:lnTo>
                  <a:lnTo>
                    <a:pt x="1775" y="1026"/>
                  </a:lnTo>
                  <a:lnTo>
                    <a:pt x="1861" y="950"/>
                  </a:lnTo>
                  <a:lnTo>
                    <a:pt x="1948" y="879"/>
                  </a:lnTo>
                  <a:lnTo>
                    <a:pt x="2035" y="807"/>
                  </a:lnTo>
                  <a:lnTo>
                    <a:pt x="2125" y="740"/>
                  </a:lnTo>
                  <a:lnTo>
                    <a:pt x="2214" y="674"/>
                  </a:lnTo>
                  <a:lnTo>
                    <a:pt x="2303" y="610"/>
                  </a:lnTo>
                  <a:lnTo>
                    <a:pt x="2394" y="548"/>
                  </a:lnTo>
                  <a:lnTo>
                    <a:pt x="2484" y="489"/>
                  </a:lnTo>
                  <a:lnTo>
                    <a:pt x="2574" y="434"/>
                  </a:lnTo>
                  <a:lnTo>
                    <a:pt x="2664" y="380"/>
                  </a:lnTo>
                  <a:lnTo>
                    <a:pt x="2752" y="330"/>
                  </a:lnTo>
                  <a:lnTo>
                    <a:pt x="2841" y="283"/>
                  </a:lnTo>
                  <a:lnTo>
                    <a:pt x="2928" y="239"/>
                  </a:lnTo>
                  <a:lnTo>
                    <a:pt x="3014" y="199"/>
                  </a:lnTo>
                  <a:lnTo>
                    <a:pt x="3098" y="161"/>
                  </a:lnTo>
                  <a:lnTo>
                    <a:pt x="3181" y="127"/>
                  </a:lnTo>
                  <a:lnTo>
                    <a:pt x="3263" y="97"/>
                  </a:lnTo>
                  <a:lnTo>
                    <a:pt x="3344" y="71"/>
                  </a:lnTo>
                  <a:lnTo>
                    <a:pt x="3421" y="49"/>
                  </a:lnTo>
                  <a:lnTo>
                    <a:pt x="3496" y="30"/>
                  </a:lnTo>
                  <a:lnTo>
                    <a:pt x="3570" y="17"/>
                  </a:lnTo>
                  <a:lnTo>
                    <a:pt x="3641" y="6"/>
                  </a:lnTo>
                  <a:lnTo>
                    <a:pt x="3708" y="0"/>
                  </a:lnTo>
                  <a:lnTo>
                    <a:pt x="37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1" name="Freeform 7"/>
            <p:cNvSpPr>
              <a:spLocks noEditPoints="1"/>
            </p:cNvSpPr>
            <p:nvPr/>
          </p:nvSpPr>
          <p:spPr bwMode="auto">
            <a:xfrm rot="18876030">
              <a:off x="6314805" y="5004620"/>
              <a:ext cx="542591" cy="542337"/>
            </a:xfrm>
            <a:custGeom>
              <a:avLst/>
              <a:gdLst>
                <a:gd name="T0" fmla="*/ 3034 w 4257"/>
                <a:gd name="T1" fmla="*/ 658 h 4255"/>
                <a:gd name="T2" fmla="*/ 2863 w 4257"/>
                <a:gd name="T3" fmla="*/ 792 h 4255"/>
                <a:gd name="T4" fmla="*/ 2777 w 4257"/>
                <a:gd name="T5" fmla="*/ 985 h 4255"/>
                <a:gd name="T6" fmla="*/ 2790 w 4257"/>
                <a:gd name="T7" fmla="*/ 1193 h 4255"/>
                <a:gd name="T8" fmla="*/ 2900 w 4257"/>
                <a:gd name="T9" fmla="*/ 1376 h 4255"/>
                <a:gd name="T10" fmla="*/ 3084 w 4257"/>
                <a:gd name="T11" fmla="*/ 1486 h 4255"/>
                <a:gd name="T12" fmla="*/ 3292 w 4257"/>
                <a:gd name="T13" fmla="*/ 1499 h 4255"/>
                <a:gd name="T14" fmla="*/ 3484 w 4257"/>
                <a:gd name="T15" fmla="*/ 1412 h 4255"/>
                <a:gd name="T16" fmla="*/ 3618 w 4257"/>
                <a:gd name="T17" fmla="*/ 1242 h 4255"/>
                <a:gd name="T18" fmla="*/ 3656 w 4257"/>
                <a:gd name="T19" fmla="*/ 1037 h 4255"/>
                <a:gd name="T20" fmla="*/ 3595 w 4257"/>
                <a:gd name="T21" fmla="*/ 837 h 4255"/>
                <a:gd name="T22" fmla="*/ 3440 w 4257"/>
                <a:gd name="T23" fmla="*/ 683 h 4255"/>
                <a:gd name="T24" fmla="*/ 3240 w 4257"/>
                <a:gd name="T25" fmla="*/ 622 h 4255"/>
                <a:gd name="T26" fmla="*/ 3893 w 4257"/>
                <a:gd name="T27" fmla="*/ 12 h 4255"/>
                <a:gd name="T28" fmla="*/ 4088 w 4257"/>
                <a:gd name="T29" fmla="*/ 93 h 4255"/>
                <a:gd name="T30" fmla="*/ 4213 w 4257"/>
                <a:gd name="T31" fmla="*/ 257 h 4255"/>
                <a:gd name="T32" fmla="*/ 4257 w 4257"/>
                <a:gd name="T33" fmla="*/ 486 h 4255"/>
                <a:gd name="T34" fmla="*/ 4230 w 4257"/>
                <a:gd name="T35" fmla="*/ 767 h 4255"/>
                <a:gd name="T36" fmla="*/ 4135 w 4257"/>
                <a:gd name="T37" fmla="*/ 1089 h 4255"/>
                <a:gd name="T38" fmla="*/ 3981 w 4257"/>
                <a:gd name="T39" fmla="*/ 1437 h 4255"/>
                <a:gd name="T40" fmla="*/ 3776 w 4257"/>
                <a:gd name="T41" fmla="*/ 1799 h 4255"/>
                <a:gd name="T42" fmla="*/ 3526 w 4257"/>
                <a:gd name="T43" fmla="*/ 2161 h 4255"/>
                <a:gd name="T44" fmla="*/ 3239 w 4257"/>
                <a:gd name="T45" fmla="*/ 2513 h 4255"/>
                <a:gd name="T46" fmla="*/ 3137 w 4257"/>
                <a:gd name="T47" fmla="*/ 2625 h 4255"/>
                <a:gd name="T48" fmla="*/ 3129 w 4257"/>
                <a:gd name="T49" fmla="*/ 2694 h 4255"/>
                <a:gd name="T50" fmla="*/ 3190 w 4257"/>
                <a:gd name="T51" fmla="*/ 3070 h 4255"/>
                <a:gd name="T52" fmla="*/ 3124 w 4257"/>
                <a:gd name="T53" fmla="*/ 3203 h 4255"/>
                <a:gd name="T54" fmla="*/ 2041 w 4257"/>
                <a:gd name="T55" fmla="*/ 4255 h 4255"/>
                <a:gd name="T56" fmla="*/ 1983 w 4257"/>
                <a:gd name="T57" fmla="*/ 4209 h 4255"/>
                <a:gd name="T58" fmla="*/ 1862 w 4257"/>
                <a:gd name="T59" fmla="*/ 3371 h 4255"/>
                <a:gd name="T60" fmla="*/ 1918 w 4257"/>
                <a:gd name="T61" fmla="*/ 3227 h 4255"/>
                <a:gd name="T62" fmla="*/ 1953 w 4257"/>
                <a:gd name="T63" fmla="*/ 3182 h 4255"/>
                <a:gd name="T64" fmla="*/ 1939 w 4257"/>
                <a:gd name="T65" fmla="*/ 3122 h 4255"/>
                <a:gd name="T66" fmla="*/ 1744 w 4257"/>
                <a:gd name="T67" fmla="*/ 2927 h 4255"/>
                <a:gd name="T68" fmla="*/ 1510 w 4257"/>
                <a:gd name="T69" fmla="*/ 2694 h 4255"/>
                <a:gd name="T70" fmla="*/ 1280 w 4257"/>
                <a:gd name="T71" fmla="*/ 2464 h 4255"/>
                <a:gd name="T72" fmla="*/ 1117 w 4257"/>
                <a:gd name="T73" fmla="*/ 2306 h 4255"/>
                <a:gd name="T74" fmla="*/ 1066 w 4257"/>
                <a:gd name="T75" fmla="*/ 2311 h 4255"/>
                <a:gd name="T76" fmla="*/ 997 w 4257"/>
                <a:gd name="T77" fmla="*/ 2360 h 4255"/>
                <a:gd name="T78" fmla="*/ 848 w 4257"/>
                <a:gd name="T79" fmla="*/ 2400 h 4255"/>
                <a:gd name="T80" fmla="*/ 26 w 4257"/>
                <a:gd name="T81" fmla="*/ 2265 h 4255"/>
                <a:gd name="T82" fmla="*/ 5 w 4257"/>
                <a:gd name="T83" fmla="*/ 2199 h 4255"/>
                <a:gd name="T84" fmla="*/ 1082 w 4257"/>
                <a:gd name="T85" fmla="*/ 1115 h 4255"/>
                <a:gd name="T86" fmla="*/ 1225 w 4257"/>
                <a:gd name="T87" fmla="*/ 1064 h 4255"/>
                <a:gd name="T88" fmla="*/ 1601 w 4257"/>
                <a:gd name="T89" fmla="*/ 1138 h 4255"/>
                <a:gd name="T90" fmla="*/ 1671 w 4257"/>
                <a:gd name="T91" fmla="*/ 1118 h 4255"/>
                <a:gd name="T92" fmla="*/ 1861 w 4257"/>
                <a:gd name="T93" fmla="*/ 950 h 4255"/>
                <a:gd name="T94" fmla="*/ 2214 w 4257"/>
                <a:gd name="T95" fmla="*/ 674 h 4255"/>
                <a:gd name="T96" fmla="*/ 2574 w 4257"/>
                <a:gd name="T97" fmla="*/ 434 h 4255"/>
                <a:gd name="T98" fmla="*/ 2928 w 4257"/>
                <a:gd name="T99" fmla="*/ 239 h 4255"/>
                <a:gd name="T100" fmla="*/ 3263 w 4257"/>
                <a:gd name="T101" fmla="*/ 97 h 4255"/>
                <a:gd name="T102" fmla="*/ 3570 w 4257"/>
                <a:gd name="T103" fmla="*/ 17 h 4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257" h="4255">
                  <a:moveTo>
                    <a:pt x="3188" y="622"/>
                  </a:moveTo>
                  <a:lnTo>
                    <a:pt x="3136" y="628"/>
                  </a:lnTo>
                  <a:lnTo>
                    <a:pt x="3084" y="640"/>
                  </a:lnTo>
                  <a:lnTo>
                    <a:pt x="3034" y="658"/>
                  </a:lnTo>
                  <a:lnTo>
                    <a:pt x="2986" y="683"/>
                  </a:lnTo>
                  <a:lnTo>
                    <a:pt x="2942" y="714"/>
                  </a:lnTo>
                  <a:lnTo>
                    <a:pt x="2900" y="750"/>
                  </a:lnTo>
                  <a:lnTo>
                    <a:pt x="2863" y="792"/>
                  </a:lnTo>
                  <a:lnTo>
                    <a:pt x="2833" y="837"/>
                  </a:lnTo>
                  <a:lnTo>
                    <a:pt x="2808" y="885"/>
                  </a:lnTo>
                  <a:lnTo>
                    <a:pt x="2790" y="935"/>
                  </a:lnTo>
                  <a:lnTo>
                    <a:pt x="2777" y="985"/>
                  </a:lnTo>
                  <a:lnTo>
                    <a:pt x="2772" y="1037"/>
                  </a:lnTo>
                  <a:lnTo>
                    <a:pt x="2772" y="1089"/>
                  </a:lnTo>
                  <a:lnTo>
                    <a:pt x="2777" y="1141"/>
                  </a:lnTo>
                  <a:lnTo>
                    <a:pt x="2790" y="1193"/>
                  </a:lnTo>
                  <a:lnTo>
                    <a:pt x="2808" y="1242"/>
                  </a:lnTo>
                  <a:lnTo>
                    <a:pt x="2833" y="1289"/>
                  </a:lnTo>
                  <a:lnTo>
                    <a:pt x="2863" y="1335"/>
                  </a:lnTo>
                  <a:lnTo>
                    <a:pt x="2900" y="1376"/>
                  </a:lnTo>
                  <a:lnTo>
                    <a:pt x="2942" y="1412"/>
                  </a:lnTo>
                  <a:lnTo>
                    <a:pt x="2986" y="1444"/>
                  </a:lnTo>
                  <a:lnTo>
                    <a:pt x="3034" y="1468"/>
                  </a:lnTo>
                  <a:lnTo>
                    <a:pt x="3084" y="1486"/>
                  </a:lnTo>
                  <a:lnTo>
                    <a:pt x="3136" y="1499"/>
                  </a:lnTo>
                  <a:lnTo>
                    <a:pt x="3188" y="1505"/>
                  </a:lnTo>
                  <a:lnTo>
                    <a:pt x="3240" y="1505"/>
                  </a:lnTo>
                  <a:lnTo>
                    <a:pt x="3292" y="1499"/>
                  </a:lnTo>
                  <a:lnTo>
                    <a:pt x="3343" y="1486"/>
                  </a:lnTo>
                  <a:lnTo>
                    <a:pt x="3392" y="1468"/>
                  </a:lnTo>
                  <a:lnTo>
                    <a:pt x="3440" y="1444"/>
                  </a:lnTo>
                  <a:lnTo>
                    <a:pt x="3484" y="1412"/>
                  </a:lnTo>
                  <a:lnTo>
                    <a:pt x="3527" y="1376"/>
                  </a:lnTo>
                  <a:lnTo>
                    <a:pt x="3564" y="1335"/>
                  </a:lnTo>
                  <a:lnTo>
                    <a:pt x="3595" y="1289"/>
                  </a:lnTo>
                  <a:lnTo>
                    <a:pt x="3618" y="1242"/>
                  </a:lnTo>
                  <a:lnTo>
                    <a:pt x="3638" y="1193"/>
                  </a:lnTo>
                  <a:lnTo>
                    <a:pt x="3650" y="1141"/>
                  </a:lnTo>
                  <a:lnTo>
                    <a:pt x="3656" y="1089"/>
                  </a:lnTo>
                  <a:lnTo>
                    <a:pt x="3656" y="1037"/>
                  </a:lnTo>
                  <a:lnTo>
                    <a:pt x="3650" y="985"/>
                  </a:lnTo>
                  <a:lnTo>
                    <a:pt x="3638" y="935"/>
                  </a:lnTo>
                  <a:lnTo>
                    <a:pt x="3618" y="885"/>
                  </a:lnTo>
                  <a:lnTo>
                    <a:pt x="3595" y="837"/>
                  </a:lnTo>
                  <a:lnTo>
                    <a:pt x="3564" y="792"/>
                  </a:lnTo>
                  <a:lnTo>
                    <a:pt x="3527" y="750"/>
                  </a:lnTo>
                  <a:lnTo>
                    <a:pt x="3484" y="714"/>
                  </a:lnTo>
                  <a:lnTo>
                    <a:pt x="3440" y="683"/>
                  </a:lnTo>
                  <a:lnTo>
                    <a:pt x="3392" y="658"/>
                  </a:lnTo>
                  <a:lnTo>
                    <a:pt x="3343" y="640"/>
                  </a:lnTo>
                  <a:lnTo>
                    <a:pt x="3292" y="628"/>
                  </a:lnTo>
                  <a:lnTo>
                    <a:pt x="3240" y="622"/>
                  </a:lnTo>
                  <a:lnTo>
                    <a:pt x="3188" y="622"/>
                  </a:lnTo>
                  <a:close/>
                  <a:moveTo>
                    <a:pt x="3773" y="0"/>
                  </a:moveTo>
                  <a:lnTo>
                    <a:pt x="3834" y="3"/>
                  </a:lnTo>
                  <a:lnTo>
                    <a:pt x="3893" y="12"/>
                  </a:lnTo>
                  <a:lnTo>
                    <a:pt x="3948" y="25"/>
                  </a:lnTo>
                  <a:lnTo>
                    <a:pt x="3998" y="43"/>
                  </a:lnTo>
                  <a:lnTo>
                    <a:pt x="4045" y="65"/>
                  </a:lnTo>
                  <a:lnTo>
                    <a:pt x="4088" y="93"/>
                  </a:lnTo>
                  <a:lnTo>
                    <a:pt x="4127" y="127"/>
                  </a:lnTo>
                  <a:lnTo>
                    <a:pt x="4161" y="166"/>
                  </a:lnTo>
                  <a:lnTo>
                    <a:pt x="4189" y="209"/>
                  </a:lnTo>
                  <a:lnTo>
                    <a:pt x="4213" y="257"/>
                  </a:lnTo>
                  <a:lnTo>
                    <a:pt x="4231" y="309"/>
                  </a:lnTo>
                  <a:lnTo>
                    <a:pt x="4245" y="363"/>
                  </a:lnTo>
                  <a:lnTo>
                    <a:pt x="4253" y="423"/>
                  </a:lnTo>
                  <a:lnTo>
                    <a:pt x="4257" y="486"/>
                  </a:lnTo>
                  <a:lnTo>
                    <a:pt x="4257" y="552"/>
                  </a:lnTo>
                  <a:lnTo>
                    <a:pt x="4252" y="621"/>
                  </a:lnTo>
                  <a:lnTo>
                    <a:pt x="4243" y="693"/>
                  </a:lnTo>
                  <a:lnTo>
                    <a:pt x="4230" y="767"/>
                  </a:lnTo>
                  <a:lnTo>
                    <a:pt x="4212" y="845"/>
                  </a:lnTo>
                  <a:lnTo>
                    <a:pt x="4189" y="924"/>
                  </a:lnTo>
                  <a:lnTo>
                    <a:pt x="4163" y="1005"/>
                  </a:lnTo>
                  <a:lnTo>
                    <a:pt x="4135" y="1089"/>
                  </a:lnTo>
                  <a:lnTo>
                    <a:pt x="4101" y="1174"/>
                  </a:lnTo>
                  <a:lnTo>
                    <a:pt x="4065" y="1261"/>
                  </a:lnTo>
                  <a:lnTo>
                    <a:pt x="4024" y="1347"/>
                  </a:lnTo>
                  <a:lnTo>
                    <a:pt x="3981" y="1437"/>
                  </a:lnTo>
                  <a:lnTo>
                    <a:pt x="3935" y="1527"/>
                  </a:lnTo>
                  <a:lnTo>
                    <a:pt x="3885" y="1616"/>
                  </a:lnTo>
                  <a:lnTo>
                    <a:pt x="3832" y="1707"/>
                  </a:lnTo>
                  <a:lnTo>
                    <a:pt x="3776" y="1799"/>
                  </a:lnTo>
                  <a:lnTo>
                    <a:pt x="3717" y="1890"/>
                  </a:lnTo>
                  <a:lnTo>
                    <a:pt x="3656" y="1981"/>
                  </a:lnTo>
                  <a:lnTo>
                    <a:pt x="3592" y="2072"/>
                  </a:lnTo>
                  <a:lnTo>
                    <a:pt x="3526" y="2161"/>
                  </a:lnTo>
                  <a:lnTo>
                    <a:pt x="3457" y="2251"/>
                  </a:lnTo>
                  <a:lnTo>
                    <a:pt x="3387" y="2339"/>
                  </a:lnTo>
                  <a:lnTo>
                    <a:pt x="3314" y="2428"/>
                  </a:lnTo>
                  <a:lnTo>
                    <a:pt x="3239" y="2513"/>
                  </a:lnTo>
                  <a:lnTo>
                    <a:pt x="3162" y="2598"/>
                  </a:lnTo>
                  <a:lnTo>
                    <a:pt x="3155" y="2605"/>
                  </a:lnTo>
                  <a:lnTo>
                    <a:pt x="3146" y="2615"/>
                  </a:lnTo>
                  <a:lnTo>
                    <a:pt x="3137" y="2625"/>
                  </a:lnTo>
                  <a:lnTo>
                    <a:pt x="3131" y="2638"/>
                  </a:lnTo>
                  <a:lnTo>
                    <a:pt x="3125" y="2653"/>
                  </a:lnTo>
                  <a:lnTo>
                    <a:pt x="3124" y="2672"/>
                  </a:lnTo>
                  <a:lnTo>
                    <a:pt x="3129" y="2694"/>
                  </a:lnTo>
                  <a:lnTo>
                    <a:pt x="3193" y="2960"/>
                  </a:lnTo>
                  <a:lnTo>
                    <a:pt x="3197" y="2995"/>
                  </a:lnTo>
                  <a:lnTo>
                    <a:pt x="3197" y="3033"/>
                  </a:lnTo>
                  <a:lnTo>
                    <a:pt x="3190" y="3070"/>
                  </a:lnTo>
                  <a:lnTo>
                    <a:pt x="3180" y="3108"/>
                  </a:lnTo>
                  <a:lnTo>
                    <a:pt x="3166" y="3144"/>
                  </a:lnTo>
                  <a:lnTo>
                    <a:pt x="3146" y="3175"/>
                  </a:lnTo>
                  <a:lnTo>
                    <a:pt x="3124" y="3203"/>
                  </a:lnTo>
                  <a:lnTo>
                    <a:pt x="2102" y="4223"/>
                  </a:lnTo>
                  <a:lnTo>
                    <a:pt x="2081" y="4240"/>
                  </a:lnTo>
                  <a:lnTo>
                    <a:pt x="2060" y="4250"/>
                  </a:lnTo>
                  <a:lnTo>
                    <a:pt x="2041" y="4255"/>
                  </a:lnTo>
                  <a:lnTo>
                    <a:pt x="2024" y="4253"/>
                  </a:lnTo>
                  <a:lnTo>
                    <a:pt x="2007" y="4244"/>
                  </a:lnTo>
                  <a:lnTo>
                    <a:pt x="1994" y="4229"/>
                  </a:lnTo>
                  <a:lnTo>
                    <a:pt x="1983" y="4209"/>
                  </a:lnTo>
                  <a:lnTo>
                    <a:pt x="1977" y="4181"/>
                  </a:lnTo>
                  <a:lnTo>
                    <a:pt x="1861" y="3444"/>
                  </a:lnTo>
                  <a:lnTo>
                    <a:pt x="1858" y="3409"/>
                  </a:lnTo>
                  <a:lnTo>
                    <a:pt x="1862" y="3371"/>
                  </a:lnTo>
                  <a:lnTo>
                    <a:pt x="1870" y="3332"/>
                  </a:lnTo>
                  <a:lnTo>
                    <a:pt x="1882" y="3295"/>
                  </a:lnTo>
                  <a:lnTo>
                    <a:pt x="1899" y="3260"/>
                  </a:lnTo>
                  <a:lnTo>
                    <a:pt x="1918" y="3227"/>
                  </a:lnTo>
                  <a:lnTo>
                    <a:pt x="1940" y="3200"/>
                  </a:lnTo>
                  <a:lnTo>
                    <a:pt x="1943" y="3197"/>
                  </a:lnTo>
                  <a:lnTo>
                    <a:pt x="1948" y="3191"/>
                  </a:lnTo>
                  <a:lnTo>
                    <a:pt x="1953" y="3182"/>
                  </a:lnTo>
                  <a:lnTo>
                    <a:pt x="1957" y="3169"/>
                  </a:lnTo>
                  <a:lnTo>
                    <a:pt x="1957" y="3155"/>
                  </a:lnTo>
                  <a:lnTo>
                    <a:pt x="1952" y="3139"/>
                  </a:lnTo>
                  <a:lnTo>
                    <a:pt x="1939" y="3122"/>
                  </a:lnTo>
                  <a:lnTo>
                    <a:pt x="1896" y="3079"/>
                  </a:lnTo>
                  <a:lnTo>
                    <a:pt x="1849" y="3033"/>
                  </a:lnTo>
                  <a:lnTo>
                    <a:pt x="1799" y="2982"/>
                  </a:lnTo>
                  <a:lnTo>
                    <a:pt x="1744" y="2927"/>
                  </a:lnTo>
                  <a:lnTo>
                    <a:pt x="1688" y="2872"/>
                  </a:lnTo>
                  <a:lnTo>
                    <a:pt x="1630" y="2813"/>
                  </a:lnTo>
                  <a:lnTo>
                    <a:pt x="1570" y="2753"/>
                  </a:lnTo>
                  <a:lnTo>
                    <a:pt x="1510" y="2694"/>
                  </a:lnTo>
                  <a:lnTo>
                    <a:pt x="1450" y="2634"/>
                  </a:lnTo>
                  <a:lnTo>
                    <a:pt x="1392" y="2576"/>
                  </a:lnTo>
                  <a:lnTo>
                    <a:pt x="1334" y="2518"/>
                  </a:lnTo>
                  <a:lnTo>
                    <a:pt x="1280" y="2464"/>
                  </a:lnTo>
                  <a:lnTo>
                    <a:pt x="1228" y="2411"/>
                  </a:lnTo>
                  <a:lnTo>
                    <a:pt x="1178" y="2363"/>
                  </a:lnTo>
                  <a:lnTo>
                    <a:pt x="1134" y="2319"/>
                  </a:lnTo>
                  <a:lnTo>
                    <a:pt x="1117" y="2306"/>
                  </a:lnTo>
                  <a:lnTo>
                    <a:pt x="1101" y="2302"/>
                  </a:lnTo>
                  <a:lnTo>
                    <a:pt x="1087" y="2302"/>
                  </a:lnTo>
                  <a:lnTo>
                    <a:pt x="1075" y="2306"/>
                  </a:lnTo>
                  <a:lnTo>
                    <a:pt x="1066" y="2311"/>
                  </a:lnTo>
                  <a:lnTo>
                    <a:pt x="1060" y="2316"/>
                  </a:lnTo>
                  <a:lnTo>
                    <a:pt x="1057" y="2319"/>
                  </a:lnTo>
                  <a:lnTo>
                    <a:pt x="1030" y="2341"/>
                  </a:lnTo>
                  <a:lnTo>
                    <a:pt x="997" y="2360"/>
                  </a:lnTo>
                  <a:lnTo>
                    <a:pt x="962" y="2377"/>
                  </a:lnTo>
                  <a:lnTo>
                    <a:pt x="925" y="2389"/>
                  </a:lnTo>
                  <a:lnTo>
                    <a:pt x="886" y="2396"/>
                  </a:lnTo>
                  <a:lnTo>
                    <a:pt x="848" y="2400"/>
                  </a:lnTo>
                  <a:lnTo>
                    <a:pt x="813" y="2398"/>
                  </a:lnTo>
                  <a:lnTo>
                    <a:pt x="74" y="2282"/>
                  </a:lnTo>
                  <a:lnTo>
                    <a:pt x="47" y="2276"/>
                  </a:lnTo>
                  <a:lnTo>
                    <a:pt x="26" y="2265"/>
                  </a:lnTo>
                  <a:lnTo>
                    <a:pt x="11" y="2252"/>
                  </a:lnTo>
                  <a:lnTo>
                    <a:pt x="2" y="2235"/>
                  </a:lnTo>
                  <a:lnTo>
                    <a:pt x="0" y="2219"/>
                  </a:lnTo>
                  <a:lnTo>
                    <a:pt x="5" y="2199"/>
                  </a:lnTo>
                  <a:lnTo>
                    <a:pt x="15" y="2178"/>
                  </a:lnTo>
                  <a:lnTo>
                    <a:pt x="32" y="2158"/>
                  </a:lnTo>
                  <a:lnTo>
                    <a:pt x="1055" y="1137"/>
                  </a:lnTo>
                  <a:lnTo>
                    <a:pt x="1082" y="1115"/>
                  </a:lnTo>
                  <a:lnTo>
                    <a:pt x="1113" y="1096"/>
                  </a:lnTo>
                  <a:lnTo>
                    <a:pt x="1150" y="1081"/>
                  </a:lnTo>
                  <a:lnTo>
                    <a:pt x="1187" y="1071"/>
                  </a:lnTo>
                  <a:lnTo>
                    <a:pt x="1225" y="1064"/>
                  </a:lnTo>
                  <a:lnTo>
                    <a:pt x="1263" y="1064"/>
                  </a:lnTo>
                  <a:lnTo>
                    <a:pt x="1298" y="1068"/>
                  </a:lnTo>
                  <a:lnTo>
                    <a:pt x="1576" y="1135"/>
                  </a:lnTo>
                  <a:lnTo>
                    <a:pt x="1601" y="1138"/>
                  </a:lnTo>
                  <a:lnTo>
                    <a:pt x="1623" y="1137"/>
                  </a:lnTo>
                  <a:lnTo>
                    <a:pt x="1641" y="1132"/>
                  </a:lnTo>
                  <a:lnTo>
                    <a:pt x="1658" y="1126"/>
                  </a:lnTo>
                  <a:lnTo>
                    <a:pt x="1671" y="1118"/>
                  </a:lnTo>
                  <a:lnTo>
                    <a:pt x="1682" y="1109"/>
                  </a:lnTo>
                  <a:lnTo>
                    <a:pt x="1691" y="1101"/>
                  </a:lnTo>
                  <a:lnTo>
                    <a:pt x="1775" y="1026"/>
                  </a:lnTo>
                  <a:lnTo>
                    <a:pt x="1861" y="950"/>
                  </a:lnTo>
                  <a:lnTo>
                    <a:pt x="1948" y="879"/>
                  </a:lnTo>
                  <a:lnTo>
                    <a:pt x="2035" y="807"/>
                  </a:lnTo>
                  <a:lnTo>
                    <a:pt x="2125" y="740"/>
                  </a:lnTo>
                  <a:lnTo>
                    <a:pt x="2214" y="674"/>
                  </a:lnTo>
                  <a:lnTo>
                    <a:pt x="2303" y="610"/>
                  </a:lnTo>
                  <a:lnTo>
                    <a:pt x="2394" y="548"/>
                  </a:lnTo>
                  <a:lnTo>
                    <a:pt x="2484" y="489"/>
                  </a:lnTo>
                  <a:lnTo>
                    <a:pt x="2574" y="434"/>
                  </a:lnTo>
                  <a:lnTo>
                    <a:pt x="2664" y="380"/>
                  </a:lnTo>
                  <a:lnTo>
                    <a:pt x="2752" y="330"/>
                  </a:lnTo>
                  <a:lnTo>
                    <a:pt x="2841" y="283"/>
                  </a:lnTo>
                  <a:lnTo>
                    <a:pt x="2928" y="239"/>
                  </a:lnTo>
                  <a:lnTo>
                    <a:pt x="3014" y="199"/>
                  </a:lnTo>
                  <a:lnTo>
                    <a:pt x="3098" y="161"/>
                  </a:lnTo>
                  <a:lnTo>
                    <a:pt x="3181" y="127"/>
                  </a:lnTo>
                  <a:lnTo>
                    <a:pt x="3263" y="97"/>
                  </a:lnTo>
                  <a:lnTo>
                    <a:pt x="3344" y="71"/>
                  </a:lnTo>
                  <a:lnTo>
                    <a:pt x="3421" y="49"/>
                  </a:lnTo>
                  <a:lnTo>
                    <a:pt x="3496" y="30"/>
                  </a:lnTo>
                  <a:lnTo>
                    <a:pt x="3570" y="17"/>
                  </a:lnTo>
                  <a:lnTo>
                    <a:pt x="3641" y="6"/>
                  </a:lnTo>
                  <a:lnTo>
                    <a:pt x="3708" y="0"/>
                  </a:lnTo>
                  <a:lnTo>
                    <a:pt x="37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2" name="Freeform 7"/>
            <p:cNvSpPr>
              <a:spLocks noEditPoints="1"/>
            </p:cNvSpPr>
            <p:nvPr/>
          </p:nvSpPr>
          <p:spPr bwMode="auto">
            <a:xfrm rot="18876030">
              <a:off x="7083351" y="4300007"/>
              <a:ext cx="542589" cy="542336"/>
            </a:xfrm>
            <a:custGeom>
              <a:avLst/>
              <a:gdLst>
                <a:gd name="T0" fmla="*/ 3034 w 4257"/>
                <a:gd name="T1" fmla="*/ 658 h 4255"/>
                <a:gd name="T2" fmla="*/ 2863 w 4257"/>
                <a:gd name="T3" fmla="*/ 792 h 4255"/>
                <a:gd name="T4" fmla="*/ 2777 w 4257"/>
                <a:gd name="T5" fmla="*/ 985 h 4255"/>
                <a:gd name="T6" fmla="*/ 2790 w 4257"/>
                <a:gd name="T7" fmla="*/ 1193 h 4255"/>
                <a:gd name="T8" fmla="*/ 2900 w 4257"/>
                <a:gd name="T9" fmla="*/ 1376 h 4255"/>
                <a:gd name="T10" fmla="*/ 3084 w 4257"/>
                <a:gd name="T11" fmla="*/ 1486 h 4255"/>
                <a:gd name="T12" fmla="*/ 3292 w 4257"/>
                <a:gd name="T13" fmla="*/ 1499 h 4255"/>
                <a:gd name="T14" fmla="*/ 3484 w 4257"/>
                <a:gd name="T15" fmla="*/ 1412 h 4255"/>
                <a:gd name="T16" fmla="*/ 3618 w 4257"/>
                <a:gd name="T17" fmla="*/ 1242 h 4255"/>
                <a:gd name="T18" fmla="*/ 3656 w 4257"/>
                <a:gd name="T19" fmla="*/ 1037 h 4255"/>
                <a:gd name="T20" fmla="*/ 3595 w 4257"/>
                <a:gd name="T21" fmla="*/ 837 h 4255"/>
                <a:gd name="T22" fmla="*/ 3440 w 4257"/>
                <a:gd name="T23" fmla="*/ 683 h 4255"/>
                <a:gd name="T24" fmla="*/ 3240 w 4257"/>
                <a:gd name="T25" fmla="*/ 622 h 4255"/>
                <a:gd name="T26" fmla="*/ 3893 w 4257"/>
                <a:gd name="T27" fmla="*/ 12 h 4255"/>
                <a:gd name="T28" fmla="*/ 4088 w 4257"/>
                <a:gd name="T29" fmla="*/ 93 h 4255"/>
                <a:gd name="T30" fmla="*/ 4213 w 4257"/>
                <a:gd name="T31" fmla="*/ 257 h 4255"/>
                <a:gd name="T32" fmla="*/ 4257 w 4257"/>
                <a:gd name="T33" fmla="*/ 486 h 4255"/>
                <a:gd name="T34" fmla="*/ 4230 w 4257"/>
                <a:gd name="T35" fmla="*/ 767 h 4255"/>
                <a:gd name="T36" fmla="*/ 4135 w 4257"/>
                <a:gd name="T37" fmla="*/ 1089 h 4255"/>
                <a:gd name="T38" fmla="*/ 3981 w 4257"/>
                <a:gd name="T39" fmla="*/ 1437 h 4255"/>
                <a:gd name="T40" fmla="*/ 3776 w 4257"/>
                <a:gd name="T41" fmla="*/ 1799 h 4255"/>
                <a:gd name="T42" fmla="*/ 3526 w 4257"/>
                <a:gd name="T43" fmla="*/ 2161 h 4255"/>
                <a:gd name="T44" fmla="*/ 3239 w 4257"/>
                <a:gd name="T45" fmla="*/ 2513 h 4255"/>
                <a:gd name="T46" fmla="*/ 3137 w 4257"/>
                <a:gd name="T47" fmla="*/ 2625 h 4255"/>
                <a:gd name="T48" fmla="*/ 3129 w 4257"/>
                <a:gd name="T49" fmla="*/ 2694 h 4255"/>
                <a:gd name="T50" fmla="*/ 3190 w 4257"/>
                <a:gd name="T51" fmla="*/ 3070 h 4255"/>
                <a:gd name="T52" fmla="*/ 3124 w 4257"/>
                <a:gd name="T53" fmla="*/ 3203 h 4255"/>
                <a:gd name="T54" fmla="*/ 2041 w 4257"/>
                <a:gd name="T55" fmla="*/ 4255 h 4255"/>
                <a:gd name="T56" fmla="*/ 1983 w 4257"/>
                <a:gd name="T57" fmla="*/ 4209 h 4255"/>
                <a:gd name="T58" fmla="*/ 1862 w 4257"/>
                <a:gd name="T59" fmla="*/ 3371 h 4255"/>
                <a:gd name="T60" fmla="*/ 1918 w 4257"/>
                <a:gd name="T61" fmla="*/ 3227 h 4255"/>
                <a:gd name="T62" fmla="*/ 1953 w 4257"/>
                <a:gd name="T63" fmla="*/ 3182 h 4255"/>
                <a:gd name="T64" fmla="*/ 1939 w 4257"/>
                <a:gd name="T65" fmla="*/ 3122 h 4255"/>
                <a:gd name="T66" fmla="*/ 1744 w 4257"/>
                <a:gd name="T67" fmla="*/ 2927 h 4255"/>
                <a:gd name="T68" fmla="*/ 1510 w 4257"/>
                <a:gd name="T69" fmla="*/ 2694 h 4255"/>
                <a:gd name="T70" fmla="*/ 1280 w 4257"/>
                <a:gd name="T71" fmla="*/ 2464 h 4255"/>
                <a:gd name="T72" fmla="*/ 1117 w 4257"/>
                <a:gd name="T73" fmla="*/ 2306 h 4255"/>
                <a:gd name="T74" fmla="*/ 1066 w 4257"/>
                <a:gd name="T75" fmla="*/ 2311 h 4255"/>
                <a:gd name="T76" fmla="*/ 997 w 4257"/>
                <a:gd name="T77" fmla="*/ 2360 h 4255"/>
                <a:gd name="T78" fmla="*/ 848 w 4257"/>
                <a:gd name="T79" fmla="*/ 2400 h 4255"/>
                <a:gd name="T80" fmla="*/ 26 w 4257"/>
                <a:gd name="T81" fmla="*/ 2265 h 4255"/>
                <a:gd name="T82" fmla="*/ 5 w 4257"/>
                <a:gd name="T83" fmla="*/ 2199 h 4255"/>
                <a:gd name="T84" fmla="*/ 1082 w 4257"/>
                <a:gd name="T85" fmla="*/ 1115 h 4255"/>
                <a:gd name="T86" fmla="*/ 1225 w 4257"/>
                <a:gd name="T87" fmla="*/ 1064 h 4255"/>
                <a:gd name="T88" fmla="*/ 1601 w 4257"/>
                <a:gd name="T89" fmla="*/ 1138 h 4255"/>
                <a:gd name="T90" fmla="*/ 1671 w 4257"/>
                <a:gd name="T91" fmla="*/ 1118 h 4255"/>
                <a:gd name="T92" fmla="*/ 1861 w 4257"/>
                <a:gd name="T93" fmla="*/ 950 h 4255"/>
                <a:gd name="T94" fmla="*/ 2214 w 4257"/>
                <a:gd name="T95" fmla="*/ 674 h 4255"/>
                <a:gd name="T96" fmla="*/ 2574 w 4257"/>
                <a:gd name="T97" fmla="*/ 434 h 4255"/>
                <a:gd name="T98" fmla="*/ 2928 w 4257"/>
                <a:gd name="T99" fmla="*/ 239 h 4255"/>
                <a:gd name="T100" fmla="*/ 3263 w 4257"/>
                <a:gd name="T101" fmla="*/ 97 h 4255"/>
                <a:gd name="T102" fmla="*/ 3570 w 4257"/>
                <a:gd name="T103" fmla="*/ 17 h 4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257" h="4255">
                  <a:moveTo>
                    <a:pt x="3188" y="622"/>
                  </a:moveTo>
                  <a:lnTo>
                    <a:pt x="3136" y="628"/>
                  </a:lnTo>
                  <a:lnTo>
                    <a:pt x="3084" y="640"/>
                  </a:lnTo>
                  <a:lnTo>
                    <a:pt x="3034" y="658"/>
                  </a:lnTo>
                  <a:lnTo>
                    <a:pt x="2986" y="683"/>
                  </a:lnTo>
                  <a:lnTo>
                    <a:pt x="2942" y="714"/>
                  </a:lnTo>
                  <a:lnTo>
                    <a:pt x="2900" y="750"/>
                  </a:lnTo>
                  <a:lnTo>
                    <a:pt x="2863" y="792"/>
                  </a:lnTo>
                  <a:lnTo>
                    <a:pt x="2833" y="837"/>
                  </a:lnTo>
                  <a:lnTo>
                    <a:pt x="2808" y="885"/>
                  </a:lnTo>
                  <a:lnTo>
                    <a:pt x="2790" y="935"/>
                  </a:lnTo>
                  <a:lnTo>
                    <a:pt x="2777" y="985"/>
                  </a:lnTo>
                  <a:lnTo>
                    <a:pt x="2772" y="1037"/>
                  </a:lnTo>
                  <a:lnTo>
                    <a:pt x="2772" y="1089"/>
                  </a:lnTo>
                  <a:lnTo>
                    <a:pt x="2777" y="1141"/>
                  </a:lnTo>
                  <a:lnTo>
                    <a:pt x="2790" y="1193"/>
                  </a:lnTo>
                  <a:lnTo>
                    <a:pt x="2808" y="1242"/>
                  </a:lnTo>
                  <a:lnTo>
                    <a:pt x="2833" y="1289"/>
                  </a:lnTo>
                  <a:lnTo>
                    <a:pt x="2863" y="1335"/>
                  </a:lnTo>
                  <a:lnTo>
                    <a:pt x="2900" y="1376"/>
                  </a:lnTo>
                  <a:lnTo>
                    <a:pt x="2942" y="1412"/>
                  </a:lnTo>
                  <a:lnTo>
                    <a:pt x="2986" y="1444"/>
                  </a:lnTo>
                  <a:lnTo>
                    <a:pt x="3034" y="1468"/>
                  </a:lnTo>
                  <a:lnTo>
                    <a:pt x="3084" y="1486"/>
                  </a:lnTo>
                  <a:lnTo>
                    <a:pt x="3136" y="1499"/>
                  </a:lnTo>
                  <a:lnTo>
                    <a:pt x="3188" y="1505"/>
                  </a:lnTo>
                  <a:lnTo>
                    <a:pt x="3240" y="1505"/>
                  </a:lnTo>
                  <a:lnTo>
                    <a:pt x="3292" y="1499"/>
                  </a:lnTo>
                  <a:lnTo>
                    <a:pt x="3343" y="1486"/>
                  </a:lnTo>
                  <a:lnTo>
                    <a:pt x="3392" y="1468"/>
                  </a:lnTo>
                  <a:lnTo>
                    <a:pt x="3440" y="1444"/>
                  </a:lnTo>
                  <a:lnTo>
                    <a:pt x="3484" y="1412"/>
                  </a:lnTo>
                  <a:lnTo>
                    <a:pt x="3527" y="1376"/>
                  </a:lnTo>
                  <a:lnTo>
                    <a:pt x="3564" y="1335"/>
                  </a:lnTo>
                  <a:lnTo>
                    <a:pt x="3595" y="1289"/>
                  </a:lnTo>
                  <a:lnTo>
                    <a:pt x="3618" y="1242"/>
                  </a:lnTo>
                  <a:lnTo>
                    <a:pt x="3638" y="1193"/>
                  </a:lnTo>
                  <a:lnTo>
                    <a:pt x="3650" y="1141"/>
                  </a:lnTo>
                  <a:lnTo>
                    <a:pt x="3656" y="1089"/>
                  </a:lnTo>
                  <a:lnTo>
                    <a:pt x="3656" y="1037"/>
                  </a:lnTo>
                  <a:lnTo>
                    <a:pt x="3650" y="985"/>
                  </a:lnTo>
                  <a:lnTo>
                    <a:pt x="3638" y="935"/>
                  </a:lnTo>
                  <a:lnTo>
                    <a:pt x="3618" y="885"/>
                  </a:lnTo>
                  <a:lnTo>
                    <a:pt x="3595" y="837"/>
                  </a:lnTo>
                  <a:lnTo>
                    <a:pt x="3564" y="792"/>
                  </a:lnTo>
                  <a:lnTo>
                    <a:pt x="3527" y="750"/>
                  </a:lnTo>
                  <a:lnTo>
                    <a:pt x="3484" y="714"/>
                  </a:lnTo>
                  <a:lnTo>
                    <a:pt x="3440" y="683"/>
                  </a:lnTo>
                  <a:lnTo>
                    <a:pt x="3392" y="658"/>
                  </a:lnTo>
                  <a:lnTo>
                    <a:pt x="3343" y="640"/>
                  </a:lnTo>
                  <a:lnTo>
                    <a:pt x="3292" y="628"/>
                  </a:lnTo>
                  <a:lnTo>
                    <a:pt x="3240" y="622"/>
                  </a:lnTo>
                  <a:lnTo>
                    <a:pt x="3188" y="622"/>
                  </a:lnTo>
                  <a:close/>
                  <a:moveTo>
                    <a:pt x="3773" y="0"/>
                  </a:moveTo>
                  <a:lnTo>
                    <a:pt x="3834" y="3"/>
                  </a:lnTo>
                  <a:lnTo>
                    <a:pt x="3893" y="12"/>
                  </a:lnTo>
                  <a:lnTo>
                    <a:pt x="3948" y="25"/>
                  </a:lnTo>
                  <a:lnTo>
                    <a:pt x="3998" y="43"/>
                  </a:lnTo>
                  <a:lnTo>
                    <a:pt x="4045" y="65"/>
                  </a:lnTo>
                  <a:lnTo>
                    <a:pt x="4088" y="93"/>
                  </a:lnTo>
                  <a:lnTo>
                    <a:pt x="4127" y="127"/>
                  </a:lnTo>
                  <a:lnTo>
                    <a:pt x="4161" y="166"/>
                  </a:lnTo>
                  <a:lnTo>
                    <a:pt x="4189" y="209"/>
                  </a:lnTo>
                  <a:lnTo>
                    <a:pt x="4213" y="257"/>
                  </a:lnTo>
                  <a:lnTo>
                    <a:pt x="4231" y="309"/>
                  </a:lnTo>
                  <a:lnTo>
                    <a:pt x="4245" y="363"/>
                  </a:lnTo>
                  <a:lnTo>
                    <a:pt x="4253" y="423"/>
                  </a:lnTo>
                  <a:lnTo>
                    <a:pt x="4257" y="486"/>
                  </a:lnTo>
                  <a:lnTo>
                    <a:pt x="4257" y="552"/>
                  </a:lnTo>
                  <a:lnTo>
                    <a:pt x="4252" y="621"/>
                  </a:lnTo>
                  <a:lnTo>
                    <a:pt x="4243" y="693"/>
                  </a:lnTo>
                  <a:lnTo>
                    <a:pt x="4230" y="767"/>
                  </a:lnTo>
                  <a:lnTo>
                    <a:pt x="4212" y="845"/>
                  </a:lnTo>
                  <a:lnTo>
                    <a:pt x="4189" y="924"/>
                  </a:lnTo>
                  <a:lnTo>
                    <a:pt x="4163" y="1005"/>
                  </a:lnTo>
                  <a:lnTo>
                    <a:pt x="4135" y="1089"/>
                  </a:lnTo>
                  <a:lnTo>
                    <a:pt x="4101" y="1174"/>
                  </a:lnTo>
                  <a:lnTo>
                    <a:pt x="4065" y="1261"/>
                  </a:lnTo>
                  <a:lnTo>
                    <a:pt x="4024" y="1347"/>
                  </a:lnTo>
                  <a:lnTo>
                    <a:pt x="3981" y="1437"/>
                  </a:lnTo>
                  <a:lnTo>
                    <a:pt x="3935" y="1527"/>
                  </a:lnTo>
                  <a:lnTo>
                    <a:pt x="3885" y="1616"/>
                  </a:lnTo>
                  <a:lnTo>
                    <a:pt x="3832" y="1707"/>
                  </a:lnTo>
                  <a:lnTo>
                    <a:pt x="3776" y="1799"/>
                  </a:lnTo>
                  <a:lnTo>
                    <a:pt x="3717" y="1890"/>
                  </a:lnTo>
                  <a:lnTo>
                    <a:pt x="3656" y="1981"/>
                  </a:lnTo>
                  <a:lnTo>
                    <a:pt x="3592" y="2072"/>
                  </a:lnTo>
                  <a:lnTo>
                    <a:pt x="3526" y="2161"/>
                  </a:lnTo>
                  <a:lnTo>
                    <a:pt x="3457" y="2251"/>
                  </a:lnTo>
                  <a:lnTo>
                    <a:pt x="3387" y="2339"/>
                  </a:lnTo>
                  <a:lnTo>
                    <a:pt x="3314" y="2428"/>
                  </a:lnTo>
                  <a:lnTo>
                    <a:pt x="3239" y="2513"/>
                  </a:lnTo>
                  <a:lnTo>
                    <a:pt x="3162" y="2598"/>
                  </a:lnTo>
                  <a:lnTo>
                    <a:pt x="3155" y="2605"/>
                  </a:lnTo>
                  <a:lnTo>
                    <a:pt x="3146" y="2615"/>
                  </a:lnTo>
                  <a:lnTo>
                    <a:pt x="3137" y="2625"/>
                  </a:lnTo>
                  <a:lnTo>
                    <a:pt x="3131" y="2638"/>
                  </a:lnTo>
                  <a:lnTo>
                    <a:pt x="3125" y="2653"/>
                  </a:lnTo>
                  <a:lnTo>
                    <a:pt x="3124" y="2672"/>
                  </a:lnTo>
                  <a:lnTo>
                    <a:pt x="3129" y="2694"/>
                  </a:lnTo>
                  <a:lnTo>
                    <a:pt x="3193" y="2960"/>
                  </a:lnTo>
                  <a:lnTo>
                    <a:pt x="3197" y="2995"/>
                  </a:lnTo>
                  <a:lnTo>
                    <a:pt x="3197" y="3033"/>
                  </a:lnTo>
                  <a:lnTo>
                    <a:pt x="3190" y="3070"/>
                  </a:lnTo>
                  <a:lnTo>
                    <a:pt x="3180" y="3108"/>
                  </a:lnTo>
                  <a:lnTo>
                    <a:pt x="3166" y="3144"/>
                  </a:lnTo>
                  <a:lnTo>
                    <a:pt x="3146" y="3175"/>
                  </a:lnTo>
                  <a:lnTo>
                    <a:pt x="3124" y="3203"/>
                  </a:lnTo>
                  <a:lnTo>
                    <a:pt x="2102" y="4223"/>
                  </a:lnTo>
                  <a:lnTo>
                    <a:pt x="2081" y="4240"/>
                  </a:lnTo>
                  <a:lnTo>
                    <a:pt x="2060" y="4250"/>
                  </a:lnTo>
                  <a:lnTo>
                    <a:pt x="2041" y="4255"/>
                  </a:lnTo>
                  <a:lnTo>
                    <a:pt x="2024" y="4253"/>
                  </a:lnTo>
                  <a:lnTo>
                    <a:pt x="2007" y="4244"/>
                  </a:lnTo>
                  <a:lnTo>
                    <a:pt x="1994" y="4229"/>
                  </a:lnTo>
                  <a:lnTo>
                    <a:pt x="1983" y="4209"/>
                  </a:lnTo>
                  <a:lnTo>
                    <a:pt x="1977" y="4181"/>
                  </a:lnTo>
                  <a:lnTo>
                    <a:pt x="1861" y="3444"/>
                  </a:lnTo>
                  <a:lnTo>
                    <a:pt x="1858" y="3409"/>
                  </a:lnTo>
                  <a:lnTo>
                    <a:pt x="1862" y="3371"/>
                  </a:lnTo>
                  <a:lnTo>
                    <a:pt x="1870" y="3332"/>
                  </a:lnTo>
                  <a:lnTo>
                    <a:pt x="1882" y="3295"/>
                  </a:lnTo>
                  <a:lnTo>
                    <a:pt x="1899" y="3260"/>
                  </a:lnTo>
                  <a:lnTo>
                    <a:pt x="1918" y="3227"/>
                  </a:lnTo>
                  <a:lnTo>
                    <a:pt x="1940" y="3200"/>
                  </a:lnTo>
                  <a:lnTo>
                    <a:pt x="1943" y="3197"/>
                  </a:lnTo>
                  <a:lnTo>
                    <a:pt x="1948" y="3191"/>
                  </a:lnTo>
                  <a:lnTo>
                    <a:pt x="1953" y="3182"/>
                  </a:lnTo>
                  <a:lnTo>
                    <a:pt x="1957" y="3169"/>
                  </a:lnTo>
                  <a:lnTo>
                    <a:pt x="1957" y="3155"/>
                  </a:lnTo>
                  <a:lnTo>
                    <a:pt x="1952" y="3139"/>
                  </a:lnTo>
                  <a:lnTo>
                    <a:pt x="1939" y="3122"/>
                  </a:lnTo>
                  <a:lnTo>
                    <a:pt x="1896" y="3079"/>
                  </a:lnTo>
                  <a:lnTo>
                    <a:pt x="1849" y="3033"/>
                  </a:lnTo>
                  <a:lnTo>
                    <a:pt x="1799" y="2982"/>
                  </a:lnTo>
                  <a:lnTo>
                    <a:pt x="1744" y="2927"/>
                  </a:lnTo>
                  <a:lnTo>
                    <a:pt x="1688" y="2872"/>
                  </a:lnTo>
                  <a:lnTo>
                    <a:pt x="1630" y="2813"/>
                  </a:lnTo>
                  <a:lnTo>
                    <a:pt x="1570" y="2753"/>
                  </a:lnTo>
                  <a:lnTo>
                    <a:pt x="1510" y="2694"/>
                  </a:lnTo>
                  <a:lnTo>
                    <a:pt x="1450" y="2634"/>
                  </a:lnTo>
                  <a:lnTo>
                    <a:pt x="1392" y="2576"/>
                  </a:lnTo>
                  <a:lnTo>
                    <a:pt x="1334" y="2518"/>
                  </a:lnTo>
                  <a:lnTo>
                    <a:pt x="1280" y="2464"/>
                  </a:lnTo>
                  <a:lnTo>
                    <a:pt x="1228" y="2411"/>
                  </a:lnTo>
                  <a:lnTo>
                    <a:pt x="1178" y="2363"/>
                  </a:lnTo>
                  <a:lnTo>
                    <a:pt x="1134" y="2319"/>
                  </a:lnTo>
                  <a:lnTo>
                    <a:pt x="1117" y="2306"/>
                  </a:lnTo>
                  <a:lnTo>
                    <a:pt x="1101" y="2302"/>
                  </a:lnTo>
                  <a:lnTo>
                    <a:pt x="1087" y="2302"/>
                  </a:lnTo>
                  <a:lnTo>
                    <a:pt x="1075" y="2306"/>
                  </a:lnTo>
                  <a:lnTo>
                    <a:pt x="1066" y="2311"/>
                  </a:lnTo>
                  <a:lnTo>
                    <a:pt x="1060" y="2316"/>
                  </a:lnTo>
                  <a:lnTo>
                    <a:pt x="1057" y="2319"/>
                  </a:lnTo>
                  <a:lnTo>
                    <a:pt x="1030" y="2341"/>
                  </a:lnTo>
                  <a:lnTo>
                    <a:pt x="997" y="2360"/>
                  </a:lnTo>
                  <a:lnTo>
                    <a:pt x="962" y="2377"/>
                  </a:lnTo>
                  <a:lnTo>
                    <a:pt x="925" y="2389"/>
                  </a:lnTo>
                  <a:lnTo>
                    <a:pt x="886" y="2396"/>
                  </a:lnTo>
                  <a:lnTo>
                    <a:pt x="848" y="2400"/>
                  </a:lnTo>
                  <a:lnTo>
                    <a:pt x="813" y="2398"/>
                  </a:lnTo>
                  <a:lnTo>
                    <a:pt x="74" y="2282"/>
                  </a:lnTo>
                  <a:lnTo>
                    <a:pt x="47" y="2276"/>
                  </a:lnTo>
                  <a:lnTo>
                    <a:pt x="26" y="2265"/>
                  </a:lnTo>
                  <a:lnTo>
                    <a:pt x="11" y="2252"/>
                  </a:lnTo>
                  <a:lnTo>
                    <a:pt x="2" y="2235"/>
                  </a:lnTo>
                  <a:lnTo>
                    <a:pt x="0" y="2219"/>
                  </a:lnTo>
                  <a:lnTo>
                    <a:pt x="5" y="2199"/>
                  </a:lnTo>
                  <a:lnTo>
                    <a:pt x="15" y="2178"/>
                  </a:lnTo>
                  <a:lnTo>
                    <a:pt x="32" y="2158"/>
                  </a:lnTo>
                  <a:lnTo>
                    <a:pt x="1055" y="1137"/>
                  </a:lnTo>
                  <a:lnTo>
                    <a:pt x="1082" y="1115"/>
                  </a:lnTo>
                  <a:lnTo>
                    <a:pt x="1113" y="1096"/>
                  </a:lnTo>
                  <a:lnTo>
                    <a:pt x="1150" y="1081"/>
                  </a:lnTo>
                  <a:lnTo>
                    <a:pt x="1187" y="1071"/>
                  </a:lnTo>
                  <a:lnTo>
                    <a:pt x="1225" y="1064"/>
                  </a:lnTo>
                  <a:lnTo>
                    <a:pt x="1263" y="1064"/>
                  </a:lnTo>
                  <a:lnTo>
                    <a:pt x="1298" y="1068"/>
                  </a:lnTo>
                  <a:lnTo>
                    <a:pt x="1576" y="1135"/>
                  </a:lnTo>
                  <a:lnTo>
                    <a:pt x="1601" y="1138"/>
                  </a:lnTo>
                  <a:lnTo>
                    <a:pt x="1623" y="1137"/>
                  </a:lnTo>
                  <a:lnTo>
                    <a:pt x="1641" y="1132"/>
                  </a:lnTo>
                  <a:lnTo>
                    <a:pt x="1658" y="1126"/>
                  </a:lnTo>
                  <a:lnTo>
                    <a:pt x="1671" y="1118"/>
                  </a:lnTo>
                  <a:lnTo>
                    <a:pt x="1682" y="1109"/>
                  </a:lnTo>
                  <a:lnTo>
                    <a:pt x="1691" y="1101"/>
                  </a:lnTo>
                  <a:lnTo>
                    <a:pt x="1775" y="1026"/>
                  </a:lnTo>
                  <a:lnTo>
                    <a:pt x="1861" y="950"/>
                  </a:lnTo>
                  <a:lnTo>
                    <a:pt x="1948" y="879"/>
                  </a:lnTo>
                  <a:lnTo>
                    <a:pt x="2035" y="807"/>
                  </a:lnTo>
                  <a:lnTo>
                    <a:pt x="2125" y="740"/>
                  </a:lnTo>
                  <a:lnTo>
                    <a:pt x="2214" y="674"/>
                  </a:lnTo>
                  <a:lnTo>
                    <a:pt x="2303" y="610"/>
                  </a:lnTo>
                  <a:lnTo>
                    <a:pt x="2394" y="548"/>
                  </a:lnTo>
                  <a:lnTo>
                    <a:pt x="2484" y="489"/>
                  </a:lnTo>
                  <a:lnTo>
                    <a:pt x="2574" y="434"/>
                  </a:lnTo>
                  <a:lnTo>
                    <a:pt x="2664" y="380"/>
                  </a:lnTo>
                  <a:lnTo>
                    <a:pt x="2752" y="330"/>
                  </a:lnTo>
                  <a:lnTo>
                    <a:pt x="2841" y="283"/>
                  </a:lnTo>
                  <a:lnTo>
                    <a:pt x="2928" y="239"/>
                  </a:lnTo>
                  <a:lnTo>
                    <a:pt x="3014" y="199"/>
                  </a:lnTo>
                  <a:lnTo>
                    <a:pt x="3098" y="161"/>
                  </a:lnTo>
                  <a:lnTo>
                    <a:pt x="3181" y="127"/>
                  </a:lnTo>
                  <a:lnTo>
                    <a:pt x="3263" y="97"/>
                  </a:lnTo>
                  <a:lnTo>
                    <a:pt x="3344" y="71"/>
                  </a:lnTo>
                  <a:lnTo>
                    <a:pt x="3421" y="49"/>
                  </a:lnTo>
                  <a:lnTo>
                    <a:pt x="3496" y="30"/>
                  </a:lnTo>
                  <a:lnTo>
                    <a:pt x="3570" y="17"/>
                  </a:lnTo>
                  <a:lnTo>
                    <a:pt x="3641" y="6"/>
                  </a:lnTo>
                  <a:lnTo>
                    <a:pt x="3708" y="0"/>
                  </a:lnTo>
                  <a:lnTo>
                    <a:pt x="37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3" name="Freeform 7"/>
            <p:cNvSpPr>
              <a:spLocks noEditPoints="1"/>
            </p:cNvSpPr>
            <p:nvPr/>
          </p:nvSpPr>
          <p:spPr bwMode="auto">
            <a:xfrm rot="18876030">
              <a:off x="6318485" y="4297879"/>
              <a:ext cx="542591" cy="542337"/>
            </a:xfrm>
            <a:custGeom>
              <a:avLst/>
              <a:gdLst>
                <a:gd name="T0" fmla="*/ 3034 w 4257"/>
                <a:gd name="T1" fmla="*/ 658 h 4255"/>
                <a:gd name="T2" fmla="*/ 2863 w 4257"/>
                <a:gd name="T3" fmla="*/ 792 h 4255"/>
                <a:gd name="T4" fmla="*/ 2777 w 4257"/>
                <a:gd name="T5" fmla="*/ 985 h 4255"/>
                <a:gd name="T6" fmla="*/ 2790 w 4257"/>
                <a:gd name="T7" fmla="*/ 1193 h 4255"/>
                <a:gd name="T8" fmla="*/ 2900 w 4257"/>
                <a:gd name="T9" fmla="*/ 1376 h 4255"/>
                <a:gd name="T10" fmla="*/ 3084 w 4257"/>
                <a:gd name="T11" fmla="*/ 1486 h 4255"/>
                <a:gd name="T12" fmla="*/ 3292 w 4257"/>
                <a:gd name="T13" fmla="*/ 1499 h 4255"/>
                <a:gd name="T14" fmla="*/ 3484 w 4257"/>
                <a:gd name="T15" fmla="*/ 1412 h 4255"/>
                <a:gd name="T16" fmla="*/ 3618 w 4257"/>
                <a:gd name="T17" fmla="*/ 1242 h 4255"/>
                <a:gd name="T18" fmla="*/ 3656 w 4257"/>
                <a:gd name="T19" fmla="*/ 1037 h 4255"/>
                <a:gd name="T20" fmla="*/ 3595 w 4257"/>
                <a:gd name="T21" fmla="*/ 837 h 4255"/>
                <a:gd name="T22" fmla="*/ 3440 w 4257"/>
                <a:gd name="T23" fmla="*/ 683 h 4255"/>
                <a:gd name="T24" fmla="*/ 3240 w 4257"/>
                <a:gd name="T25" fmla="*/ 622 h 4255"/>
                <a:gd name="T26" fmla="*/ 3893 w 4257"/>
                <a:gd name="T27" fmla="*/ 12 h 4255"/>
                <a:gd name="T28" fmla="*/ 4088 w 4257"/>
                <a:gd name="T29" fmla="*/ 93 h 4255"/>
                <a:gd name="T30" fmla="*/ 4213 w 4257"/>
                <a:gd name="T31" fmla="*/ 257 h 4255"/>
                <a:gd name="T32" fmla="*/ 4257 w 4257"/>
                <a:gd name="T33" fmla="*/ 486 h 4255"/>
                <a:gd name="T34" fmla="*/ 4230 w 4257"/>
                <a:gd name="T35" fmla="*/ 767 h 4255"/>
                <a:gd name="T36" fmla="*/ 4135 w 4257"/>
                <a:gd name="T37" fmla="*/ 1089 h 4255"/>
                <a:gd name="T38" fmla="*/ 3981 w 4257"/>
                <a:gd name="T39" fmla="*/ 1437 h 4255"/>
                <a:gd name="T40" fmla="*/ 3776 w 4257"/>
                <a:gd name="T41" fmla="*/ 1799 h 4255"/>
                <a:gd name="T42" fmla="*/ 3526 w 4257"/>
                <a:gd name="T43" fmla="*/ 2161 h 4255"/>
                <a:gd name="T44" fmla="*/ 3239 w 4257"/>
                <a:gd name="T45" fmla="*/ 2513 h 4255"/>
                <a:gd name="T46" fmla="*/ 3137 w 4257"/>
                <a:gd name="T47" fmla="*/ 2625 h 4255"/>
                <a:gd name="T48" fmla="*/ 3129 w 4257"/>
                <a:gd name="T49" fmla="*/ 2694 h 4255"/>
                <a:gd name="T50" fmla="*/ 3190 w 4257"/>
                <a:gd name="T51" fmla="*/ 3070 h 4255"/>
                <a:gd name="T52" fmla="*/ 3124 w 4257"/>
                <a:gd name="T53" fmla="*/ 3203 h 4255"/>
                <a:gd name="T54" fmla="*/ 2041 w 4257"/>
                <a:gd name="T55" fmla="*/ 4255 h 4255"/>
                <a:gd name="T56" fmla="*/ 1983 w 4257"/>
                <a:gd name="T57" fmla="*/ 4209 h 4255"/>
                <a:gd name="T58" fmla="*/ 1862 w 4257"/>
                <a:gd name="T59" fmla="*/ 3371 h 4255"/>
                <a:gd name="T60" fmla="*/ 1918 w 4257"/>
                <a:gd name="T61" fmla="*/ 3227 h 4255"/>
                <a:gd name="T62" fmla="*/ 1953 w 4257"/>
                <a:gd name="T63" fmla="*/ 3182 h 4255"/>
                <a:gd name="T64" fmla="*/ 1939 w 4257"/>
                <a:gd name="T65" fmla="*/ 3122 h 4255"/>
                <a:gd name="T66" fmla="*/ 1744 w 4257"/>
                <a:gd name="T67" fmla="*/ 2927 h 4255"/>
                <a:gd name="T68" fmla="*/ 1510 w 4257"/>
                <a:gd name="T69" fmla="*/ 2694 h 4255"/>
                <a:gd name="T70" fmla="*/ 1280 w 4257"/>
                <a:gd name="T71" fmla="*/ 2464 h 4255"/>
                <a:gd name="T72" fmla="*/ 1117 w 4257"/>
                <a:gd name="T73" fmla="*/ 2306 h 4255"/>
                <a:gd name="T74" fmla="*/ 1066 w 4257"/>
                <a:gd name="T75" fmla="*/ 2311 h 4255"/>
                <a:gd name="T76" fmla="*/ 997 w 4257"/>
                <a:gd name="T77" fmla="*/ 2360 h 4255"/>
                <a:gd name="T78" fmla="*/ 848 w 4257"/>
                <a:gd name="T79" fmla="*/ 2400 h 4255"/>
                <a:gd name="T80" fmla="*/ 26 w 4257"/>
                <a:gd name="T81" fmla="*/ 2265 h 4255"/>
                <a:gd name="T82" fmla="*/ 5 w 4257"/>
                <a:gd name="T83" fmla="*/ 2199 h 4255"/>
                <a:gd name="T84" fmla="*/ 1082 w 4257"/>
                <a:gd name="T85" fmla="*/ 1115 h 4255"/>
                <a:gd name="T86" fmla="*/ 1225 w 4257"/>
                <a:gd name="T87" fmla="*/ 1064 h 4255"/>
                <a:gd name="T88" fmla="*/ 1601 w 4257"/>
                <a:gd name="T89" fmla="*/ 1138 h 4255"/>
                <a:gd name="T90" fmla="*/ 1671 w 4257"/>
                <a:gd name="T91" fmla="*/ 1118 h 4255"/>
                <a:gd name="T92" fmla="*/ 1861 w 4257"/>
                <a:gd name="T93" fmla="*/ 950 h 4255"/>
                <a:gd name="T94" fmla="*/ 2214 w 4257"/>
                <a:gd name="T95" fmla="*/ 674 h 4255"/>
                <a:gd name="T96" fmla="*/ 2574 w 4257"/>
                <a:gd name="T97" fmla="*/ 434 h 4255"/>
                <a:gd name="T98" fmla="*/ 2928 w 4257"/>
                <a:gd name="T99" fmla="*/ 239 h 4255"/>
                <a:gd name="T100" fmla="*/ 3263 w 4257"/>
                <a:gd name="T101" fmla="*/ 97 h 4255"/>
                <a:gd name="T102" fmla="*/ 3570 w 4257"/>
                <a:gd name="T103" fmla="*/ 17 h 4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257" h="4255">
                  <a:moveTo>
                    <a:pt x="3188" y="622"/>
                  </a:moveTo>
                  <a:lnTo>
                    <a:pt x="3136" y="628"/>
                  </a:lnTo>
                  <a:lnTo>
                    <a:pt x="3084" y="640"/>
                  </a:lnTo>
                  <a:lnTo>
                    <a:pt x="3034" y="658"/>
                  </a:lnTo>
                  <a:lnTo>
                    <a:pt x="2986" y="683"/>
                  </a:lnTo>
                  <a:lnTo>
                    <a:pt x="2942" y="714"/>
                  </a:lnTo>
                  <a:lnTo>
                    <a:pt x="2900" y="750"/>
                  </a:lnTo>
                  <a:lnTo>
                    <a:pt x="2863" y="792"/>
                  </a:lnTo>
                  <a:lnTo>
                    <a:pt x="2833" y="837"/>
                  </a:lnTo>
                  <a:lnTo>
                    <a:pt x="2808" y="885"/>
                  </a:lnTo>
                  <a:lnTo>
                    <a:pt x="2790" y="935"/>
                  </a:lnTo>
                  <a:lnTo>
                    <a:pt x="2777" y="985"/>
                  </a:lnTo>
                  <a:lnTo>
                    <a:pt x="2772" y="1037"/>
                  </a:lnTo>
                  <a:lnTo>
                    <a:pt x="2772" y="1089"/>
                  </a:lnTo>
                  <a:lnTo>
                    <a:pt x="2777" y="1141"/>
                  </a:lnTo>
                  <a:lnTo>
                    <a:pt x="2790" y="1193"/>
                  </a:lnTo>
                  <a:lnTo>
                    <a:pt x="2808" y="1242"/>
                  </a:lnTo>
                  <a:lnTo>
                    <a:pt x="2833" y="1289"/>
                  </a:lnTo>
                  <a:lnTo>
                    <a:pt x="2863" y="1335"/>
                  </a:lnTo>
                  <a:lnTo>
                    <a:pt x="2900" y="1376"/>
                  </a:lnTo>
                  <a:lnTo>
                    <a:pt x="2942" y="1412"/>
                  </a:lnTo>
                  <a:lnTo>
                    <a:pt x="2986" y="1444"/>
                  </a:lnTo>
                  <a:lnTo>
                    <a:pt x="3034" y="1468"/>
                  </a:lnTo>
                  <a:lnTo>
                    <a:pt x="3084" y="1486"/>
                  </a:lnTo>
                  <a:lnTo>
                    <a:pt x="3136" y="1499"/>
                  </a:lnTo>
                  <a:lnTo>
                    <a:pt x="3188" y="1505"/>
                  </a:lnTo>
                  <a:lnTo>
                    <a:pt x="3240" y="1505"/>
                  </a:lnTo>
                  <a:lnTo>
                    <a:pt x="3292" y="1499"/>
                  </a:lnTo>
                  <a:lnTo>
                    <a:pt x="3343" y="1486"/>
                  </a:lnTo>
                  <a:lnTo>
                    <a:pt x="3392" y="1468"/>
                  </a:lnTo>
                  <a:lnTo>
                    <a:pt x="3440" y="1444"/>
                  </a:lnTo>
                  <a:lnTo>
                    <a:pt x="3484" y="1412"/>
                  </a:lnTo>
                  <a:lnTo>
                    <a:pt x="3527" y="1376"/>
                  </a:lnTo>
                  <a:lnTo>
                    <a:pt x="3564" y="1335"/>
                  </a:lnTo>
                  <a:lnTo>
                    <a:pt x="3595" y="1289"/>
                  </a:lnTo>
                  <a:lnTo>
                    <a:pt x="3618" y="1242"/>
                  </a:lnTo>
                  <a:lnTo>
                    <a:pt x="3638" y="1193"/>
                  </a:lnTo>
                  <a:lnTo>
                    <a:pt x="3650" y="1141"/>
                  </a:lnTo>
                  <a:lnTo>
                    <a:pt x="3656" y="1089"/>
                  </a:lnTo>
                  <a:lnTo>
                    <a:pt x="3656" y="1037"/>
                  </a:lnTo>
                  <a:lnTo>
                    <a:pt x="3650" y="985"/>
                  </a:lnTo>
                  <a:lnTo>
                    <a:pt x="3638" y="935"/>
                  </a:lnTo>
                  <a:lnTo>
                    <a:pt x="3618" y="885"/>
                  </a:lnTo>
                  <a:lnTo>
                    <a:pt x="3595" y="837"/>
                  </a:lnTo>
                  <a:lnTo>
                    <a:pt x="3564" y="792"/>
                  </a:lnTo>
                  <a:lnTo>
                    <a:pt x="3527" y="750"/>
                  </a:lnTo>
                  <a:lnTo>
                    <a:pt x="3484" y="714"/>
                  </a:lnTo>
                  <a:lnTo>
                    <a:pt x="3440" y="683"/>
                  </a:lnTo>
                  <a:lnTo>
                    <a:pt x="3392" y="658"/>
                  </a:lnTo>
                  <a:lnTo>
                    <a:pt x="3343" y="640"/>
                  </a:lnTo>
                  <a:lnTo>
                    <a:pt x="3292" y="628"/>
                  </a:lnTo>
                  <a:lnTo>
                    <a:pt x="3240" y="622"/>
                  </a:lnTo>
                  <a:lnTo>
                    <a:pt x="3188" y="622"/>
                  </a:lnTo>
                  <a:close/>
                  <a:moveTo>
                    <a:pt x="3773" y="0"/>
                  </a:moveTo>
                  <a:lnTo>
                    <a:pt x="3834" y="3"/>
                  </a:lnTo>
                  <a:lnTo>
                    <a:pt x="3893" y="12"/>
                  </a:lnTo>
                  <a:lnTo>
                    <a:pt x="3948" y="25"/>
                  </a:lnTo>
                  <a:lnTo>
                    <a:pt x="3998" y="43"/>
                  </a:lnTo>
                  <a:lnTo>
                    <a:pt x="4045" y="65"/>
                  </a:lnTo>
                  <a:lnTo>
                    <a:pt x="4088" y="93"/>
                  </a:lnTo>
                  <a:lnTo>
                    <a:pt x="4127" y="127"/>
                  </a:lnTo>
                  <a:lnTo>
                    <a:pt x="4161" y="166"/>
                  </a:lnTo>
                  <a:lnTo>
                    <a:pt x="4189" y="209"/>
                  </a:lnTo>
                  <a:lnTo>
                    <a:pt x="4213" y="257"/>
                  </a:lnTo>
                  <a:lnTo>
                    <a:pt x="4231" y="309"/>
                  </a:lnTo>
                  <a:lnTo>
                    <a:pt x="4245" y="363"/>
                  </a:lnTo>
                  <a:lnTo>
                    <a:pt x="4253" y="423"/>
                  </a:lnTo>
                  <a:lnTo>
                    <a:pt x="4257" y="486"/>
                  </a:lnTo>
                  <a:lnTo>
                    <a:pt x="4257" y="552"/>
                  </a:lnTo>
                  <a:lnTo>
                    <a:pt x="4252" y="621"/>
                  </a:lnTo>
                  <a:lnTo>
                    <a:pt x="4243" y="693"/>
                  </a:lnTo>
                  <a:lnTo>
                    <a:pt x="4230" y="767"/>
                  </a:lnTo>
                  <a:lnTo>
                    <a:pt x="4212" y="845"/>
                  </a:lnTo>
                  <a:lnTo>
                    <a:pt x="4189" y="924"/>
                  </a:lnTo>
                  <a:lnTo>
                    <a:pt x="4163" y="1005"/>
                  </a:lnTo>
                  <a:lnTo>
                    <a:pt x="4135" y="1089"/>
                  </a:lnTo>
                  <a:lnTo>
                    <a:pt x="4101" y="1174"/>
                  </a:lnTo>
                  <a:lnTo>
                    <a:pt x="4065" y="1261"/>
                  </a:lnTo>
                  <a:lnTo>
                    <a:pt x="4024" y="1347"/>
                  </a:lnTo>
                  <a:lnTo>
                    <a:pt x="3981" y="1437"/>
                  </a:lnTo>
                  <a:lnTo>
                    <a:pt x="3935" y="1527"/>
                  </a:lnTo>
                  <a:lnTo>
                    <a:pt x="3885" y="1616"/>
                  </a:lnTo>
                  <a:lnTo>
                    <a:pt x="3832" y="1707"/>
                  </a:lnTo>
                  <a:lnTo>
                    <a:pt x="3776" y="1799"/>
                  </a:lnTo>
                  <a:lnTo>
                    <a:pt x="3717" y="1890"/>
                  </a:lnTo>
                  <a:lnTo>
                    <a:pt x="3656" y="1981"/>
                  </a:lnTo>
                  <a:lnTo>
                    <a:pt x="3592" y="2072"/>
                  </a:lnTo>
                  <a:lnTo>
                    <a:pt x="3526" y="2161"/>
                  </a:lnTo>
                  <a:lnTo>
                    <a:pt x="3457" y="2251"/>
                  </a:lnTo>
                  <a:lnTo>
                    <a:pt x="3387" y="2339"/>
                  </a:lnTo>
                  <a:lnTo>
                    <a:pt x="3314" y="2428"/>
                  </a:lnTo>
                  <a:lnTo>
                    <a:pt x="3239" y="2513"/>
                  </a:lnTo>
                  <a:lnTo>
                    <a:pt x="3162" y="2598"/>
                  </a:lnTo>
                  <a:lnTo>
                    <a:pt x="3155" y="2605"/>
                  </a:lnTo>
                  <a:lnTo>
                    <a:pt x="3146" y="2615"/>
                  </a:lnTo>
                  <a:lnTo>
                    <a:pt x="3137" y="2625"/>
                  </a:lnTo>
                  <a:lnTo>
                    <a:pt x="3131" y="2638"/>
                  </a:lnTo>
                  <a:lnTo>
                    <a:pt x="3125" y="2653"/>
                  </a:lnTo>
                  <a:lnTo>
                    <a:pt x="3124" y="2672"/>
                  </a:lnTo>
                  <a:lnTo>
                    <a:pt x="3129" y="2694"/>
                  </a:lnTo>
                  <a:lnTo>
                    <a:pt x="3193" y="2960"/>
                  </a:lnTo>
                  <a:lnTo>
                    <a:pt x="3197" y="2995"/>
                  </a:lnTo>
                  <a:lnTo>
                    <a:pt x="3197" y="3033"/>
                  </a:lnTo>
                  <a:lnTo>
                    <a:pt x="3190" y="3070"/>
                  </a:lnTo>
                  <a:lnTo>
                    <a:pt x="3180" y="3108"/>
                  </a:lnTo>
                  <a:lnTo>
                    <a:pt x="3166" y="3144"/>
                  </a:lnTo>
                  <a:lnTo>
                    <a:pt x="3146" y="3175"/>
                  </a:lnTo>
                  <a:lnTo>
                    <a:pt x="3124" y="3203"/>
                  </a:lnTo>
                  <a:lnTo>
                    <a:pt x="2102" y="4223"/>
                  </a:lnTo>
                  <a:lnTo>
                    <a:pt x="2081" y="4240"/>
                  </a:lnTo>
                  <a:lnTo>
                    <a:pt x="2060" y="4250"/>
                  </a:lnTo>
                  <a:lnTo>
                    <a:pt x="2041" y="4255"/>
                  </a:lnTo>
                  <a:lnTo>
                    <a:pt x="2024" y="4253"/>
                  </a:lnTo>
                  <a:lnTo>
                    <a:pt x="2007" y="4244"/>
                  </a:lnTo>
                  <a:lnTo>
                    <a:pt x="1994" y="4229"/>
                  </a:lnTo>
                  <a:lnTo>
                    <a:pt x="1983" y="4209"/>
                  </a:lnTo>
                  <a:lnTo>
                    <a:pt x="1977" y="4181"/>
                  </a:lnTo>
                  <a:lnTo>
                    <a:pt x="1861" y="3444"/>
                  </a:lnTo>
                  <a:lnTo>
                    <a:pt x="1858" y="3409"/>
                  </a:lnTo>
                  <a:lnTo>
                    <a:pt x="1862" y="3371"/>
                  </a:lnTo>
                  <a:lnTo>
                    <a:pt x="1870" y="3332"/>
                  </a:lnTo>
                  <a:lnTo>
                    <a:pt x="1882" y="3295"/>
                  </a:lnTo>
                  <a:lnTo>
                    <a:pt x="1899" y="3260"/>
                  </a:lnTo>
                  <a:lnTo>
                    <a:pt x="1918" y="3227"/>
                  </a:lnTo>
                  <a:lnTo>
                    <a:pt x="1940" y="3200"/>
                  </a:lnTo>
                  <a:lnTo>
                    <a:pt x="1943" y="3197"/>
                  </a:lnTo>
                  <a:lnTo>
                    <a:pt x="1948" y="3191"/>
                  </a:lnTo>
                  <a:lnTo>
                    <a:pt x="1953" y="3182"/>
                  </a:lnTo>
                  <a:lnTo>
                    <a:pt x="1957" y="3169"/>
                  </a:lnTo>
                  <a:lnTo>
                    <a:pt x="1957" y="3155"/>
                  </a:lnTo>
                  <a:lnTo>
                    <a:pt x="1952" y="3139"/>
                  </a:lnTo>
                  <a:lnTo>
                    <a:pt x="1939" y="3122"/>
                  </a:lnTo>
                  <a:lnTo>
                    <a:pt x="1896" y="3079"/>
                  </a:lnTo>
                  <a:lnTo>
                    <a:pt x="1849" y="3033"/>
                  </a:lnTo>
                  <a:lnTo>
                    <a:pt x="1799" y="2982"/>
                  </a:lnTo>
                  <a:lnTo>
                    <a:pt x="1744" y="2927"/>
                  </a:lnTo>
                  <a:lnTo>
                    <a:pt x="1688" y="2872"/>
                  </a:lnTo>
                  <a:lnTo>
                    <a:pt x="1630" y="2813"/>
                  </a:lnTo>
                  <a:lnTo>
                    <a:pt x="1570" y="2753"/>
                  </a:lnTo>
                  <a:lnTo>
                    <a:pt x="1510" y="2694"/>
                  </a:lnTo>
                  <a:lnTo>
                    <a:pt x="1450" y="2634"/>
                  </a:lnTo>
                  <a:lnTo>
                    <a:pt x="1392" y="2576"/>
                  </a:lnTo>
                  <a:lnTo>
                    <a:pt x="1334" y="2518"/>
                  </a:lnTo>
                  <a:lnTo>
                    <a:pt x="1280" y="2464"/>
                  </a:lnTo>
                  <a:lnTo>
                    <a:pt x="1228" y="2411"/>
                  </a:lnTo>
                  <a:lnTo>
                    <a:pt x="1178" y="2363"/>
                  </a:lnTo>
                  <a:lnTo>
                    <a:pt x="1134" y="2319"/>
                  </a:lnTo>
                  <a:lnTo>
                    <a:pt x="1117" y="2306"/>
                  </a:lnTo>
                  <a:lnTo>
                    <a:pt x="1101" y="2302"/>
                  </a:lnTo>
                  <a:lnTo>
                    <a:pt x="1087" y="2302"/>
                  </a:lnTo>
                  <a:lnTo>
                    <a:pt x="1075" y="2306"/>
                  </a:lnTo>
                  <a:lnTo>
                    <a:pt x="1066" y="2311"/>
                  </a:lnTo>
                  <a:lnTo>
                    <a:pt x="1060" y="2316"/>
                  </a:lnTo>
                  <a:lnTo>
                    <a:pt x="1057" y="2319"/>
                  </a:lnTo>
                  <a:lnTo>
                    <a:pt x="1030" y="2341"/>
                  </a:lnTo>
                  <a:lnTo>
                    <a:pt x="997" y="2360"/>
                  </a:lnTo>
                  <a:lnTo>
                    <a:pt x="962" y="2377"/>
                  </a:lnTo>
                  <a:lnTo>
                    <a:pt x="925" y="2389"/>
                  </a:lnTo>
                  <a:lnTo>
                    <a:pt x="886" y="2396"/>
                  </a:lnTo>
                  <a:lnTo>
                    <a:pt x="848" y="2400"/>
                  </a:lnTo>
                  <a:lnTo>
                    <a:pt x="813" y="2398"/>
                  </a:lnTo>
                  <a:lnTo>
                    <a:pt x="74" y="2282"/>
                  </a:lnTo>
                  <a:lnTo>
                    <a:pt x="47" y="2276"/>
                  </a:lnTo>
                  <a:lnTo>
                    <a:pt x="26" y="2265"/>
                  </a:lnTo>
                  <a:lnTo>
                    <a:pt x="11" y="2252"/>
                  </a:lnTo>
                  <a:lnTo>
                    <a:pt x="2" y="2235"/>
                  </a:lnTo>
                  <a:lnTo>
                    <a:pt x="0" y="2219"/>
                  </a:lnTo>
                  <a:lnTo>
                    <a:pt x="5" y="2199"/>
                  </a:lnTo>
                  <a:lnTo>
                    <a:pt x="15" y="2178"/>
                  </a:lnTo>
                  <a:lnTo>
                    <a:pt x="32" y="2158"/>
                  </a:lnTo>
                  <a:lnTo>
                    <a:pt x="1055" y="1137"/>
                  </a:lnTo>
                  <a:lnTo>
                    <a:pt x="1082" y="1115"/>
                  </a:lnTo>
                  <a:lnTo>
                    <a:pt x="1113" y="1096"/>
                  </a:lnTo>
                  <a:lnTo>
                    <a:pt x="1150" y="1081"/>
                  </a:lnTo>
                  <a:lnTo>
                    <a:pt x="1187" y="1071"/>
                  </a:lnTo>
                  <a:lnTo>
                    <a:pt x="1225" y="1064"/>
                  </a:lnTo>
                  <a:lnTo>
                    <a:pt x="1263" y="1064"/>
                  </a:lnTo>
                  <a:lnTo>
                    <a:pt x="1298" y="1068"/>
                  </a:lnTo>
                  <a:lnTo>
                    <a:pt x="1576" y="1135"/>
                  </a:lnTo>
                  <a:lnTo>
                    <a:pt x="1601" y="1138"/>
                  </a:lnTo>
                  <a:lnTo>
                    <a:pt x="1623" y="1137"/>
                  </a:lnTo>
                  <a:lnTo>
                    <a:pt x="1641" y="1132"/>
                  </a:lnTo>
                  <a:lnTo>
                    <a:pt x="1658" y="1126"/>
                  </a:lnTo>
                  <a:lnTo>
                    <a:pt x="1671" y="1118"/>
                  </a:lnTo>
                  <a:lnTo>
                    <a:pt x="1682" y="1109"/>
                  </a:lnTo>
                  <a:lnTo>
                    <a:pt x="1691" y="1101"/>
                  </a:lnTo>
                  <a:lnTo>
                    <a:pt x="1775" y="1026"/>
                  </a:lnTo>
                  <a:lnTo>
                    <a:pt x="1861" y="950"/>
                  </a:lnTo>
                  <a:lnTo>
                    <a:pt x="1948" y="879"/>
                  </a:lnTo>
                  <a:lnTo>
                    <a:pt x="2035" y="807"/>
                  </a:lnTo>
                  <a:lnTo>
                    <a:pt x="2125" y="740"/>
                  </a:lnTo>
                  <a:lnTo>
                    <a:pt x="2214" y="674"/>
                  </a:lnTo>
                  <a:lnTo>
                    <a:pt x="2303" y="610"/>
                  </a:lnTo>
                  <a:lnTo>
                    <a:pt x="2394" y="548"/>
                  </a:lnTo>
                  <a:lnTo>
                    <a:pt x="2484" y="489"/>
                  </a:lnTo>
                  <a:lnTo>
                    <a:pt x="2574" y="434"/>
                  </a:lnTo>
                  <a:lnTo>
                    <a:pt x="2664" y="380"/>
                  </a:lnTo>
                  <a:lnTo>
                    <a:pt x="2752" y="330"/>
                  </a:lnTo>
                  <a:lnTo>
                    <a:pt x="2841" y="283"/>
                  </a:lnTo>
                  <a:lnTo>
                    <a:pt x="2928" y="239"/>
                  </a:lnTo>
                  <a:lnTo>
                    <a:pt x="3014" y="199"/>
                  </a:lnTo>
                  <a:lnTo>
                    <a:pt x="3098" y="161"/>
                  </a:lnTo>
                  <a:lnTo>
                    <a:pt x="3181" y="127"/>
                  </a:lnTo>
                  <a:lnTo>
                    <a:pt x="3263" y="97"/>
                  </a:lnTo>
                  <a:lnTo>
                    <a:pt x="3344" y="71"/>
                  </a:lnTo>
                  <a:lnTo>
                    <a:pt x="3421" y="49"/>
                  </a:lnTo>
                  <a:lnTo>
                    <a:pt x="3496" y="30"/>
                  </a:lnTo>
                  <a:lnTo>
                    <a:pt x="3570" y="17"/>
                  </a:lnTo>
                  <a:lnTo>
                    <a:pt x="3641" y="6"/>
                  </a:lnTo>
                  <a:lnTo>
                    <a:pt x="3708" y="0"/>
                  </a:lnTo>
                  <a:lnTo>
                    <a:pt x="37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69" name="Freeform 7"/>
          <p:cNvSpPr>
            <a:spLocks noEditPoints="1"/>
          </p:cNvSpPr>
          <p:nvPr/>
        </p:nvSpPr>
        <p:spPr bwMode="auto">
          <a:xfrm rot="18876030">
            <a:off x="6804903" y="4750544"/>
            <a:ext cx="385976" cy="385789"/>
          </a:xfrm>
          <a:custGeom>
            <a:avLst/>
            <a:gdLst>
              <a:gd name="T0" fmla="*/ 3034 w 4257"/>
              <a:gd name="T1" fmla="*/ 658 h 4255"/>
              <a:gd name="T2" fmla="*/ 2863 w 4257"/>
              <a:gd name="T3" fmla="*/ 792 h 4255"/>
              <a:gd name="T4" fmla="*/ 2777 w 4257"/>
              <a:gd name="T5" fmla="*/ 985 h 4255"/>
              <a:gd name="T6" fmla="*/ 2790 w 4257"/>
              <a:gd name="T7" fmla="*/ 1193 h 4255"/>
              <a:gd name="T8" fmla="*/ 2900 w 4257"/>
              <a:gd name="T9" fmla="*/ 1376 h 4255"/>
              <a:gd name="T10" fmla="*/ 3084 w 4257"/>
              <a:gd name="T11" fmla="*/ 1486 h 4255"/>
              <a:gd name="T12" fmla="*/ 3292 w 4257"/>
              <a:gd name="T13" fmla="*/ 1499 h 4255"/>
              <a:gd name="T14" fmla="*/ 3484 w 4257"/>
              <a:gd name="T15" fmla="*/ 1412 h 4255"/>
              <a:gd name="T16" fmla="*/ 3618 w 4257"/>
              <a:gd name="T17" fmla="*/ 1242 h 4255"/>
              <a:gd name="T18" fmla="*/ 3656 w 4257"/>
              <a:gd name="T19" fmla="*/ 1037 h 4255"/>
              <a:gd name="T20" fmla="*/ 3595 w 4257"/>
              <a:gd name="T21" fmla="*/ 837 h 4255"/>
              <a:gd name="T22" fmla="*/ 3440 w 4257"/>
              <a:gd name="T23" fmla="*/ 683 h 4255"/>
              <a:gd name="T24" fmla="*/ 3240 w 4257"/>
              <a:gd name="T25" fmla="*/ 622 h 4255"/>
              <a:gd name="T26" fmla="*/ 3893 w 4257"/>
              <a:gd name="T27" fmla="*/ 12 h 4255"/>
              <a:gd name="T28" fmla="*/ 4088 w 4257"/>
              <a:gd name="T29" fmla="*/ 93 h 4255"/>
              <a:gd name="T30" fmla="*/ 4213 w 4257"/>
              <a:gd name="T31" fmla="*/ 257 h 4255"/>
              <a:gd name="T32" fmla="*/ 4257 w 4257"/>
              <a:gd name="T33" fmla="*/ 486 h 4255"/>
              <a:gd name="T34" fmla="*/ 4230 w 4257"/>
              <a:gd name="T35" fmla="*/ 767 h 4255"/>
              <a:gd name="T36" fmla="*/ 4135 w 4257"/>
              <a:gd name="T37" fmla="*/ 1089 h 4255"/>
              <a:gd name="T38" fmla="*/ 3981 w 4257"/>
              <a:gd name="T39" fmla="*/ 1437 h 4255"/>
              <a:gd name="T40" fmla="*/ 3776 w 4257"/>
              <a:gd name="T41" fmla="*/ 1799 h 4255"/>
              <a:gd name="T42" fmla="*/ 3526 w 4257"/>
              <a:gd name="T43" fmla="*/ 2161 h 4255"/>
              <a:gd name="T44" fmla="*/ 3239 w 4257"/>
              <a:gd name="T45" fmla="*/ 2513 h 4255"/>
              <a:gd name="T46" fmla="*/ 3137 w 4257"/>
              <a:gd name="T47" fmla="*/ 2625 h 4255"/>
              <a:gd name="T48" fmla="*/ 3129 w 4257"/>
              <a:gd name="T49" fmla="*/ 2694 h 4255"/>
              <a:gd name="T50" fmla="*/ 3190 w 4257"/>
              <a:gd name="T51" fmla="*/ 3070 h 4255"/>
              <a:gd name="T52" fmla="*/ 3124 w 4257"/>
              <a:gd name="T53" fmla="*/ 3203 h 4255"/>
              <a:gd name="T54" fmla="*/ 2041 w 4257"/>
              <a:gd name="T55" fmla="*/ 4255 h 4255"/>
              <a:gd name="T56" fmla="*/ 1983 w 4257"/>
              <a:gd name="T57" fmla="*/ 4209 h 4255"/>
              <a:gd name="T58" fmla="*/ 1862 w 4257"/>
              <a:gd name="T59" fmla="*/ 3371 h 4255"/>
              <a:gd name="T60" fmla="*/ 1918 w 4257"/>
              <a:gd name="T61" fmla="*/ 3227 h 4255"/>
              <a:gd name="T62" fmla="*/ 1953 w 4257"/>
              <a:gd name="T63" fmla="*/ 3182 h 4255"/>
              <a:gd name="T64" fmla="*/ 1939 w 4257"/>
              <a:gd name="T65" fmla="*/ 3122 h 4255"/>
              <a:gd name="T66" fmla="*/ 1744 w 4257"/>
              <a:gd name="T67" fmla="*/ 2927 h 4255"/>
              <a:gd name="T68" fmla="*/ 1510 w 4257"/>
              <a:gd name="T69" fmla="*/ 2694 h 4255"/>
              <a:gd name="T70" fmla="*/ 1280 w 4257"/>
              <a:gd name="T71" fmla="*/ 2464 h 4255"/>
              <a:gd name="T72" fmla="*/ 1117 w 4257"/>
              <a:gd name="T73" fmla="*/ 2306 h 4255"/>
              <a:gd name="T74" fmla="*/ 1066 w 4257"/>
              <a:gd name="T75" fmla="*/ 2311 h 4255"/>
              <a:gd name="T76" fmla="*/ 997 w 4257"/>
              <a:gd name="T77" fmla="*/ 2360 h 4255"/>
              <a:gd name="T78" fmla="*/ 848 w 4257"/>
              <a:gd name="T79" fmla="*/ 2400 h 4255"/>
              <a:gd name="T80" fmla="*/ 26 w 4257"/>
              <a:gd name="T81" fmla="*/ 2265 h 4255"/>
              <a:gd name="T82" fmla="*/ 5 w 4257"/>
              <a:gd name="T83" fmla="*/ 2199 h 4255"/>
              <a:gd name="T84" fmla="*/ 1082 w 4257"/>
              <a:gd name="T85" fmla="*/ 1115 h 4255"/>
              <a:gd name="T86" fmla="*/ 1225 w 4257"/>
              <a:gd name="T87" fmla="*/ 1064 h 4255"/>
              <a:gd name="T88" fmla="*/ 1601 w 4257"/>
              <a:gd name="T89" fmla="*/ 1138 h 4255"/>
              <a:gd name="T90" fmla="*/ 1671 w 4257"/>
              <a:gd name="T91" fmla="*/ 1118 h 4255"/>
              <a:gd name="T92" fmla="*/ 1861 w 4257"/>
              <a:gd name="T93" fmla="*/ 950 h 4255"/>
              <a:gd name="T94" fmla="*/ 2214 w 4257"/>
              <a:gd name="T95" fmla="*/ 674 h 4255"/>
              <a:gd name="T96" fmla="*/ 2574 w 4257"/>
              <a:gd name="T97" fmla="*/ 434 h 4255"/>
              <a:gd name="T98" fmla="*/ 2928 w 4257"/>
              <a:gd name="T99" fmla="*/ 239 h 4255"/>
              <a:gd name="T100" fmla="*/ 3263 w 4257"/>
              <a:gd name="T101" fmla="*/ 97 h 4255"/>
              <a:gd name="T102" fmla="*/ 3570 w 4257"/>
              <a:gd name="T103" fmla="*/ 17 h 4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257" h="4255">
                <a:moveTo>
                  <a:pt x="3188" y="622"/>
                </a:moveTo>
                <a:lnTo>
                  <a:pt x="3136" y="628"/>
                </a:lnTo>
                <a:lnTo>
                  <a:pt x="3084" y="640"/>
                </a:lnTo>
                <a:lnTo>
                  <a:pt x="3034" y="658"/>
                </a:lnTo>
                <a:lnTo>
                  <a:pt x="2986" y="683"/>
                </a:lnTo>
                <a:lnTo>
                  <a:pt x="2942" y="714"/>
                </a:lnTo>
                <a:lnTo>
                  <a:pt x="2900" y="750"/>
                </a:lnTo>
                <a:lnTo>
                  <a:pt x="2863" y="792"/>
                </a:lnTo>
                <a:lnTo>
                  <a:pt x="2833" y="837"/>
                </a:lnTo>
                <a:lnTo>
                  <a:pt x="2808" y="885"/>
                </a:lnTo>
                <a:lnTo>
                  <a:pt x="2790" y="935"/>
                </a:lnTo>
                <a:lnTo>
                  <a:pt x="2777" y="985"/>
                </a:lnTo>
                <a:lnTo>
                  <a:pt x="2772" y="1037"/>
                </a:lnTo>
                <a:lnTo>
                  <a:pt x="2772" y="1089"/>
                </a:lnTo>
                <a:lnTo>
                  <a:pt x="2777" y="1141"/>
                </a:lnTo>
                <a:lnTo>
                  <a:pt x="2790" y="1193"/>
                </a:lnTo>
                <a:lnTo>
                  <a:pt x="2808" y="1242"/>
                </a:lnTo>
                <a:lnTo>
                  <a:pt x="2833" y="1289"/>
                </a:lnTo>
                <a:lnTo>
                  <a:pt x="2863" y="1335"/>
                </a:lnTo>
                <a:lnTo>
                  <a:pt x="2900" y="1376"/>
                </a:lnTo>
                <a:lnTo>
                  <a:pt x="2942" y="1412"/>
                </a:lnTo>
                <a:lnTo>
                  <a:pt x="2986" y="1444"/>
                </a:lnTo>
                <a:lnTo>
                  <a:pt x="3034" y="1468"/>
                </a:lnTo>
                <a:lnTo>
                  <a:pt x="3084" y="1486"/>
                </a:lnTo>
                <a:lnTo>
                  <a:pt x="3136" y="1499"/>
                </a:lnTo>
                <a:lnTo>
                  <a:pt x="3188" y="1505"/>
                </a:lnTo>
                <a:lnTo>
                  <a:pt x="3240" y="1505"/>
                </a:lnTo>
                <a:lnTo>
                  <a:pt x="3292" y="1499"/>
                </a:lnTo>
                <a:lnTo>
                  <a:pt x="3343" y="1486"/>
                </a:lnTo>
                <a:lnTo>
                  <a:pt x="3392" y="1468"/>
                </a:lnTo>
                <a:lnTo>
                  <a:pt x="3440" y="1444"/>
                </a:lnTo>
                <a:lnTo>
                  <a:pt x="3484" y="1412"/>
                </a:lnTo>
                <a:lnTo>
                  <a:pt x="3527" y="1376"/>
                </a:lnTo>
                <a:lnTo>
                  <a:pt x="3564" y="1335"/>
                </a:lnTo>
                <a:lnTo>
                  <a:pt x="3595" y="1289"/>
                </a:lnTo>
                <a:lnTo>
                  <a:pt x="3618" y="1242"/>
                </a:lnTo>
                <a:lnTo>
                  <a:pt x="3638" y="1193"/>
                </a:lnTo>
                <a:lnTo>
                  <a:pt x="3650" y="1141"/>
                </a:lnTo>
                <a:lnTo>
                  <a:pt x="3656" y="1089"/>
                </a:lnTo>
                <a:lnTo>
                  <a:pt x="3656" y="1037"/>
                </a:lnTo>
                <a:lnTo>
                  <a:pt x="3650" y="985"/>
                </a:lnTo>
                <a:lnTo>
                  <a:pt x="3638" y="935"/>
                </a:lnTo>
                <a:lnTo>
                  <a:pt x="3618" y="885"/>
                </a:lnTo>
                <a:lnTo>
                  <a:pt x="3595" y="837"/>
                </a:lnTo>
                <a:lnTo>
                  <a:pt x="3564" y="792"/>
                </a:lnTo>
                <a:lnTo>
                  <a:pt x="3527" y="750"/>
                </a:lnTo>
                <a:lnTo>
                  <a:pt x="3484" y="714"/>
                </a:lnTo>
                <a:lnTo>
                  <a:pt x="3440" y="683"/>
                </a:lnTo>
                <a:lnTo>
                  <a:pt x="3392" y="658"/>
                </a:lnTo>
                <a:lnTo>
                  <a:pt x="3343" y="640"/>
                </a:lnTo>
                <a:lnTo>
                  <a:pt x="3292" y="628"/>
                </a:lnTo>
                <a:lnTo>
                  <a:pt x="3240" y="622"/>
                </a:lnTo>
                <a:lnTo>
                  <a:pt x="3188" y="622"/>
                </a:lnTo>
                <a:close/>
                <a:moveTo>
                  <a:pt x="3773" y="0"/>
                </a:moveTo>
                <a:lnTo>
                  <a:pt x="3834" y="3"/>
                </a:lnTo>
                <a:lnTo>
                  <a:pt x="3893" y="12"/>
                </a:lnTo>
                <a:lnTo>
                  <a:pt x="3948" y="25"/>
                </a:lnTo>
                <a:lnTo>
                  <a:pt x="3998" y="43"/>
                </a:lnTo>
                <a:lnTo>
                  <a:pt x="4045" y="65"/>
                </a:lnTo>
                <a:lnTo>
                  <a:pt x="4088" y="93"/>
                </a:lnTo>
                <a:lnTo>
                  <a:pt x="4127" y="127"/>
                </a:lnTo>
                <a:lnTo>
                  <a:pt x="4161" y="166"/>
                </a:lnTo>
                <a:lnTo>
                  <a:pt x="4189" y="209"/>
                </a:lnTo>
                <a:lnTo>
                  <a:pt x="4213" y="257"/>
                </a:lnTo>
                <a:lnTo>
                  <a:pt x="4231" y="309"/>
                </a:lnTo>
                <a:lnTo>
                  <a:pt x="4245" y="363"/>
                </a:lnTo>
                <a:lnTo>
                  <a:pt x="4253" y="423"/>
                </a:lnTo>
                <a:lnTo>
                  <a:pt x="4257" y="486"/>
                </a:lnTo>
                <a:lnTo>
                  <a:pt x="4257" y="552"/>
                </a:lnTo>
                <a:lnTo>
                  <a:pt x="4252" y="621"/>
                </a:lnTo>
                <a:lnTo>
                  <a:pt x="4243" y="693"/>
                </a:lnTo>
                <a:lnTo>
                  <a:pt x="4230" y="767"/>
                </a:lnTo>
                <a:lnTo>
                  <a:pt x="4212" y="845"/>
                </a:lnTo>
                <a:lnTo>
                  <a:pt x="4189" y="924"/>
                </a:lnTo>
                <a:lnTo>
                  <a:pt x="4163" y="1005"/>
                </a:lnTo>
                <a:lnTo>
                  <a:pt x="4135" y="1089"/>
                </a:lnTo>
                <a:lnTo>
                  <a:pt x="4101" y="1174"/>
                </a:lnTo>
                <a:lnTo>
                  <a:pt x="4065" y="1261"/>
                </a:lnTo>
                <a:lnTo>
                  <a:pt x="4024" y="1347"/>
                </a:lnTo>
                <a:lnTo>
                  <a:pt x="3981" y="1437"/>
                </a:lnTo>
                <a:lnTo>
                  <a:pt x="3935" y="1527"/>
                </a:lnTo>
                <a:lnTo>
                  <a:pt x="3885" y="1616"/>
                </a:lnTo>
                <a:lnTo>
                  <a:pt x="3832" y="1707"/>
                </a:lnTo>
                <a:lnTo>
                  <a:pt x="3776" y="1799"/>
                </a:lnTo>
                <a:lnTo>
                  <a:pt x="3717" y="1890"/>
                </a:lnTo>
                <a:lnTo>
                  <a:pt x="3656" y="1981"/>
                </a:lnTo>
                <a:lnTo>
                  <a:pt x="3592" y="2072"/>
                </a:lnTo>
                <a:lnTo>
                  <a:pt x="3526" y="2161"/>
                </a:lnTo>
                <a:lnTo>
                  <a:pt x="3457" y="2251"/>
                </a:lnTo>
                <a:lnTo>
                  <a:pt x="3387" y="2339"/>
                </a:lnTo>
                <a:lnTo>
                  <a:pt x="3314" y="2428"/>
                </a:lnTo>
                <a:lnTo>
                  <a:pt x="3239" y="2513"/>
                </a:lnTo>
                <a:lnTo>
                  <a:pt x="3162" y="2598"/>
                </a:lnTo>
                <a:lnTo>
                  <a:pt x="3155" y="2605"/>
                </a:lnTo>
                <a:lnTo>
                  <a:pt x="3146" y="2615"/>
                </a:lnTo>
                <a:lnTo>
                  <a:pt x="3137" y="2625"/>
                </a:lnTo>
                <a:lnTo>
                  <a:pt x="3131" y="2638"/>
                </a:lnTo>
                <a:lnTo>
                  <a:pt x="3125" y="2653"/>
                </a:lnTo>
                <a:lnTo>
                  <a:pt x="3124" y="2672"/>
                </a:lnTo>
                <a:lnTo>
                  <a:pt x="3129" y="2694"/>
                </a:lnTo>
                <a:lnTo>
                  <a:pt x="3193" y="2960"/>
                </a:lnTo>
                <a:lnTo>
                  <a:pt x="3197" y="2995"/>
                </a:lnTo>
                <a:lnTo>
                  <a:pt x="3197" y="3033"/>
                </a:lnTo>
                <a:lnTo>
                  <a:pt x="3190" y="3070"/>
                </a:lnTo>
                <a:lnTo>
                  <a:pt x="3180" y="3108"/>
                </a:lnTo>
                <a:lnTo>
                  <a:pt x="3166" y="3144"/>
                </a:lnTo>
                <a:lnTo>
                  <a:pt x="3146" y="3175"/>
                </a:lnTo>
                <a:lnTo>
                  <a:pt x="3124" y="3203"/>
                </a:lnTo>
                <a:lnTo>
                  <a:pt x="2102" y="4223"/>
                </a:lnTo>
                <a:lnTo>
                  <a:pt x="2081" y="4240"/>
                </a:lnTo>
                <a:lnTo>
                  <a:pt x="2060" y="4250"/>
                </a:lnTo>
                <a:lnTo>
                  <a:pt x="2041" y="4255"/>
                </a:lnTo>
                <a:lnTo>
                  <a:pt x="2024" y="4253"/>
                </a:lnTo>
                <a:lnTo>
                  <a:pt x="2007" y="4244"/>
                </a:lnTo>
                <a:lnTo>
                  <a:pt x="1994" y="4229"/>
                </a:lnTo>
                <a:lnTo>
                  <a:pt x="1983" y="4209"/>
                </a:lnTo>
                <a:lnTo>
                  <a:pt x="1977" y="4181"/>
                </a:lnTo>
                <a:lnTo>
                  <a:pt x="1861" y="3444"/>
                </a:lnTo>
                <a:lnTo>
                  <a:pt x="1858" y="3409"/>
                </a:lnTo>
                <a:lnTo>
                  <a:pt x="1862" y="3371"/>
                </a:lnTo>
                <a:lnTo>
                  <a:pt x="1870" y="3332"/>
                </a:lnTo>
                <a:lnTo>
                  <a:pt x="1882" y="3295"/>
                </a:lnTo>
                <a:lnTo>
                  <a:pt x="1899" y="3260"/>
                </a:lnTo>
                <a:lnTo>
                  <a:pt x="1918" y="3227"/>
                </a:lnTo>
                <a:lnTo>
                  <a:pt x="1940" y="3200"/>
                </a:lnTo>
                <a:lnTo>
                  <a:pt x="1943" y="3197"/>
                </a:lnTo>
                <a:lnTo>
                  <a:pt x="1948" y="3191"/>
                </a:lnTo>
                <a:lnTo>
                  <a:pt x="1953" y="3182"/>
                </a:lnTo>
                <a:lnTo>
                  <a:pt x="1957" y="3169"/>
                </a:lnTo>
                <a:lnTo>
                  <a:pt x="1957" y="3155"/>
                </a:lnTo>
                <a:lnTo>
                  <a:pt x="1952" y="3139"/>
                </a:lnTo>
                <a:lnTo>
                  <a:pt x="1939" y="3122"/>
                </a:lnTo>
                <a:lnTo>
                  <a:pt x="1896" y="3079"/>
                </a:lnTo>
                <a:lnTo>
                  <a:pt x="1849" y="3033"/>
                </a:lnTo>
                <a:lnTo>
                  <a:pt x="1799" y="2982"/>
                </a:lnTo>
                <a:lnTo>
                  <a:pt x="1744" y="2927"/>
                </a:lnTo>
                <a:lnTo>
                  <a:pt x="1688" y="2872"/>
                </a:lnTo>
                <a:lnTo>
                  <a:pt x="1630" y="2813"/>
                </a:lnTo>
                <a:lnTo>
                  <a:pt x="1570" y="2753"/>
                </a:lnTo>
                <a:lnTo>
                  <a:pt x="1510" y="2694"/>
                </a:lnTo>
                <a:lnTo>
                  <a:pt x="1450" y="2634"/>
                </a:lnTo>
                <a:lnTo>
                  <a:pt x="1392" y="2576"/>
                </a:lnTo>
                <a:lnTo>
                  <a:pt x="1334" y="2518"/>
                </a:lnTo>
                <a:lnTo>
                  <a:pt x="1280" y="2464"/>
                </a:lnTo>
                <a:lnTo>
                  <a:pt x="1228" y="2411"/>
                </a:lnTo>
                <a:lnTo>
                  <a:pt x="1178" y="2363"/>
                </a:lnTo>
                <a:lnTo>
                  <a:pt x="1134" y="2319"/>
                </a:lnTo>
                <a:lnTo>
                  <a:pt x="1117" y="2306"/>
                </a:lnTo>
                <a:lnTo>
                  <a:pt x="1101" y="2302"/>
                </a:lnTo>
                <a:lnTo>
                  <a:pt x="1087" y="2302"/>
                </a:lnTo>
                <a:lnTo>
                  <a:pt x="1075" y="2306"/>
                </a:lnTo>
                <a:lnTo>
                  <a:pt x="1066" y="2311"/>
                </a:lnTo>
                <a:lnTo>
                  <a:pt x="1060" y="2316"/>
                </a:lnTo>
                <a:lnTo>
                  <a:pt x="1057" y="2319"/>
                </a:lnTo>
                <a:lnTo>
                  <a:pt x="1030" y="2341"/>
                </a:lnTo>
                <a:lnTo>
                  <a:pt x="997" y="2360"/>
                </a:lnTo>
                <a:lnTo>
                  <a:pt x="962" y="2377"/>
                </a:lnTo>
                <a:lnTo>
                  <a:pt x="925" y="2389"/>
                </a:lnTo>
                <a:lnTo>
                  <a:pt x="886" y="2396"/>
                </a:lnTo>
                <a:lnTo>
                  <a:pt x="848" y="2400"/>
                </a:lnTo>
                <a:lnTo>
                  <a:pt x="813" y="2398"/>
                </a:lnTo>
                <a:lnTo>
                  <a:pt x="74" y="2282"/>
                </a:lnTo>
                <a:lnTo>
                  <a:pt x="47" y="2276"/>
                </a:lnTo>
                <a:lnTo>
                  <a:pt x="26" y="2265"/>
                </a:lnTo>
                <a:lnTo>
                  <a:pt x="11" y="2252"/>
                </a:lnTo>
                <a:lnTo>
                  <a:pt x="2" y="2235"/>
                </a:lnTo>
                <a:lnTo>
                  <a:pt x="0" y="2219"/>
                </a:lnTo>
                <a:lnTo>
                  <a:pt x="5" y="2199"/>
                </a:lnTo>
                <a:lnTo>
                  <a:pt x="15" y="2178"/>
                </a:lnTo>
                <a:lnTo>
                  <a:pt x="32" y="2158"/>
                </a:lnTo>
                <a:lnTo>
                  <a:pt x="1055" y="1137"/>
                </a:lnTo>
                <a:lnTo>
                  <a:pt x="1082" y="1115"/>
                </a:lnTo>
                <a:lnTo>
                  <a:pt x="1113" y="1096"/>
                </a:lnTo>
                <a:lnTo>
                  <a:pt x="1150" y="1081"/>
                </a:lnTo>
                <a:lnTo>
                  <a:pt x="1187" y="1071"/>
                </a:lnTo>
                <a:lnTo>
                  <a:pt x="1225" y="1064"/>
                </a:lnTo>
                <a:lnTo>
                  <a:pt x="1263" y="1064"/>
                </a:lnTo>
                <a:lnTo>
                  <a:pt x="1298" y="1068"/>
                </a:lnTo>
                <a:lnTo>
                  <a:pt x="1576" y="1135"/>
                </a:lnTo>
                <a:lnTo>
                  <a:pt x="1601" y="1138"/>
                </a:lnTo>
                <a:lnTo>
                  <a:pt x="1623" y="1137"/>
                </a:lnTo>
                <a:lnTo>
                  <a:pt x="1641" y="1132"/>
                </a:lnTo>
                <a:lnTo>
                  <a:pt x="1658" y="1126"/>
                </a:lnTo>
                <a:lnTo>
                  <a:pt x="1671" y="1118"/>
                </a:lnTo>
                <a:lnTo>
                  <a:pt x="1682" y="1109"/>
                </a:lnTo>
                <a:lnTo>
                  <a:pt x="1691" y="1101"/>
                </a:lnTo>
                <a:lnTo>
                  <a:pt x="1775" y="1026"/>
                </a:lnTo>
                <a:lnTo>
                  <a:pt x="1861" y="950"/>
                </a:lnTo>
                <a:lnTo>
                  <a:pt x="1948" y="879"/>
                </a:lnTo>
                <a:lnTo>
                  <a:pt x="2035" y="807"/>
                </a:lnTo>
                <a:lnTo>
                  <a:pt x="2125" y="740"/>
                </a:lnTo>
                <a:lnTo>
                  <a:pt x="2214" y="674"/>
                </a:lnTo>
                <a:lnTo>
                  <a:pt x="2303" y="610"/>
                </a:lnTo>
                <a:lnTo>
                  <a:pt x="2394" y="548"/>
                </a:lnTo>
                <a:lnTo>
                  <a:pt x="2484" y="489"/>
                </a:lnTo>
                <a:lnTo>
                  <a:pt x="2574" y="434"/>
                </a:lnTo>
                <a:lnTo>
                  <a:pt x="2664" y="380"/>
                </a:lnTo>
                <a:lnTo>
                  <a:pt x="2752" y="330"/>
                </a:lnTo>
                <a:lnTo>
                  <a:pt x="2841" y="283"/>
                </a:lnTo>
                <a:lnTo>
                  <a:pt x="2928" y="239"/>
                </a:lnTo>
                <a:lnTo>
                  <a:pt x="3014" y="199"/>
                </a:lnTo>
                <a:lnTo>
                  <a:pt x="3098" y="161"/>
                </a:lnTo>
                <a:lnTo>
                  <a:pt x="3181" y="127"/>
                </a:lnTo>
                <a:lnTo>
                  <a:pt x="3263" y="97"/>
                </a:lnTo>
                <a:lnTo>
                  <a:pt x="3344" y="71"/>
                </a:lnTo>
                <a:lnTo>
                  <a:pt x="3421" y="49"/>
                </a:lnTo>
                <a:lnTo>
                  <a:pt x="3496" y="30"/>
                </a:lnTo>
                <a:lnTo>
                  <a:pt x="3570" y="17"/>
                </a:lnTo>
                <a:lnTo>
                  <a:pt x="3641" y="6"/>
                </a:lnTo>
                <a:lnTo>
                  <a:pt x="3708" y="0"/>
                </a:lnTo>
                <a:lnTo>
                  <a:pt x="3773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20" name="Picture Placeholder 19">
            <a:extLst>
              <a:ext uri="{FF2B5EF4-FFF2-40B4-BE49-F238E27FC236}">
                <a16:creationId xmlns:a16="http://schemas.microsoft.com/office/drawing/2014/main" id="{984A4287-3C99-4BA3-91D6-AB270919A5CB}"/>
              </a:ext>
            </a:extLst>
          </p:cNvPr>
          <p:cNvPicPr>
            <a:picLocks noGrp="1" noChangeAspect="1"/>
          </p:cNvPicPr>
          <p:nvPr>
            <p:ph type="pic" idx="14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86" t="3020" r="186" b="-92"/>
          <a:stretch/>
        </p:blipFill>
        <p:spPr>
          <a:xfrm>
            <a:off x="238518" y="226799"/>
            <a:ext cx="5760000" cy="5973975"/>
          </a:xfrm>
          <a:prstGeom prst="rect">
            <a:avLst/>
          </a:prstGeom>
        </p:spPr>
      </p:pic>
      <p:sp>
        <p:nvSpPr>
          <p:cNvPr id="80" name="Freeform 7">
            <a:extLst>
              <a:ext uri="{FF2B5EF4-FFF2-40B4-BE49-F238E27FC236}">
                <a16:creationId xmlns:a16="http://schemas.microsoft.com/office/drawing/2014/main" id="{AD4EF576-E3F2-46F5-9F4B-DB2BCD970E39}"/>
              </a:ext>
            </a:extLst>
          </p:cNvPr>
          <p:cNvSpPr>
            <a:spLocks noEditPoints="1"/>
          </p:cNvSpPr>
          <p:nvPr/>
        </p:nvSpPr>
        <p:spPr bwMode="auto">
          <a:xfrm rot="18876030">
            <a:off x="6804903" y="5268556"/>
            <a:ext cx="385976" cy="385789"/>
          </a:xfrm>
          <a:custGeom>
            <a:avLst/>
            <a:gdLst>
              <a:gd name="T0" fmla="*/ 3034 w 4257"/>
              <a:gd name="T1" fmla="*/ 658 h 4255"/>
              <a:gd name="T2" fmla="*/ 2863 w 4257"/>
              <a:gd name="T3" fmla="*/ 792 h 4255"/>
              <a:gd name="T4" fmla="*/ 2777 w 4257"/>
              <a:gd name="T5" fmla="*/ 985 h 4255"/>
              <a:gd name="T6" fmla="*/ 2790 w 4257"/>
              <a:gd name="T7" fmla="*/ 1193 h 4255"/>
              <a:gd name="T8" fmla="*/ 2900 w 4257"/>
              <a:gd name="T9" fmla="*/ 1376 h 4255"/>
              <a:gd name="T10" fmla="*/ 3084 w 4257"/>
              <a:gd name="T11" fmla="*/ 1486 h 4255"/>
              <a:gd name="T12" fmla="*/ 3292 w 4257"/>
              <a:gd name="T13" fmla="*/ 1499 h 4255"/>
              <a:gd name="T14" fmla="*/ 3484 w 4257"/>
              <a:gd name="T15" fmla="*/ 1412 h 4255"/>
              <a:gd name="T16" fmla="*/ 3618 w 4257"/>
              <a:gd name="T17" fmla="*/ 1242 h 4255"/>
              <a:gd name="T18" fmla="*/ 3656 w 4257"/>
              <a:gd name="T19" fmla="*/ 1037 h 4255"/>
              <a:gd name="T20" fmla="*/ 3595 w 4257"/>
              <a:gd name="T21" fmla="*/ 837 h 4255"/>
              <a:gd name="T22" fmla="*/ 3440 w 4257"/>
              <a:gd name="T23" fmla="*/ 683 h 4255"/>
              <a:gd name="T24" fmla="*/ 3240 w 4257"/>
              <a:gd name="T25" fmla="*/ 622 h 4255"/>
              <a:gd name="T26" fmla="*/ 3893 w 4257"/>
              <a:gd name="T27" fmla="*/ 12 h 4255"/>
              <a:gd name="T28" fmla="*/ 4088 w 4257"/>
              <a:gd name="T29" fmla="*/ 93 h 4255"/>
              <a:gd name="T30" fmla="*/ 4213 w 4257"/>
              <a:gd name="T31" fmla="*/ 257 h 4255"/>
              <a:gd name="T32" fmla="*/ 4257 w 4257"/>
              <a:gd name="T33" fmla="*/ 486 h 4255"/>
              <a:gd name="T34" fmla="*/ 4230 w 4257"/>
              <a:gd name="T35" fmla="*/ 767 h 4255"/>
              <a:gd name="T36" fmla="*/ 4135 w 4257"/>
              <a:gd name="T37" fmla="*/ 1089 h 4255"/>
              <a:gd name="T38" fmla="*/ 3981 w 4257"/>
              <a:gd name="T39" fmla="*/ 1437 h 4255"/>
              <a:gd name="T40" fmla="*/ 3776 w 4257"/>
              <a:gd name="T41" fmla="*/ 1799 h 4255"/>
              <a:gd name="T42" fmla="*/ 3526 w 4257"/>
              <a:gd name="T43" fmla="*/ 2161 h 4255"/>
              <a:gd name="T44" fmla="*/ 3239 w 4257"/>
              <a:gd name="T45" fmla="*/ 2513 h 4255"/>
              <a:gd name="T46" fmla="*/ 3137 w 4257"/>
              <a:gd name="T47" fmla="*/ 2625 h 4255"/>
              <a:gd name="T48" fmla="*/ 3129 w 4257"/>
              <a:gd name="T49" fmla="*/ 2694 h 4255"/>
              <a:gd name="T50" fmla="*/ 3190 w 4257"/>
              <a:gd name="T51" fmla="*/ 3070 h 4255"/>
              <a:gd name="T52" fmla="*/ 3124 w 4257"/>
              <a:gd name="T53" fmla="*/ 3203 h 4255"/>
              <a:gd name="T54" fmla="*/ 2041 w 4257"/>
              <a:gd name="T55" fmla="*/ 4255 h 4255"/>
              <a:gd name="T56" fmla="*/ 1983 w 4257"/>
              <a:gd name="T57" fmla="*/ 4209 h 4255"/>
              <a:gd name="T58" fmla="*/ 1862 w 4257"/>
              <a:gd name="T59" fmla="*/ 3371 h 4255"/>
              <a:gd name="T60" fmla="*/ 1918 w 4257"/>
              <a:gd name="T61" fmla="*/ 3227 h 4255"/>
              <a:gd name="T62" fmla="*/ 1953 w 4257"/>
              <a:gd name="T63" fmla="*/ 3182 h 4255"/>
              <a:gd name="T64" fmla="*/ 1939 w 4257"/>
              <a:gd name="T65" fmla="*/ 3122 h 4255"/>
              <a:gd name="T66" fmla="*/ 1744 w 4257"/>
              <a:gd name="T67" fmla="*/ 2927 h 4255"/>
              <a:gd name="T68" fmla="*/ 1510 w 4257"/>
              <a:gd name="T69" fmla="*/ 2694 h 4255"/>
              <a:gd name="T70" fmla="*/ 1280 w 4257"/>
              <a:gd name="T71" fmla="*/ 2464 h 4255"/>
              <a:gd name="T72" fmla="*/ 1117 w 4257"/>
              <a:gd name="T73" fmla="*/ 2306 h 4255"/>
              <a:gd name="T74" fmla="*/ 1066 w 4257"/>
              <a:gd name="T75" fmla="*/ 2311 h 4255"/>
              <a:gd name="T76" fmla="*/ 997 w 4257"/>
              <a:gd name="T77" fmla="*/ 2360 h 4255"/>
              <a:gd name="T78" fmla="*/ 848 w 4257"/>
              <a:gd name="T79" fmla="*/ 2400 h 4255"/>
              <a:gd name="T80" fmla="*/ 26 w 4257"/>
              <a:gd name="T81" fmla="*/ 2265 h 4255"/>
              <a:gd name="T82" fmla="*/ 5 w 4257"/>
              <a:gd name="T83" fmla="*/ 2199 h 4255"/>
              <a:gd name="T84" fmla="*/ 1082 w 4257"/>
              <a:gd name="T85" fmla="*/ 1115 h 4255"/>
              <a:gd name="T86" fmla="*/ 1225 w 4257"/>
              <a:gd name="T87" fmla="*/ 1064 h 4255"/>
              <a:gd name="T88" fmla="*/ 1601 w 4257"/>
              <a:gd name="T89" fmla="*/ 1138 h 4255"/>
              <a:gd name="T90" fmla="*/ 1671 w 4257"/>
              <a:gd name="T91" fmla="*/ 1118 h 4255"/>
              <a:gd name="T92" fmla="*/ 1861 w 4257"/>
              <a:gd name="T93" fmla="*/ 950 h 4255"/>
              <a:gd name="T94" fmla="*/ 2214 w 4257"/>
              <a:gd name="T95" fmla="*/ 674 h 4255"/>
              <a:gd name="T96" fmla="*/ 2574 w 4257"/>
              <a:gd name="T97" fmla="*/ 434 h 4255"/>
              <a:gd name="T98" fmla="*/ 2928 w 4257"/>
              <a:gd name="T99" fmla="*/ 239 h 4255"/>
              <a:gd name="T100" fmla="*/ 3263 w 4257"/>
              <a:gd name="T101" fmla="*/ 97 h 4255"/>
              <a:gd name="T102" fmla="*/ 3570 w 4257"/>
              <a:gd name="T103" fmla="*/ 17 h 4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257" h="4255">
                <a:moveTo>
                  <a:pt x="3188" y="622"/>
                </a:moveTo>
                <a:lnTo>
                  <a:pt x="3136" y="628"/>
                </a:lnTo>
                <a:lnTo>
                  <a:pt x="3084" y="640"/>
                </a:lnTo>
                <a:lnTo>
                  <a:pt x="3034" y="658"/>
                </a:lnTo>
                <a:lnTo>
                  <a:pt x="2986" y="683"/>
                </a:lnTo>
                <a:lnTo>
                  <a:pt x="2942" y="714"/>
                </a:lnTo>
                <a:lnTo>
                  <a:pt x="2900" y="750"/>
                </a:lnTo>
                <a:lnTo>
                  <a:pt x="2863" y="792"/>
                </a:lnTo>
                <a:lnTo>
                  <a:pt x="2833" y="837"/>
                </a:lnTo>
                <a:lnTo>
                  <a:pt x="2808" y="885"/>
                </a:lnTo>
                <a:lnTo>
                  <a:pt x="2790" y="935"/>
                </a:lnTo>
                <a:lnTo>
                  <a:pt x="2777" y="985"/>
                </a:lnTo>
                <a:lnTo>
                  <a:pt x="2772" y="1037"/>
                </a:lnTo>
                <a:lnTo>
                  <a:pt x="2772" y="1089"/>
                </a:lnTo>
                <a:lnTo>
                  <a:pt x="2777" y="1141"/>
                </a:lnTo>
                <a:lnTo>
                  <a:pt x="2790" y="1193"/>
                </a:lnTo>
                <a:lnTo>
                  <a:pt x="2808" y="1242"/>
                </a:lnTo>
                <a:lnTo>
                  <a:pt x="2833" y="1289"/>
                </a:lnTo>
                <a:lnTo>
                  <a:pt x="2863" y="1335"/>
                </a:lnTo>
                <a:lnTo>
                  <a:pt x="2900" y="1376"/>
                </a:lnTo>
                <a:lnTo>
                  <a:pt x="2942" y="1412"/>
                </a:lnTo>
                <a:lnTo>
                  <a:pt x="2986" y="1444"/>
                </a:lnTo>
                <a:lnTo>
                  <a:pt x="3034" y="1468"/>
                </a:lnTo>
                <a:lnTo>
                  <a:pt x="3084" y="1486"/>
                </a:lnTo>
                <a:lnTo>
                  <a:pt x="3136" y="1499"/>
                </a:lnTo>
                <a:lnTo>
                  <a:pt x="3188" y="1505"/>
                </a:lnTo>
                <a:lnTo>
                  <a:pt x="3240" y="1505"/>
                </a:lnTo>
                <a:lnTo>
                  <a:pt x="3292" y="1499"/>
                </a:lnTo>
                <a:lnTo>
                  <a:pt x="3343" y="1486"/>
                </a:lnTo>
                <a:lnTo>
                  <a:pt x="3392" y="1468"/>
                </a:lnTo>
                <a:lnTo>
                  <a:pt x="3440" y="1444"/>
                </a:lnTo>
                <a:lnTo>
                  <a:pt x="3484" y="1412"/>
                </a:lnTo>
                <a:lnTo>
                  <a:pt x="3527" y="1376"/>
                </a:lnTo>
                <a:lnTo>
                  <a:pt x="3564" y="1335"/>
                </a:lnTo>
                <a:lnTo>
                  <a:pt x="3595" y="1289"/>
                </a:lnTo>
                <a:lnTo>
                  <a:pt x="3618" y="1242"/>
                </a:lnTo>
                <a:lnTo>
                  <a:pt x="3638" y="1193"/>
                </a:lnTo>
                <a:lnTo>
                  <a:pt x="3650" y="1141"/>
                </a:lnTo>
                <a:lnTo>
                  <a:pt x="3656" y="1089"/>
                </a:lnTo>
                <a:lnTo>
                  <a:pt x="3656" y="1037"/>
                </a:lnTo>
                <a:lnTo>
                  <a:pt x="3650" y="985"/>
                </a:lnTo>
                <a:lnTo>
                  <a:pt x="3638" y="935"/>
                </a:lnTo>
                <a:lnTo>
                  <a:pt x="3618" y="885"/>
                </a:lnTo>
                <a:lnTo>
                  <a:pt x="3595" y="837"/>
                </a:lnTo>
                <a:lnTo>
                  <a:pt x="3564" y="792"/>
                </a:lnTo>
                <a:lnTo>
                  <a:pt x="3527" y="750"/>
                </a:lnTo>
                <a:lnTo>
                  <a:pt x="3484" y="714"/>
                </a:lnTo>
                <a:lnTo>
                  <a:pt x="3440" y="683"/>
                </a:lnTo>
                <a:lnTo>
                  <a:pt x="3392" y="658"/>
                </a:lnTo>
                <a:lnTo>
                  <a:pt x="3343" y="640"/>
                </a:lnTo>
                <a:lnTo>
                  <a:pt x="3292" y="628"/>
                </a:lnTo>
                <a:lnTo>
                  <a:pt x="3240" y="622"/>
                </a:lnTo>
                <a:lnTo>
                  <a:pt x="3188" y="622"/>
                </a:lnTo>
                <a:close/>
                <a:moveTo>
                  <a:pt x="3773" y="0"/>
                </a:moveTo>
                <a:lnTo>
                  <a:pt x="3834" y="3"/>
                </a:lnTo>
                <a:lnTo>
                  <a:pt x="3893" y="12"/>
                </a:lnTo>
                <a:lnTo>
                  <a:pt x="3948" y="25"/>
                </a:lnTo>
                <a:lnTo>
                  <a:pt x="3998" y="43"/>
                </a:lnTo>
                <a:lnTo>
                  <a:pt x="4045" y="65"/>
                </a:lnTo>
                <a:lnTo>
                  <a:pt x="4088" y="93"/>
                </a:lnTo>
                <a:lnTo>
                  <a:pt x="4127" y="127"/>
                </a:lnTo>
                <a:lnTo>
                  <a:pt x="4161" y="166"/>
                </a:lnTo>
                <a:lnTo>
                  <a:pt x="4189" y="209"/>
                </a:lnTo>
                <a:lnTo>
                  <a:pt x="4213" y="257"/>
                </a:lnTo>
                <a:lnTo>
                  <a:pt x="4231" y="309"/>
                </a:lnTo>
                <a:lnTo>
                  <a:pt x="4245" y="363"/>
                </a:lnTo>
                <a:lnTo>
                  <a:pt x="4253" y="423"/>
                </a:lnTo>
                <a:lnTo>
                  <a:pt x="4257" y="486"/>
                </a:lnTo>
                <a:lnTo>
                  <a:pt x="4257" y="552"/>
                </a:lnTo>
                <a:lnTo>
                  <a:pt x="4252" y="621"/>
                </a:lnTo>
                <a:lnTo>
                  <a:pt x="4243" y="693"/>
                </a:lnTo>
                <a:lnTo>
                  <a:pt x="4230" y="767"/>
                </a:lnTo>
                <a:lnTo>
                  <a:pt x="4212" y="845"/>
                </a:lnTo>
                <a:lnTo>
                  <a:pt x="4189" y="924"/>
                </a:lnTo>
                <a:lnTo>
                  <a:pt x="4163" y="1005"/>
                </a:lnTo>
                <a:lnTo>
                  <a:pt x="4135" y="1089"/>
                </a:lnTo>
                <a:lnTo>
                  <a:pt x="4101" y="1174"/>
                </a:lnTo>
                <a:lnTo>
                  <a:pt x="4065" y="1261"/>
                </a:lnTo>
                <a:lnTo>
                  <a:pt x="4024" y="1347"/>
                </a:lnTo>
                <a:lnTo>
                  <a:pt x="3981" y="1437"/>
                </a:lnTo>
                <a:lnTo>
                  <a:pt x="3935" y="1527"/>
                </a:lnTo>
                <a:lnTo>
                  <a:pt x="3885" y="1616"/>
                </a:lnTo>
                <a:lnTo>
                  <a:pt x="3832" y="1707"/>
                </a:lnTo>
                <a:lnTo>
                  <a:pt x="3776" y="1799"/>
                </a:lnTo>
                <a:lnTo>
                  <a:pt x="3717" y="1890"/>
                </a:lnTo>
                <a:lnTo>
                  <a:pt x="3656" y="1981"/>
                </a:lnTo>
                <a:lnTo>
                  <a:pt x="3592" y="2072"/>
                </a:lnTo>
                <a:lnTo>
                  <a:pt x="3526" y="2161"/>
                </a:lnTo>
                <a:lnTo>
                  <a:pt x="3457" y="2251"/>
                </a:lnTo>
                <a:lnTo>
                  <a:pt x="3387" y="2339"/>
                </a:lnTo>
                <a:lnTo>
                  <a:pt x="3314" y="2428"/>
                </a:lnTo>
                <a:lnTo>
                  <a:pt x="3239" y="2513"/>
                </a:lnTo>
                <a:lnTo>
                  <a:pt x="3162" y="2598"/>
                </a:lnTo>
                <a:lnTo>
                  <a:pt x="3155" y="2605"/>
                </a:lnTo>
                <a:lnTo>
                  <a:pt x="3146" y="2615"/>
                </a:lnTo>
                <a:lnTo>
                  <a:pt x="3137" y="2625"/>
                </a:lnTo>
                <a:lnTo>
                  <a:pt x="3131" y="2638"/>
                </a:lnTo>
                <a:lnTo>
                  <a:pt x="3125" y="2653"/>
                </a:lnTo>
                <a:lnTo>
                  <a:pt x="3124" y="2672"/>
                </a:lnTo>
                <a:lnTo>
                  <a:pt x="3129" y="2694"/>
                </a:lnTo>
                <a:lnTo>
                  <a:pt x="3193" y="2960"/>
                </a:lnTo>
                <a:lnTo>
                  <a:pt x="3197" y="2995"/>
                </a:lnTo>
                <a:lnTo>
                  <a:pt x="3197" y="3033"/>
                </a:lnTo>
                <a:lnTo>
                  <a:pt x="3190" y="3070"/>
                </a:lnTo>
                <a:lnTo>
                  <a:pt x="3180" y="3108"/>
                </a:lnTo>
                <a:lnTo>
                  <a:pt x="3166" y="3144"/>
                </a:lnTo>
                <a:lnTo>
                  <a:pt x="3146" y="3175"/>
                </a:lnTo>
                <a:lnTo>
                  <a:pt x="3124" y="3203"/>
                </a:lnTo>
                <a:lnTo>
                  <a:pt x="2102" y="4223"/>
                </a:lnTo>
                <a:lnTo>
                  <a:pt x="2081" y="4240"/>
                </a:lnTo>
                <a:lnTo>
                  <a:pt x="2060" y="4250"/>
                </a:lnTo>
                <a:lnTo>
                  <a:pt x="2041" y="4255"/>
                </a:lnTo>
                <a:lnTo>
                  <a:pt x="2024" y="4253"/>
                </a:lnTo>
                <a:lnTo>
                  <a:pt x="2007" y="4244"/>
                </a:lnTo>
                <a:lnTo>
                  <a:pt x="1994" y="4229"/>
                </a:lnTo>
                <a:lnTo>
                  <a:pt x="1983" y="4209"/>
                </a:lnTo>
                <a:lnTo>
                  <a:pt x="1977" y="4181"/>
                </a:lnTo>
                <a:lnTo>
                  <a:pt x="1861" y="3444"/>
                </a:lnTo>
                <a:lnTo>
                  <a:pt x="1858" y="3409"/>
                </a:lnTo>
                <a:lnTo>
                  <a:pt x="1862" y="3371"/>
                </a:lnTo>
                <a:lnTo>
                  <a:pt x="1870" y="3332"/>
                </a:lnTo>
                <a:lnTo>
                  <a:pt x="1882" y="3295"/>
                </a:lnTo>
                <a:lnTo>
                  <a:pt x="1899" y="3260"/>
                </a:lnTo>
                <a:lnTo>
                  <a:pt x="1918" y="3227"/>
                </a:lnTo>
                <a:lnTo>
                  <a:pt x="1940" y="3200"/>
                </a:lnTo>
                <a:lnTo>
                  <a:pt x="1943" y="3197"/>
                </a:lnTo>
                <a:lnTo>
                  <a:pt x="1948" y="3191"/>
                </a:lnTo>
                <a:lnTo>
                  <a:pt x="1953" y="3182"/>
                </a:lnTo>
                <a:lnTo>
                  <a:pt x="1957" y="3169"/>
                </a:lnTo>
                <a:lnTo>
                  <a:pt x="1957" y="3155"/>
                </a:lnTo>
                <a:lnTo>
                  <a:pt x="1952" y="3139"/>
                </a:lnTo>
                <a:lnTo>
                  <a:pt x="1939" y="3122"/>
                </a:lnTo>
                <a:lnTo>
                  <a:pt x="1896" y="3079"/>
                </a:lnTo>
                <a:lnTo>
                  <a:pt x="1849" y="3033"/>
                </a:lnTo>
                <a:lnTo>
                  <a:pt x="1799" y="2982"/>
                </a:lnTo>
                <a:lnTo>
                  <a:pt x="1744" y="2927"/>
                </a:lnTo>
                <a:lnTo>
                  <a:pt x="1688" y="2872"/>
                </a:lnTo>
                <a:lnTo>
                  <a:pt x="1630" y="2813"/>
                </a:lnTo>
                <a:lnTo>
                  <a:pt x="1570" y="2753"/>
                </a:lnTo>
                <a:lnTo>
                  <a:pt x="1510" y="2694"/>
                </a:lnTo>
                <a:lnTo>
                  <a:pt x="1450" y="2634"/>
                </a:lnTo>
                <a:lnTo>
                  <a:pt x="1392" y="2576"/>
                </a:lnTo>
                <a:lnTo>
                  <a:pt x="1334" y="2518"/>
                </a:lnTo>
                <a:lnTo>
                  <a:pt x="1280" y="2464"/>
                </a:lnTo>
                <a:lnTo>
                  <a:pt x="1228" y="2411"/>
                </a:lnTo>
                <a:lnTo>
                  <a:pt x="1178" y="2363"/>
                </a:lnTo>
                <a:lnTo>
                  <a:pt x="1134" y="2319"/>
                </a:lnTo>
                <a:lnTo>
                  <a:pt x="1117" y="2306"/>
                </a:lnTo>
                <a:lnTo>
                  <a:pt x="1101" y="2302"/>
                </a:lnTo>
                <a:lnTo>
                  <a:pt x="1087" y="2302"/>
                </a:lnTo>
                <a:lnTo>
                  <a:pt x="1075" y="2306"/>
                </a:lnTo>
                <a:lnTo>
                  <a:pt x="1066" y="2311"/>
                </a:lnTo>
                <a:lnTo>
                  <a:pt x="1060" y="2316"/>
                </a:lnTo>
                <a:lnTo>
                  <a:pt x="1057" y="2319"/>
                </a:lnTo>
                <a:lnTo>
                  <a:pt x="1030" y="2341"/>
                </a:lnTo>
                <a:lnTo>
                  <a:pt x="997" y="2360"/>
                </a:lnTo>
                <a:lnTo>
                  <a:pt x="962" y="2377"/>
                </a:lnTo>
                <a:lnTo>
                  <a:pt x="925" y="2389"/>
                </a:lnTo>
                <a:lnTo>
                  <a:pt x="886" y="2396"/>
                </a:lnTo>
                <a:lnTo>
                  <a:pt x="848" y="2400"/>
                </a:lnTo>
                <a:lnTo>
                  <a:pt x="813" y="2398"/>
                </a:lnTo>
                <a:lnTo>
                  <a:pt x="74" y="2282"/>
                </a:lnTo>
                <a:lnTo>
                  <a:pt x="47" y="2276"/>
                </a:lnTo>
                <a:lnTo>
                  <a:pt x="26" y="2265"/>
                </a:lnTo>
                <a:lnTo>
                  <a:pt x="11" y="2252"/>
                </a:lnTo>
                <a:lnTo>
                  <a:pt x="2" y="2235"/>
                </a:lnTo>
                <a:lnTo>
                  <a:pt x="0" y="2219"/>
                </a:lnTo>
                <a:lnTo>
                  <a:pt x="5" y="2199"/>
                </a:lnTo>
                <a:lnTo>
                  <a:pt x="15" y="2178"/>
                </a:lnTo>
                <a:lnTo>
                  <a:pt x="32" y="2158"/>
                </a:lnTo>
                <a:lnTo>
                  <a:pt x="1055" y="1137"/>
                </a:lnTo>
                <a:lnTo>
                  <a:pt x="1082" y="1115"/>
                </a:lnTo>
                <a:lnTo>
                  <a:pt x="1113" y="1096"/>
                </a:lnTo>
                <a:lnTo>
                  <a:pt x="1150" y="1081"/>
                </a:lnTo>
                <a:lnTo>
                  <a:pt x="1187" y="1071"/>
                </a:lnTo>
                <a:lnTo>
                  <a:pt x="1225" y="1064"/>
                </a:lnTo>
                <a:lnTo>
                  <a:pt x="1263" y="1064"/>
                </a:lnTo>
                <a:lnTo>
                  <a:pt x="1298" y="1068"/>
                </a:lnTo>
                <a:lnTo>
                  <a:pt x="1576" y="1135"/>
                </a:lnTo>
                <a:lnTo>
                  <a:pt x="1601" y="1138"/>
                </a:lnTo>
                <a:lnTo>
                  <a:pt x="1623" y="1137"/>
                </a:lnTo>
                <a:lnTo>
                  <a:pt x="1641" y="1132"/>
                </a:lnTo>
                <a:lnTo>
                  <a:pt x="1658" y="1126"/>
                </a:lnTo>
                <a:lnTo>
                  <a:pt x="1671" y="1118"/>
                </a:lnTo>
                <a:lnTo>
                  <a:pt x="1682" y="1109"/>
                </a:lnTo>
                <a:lnTo>
                  <a:pt x="1691" y="1101"/>
                </a:lnTo>
                <a:lnTo>
                  <a:pt x="1775" y="1026"/>
                </a:lnTo>
                <a:lnTo>
                  <a:pt x="1861" y="950"/>
                </a:lnTo>
                <a:lnTo>
                  <a:pt x="1948" y="879"/>
                </a:lnTo>
                <a:lnTo>
                  <a:pt x="2035" y="807"/>
                </a:lnTo>
                <a:lnTo>
                  <a:pt x="2125" y="740"/>
                </a:lnTo>
                <a:lnTo>
                  <a:pt x="2214" y="674"/>
                </a:lnTo>
                <a:lnTo>
                  <a:pt x="2303" y="610"/>
                </a:lnTo>
                <a:lnTo>
                  <a:pt x="2394" y="548"/>
                </a:lnTo>
                <a:lnTo>
                  <a:pt x="2484" y="489"/>
                </a:lnTo>
                <a:lnTo>
                  <a:pt x="2574" y="434"/>
                </a:lnTo>
                <a:lnTo>
                  <a:pt x="2664" y="380"/>
                </a:lnTo>
                <a:lnTo>
                  <a:pt x="2752" y="330"/>
                </a:lnTo>
                <a:lnTo>
                  <a:pt x="2841" y="283"/>
                </a:lnTo>
                <a:lnTo>
                  <a:pt x="2928" y="239"/>
                </a:lnTo>
                <a:lnTo>
                  <a:pt x="3014" y="199"/>
                </a:lnTo>
                <a:lnTo>
                  <a:pt x="3098" y="161"/>
                </a:lnTo>
                <a:lnTo>
                  <a:pt x="3181" y="127"/>
                </a:lnTo>
                <a:lnTo>
                  <a:pt x="3263" y="97"/>
                </a:lnTo>
                <a:lnTo>
                  <a:pt x="3344" y="71"/>
                </a:lnTo>
                <a:lnTo>
                  <a:pt x="3421" y="49"/>
                </a:lnTo>
                <a:lnTo>
                  <a:pt x="3496" y="30"/>
                </a:lnTo>
                <a:lnTo>
                  <a:pt x="3570" y="17"/>
                </a:lnTo>
                <a:lnTo>
                  <a:pt x="3641" y="6"/>
                </a:lnTo>
                <a:lnTo>
                  <a:pt x="3708" y="0"/>
                </a:lnTo>
                <a:lnTo>
                  <a:pt x="3773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1804303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Oval 123">
            <a:extLst>
              <a:ext uri="{FF2B5EF4-FFF2-40B4-BE49-F238E27FC236}">
                <a16:creationId xmlns:a16="http://schemas.microsoft.com/office/drawing/2014/main" id="{8FE642E6-6CA7-4499-B44A-09959F857A32}"/>
              </a:ext>
            </a:extLst>
          </p:cNvPr>
          <p:cNvSpPr/>
          <p:nvPr/>
        </p:nvSpPr>
        <p:spPr>
          <a:xfrm>
            <a:off x="10932061" y="4430159"/>
            <a:ext cx="708555" cy="103029"/>
          </a:xfrm>
          <a:prstGeom prst="ellipse">
            <a:avLst/>
          </a:prstGeom>
          <a:solidFill>
            <a:schemeClr val="bg2">
              <a:lumMod val="50000"/>
              <a:alpha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DA25B580-F449-4737-A1C0-6BFEC54FF2F7}"/>
              </a:ext>
            </a:extLst>
          </p:cNvPr>
          <p:cNvSpPr/>
          <p:nvPr/>
        </p:nvSpPr>
        <p:spPr>
          <a:xfrm>
            <a:off x="6867669" y="1847299"/>
            <a:ext cx="708555" cy="127428"/>
          </a:xfrm>
          <a:prstGeom prst="ellipse">
            <a:avLst/>
          </a:prstGeom>
          <a:solidFill>
            <a:schemeClr val="bg2">
              <a:lumMod val="50000"/>
              <a:alpha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306FA754-E287-4BB0-843C-4B290524D7A1}"/>
              </a:ext>
            </a:extLst>
          </p:cNvPr>
          <p:cNvSpPr/>
          <p:nvPr/>
        </p:nvSpPr>
        <p:spPr>
          <a:xfrm>
            <a:off x="8568487" y="1847299"/>
            <a:ext cx="708555" cy="127428"/>
          </a:xfrm>
          <a:prstGeom prst="ellipse">
            <a:avLst/>
          </a:prstGeom>
          <a:solidFill>
            <a:schemeClr val="bg2">
              <a:lumMod val="50000"/>
              <a:alpha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248C2385-B603-4DC5-ACBA-0CE7A2445B2D}"/>
              </a:ext>
            </a:extLst>
          </p:cNvPr>
          <p:cNvSpPr/>
          <p:nvPr/>
        </p:nvSpPr>
        <p:spPr>
          <a:xfrm>
            <a:off x="10725011" y="1847299"/>
            <a:ext cx="708555" cy="127428"/>
          </a:xfrm>
          <a:prstGeom prst="ellipse">
            <a:avLst/>
          </a:prstGeom>
          <a:solidFill>
            <a:schemeClr val="bg2">
              <a:lumMod val="50000"/>
              <a:alpha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196207" y="242645"/>
            <a:ext cx="5161606" cy="954107"/>
          </a:xfrm>
        </p:spPr>
        <p:txBody>
          <a:bodyPr/>
          <a:lstStyle/>
          <a:p>
            <a:r>
              <a:rPr lang="ru-RU" dirty="0"/>
              <a:t>Цифровая </a:t>
            </a:r>
            <a:br>
              <a:rPr lang="en-US" dirty="0"/>
            </a:br>
            <a:r>
              <a:rPr lang="ru-RU" dirty="0"/>
              <a:t>коммерческая компания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9774A0D-D760-47AE-A22B-D8CB9A42A4B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147186" y="6372702"/>
            <a:ext cx="1319272" cy="169277"/>
          </a:xfrm>
        </p:spPr>
        <p:txBody>
          <a:bodyPr/>
          <a:lstStyle/>
          <a:p>
            <a:r>
              <a:rPr lang="ru-RU"/>
              <a:t>* Данные по состоянию на 30 июня 2020 г.</a:t>
            </a:r>
          </a:p>
        </p:txBody>
      </p:sp>
      <p:sp>
        <p:nvSpPr>
          <p:cNvPr id="5" name="Titre 1"/>
          <p:cNvSpPr txBox="1">
            <a:spLocks/>
          </p:cNvSpPr>
          <p:nvPr/>
        </p:nvSpPr>
        <p:spPr>
          <a:xfrm>
            <a:off x="329417" y="145171"/>
            <a:ext cx="10922600" cy="5159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 cap="none" baseline="0">
                <a:solidFill>
                  <a:srgbClr val="FFFFF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7601641" y="3512123"/>
            <a:ext cx="1569726" cy="1053946"/>
            <a:chOff x="1880489" y="2004782"/>
            <a:chExt cx="1569726" cy="1053946"/>
          </a:xfrm>
        </p:grpSpPr>
        <p:sp>
          <p:nvSpPr>
            <p:cNvPr id="50" name="Rectangle 49"/>
            <p:cNvSpPr/>
            <p:nvPr/>
          </p:nvSpPr>
          <p:spPr>
            <a:xfrm>
              <a:off x="1880489" y="2004782"/>
              <a:ext cx="1376339" cy="707886"/>
            </a:xfrm>
            <a:prstGeom prst="rect">
              <a:avLst/>
            </a:prstGeom>
          </p:spPr>
          <p:txBody>
            <a:bodyPr wrap="none" lIns="0">
              <a:spAutoFit/>
            </a:bodyPr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ru-RU" sz="4000" b="1" i="0" u="none" strike="noStrike" cap="none" normalizeH="0" baseline="0" noProof="0">
                  <a:ln>
                    <a:noFill/>
                  </a:ln>
                  <a:solidFill>
                    <a:schemeClr val="accent1"/>
                  </a:solidFill>
                  <a:uLnTx/>
                  <a:uFillTx/>
                </a:rPr>
                <a:t>1000</a:t>
              </a: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2020145" y="2535508"/>
              <a:ext cx="1430070" cy="523220"/>
            </a:xfrm>
            <a:prstGeom prst="rect">
              <a:avLst/>
            </a:prstGeom>
          </p:spPr>
          <p:txBody>
            <a:bodyPr wrap="none" lIns="0">
              <a:spAutoFit/>
            </a:bodyPr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ru-RU" sz="1400" b="1" i="0" u="none" strike="noStrike" cap="none" normalizeH="0" baseline="0" noProof="0" dirty="0">
                  <a:ln>
                    <a:noFill/>
                  </a:ln>
                  <a:solidFill>
                    <a:schemeClr val="accent1"/>
                  </a:solidFill>
                  <a:uLnTx/>
                  <a:uFillTx/>
                </a:rPr>
                <a:t>Специалистов </a:t>
              </a:r>
            </a:p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ru-RU" sz="1400" b="1" i="0" u="none" strike="noStrike" cap="none" normalizeH="0" baseline="0" noProof="0" dirty="0">
                  <a:ln>
                    <a:noFill/>
                  </a:ln>
                  <a:solidFill>
                    <a:schemeClr val="accent1"/>
                  </a:solidFill>
                  <a:uLnTx/>
                  <a:uFillTx/>
                </a:rPr>
                <a:t>отрасли</a:t>
              </a: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9850188" y="3613271"/>
            <a:ext cx="823302" cy="822328"/>
            <a:chOff x="1922965" y="1953388"/>
            <a:chExt cx="823302" cy="822328"/>
          </a:xfrm>
        </p:grpSpPr>
        <p:sp>
          <p:nvSpPr>
            <p:cNvPr id="53" name="Rectangle 52"/>
            <p:cNvSpPr/>
            <p:nvPr/>
          </p:nvSpPr>
          <p:spPr>
            <a:xfrm>
              <a:off x="1922965" y="1953388"/>
              <a:ext cx="823302" cy="707886"/>
            </a:xfrm>
            <a:prstGeom prst="rect">
              <a:avLst/>
            </a:prstGeom>
          </p:spPr>
          <p:txBody>
            <a:bodyPr wrap="none" lIns="0">
              <a:spAutoFit/>
            </a:bodyPr>
            <a:lstStyle/>
            <a:p>
              <a:pPr marL="0" marR="0" lvl="0" indent="0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ru-RU" sz="4000" b="1" i="0" u="none" strike="noStrike" cap="none" normalizeH="0" baseline="0" noProof="0" dirty="0">
                  <a:ln>
                    <a:noFill/>
                  </a:ln>
                  <a:solidFill>
                    <a:schemeClr val="accent1"/>
                  </a:solidFill>
                  <a:uLnTx/>
                  <a:uFillTx/>
                </a:rPr>
                <a:t>46</a:t>
              </a: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1945205" y="2467939"/>
              <a:ext cx="597279" cy="307777"/>
            </a:xfrm>
            <a:prstGeom prst="rect">
              <a:avLst/>
            </a:prstGeom>
          </p:spPr>
          <p:txBody>
            <a:bodyPr wrap="none" lIns="0">
              <a:spAutoFit/>
            </a:bodyPr>
            <a:lstStyle/>
            <a:p>
              <a:pPr marL="0" marR="0" lvl="0" indent="0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lang="ru-RU" sz="1400" b="1" dirty="0">
                  <a:solidFill>
                    <a:schemeClr val="accent1"/>
                  </a:solidFill>
                </a:rPr>
                <a:t>стран</a:t>
              </a:r>
              <a:endParaRPr kumimoji="0" lang="ru-RU" sz="1400" b="1" i="0" u="none" strike="noStrike" cap="none" normalizeH="0" baseline="0" noProof="0" dirty="0">
                <a:ln>
                  <a:noFill/>
                </a:ln>
                <a:solidFill>
                  <a:schemeClr val="accent1"/>
                </a:solidFill>
                <a:uLnTx/>
                <a:uFillTx/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6312024" y="4937784"/>
            <a:ext cx="5758550" cy="769441"/>
            <a:chOff x="-1487585" y="1953388"/>
            <a:chExt cx="5758550" cy="769441"/>
          </a:xfrm>
        </p:grpSpPr>
        <p:sp>
          <p:nvSpPr>
            <p:cNvPr id="56" name="Rectangle 55"/>
            <p:cNvSpPr/>
            <p:nvPr/>
          </p:nvSpPr>
          <p:spPr>
            <a:xfrm>
              <a:off x="-1487585" y="2178970"/>
              <a:ext cx="1139094" cy="338554"/>
            </a:xfrm>
            <a:prstGeom prst="rect">
              <a:avLst/>
            </a:prstGeom>
          </p:spPr>
          <p:txBody>
            <a:bodyPr wrap="none" lIns="0">
              <a:spAutoFit/>
            </a:bodyPr>
            <a:lstStyle/>
            <a:p>
              <a:pPr marL="0" marR="0" lvl="0" indent="0" algn="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ru-RU" sz="1600" b="1" i="0" u="none" strike="noStrike" cap="none" normalizeH="0" baseline="0" noProof="0" dirty="0">
                  <a:ln>
                    <a:noFill/>
                  </a:ln>
                  <a:solidFill>
                    <a:schemeClr val="accent2"/>
                  </a:solidFill>
                  <a:uLnTx/>
                  <a:uFillTx/>
                </a:rPr>
                <a:t>Доходы*</a:t>
              </a: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-205966" y="1953388"/>
              <a:ext cx="4476931" cy="769441"/>
            </a:xfrm>
            <a:prstGeom prst="rect">
              <a:avLst/>
            </a:prstGeom>
          </p:spPr>
          <p:txBody>
            <a:bodyPr wrap="none" lIns="0">
              <a:spAutoFit/>
            </a:bodyPr>
            <a:lstStyle/>
            <a:p>
              <a:pPr marL="0" marR="0" lvl="0" indent="0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ru-RU" sz="4400" b="1" i="0" u="none" strike="noStrike" cap="none" normalizeH="0" baseline="0" noProof="0" dirty="0">
                  <a:ln>
                    <a:noFill/>
                  </a:ln>
                  <a:solidFill>
                    <a:schemeClr val="bg2"/>
                  </a:solidFill>
                  <a:uLnTx/>
                  <a:uFillTx/>
                </a:rPr>
                <a:t>1,27 млрд. евро</a:t>
              </a:r>
            </a:p>
          </p:txBody>
        </p:sp>
      </p:grpSp>
      <p:cxnSp>
        <p:nvCxnSpPr>
          <p:cNvPr id="65" name="Straight Connector 64"/>
          <p:cNvCxnSpPr>
            <a:cxnSpLocks/>
          </p:cNvCxnSpPr>
          <p:nvPr/>
        </p:nvCxnSpPr>
        <p:spPr>
          <a:xfrm>
            <a:off x="6193484" y="3219088"/>
            <a:ext cx="5759993" cy="0"/>
          </a:xfrm>
          <a:prstGeom prst="line">
            <a:avLst/>
          </a:prstGeom>
          <a:ln w="6350">
            <a:solidFill>
              <a:schemeClr val="bg2">
                <a:alpha val="37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>
            <a:cxnSpLocks/>
          </p:cNvCxnSpPr>
          <p:nvPr/>
        </p:nvCxnSpPr>
        <p:spPr>
          <a:xfrm>
            <a:off x="6193484" y="4704988"/>
            <a:ext cx="5759993" cy="0"/>
          </a:xfrm>
          <a:prstGeom prst="line">
            <a:avLst/>
          </a:prstGeom>
          <a:ln w="6350">
            <a:solidFill>
              <a:schemeClr val="bg2">
                <a:alpha val="37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5" name="Group 44"/>
          <p:cNvGrpSpPr/>
          <p:nvPr/>
        </p:nvGrpSpPr>
        <p:grpSpPr>
          <a:xfrm>
            <a:off x="6375958" y="2042419"/>
            <a:ext cx="1821974" cy="724495"/>
            <a:chOff x="6476231" y="1804681"/>
            <a:chExt cx="1821974" cy="724495"/>
          </a:xfrm>
        </p:grpSpPr>
        <p:sp>
          <p:nvSpPr>
            <p:cNvPr id="58" name="Rectangle 57"/>
            <p:cNvSpPr/>
            <p:nvPr/>
          </p:nvSpPr>
          <p:spPr>
            <a:xfrm>
              <a:off x="6476231" y="1804681"/>
              <a:ext cx="1821974" cy="584775"/>
            </a:xfrm>
            <a:prstGeom prst="rect">
              <a:avLst/>
            </a:prstGeom>
          </p:spPr>
          <p:txBody>
            <a:bodyPr wrap="none" lIns="0">
              <a:spAutoFit/>
            </a:bodyPr>
            <a:lstStyle/>
            <a:p>
              <a:pPr marL="0" marR="0" lvl="0" indent="0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lang="ru-RU" sz="3200" b="1" dirty="0">
                  <a:solidFill>
                    <a:schemeClr val="accent1"/>
                  </a:solidFill>
                </a:rPr>
                <a:t> </a:t>
              </a:r>
              <a:r>
                <a:rPr lang="ru-RU" sz="1050" b="1" dirty="0">
                  <a:solidFill>
                    <a:schemeClr val="accent1"/>
                  </a:solidFill>
                </a:rPr>
                <a:t>Около</a:t>
              </a:r>
              <a:r>
                <a:rPr lang="ru-RU" sz="3200" b="1" dirty="0">
                  <a:solidFill>
                    <a:schemeClr val="accent1"/>
                  </a:solidFill>
                </a:rPr>
                <a:t> 7</a:t>
              </a:r>
              <a:r>
                <a:rPr kumimoji="0" lang="ru-RU" sz="3200" b="1" i="0" u="none" strike="noStrike" cap="none" normalizeH="0" baseline="0" noProof="0" dirty="0">
                  <a:ln>
                    <a:noFill/>
                  </a:ln>
                  <a:solidFill>
                    <a:schemeClr val="accent1"/>
                  </a:solidFill>
                  <a:uLnTx/>
                  <a:uFillTx/>
                </a:rPr>
                <a:t>000</a:t>
              </a:r>
            </a:p>
          </p:txBody>
        </p:sp>
        <p:sp>
          <p:nvSpPr>
            <p:cNvPr id="59" name="Rectangle 58"/>
            <p:cNvSpPr/>
            <p:nvPr/>
          </p:nvSpPr>
          <p:spPr>
            <a:xfrm>
              <a:off x="7140856" y="2252177"/>
              <a:ext cx="999633" cy="276999"/>
            </a:xfrm>
            <a:prstGeom prst="rect">
              <a:avLst/>
            </a:prstGeom>
          </p:spPr>
          <p:txBody>
            <a:bodyPr wrap="none" lIns="0">
              <a:spAutoFit/>
            </a:bodyPr>
            <a:lstStyle/>
            <a:p>
              <a:pPr marL="0" marR="0" lvl="0" indent="0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ru-RU" sz="1200" b="1" i="0" u="none" strike="noStrike" cap="none" normalizeH="0" baseline="0" noProof="0" dirty="0">
                  <a:ln>
                    <a:noFill/>
                  </a:ln>
                  <a:solidFill>
                    <a:schemeClr val="accent1"/>
                  </a:solidFill>
                  <a:uLnTx/>
                  <a:uFillTx/>
                </a:rPr>
                <a:t>ТВ-каналов</a:t>
              </a: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10141423" y="2045508"/>
            <a:ext cx="1499193" cy="741816"/>
            <a:chOff x="10258867" y="1804681"/>
            <a:chExt cx="1499193" cy="741816"/>
          </a:xfrm>
        </p:grpSpPr>
        <p:sp>
          <p:nvSpPr>
            <p:cNvPr id="62" name="Rectangle 61"/>
            <p:cNvSpPr/>
            <p:nvPr/>
          </p:nvSpPr>
          <p:spPr>
            <a:xfrm>
              <a:off x="10258867" y="1804681"/>
              <a:ext cx="1499193" cy="584775"/>
            </a:xfrm>
            <a:prstGeom prst="rect">
              <a:avLst/>
            </a:prstGeom>
          </p:spPr>
          <p:txBody>
            <a:bodyPr wrap="none" lIns="0">
              <a:spAutoFit/>
            </a:bodyPr>
            <a:lstStyle/>
            <a:p>
              <a:pPr marL="0" marR="0" lvl="0" indent="0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ru-RU" sz="3200" b="1" i="0" u="none" strike="noStrike" cap="none" normalizeH="0" baseline="0" noProof="0" dirty="0">
                  <a:ln>
                    <a:noFill/>
                  </a:ln>
                  <a:solidFill>
                    <a:schemeClr val="accent1"/>
                  </a:solidFill>
                  <a:uLnTx/>
                  <a:uFillTx/>
                </a:rPr>
                <a:t>1 </a:t>
              </a:r>
              <a:r>
                <a:rPr lang="ru-RU" sz="3200" b="1" dirty="0">
                  <a:solidFill>
                    <a:schemeClr val="accent1"/>
                  </a:solidFill>
                </a:rPr>
                <a:t>млрд</a:t>
              </a: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10502582" y="2269498"/>
              <a:ext cx="895438" cy="276999"/>
            </a:xfrm>
            <a:prstGeom prst="rect">
              <a:avLst/>
            </a:prstGeom>
          </p:spPr>
          <p:txBody>
            <a:bodyPr wrap="none" lIns="0">
              <a:spAutoFit/>
            </a:bodyPr>
            <a:lstStyle/>
            <a:p>
              <a:pPr marL="0" marR="0" lvl="0" indent="0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ru-RU" sz="1200" b="1" i="0" u="none" strike="noStrike" cap="none" normalizeH="0" baseline="0" noProof="0" dirty="0">
                  <a:ln>
                    <a:noFill/>
                  </a:ln>
                  <a:solidFill>
                    <a:schemeClr val="accent1"/>
                  </a:solidFill>
                  <a:uLnTx/>
                  <a:uFillTx/>
                </a:rPr>
                <a:t>телезрителей</a:t>
              </a: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8328248" y="2045508"/>
            <a:ext cx="1495663" cy="908709"/>
            <a:chOff x="8339752" y="1804681"/>
            <a:chExt cx="1495663" cy="908709"/>
          </a:xfrm>
        </p:grpSpPr>
        <p:sp>
          <p:nvSpPr>
            <p:cNvPr id="67" name="Rectangle 66"/>
            <p:cNvSpPr/>
            <p:nvPr/>
          </p:nvSpPr>
          <p:spPr>
            <a:xfrm>
              <a:off x="8519244" y="1804681"/>
              <a:ext cx="1116652" cy="584775"/>
            </a:xfrm>
            <a:prstGeom prst="rect">
              <a:avLst/>
            </a:prstGeom>
          </p:spPr>
          <p:txBody>
            <a:bodyPr wrap="none" lIns="0">
              <a:spAutoFit/>
            </a:bodyPr>
            <a:lstStyle/>
            <a:p>
              <a:pPr marL="0" marR="0" lvl="0" indent="0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kumimoji="0" lang="ru-RU" sz="3200" b="1" i="0" u="none" strike="noStrike" cap="none" normalizeH="0" baseline="0" noProof="0">
                  <a:ln>
                    <a:noFill/>
                  </a:ln>
                  <a:solidFill>
                    <a:schemeClr val="accent1"/>
                  </a:solidFill>
                  <a:uLnTx/>
                  <a:uFillTx/>
                </a:rPr>
                <a:t>1670</a:t>
              </a: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8339752" y="2251725"/>
              <a:ext cx="1495663" cy="461665"/>
            </a:xfrm>
            <a:prstGeom prst="rect">
              <a:avLst/>
            </a:prstGeom>
          </p:spPr>
          <p:txBody>
            <a:bodyPr wrap="square" lIns="0">
              <a:spAutoFit/>
            </a:bodyPr>
            <a:lstStyle/>
            <a:p>
              <a:pPr marL="0" marR="0" lvl="0" indent="0" algn="ctr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lang="ru-RU" sz="1200" b="1" dirty="0">
                  <a:solidFill>
                    <a:schemeClr val="accent1"/>
                  </a:solidFill>
                </a:rPr>
                <a:t>каналов </a:t>
              </a:r>
              <a:endParaRPr lang="en-US" sz="1200" b="1" dirty="0">
                <a:solidFill>
                  <a:schemeClr val="accent1"/>
                </a:solidFill>
              </a:endParaRPr>
            </a:p>
            <a:p>
              <a:pPr marL="0" marR="0" lvl="0" indent="0" defTabSz="45718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r>
                <a:rPr lang="ru-RU" sz="1200" b="1" dirty="0">
                  <a:solidFill>
                    <a:schemeClr val="accent1"/>
                  </a:solidFill>
                </a:rPr>
                <a:t>высокой</a:t>
              </a:r>
              <a:r>
                <a:rPr lang="en-US" sz="1200" b="1" dirty="0">
                  <a:solidFill>
                    <a:schemeClr val="accent1"/>
                  </a:solidFill>
                </a:rPr>
                <a:t> </a:t>
              </a:r>
              <a:r>
                <a:rPr lang="ru-RU" sz="1200" b="1" dirty="0">
                  <a:solidFill>
                    <a:schemeClr val="accent1"/>
                  </a:solidFill>
                </a:rPr>
                <a:t>четкости</a:t>
              </a:r>
            </a:p>
          </p:txBody>
        </p:sp>
      </p:grpSp>
      <p:cxnSp>
        <p:nvCxnSpPr>
          <p:cNvPr id="69" name="Straight Connector 68"/>
          <p:cNvCxnSpPr/>
          <p:nvPr/>
        </p:nvCxnSpPr>
        <p:spPr>
          <a:xfrm>
            <a:off x="8073950" y="1281431"/>
            <a:ext cx="0" cy="1627855"/>
          </a:xfrm>
          <a:prstGeom prst="line">
            <a:avLst/>
          </a:prstGeom>
          <a:ln w="6350">
            <a:solidFill>
              <a:schemeClr val="bg2">
                <a:alpha val="37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>
            <a:off x="9836295" y="1281431"/>
            <a:ext cx="0" cy="1627855"/>
          </a:xfrm>
          <a:prstGeom prst="line">
            <a:avLst/>
          </a:prstGeom>
          <a:ln w="6350">
            <a:solidFill>
              <a:schemeClr val="bg2">
                <a:alpha val="37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6354512" y="3607362"/>
            <a:ext cx="1062072" cy="669379"/>
            <a:chOff x="3927087" y="3059542"/>
            <a:chExt cx="2055641" cy="1295584"/>
          </a:xfrm>
        </p:grpSpPr>
        <p:grpSp>
          <p:nvGrpSpPr>
            <p:cNvPr id="34" name="Group 33"/>
            <p:cNvGrpSpPr/>
            <p:nvPr/>
          </p:nvGrpSpPr>
          <p:grpSpPr>
            <a:xfrm>
              <a:off x="4831003" y="3059542"/>
              <a:ext cx="1151725" cy="1295584"/>
              <a:chOff x="955158" y="1214754"/>
              <a:chExt cx="3519344" cy="3958936"/>
            </a:xfrm>
            <a:solidFill>
              <a:schemeClr val="accent2"/>
            </a:solidFill>
          </p:grpSpPr>
          <p:grpSp>
            <p:nvGrpSpPr>
              <p:cNvPr id="16" name="Group 11"/>
              <p:cNvGrpSpPr>
                <a:grpSpLocks noChangeAspect="1"/>
              </p:cNvGrpSpPr>
              <p:nvPr/>
            </p:nvGrpSpPr>
            <p:grpSpPr bwMode="auto">
              <a:xfrm>
                <a:off x="2764908" y="1214754"/>
                <a:ext cx="757238" cy="1868488"/>
                <a:chOff x="2692" y="2202"/>
                <a:chExt cx="477" cy="1177"/>
              </a:xfrm>
              <a:grpFill/>
            </p:grpSpPr>
            <p:sp>
              <p:nvSpPr>
                <p:cNvPr id="21" name="Freeform 13"/>
                <p:cNvSpPr>
                  <a:spLocks/>
                </p:cNvSpPr>
                <p:nvPr/>
              </p:nvSpPr>
              <p:spPr bwMode="auto">
                <a:xfrm>
                  <a:off x="2692" y="2547"/>
                  <a:ext cx="477" cy="832"/>
                </a:xfrm>
                <a:custGeom>
                  <a:avLst/>
                  <a:gdLst>
                    <a:gd name="T0" fmla="*/ 170 w 1430"/>
                    <a:gd name="T1" fmla="*/ 0 h 2496"/>
                    <a:gd name="T2" fmla="*/ 204 w 1430"/>
                    <a:gd name="T3" fmla="*/ 0 h 2496"/>
                    <a:gd name="T4" fmla="*/ 269 w 1430"/>
                    <a:gd name="T5" fmla="*/ 0 h 2496"/>
                    <a:gd name="T6" fmla="*/ 358 w 1430"/>
                    <a:gd name="T7" fmla="*/ 0 h 2496"/>
                    <a:gd name="T8" fmla="*/ 466 w 1430"/>
                    <a:gd name="T9" fmla="*/ 0 h 2496"/>
                    <a:gd name="T10" fmla="*/ 585 w 1430"/>
                    <a:gd name="T11" fmla="*/ 0 h 2496"/>
                    <a:gd name="T12" fmla="*/ 712 w 1430"/>
                    <a:gd name="T13" fmla="*/ 0 h 2496"/>
                    <a:gd name="T14" fmla="*/ 837 w 1430"/>
                    <a:gd name="T15" fmla="*/ 0 h 2496"/>
                    <a:gd name="T16" fmla="*/ 957 w 1430"/>
                    <a:gd name="T17" fmla="*/ 0 h 2496"/>
                    <a:gd name="T18" fmla="*/ 1065 w 1430"/>
                    <a:gd name="T19" fmla="*/ 0 h 2496"/>
                    <a:gd name="T20" fmla="*/ 1156 w 1430"/>
                    <a:gd name="T21" fmla="*/ 0 h 2496"/>
                    <a:gd name="T22" fmla="*/ 1222 w 1430"/>
                    <a:gd name="T23" fmla="*/ 0 h 2496"/>
                    <a:gd name="T24" fmla="*/ 1258 w 1430"/>
                    <a:gd name="T25" fmla="*/ 0 h 2496"/>
                    <a:gd name="T26" fmla="*/ 1296 w 1430"/>
                    <a:gd name="T27" fmla="*/ 3 h 2496"/>
                    <a:gd name="T28" fmla="*/ 1356 w 1430"/>
                    <a:gd name="T29" fmla="*/ 29 h 2496"/>
                    <a:gd name="T30" fmla="*/ 1402 w 1430"/>
                    <a:gd name="T31" fmla="*/ 76 h 2496"/>
                    <a:gd name="T32" fmla="*/ 1426 w 1430"/>
                    <a:gd name="T33" fmla="*/ 135 h 2496"/>
                    <a:gd name="T34" fmla="*/ 1426 w 1430"/>
                    <a:gd name="T35" fmla="*/ 1214 h 2496"/>
                    <a:gd name="T36" fmla="*/ 1413 w 1430"/>
                    <a:gd name="T37" fmla="*/ 1278 h 2496"/>
                    <a:gd name="T38" fmla="*/ 1376 w 1430"/>
                    <a:gd name="T39" fmla="*/ 1332 h 2496"/>
                    <a:gd name="T40" fmla="*/ 1324 w 1430"/>
                    <a:gd name="T41" fmla="*/ 1368 h 2496"/>
                    <a:gd name="T42" fmla="*/ 1259 w 1430"/>
                    <a:gd name="T43" fmla="*/ 1382 h 2496"/>
                    <a:gd name="T44" fmla="*/ 1227 w 1430"/>
                    <a:gd name="T45" fmla="*/ 1380 h 2496"/>
                    <a:gd name="T46" fmla="*/ 1172 w 1430"/>
                    <a:gd name="T47" fmla="*/ 1357 h 2496"/>
                    <a:gd name="T48" fmla="*/ 1128 w 1430"/>
                    <a:gd name="T49" fmla="*/ 1316 h 2496"/>
                    <a:gd name="T50" fmla="*/ 1056 w 1430"/>
                    <a:gd name="T51" fmla="*/ 2369 h 2496"/>
                    <a:gd name="T52" fmla="*/ 1028 w 1430"/>
                    <a:gd name="T53" fmla="*/ 2427 h 2496"/>
                    <a:gd name="T54" fmla="*/ 982 w 1430"/>
                    <a:gd name="T55" fmla="*/ 2470 h 2496"/>
                    <a:gd name="T56" fmla="*/ 922 w 1430"/>
                    <a:gd name="T57" fmla="*/ 2492 h 2496"/>
                    <a:gd name="T58" fmla="*/ 542 w 1430"/>
                    <a:gd name="T59" fmla="*/ 2496 h 2496"/>
                    <a:gd name="T60" fmla="*/ 477 w 1430"/>
                    <a:gd name="T61" fmla="*/ 2484 h 2496"/>
                    <a:gd name="T62" fmla="*/ 423 w 1430"/>
                    <a:gd name="T63" fmla="*/ 2451 h 2496"/>
                    <a:gd name="T64" fmla="*/ 385 w 1430"/>
                    <a:gd name="T65" fmla="*/ 2400 h 2496"/>
                    <a:gd name="T66" fmla="*/ 369 w 1430"/>
                    <a:gd name="T67" fmla="*/ 2337 h 2496"/>
                    <a:gd name="T68" fmla="*/ 282 w 1430"/>
                    <a:gd name="T69" fmla="*/ 1340 h 2496"/>
                    <a:gd name="T70" fmla="*/ 232 w 1430"/>
                    <a:gd name="T71" fmla="*/ 1371 h 2496"/>
                    <a:gd name="T72" fmla="*/ 172 w 1430"/>
                    <a:gd name="T73" fmla="*/ 1382 h 2496"/>
                    <a:gd name="T74" fmla="*/ 138 w 1430"/>
                    <a:gd name="T75" fmla="*/ 1378 h 2496"/>
                    <a:gd name="T76" fmla="*/ 78 w 1430"/>
                    <a:gd name="T77" fmla="*/ 1353 h 2496"/>
                    <a:gd name="T78" fmla="*/ 33 w 1430"/>
                    <a:gd name="T79" fmla="*/ 1308 h 2496"/>
                    <a:gd name="T80" fmla="*/ 8 w 1430"/>
                    <a:gd name="T81" fmla="*/ 1248 h 2496"/>
                    <a:gd name="T82" fmla="*/ 0 w 1430"/>
                    <a:gd name="T83" fmla="*/ 168 h 2496"/>
                    <a:gd name="T84" fmla="*/ 14 w 1430"/>
                    <a:gd name="T85" fmla="*/ 102 h 2496"/>
                    <a:gd name="T86" fmla="*/ 50 w 1430"/>
                    <a:gd name="T87" fmla="*/ 49 h 2496"/>
                    <a:gd name="T88" fmla="*/ 103 w 1430"/>
                    <a:gd name="T89" fmla="*/ 12 h 2496"/>
                    <a:gd name="T90" fmla="*/ 168 w 1430"/>
                    <a:gd name="T91" fmla="*/ 0 h 24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30" h="2496">
                      <a:moveTo>
                        <a:pt x="168" y="0"/>
                      </a:moveTo>
                      <a:lnTo>
                        <a:pt x="170" y="0"/>
                      </a:lnTo>
                      <a:lnTo>
                        <a:pt x="182" y="0"/>
                      </a:lnTo>
                      <a:lnTo>
                        <a:pt x="204" y="0"/>
                      </a:lnTo>
                      <a:lnTo>
                        <a:pt x="233" y="0"/>
                      </a:lnTo>
                      <a:lnTo>
                        <a:pt x="269" y="0"/>
                      </a:lnTo>
                      <a:lnTo>
                        <a:pt x="311" y="0"/>
                      </a:lnTo>
                      <a:lnTo>
                        <a:pt x="358" y="0"/>
                      </a:lnTo>
                      <a:lnTo>
                        <a:pt x="409" y="0"/>
                      </a:lnTo>
                      <a:lnTo>
                        <a:pt x="466" y="0"/>
                      </a:lnTo>
                      <a:lnTo>
                        <a:pt x="524" y="0"/>
                      </a:lnTo>
                      <a:lnTo>
                        <a:pt x="585" y="0"/>
                      </a:lnTo>
                      <a:lnTo>
                        <a:pt x="648" y="0"/>
                      </a:lnTo>
                      <a:lnTo>
                        <a:pt x="712" y="0"/>
                      </a:lnTo>
                      <a:lnTo>
                        <a:pt x="774" y="0"/>
                      </a:lnTo>
                      <a:lnTo>
                        <a:pt x="837" y="0"/>
                      </a:lnTo>
                      <a:lnTo>
                        <a:pt x="898" y="0"/>
                      </a:lnTo>
                      <a:lnTo>
                        <a:pt x="957" y="0"/>
                      </a:lnTo>
                      <a:lnTo>
                        <a:pt x="1013" y="0"/>
                      </a:lnTo>
                      <a:lnTo>
                        <a:pt x="1065" y="0"/>
                      </a:lnTo>
                      <a:lnTo>
                        <a:pt x="1114" y="0"/>
                      </a:lnTo>
                      <a:lnTo>
                        <a:pt x="1156" y="0"/>
                      </a:lnTo>
                      <a:lnTo>
                        <a:pt x="1191" y="0"/>
                      </a:lnTo>
                      <a:lnTo>
                        <a:pt x="1222" y="0"/>
                      </a:lnTo>
                      <a:lnTo>
                        <a:pt x="1244" y="0"/>
                      </a:lnTo>
                      <a:lnTo>
                        <a:pt x="1258" y="0"/>
                      </a:lnTo>
                      <a:lnTo>
                        <a:pt x="1263" y="0"/>
                      </a:lnTo>
                      <a:lnTo>
                        <a:pt x="1296" y="3"/>
                      </a:lnTo>
                      <a:lnTo>
                        <a:pt x="1328" y="14"/>
                      </a:lnTo>
                      <a:lnTo>
                        <a:pt x="1356" y="29"/>
                      </a:lnTo>
                      <a:lnTo>
                        <a:pt x="1381" y="50"/>
                      </a:lnTo>
                      <a:lnTo>
                        <a:pt x="1402" y="76"/>
                      </a:lnTo>
                      <a:lnTo>
                        <a:pt x="1417" y="105"/>
                      </a:lnTo>
                      <a:lnTo>
                        <a:pt x="1426" y="135"/>
                      </a:lnTo>
                      <a:lnTo>
                        <a:pt x="1430" y="170"/>
                      </a:lnTo>
                      <a:lnTo>
                        <a:pt x="1426" y="1214"/>
                      </a:lnTo>
                      <a:lnTo>
                        <a:pt x="1424" y="1247"/>
                      </a:lnTo>
                      <a:lnTo>
                        <a:pt x="1413" y="1278"/>
                      </a:lnTo>
                      <a:lnTo>
                        <a:pt x="1398" y="1306"/>
                      </a:lnTo>
                      <a:lnTo>
                        <a:pt x="1376" y="1332"/>
                      </a:lnTo>
                      <a:lnTo>
                        <a:pt x="1352" y="1353"/>
                      </a:lnTo>
                      <a:lnTo>
                        <a:pt x="1324" y="1368"/>
                      </a:lnTo>
                      <a:lnTo>
                        <a:pt x="1292" y="1378"/>
                      </a:lnTo>
                      <a:lnTo>
                        <a:pt x="1259" y="1382"/>
                      </a:lnTo>
                      <a:lnTo>
                        <a:pt x="1258" y="1382"/>
                      </a:lnTo>
                      <a:lnTo>
                        <a:pt x="1227" y="1380"/>
                      </a:lnTo>
                      <a:lnTo>
                        <a:pt x="1198" y="1371"/>
                      </a:lnTo>
                      <a:lnTo>
                        <a:pt x="1172" y="1357"/>
                      </a:lnTo>
                      <a:lnTo>
                        <a:pt x="1148" y="1338"/>
                      </a:lnTo>
                      <a:lnTo>
                        <a:pt x="1128" y="1316"/>
                      </a:lnTo>
                      <a:lnTo>
                        <a:pt x="1063" y="2337"/>
                      </a:lnTo>
                      <a:lnTo>
                        <a:pt x="1056" y="2369"/>
                      </a:lnTo>
                      <a:lnTo>
                        <a:pt x="1045" y="2400"/>
                      </a:lnTo>
                      <a:lnTo>
                        <a:pt x="1028" y="2427"/>
                      </a:lnTo>
                      <a:lnTo>
                        <a:pt x="1008" y="2449"/>
                      </a:lnTo>
                      <a:lnTo>
                        <a:pt x="982" y="2470"/>
                      </a:lnTo>
                      <a:lnTo>
                        <a:pt x="953" y="2484"/>
                      </a:lnTo>
                      <a:lnTo>
                        <a:pt x="922" y="2492"/>
                      </a:lnTo>
                      <a:lnTo>
                        <a:pt x="888" y="2496"/>
                      </a:lnTo>
                      <a:lnTo>
                        <a:pt x="542" y="2496"/>
                      </a:lnTo>
                      <a:lnTo>
                        <a:pt x="509" y="2492"/>
                      </a:lnTo>
                      <a:lnTo>
                        <a:pt x="477" y="2484"/>
                      </a:lnTo>
                      <a:lnTo>
                        <a:pt x="448" y="2470"/>
                      </a:lnTo>
                      <a:lnTo>
                        <a:pt x="423" y="2451"/>
                      </a:lnTo>
                      <a:lnTo>
                        <a:pt x="402" y="2427"/>
                      </a:lnTo>
                      <a:lnTo>
                        <a:pt x="385" y="2400"/>
                      </a:lnTo>
                      <a:lnTo>
                        <a:pt x="374" y="2369"/>
                      </a:lnTo>
                      <a:lnTo>
                        <a:pt x="369" y="2337"/>
                      </a:lnTo>
                      <a:lnTo>
                        <a:pt x="302" y="1319"/>
                      </a:lnTo>
                      <a:lnTo>
                        <a:pt x="282" y="1340"/>
                      </a:lnTo>
                      <a:lnTo>
                        <a:pt x="259" y="1357"/>
                      </a:lnTo>
                      <a:lnTo>
                        <a:pt x="232" y="1371"/>
                      </a:lnTo>
                      <a:lnTo>
                        <a:pt x="203" y="1380"/>
                      </a:lnTo>
                      <a:lnTo>
                        <a:pt x="172" y="1382"/>
                      </a:lnTo>
                      <a:lnTo>
                        <a:pt x="172" y="1382"/>
                      </a:lnTo>
                      <a:lnTo>
                        <a:pt x="138" y="1378"/>
                      </a:lnTo>
                      <a:lnTo>
                        <a:pt x="107" y="1368"/>
                      </a:lnTo>
                      <a:lnTo>
                        <a:pt x="78" y="1353"/>
                      </a:lnTo>
                      <a:lnTo>
                        <a:pt x="53" y="1333"/>
                      </a:lnTo>
                      <a:lnTo>
                        <a:pt x="33" y="1308"/>
                      </a:lnTo>
                      <a:lnTo>
                        <a:pt x="18" y="1278"/>
                      </a:lnTo>
                      <a:lnTo>
                        <a:pt x="8" y="1248"/>
                      </a:lnTo>
                      <a:lnTo>
                        <a:pt x="4" y="1214"/>
                      </a:lnTo>
                      <a:lnTo>
                        <a:pt x="0" y="168"/>
                      </a:lnTo>
                      <a:lnTo>
                        <a:pt x="4" y="134"/>
                      </a:lnTo>
                      <a:lnTo>
                        <a:pt x="14" y="102"/>
                      </a:lnTo>
                      <a:lnTo>
                        <a:pt x="29" y="74"/>
                      </a:lnTo>
                      <a:lnTo>
                        <a:pt x="50" y="49"/>
                      </a:lnTo>
                      <a:lnTo>
                        <a:pt x="74" y="29"/>
                      </a:lnTo>
                      <a:lnTo>
                        <a:pt x="103" y="12"/>
                      </a:lnTo>
                      <a:lnTo>
                        <a:pt x="135" y="3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" name="Freeform 14"/>
                <p:cNvSpPr>
                  <a:spLocks/>
                </p:cNvSpPr>
                <p:nvPr/>
              </p:nvSpPr>
              <p:spPr bwMode="auto">
                <a:xfrm>
                  <a:off x="2776" y="2202"/>
                  <a:ext cx="310" cy="308"/>
                </a:xfrm>
                <a:custGeom>
                  <a:avLst/>
                  <a:gdLst>
                    <a:gd name="T0" fmla="*/ 466 w 931"/>
                    <a:gd name="T1" fmla="*/ 0 h 925"/>
                    <a:gd name="T2" fmla="*/ 524 w 931"/>
                    <a:gd name="T3" fmla="*/ 4 h 925"/>
                    <a:gd name="T4" fmla="*/ 580 w 931"/>
                    <a:gd name="T5" fmla="*/ 14 h 925"/>
                    <a:gd name="T6" fmla="*/ 634 w 931"/>
                    <a:gd name="T7" fmla="*/ 32 h 925"/>
                    <a:gd name="T8" fmla="*/ 684 w 931"/>
                    <a:gd name="T9" fmla="*/ 55 h 925"/>
                    <a:gd name="T10" fmla="*/ 731 w 931"/>
                    <a:gd name="T11" fmla="*/ 82 h 925"/>
                    <a:gd name="T12" fmla="*/ 774 w 931"/>
                    <a:gd name="T13" fmla="*/ 117 h 925"/>
                    <a:gd name="T14" fmla="*/ 814 w 931"/>
                    <a:gd name="T15" fmla="*/ 156 h 925"/>
                    <a:gd name="T16" fmla="*/ 847 w 931"/>
                    <a:gd name="T17" fmla="*/ 199 h 925"/>
                    <a:gd name="T18" fmla="*/ 876 w 931"/>
                    <a:gd name="T19" fmla="*/ 245 h 925"/>
                    <a:gd name="T20" fmla="*/ 899 w 931"/>
                    <a:gd name="T21" fmla="*/ 295 h 925"/>
                    <a:gd name="T22" fmla="*/ 917 w 931"/>
                    <a:gd name="T23" fmla="*/ 349 h 925"/>
                    <a:gd name="T24" fmla="*/ 927 w 931"/>
                    <a:gd name="T25" fmla="*/ 404 h 925"/>
                    <a:gd name="T26" fmla="*/ 931 w 931"/>
                    <a:gd name="T27" fmla="*/ 463 h 925"/>
                    <a:gd name="T28" fmla="*/ 927 w 931"/>
                    <a:gd name="T29" fmla="*/ 521 h 925"/>
                    <a:gd name="T30" fmla="*/ 917 w 931"/>
                    <a:gd name="T31" fmla="*/ 577 h 925"/>
                    <a:gd name="T32" fmla="*/ 899 w 931"/>
                    <a:gd name="T33" fmla="*/ 630 h 925"/>
                    <a:gd name="T34" fmla="*/ 876 w 931"/>
                    <a:gd name="T35" fmla="*/ 681 h 925"/>
                    <a:gd name="T36" fmla="*/ 847 w 931"/>
                    <a:gd name="T37" fmla="*/ 727 h 925"/>
                    <a:gd name="T38" fmla="*/ 814 w 931"/>
                    <a:gd name="T39" fmla="*/ 769 h 925"/>
                    <a:gd name="T40" fmla="*/ 774 w 931"/>
                    <a:gd name="T41" fmla="*/ 809 h 925"/>
                    <a:gd name="T42" fmla="*/ 731 w 931"/>
                    <a:gd name="T43" fmla="*/ 843 h 925"/>
                    <a:gd name="T44" fmla="*/ 684 w 931"/>
                    <a:gd name="T45" fmla="*/ 871 h 925"/>
                    <a:gd name="T46" fmla="*/ 634 w 931"/>
                    <a:gd name="T47" fmla="*/ 893 h 925"/>
                    <a:gd name="T48" fmla="*/ 580 w 931"/>
                    <a:gd name="T49" fmla="*/ 911 h 925"/>
                    <a:gd name="T50" fmla="*/ 524 w 931"/>
                    <a:gd name="T51" fmla="*/ 921 h 925"/>
                    <a:gd name="T52" fmla="*/ 466 w 931"/>
                    <a:gd name="T53" fmla="*/ 925 h 925"/>
                    <a:gd name="T54" fmla="*/ 407 w 931"/>
                    <a:gd name="T55" fmla="*/ 921 h 925"/>
                    <a:gd name="T56" fmla="*/ 351 w 931"/>
                    <a:gd name="T57" fmla="*/ 911 h 925"/>
                    <a:gd name="T58" fmla="*/ 297 w 931"/>
                    <a:gd name="T59" fmla="*/ 893 h 925"/>
                    <a:gd name="T60" fmla="*/ 246 w 931"/>
                    <a:gd name="T61" fmla="*/ 871 h 925"/>
                    <a:gd name="T62" fmla="*/ 199 w 931"/>
                    <a:gd name="T63" fmla="*/ 843 h 925"/>
                    <a:gd name="T64" fmla="*/ 156 w 931"/>
                    <a:gd name="T65" fmla="*/ 809 h 925"/>
                    <a:gd name="T66" fmla="*/ 117 w 931"/>
                    <a:gd name="T67" fmla="*/ 769 h 925"/>
                    <a:gd name="T68" fmla="*/ 83 w 931"/>
                    <a:gd name="T69" fmla="*/ 727 h 925"/>
                    <a:gd name="T70" fmla="*/ 55 w 931"/>
                    <a:gd name="T71" fmla="*/ 681 h 925"/>
                    <a:gd name="T72" fmla="*/ 31 w 931"/>
                    <a:gd name="T73" fmla="*/ 630 h 925"/>
                    <a:gd name="T74" fmla="*/ 14 w 931"/>
                    <a:gd name="T75" fmla="*/ 577 h 925"/>
                    <a:gd name="T76" fmla="*/ 4 w 931"/>
                    <a:gd name="T77" fmla="*/ 521 h 925"/>
                    <a:gd name="T78" fmla="*/ 0 w 931"/>
                    <a:gd name="T79" fmla="*/ 463 h 925"/>
                    <a:gd name="T80" fmla="*/ 4 w 931"/>
                    <a:gd name="T81" fmla="*/ 404 h 925"/>
                    <a:gd name="T82" fmla="*/ 14 w 931"/>
                    <a:gd name="T83" fmla="*/ 349 h 925"/>
                    <a:gd name="T84" fmla="*/ 31 w 931"/>
                    <a:gd name="T85" fmla="*/ 295 h 925"/>
                    <a:gd name="T86" fmla="*/ 55 w 931"/>
                    <a:gd name="T87" fmla="*/ 245 h 925"/>
                    <a:gd name="T88" fmla="*/ 83 w 931"/>
                    <a:gd name="T89" fmla="*/ 199 h 925"/>
                    <a:gd name="T90" fmla="*/ 117 w 931"/>
                    <a:gd name="T91" fmla="*/ 156 h 925"/>
                    <a:gd name="T92" fmla="*/ 156 w 931"/>
                    <a:gd name="T93" fmla="*/ 117 h 925"/>
                    <a:gd name="T94" fmla="*/ 199 w 931"/>
                    <a:gd name="T95" fmla="*/ 82 h 925"/>
                    <a:gd name="T96" fmla="*/ 246 w 931"/>
                    <a:gd name="T97" fmla="*/ 55 h 925"/>
                    <a:gd name="T98" fmla="*/ 297 w 931"/>
                    <a:gd name="T99" fmla="*/ 32 h 925"/>
                    <a:gd name="T100" fmla="*/ 351 w 931"/>
                    <a:gd name="T101" fmla="*/ 14 h 925"/>
                    <a:gd name="T102" fmla="*/ 407 w 931"/>
                    <a:gd name="T103" fmla="*/ 4 h 925"/>
                    <a:gd name="T104" fmla="*/ 466 w 931"/>
                    <a:gd name="T105" fmla="*/ 0 h 9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931" h="925">
                      <a:moveTo>
                        <a:pt x="466" y="0"/>
                      </a:moveTo>
                      <a:lnTo>
                        <a:pt x="524" y="4"/>
                      </a:lnTo>
                      <a:lnTo>
                        <a:pt x="580" y="14"/>
                      </a:lnTo>
                      <a:lnTo>
                        <a:pt x="634" y="32"/>
                      </a:lnTo>
                      <a:lnTo>
                        <a:pt x="684" y="55"/>
                      </a:lnTo>
                      <a:lnTo>
                        <a:pt x="731" y="82"/>
                      </a:lnTo>
                      <a:lnTo>
                        <a:pt x="774" y="117"/>
                      </a:lnTo>
                      <a:lnTo>
                        <a:pt x="814" y="156"/>
                      </a:lnTo>
                      <a:lnTo>
                        <a:pt x="847" y="199"/>
                      </a:lnTo>
                      <a:lnTo>
                        <a:pt x="876" y="245"/>
                      </a:lnTo>
                      <a:lnTo>
                        <a:pt x="899" y="295"/>
                      </a:lnTo>
                      <a:lnTo>
                        <a:pt x="917" y="349"/>
                      </a:lnTo>
                      <a:lnTo>
                        <a:pt x="927" y="404"/>
                      </a:lnTo>
                      <a:lnTo>
                        <a:pt x="931" y="463"/>
                      </a:lnTo>
                      <a:lnTo>
                        <a:pt x="927" y="521"/>
                      </a:lnTo>
                      <a:lnTo>
                        <a:pt x="917" y="577"/>
                      </a:lnTo>
                      <a:lnTo>
                        <a:pt x="899" y="630"/>
                      </a:lnTo>
                      <a:lnTo>
                        <a:pt x="876" y="681"/>
                      </a:lnTo>
                      <a:lnTo>
                        <a:pt x="847" y="727"/>
                      </a:lnTo>
                      <a:lnTo>
                        <a:pt x="814" y="769"/>
                      </a:lnTo>
                      <a:lnTo>
                        <a:pt x="774" y="809"/>
                      </a:lnTo>
                      <a:lnTo>
                        <a:pt x="731" y="843"/>
                      </a:lnTo>
                      <a:lnTo>
                        <a:pt x="684" y="871"/>
                      </a:lnTo>
                      <a:lnTo>
                        <a:pt x="634" y="893"/>
                      </a:lnTo>
                      <a:lnTo>
                        <a:pt x="580" y="911"/>
                      </a:lnTo>
                      <a:lnTo>
                        <a:pt x="524" y="921"/>
                      </a:lnTo>
                      <a:lnTo>
                        <a:pt x="466" y="925"/>
                      </a:lnTo>
                      <a:lnTo>
                        <a:pt x="407" y="921"/>
                      </a:lnTo>
                      <a:lnTo>
                        <a:pt x="351" y="911"/>
                      </a:lnTo>
                      <a:lnTo>
                        <a:pt x="297" y="893"/>
                      </a:lnTo>
                      <a:lnTo>
                        <a:pt x="246" y="871"/>
                      </a:lnTo>
                      <a:lnTo>
                        <a:pt x="199" y="843"/>
                      </a:lnTo>
                      <a:lnTo>
                        <a:pt x="156" y="809"/>
                      </a:lnTo>
                      <a:lnTo>
                        <a:pt x="117" y="769"/>
                      </a:lnTo>
                      <a:lnTo>
                        <a:pt x="83" y="727"/>
                      </a:lnTo>
                      <a:lnTo>
                        <a:pt x="55" y="681"/>
                      </a:lnTo>
                      <a:lnTo>
                        <a:pt x="31" y="630"/>
                      </a:lnTo>
                      <a:lnTo>
                        <a:pt x="14" y="577"/>
                      </a:lnTo>
                      <a:lnTo>
                        <a:pt x="4" y="521"/>
                      </a:lnTo>
                      <a:lnTo>
                        <a:pt x="0" y="463"/>
                      </a:lnTo>
                      <a:lnTo>
                        <a:pt x="4" y="404"/>
                      </a:lnTo>
                      <a:lnTo>
                        <a:pt x="14" y="349"/>
                      </a:lnTo>
                      <a:lnTo>
                        <a:pt x="31" y="295"/>
                      </a:lnTo>
                      <a:lnTo>
                        <a:pt x="55" y="245"/>
                      </a:lnTo>
                      <a:lnTo>
                        <a:pt x="83" y="199"/>
                      </a:lnTo>
                      <a:lnTo>
                        <a:pt x="117" y="156"/>
                      </a:lnTo>
                      <a:lnTo>
                        <a:pt x="156" y="117"/>
                      </a:lnTo>
                      <a:lnTo>
                        <a:pt x="199" y="82"/>
                      </a:lnTo>
                      <a:lnTo>
                        <a:pt x="246" y="55"/>
                      </a:lnTo>
                      <a:lnTo>
                        <a:pt x="297" y="32"/>
                      </a:lnTo>
                      <a:lnTo>
                        <a:pt x="351" y="14"/>
                      </a:lnTo>
                      <a:lnTo>
                        <a:pt x="407" y="4"/>
                      </a:lnTo>
                      <a:lnTo>
                        <a:pt x="46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73" name="Group 11"/>
              <p:cNvGrpSpPr>
                <a:grpSpLocks noChangeAspect="1"/>
              </p:cNvGrpSpPr>
              <p:nvPr/>
            </p:nvGrpSpPr>
            <p:grpSpPr bwMode="auto">
              <a:xfrm>
                <a:off x="3672809" y="1214754"/>
                <a:ext cx="757238" cy="1868488"/>
                <a:chOff x="2692" y="2202"/>
                <a:chExt cx="477" cy="1177"/>
              </a:xfrm>
              <a:grpFill/>
            </p:grpSpPr>
            <p:sp>
              <p:nvSpPr>
                <p:cNvPr id="74" name="Freeform 13"/>
                <p:cNvSpPr>
                  <a:spLocks/>
                </p:cNvSpPr>
                <p:nvPr/>
              </p:nvSpPr>
              <p:spPr bwMode="auto">
                <a:xfrm>
                  <a:off x="2692" y="2547"/>
                  <a:ext cx="477" cy="832"/>
                </a:xfrm>
                <a:custGeom>
                  <a:avLst/>
                  <a:gdLst>
                    <a:gd name="T0" fmla="*/ 170 w 1430"/>
                    <a:gd name="T1" fmla="*/ 0 h 2496"/>
                    <a:gd name="T2" fmla="*/ 204 w 1430"/>
                    <a:gd name="T3" fmla="*/ 0 h 2496"/>
                    <a:gd name="T4" fmla="*/ 269 w 1430"/>
                    <a:gd name="T5" fmla="*/ 0 h 2496"/>
                    <a:gd name="T6" fmla="*/ 358 w 1430"/>
                    <a:gd name="T7" fmla="*/ 0 h 2496"/>
                    <a:gd name="T8" fmla="*/ 466 w 1430"/>
                    <a:gd name="T9" fmla="*/ 0 h 2496"/>
                    <a:gd name="T10" fmla="*/ 585 w 1430"/>
                    <a:gd name="T11" fmla="*/ 0 h 2496"/>
                    <a:gd name="T12" fmla="*/ 712 w 1430"/>
                    <a:gd name="T13" fmla="*/ 0 h 2496"/>
                    <a:gd name="T14" fmla="*/ 837 w 1430"/>
                    <a:gd name="T15" fmla="*/ 0 h 2496"/>
                    <a:gd name="T16" fmla="*/ 957 w 1430"/>
                    <a:gd name="T17" fmla="*/ 0 h 2496"/>
                    <a:gd name="T18" fmla="*/ 1065 w 1430"/>
                    <a:gd name="T19" fmla="*/ 0 h 2496"/>
                    <a:gd name="T20" fmla="*/ 1156 w 1430"/>
                    <a:gd name="T21" fmla="*/ 0 h 2496"/>
                    <a:gd name="T22" fmla="*/ 1222 w 1430"/>
                    <a:gd name="T23" fmla="*/ 0 h 2496"/>
                    <a:gd name="T24" fmla="*/ 1258 w 1430"/>
                    <a:gd name="T25" fmla="*/ 0 h 2496"/>
                    <a:gd name="T26" fmla="*/ 1296 w 1430"/>
                    <a:gd name="T27" fmla="*/ 3 h 2496"/>
                    <a:gd name="T28" fmla="*/ 1356 w 1430"/>
                    <a:gd name="T29" fmla="*/ 29 h 2496"/>
                    <a:gd name="T30" fmla="*/ 1402 w 1430"/>
                    <a:gd name="T31" fmla="*/ 76 h 2496"/>
                    <a:gd name="T32" fmla="*/ 1426 w 1430"/>
                    <a:gd name="T33" fmla="*/ 135 h 2496"/>
                    <a:gd name="T34" fmla="*/ 1426 w 1430"/>
                    <a:gd name="T35" fmla="*/ 1214 h 2496"/>
                    <a:gd name="T36" fmla="*/ 1413 w 1430"/>
                    <a:gd name="T37" fmla="*/ 1278 h 2496"/>
                    <a:gd name="T38" fmla="*/ 1376 w 1430"/>
                    <a:gd name="T39" fmla="*/ 1332 h 2496"/>
                    <a:gd name="T40" fmla="*/ 1324 w 1430"/>
                    <a:gd name="T41" fmla="*/ 1368 h 2496"/>
                    <a:gd name="T42" fmla="*/ 1259 w 1430"/>
                    <a:gd name="T43" fmla="*/ 1382 h 2496"/>
                    <a:gd name="T44" fmla="*/ 1227 w 1430"/>
                    <a:gd name="T45" fmla="*/ 1380 h 2496"/>
                    <a:gd name="T46" fmla="*/ 1172 w 1430"/>
                    <a:gd name="T47" fmla="*/ 1357 h 2496"/>
                    <a:gd name="T48" fmla="*/ 1128 w 1430"/>
                    <a:gd name="T49" fmla="*/ 1316 h 2496"/>
                    <a:gd name="T50" fmla="*/ 1056 w 1430"/>
                    <a:gd name="T51" fmla="*/ 2369 h 2496"/>
                    <a:gd name="T52" fmla="*/ 1028 w 1430"/>
                    <a:gd name="T53" fmla="*/ 2427 h 2496"/>
                    <a:gd name="T54" fmla="*/ 982 w 1430"/>
                    <a:gd name="T55" fmla="*/ 2470 h 2496"/>
                    <a:gd name="T56" fmla="*/ 922 w 1430"/>
                    <a:gd name="T57" fmla="*/ 2492 h 2496"/>
                    <a:gd name="T58" fmla="*/ 542 w 1430"/>
                    <a:gd name="T59" fmla="*/ 2496 h 2496"/>
                    <a:gd name="T60" fmla="*/ 477 w 1430"/>
                    <a:gd name="T61" fmla="*/ 2484 h 2496"/>
                    <a:gd name="T62" fmla="*/ 423 w 1430"/>
                    <a:gd name="T63" fmla="*/ 2451 h 2496"/>
                    <a:gd name="T64" fmla="*/ 385 w 1430"/>
                    <a:gd name="T65" fmla="*/ 2400 h 2496"/>
                    <a:gd name="T66" fmla="*/ 369 w 1430"/>
                    <a:gd name="T67" fmla="*/ 2337 h 2496"/>
                    <a:gd name="T68" fmla="*/ 282 w 1430"/>
                    <a:gd name="T69" fmla="*/ 1340 h 2496"/>
                    <a:gd name="T70" fmla="*/ 232 w 1430"/>
                    <a:gd name="T71" fmla="*/ 1371 h 2496"/>
                    <a:gd name="T72" fmla="*/ 172 w 1430"/>
                    <a:gd name="T73" fmla="*/ 1382 h 2496"/>
                    <a:gd name="T74" fmla="*/ 138 w 1430"/>
                    <a:gd name="T75" fmla="*/ 1378 h 2496"/>
                    <a:gd name="T76" fmla="*/ 78 w 1430"/>
                    <a:gd name="T77" fmla="*/ 1353 h 2496"/>
                    <a:gd name="T78" fmla="*/ 33 w 1430"/>
                    <a:gd name="T79" fmla="*/ 1308 h 2496"/>
                    <a:gd name="T80" fmla="*/ 8 w 1430"/>
                    <a:gd name="T81" fmla="*/ 1248 h 2496"/>
                    <a:gd name="T82" fmla="*/ 0 w 1430"/>
                    <a:gd name="T83" fmla="*/ 168 h 2496"/>
                    <a:gd name="T84" fmla="*/ 14 w 1430"/>
                    <a:gd name="T85" fmla="*/ 102 h 2496"/>
                    <a:gd name="T86" fmla="*/ 50 w 1430"/>
                    <a:gd name="T87" fmla="*/ 49 h 2496"/>
                    <a:gd name="T88" fmla="*/ 103 w 1430"/>
                    <a:gd name="T89" fmla="*/ 12 h 2496"/>
                    <a:gd name="T90" fmla="*/ 168 w 1430"/>
                    <a:gd name="T91" fmla="*/ 0 h 24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30" h="2496">
                      <a:moveTo>
                        <a:pt x="168" y="0"/>
                      </a:moveTo>
                      <a:lnTo>
                        <a:pt x="170" y="0"/>
                      </a:lnTo>
                      <a:lnTo>
                        <a:pt x="182" y="0"/>
                      </a:lnTo>
                      <a:lnTo>
                        <a:pt x="204" y="0"/>
                      </a:lnTo>
                      <a:lnTo>
                        <a:pt x="233" y="0"/>
                      </a:lnTo>
                      <a:lnTo>
                        <a:pt x="269" y="0"/>
                      </a:lnTo>
                      <a:lnTo>
                        <a:pt x="311" y="0"/>
                      </a:lnTo>
                      <a:lnTo>
                        <a:pt x="358" y="0"/>
                      </a:lnTo>
                      <a:lnTo>
                        <a:pt x="409" y="0"/>
                      </a:lnTo>
                      <a:lnTo>
                        <a:pt x="466" y="0"/>
                      </a:lnTo>
                      <a:lnTo>
                        <a:pt x="524" y="0"/>
                      </a:lnTo>
                      <a:lnTo>
                        <a:pt x="585" y="0"/>
                      </a:lnTo>
                      <a:lnTo>
                        <a:pt x="648" y="0"/>
                      </a:lnTo>
                      <a:lnTo>
                        <a:pt x="712" y="0"/>
                      </a:lnTo>
                      <a:lnTo>
                        <a:pt x="774" y="0"/>
                      </a:lnTo>
                      <a:lnTo>
                        <a:pt x="837" y="0"/>
                      </a:lnTo>
                      <a:lnTo>
                        <a:pt x="898" y="0"/>
                      </a:lnTo>
                      <a:lnTo>
                        <a:pt x="957" y="0"/>
                      </a:lnTo>
                      <a:lnTo>
                        <a:pt x="1013" y="0"/>
                      </a:lnTo>
                      <a:lnTo>
                        <a:pt x="1065" y="0"/>
                      </a:lnTo>
                      <a:lnTo>
                        <a:pt x="1114" y="0"/>
                      </a:lnTo>
                      <a:lnTo>
                        <a:pt x="1156" y="0"/>
                      </a:lnTo>
                      <a:lnTo>
                        <a:pt x="1191" y="0"/>
                      </a:lnTo>
                      <a:lnTo>
                        <a:pt x="1222" y="0"/>
                      </a:lnTo>
                      <a:lnTo>
                        <a:pt x="1244" y="0"/>
                      </a:lnTo>
                      <a:lnTo>
                        <a:pt x="1258" y="0"/>
                      </a:lnTo>
                      <a:lnTo>
                        <a:pt x="1263" y="0"/>
                      </a:lnTo>
                      <a:lnTo>
                        <a:pt x="1296" y="3"/>
                      </a:lnTo>
                      <a:lnTo>
                        <a:pt x="1328" y="14"/>
                      </a:lnTo>
                      <a:lnTo>
                        <a:pt x="1356" y="29"/>
                      </a:lnTo>
                      <a:lnTo>
                        <a:pt x="1381" y="50"/>
                      </a:lnTo>
                      <a:lnTo>
                        <a:pt x="1402" y="76"/>
                      </a:lnTo>
                      <a:lnTo>
                        <a:pt x="1417" y="105"/>
                      </a:lnTo>
                      <a:lnTo>
                        <a:pt x="1426" y="135"/>
                      </a:lnTo>
                      <a:lnTo>
                        <a:pt x="1430" y="170"/>
                      </a:lnTo>
                      <a:lnTo>
                        <a:pt x="1426" y="1214"/>
                      </a:lnTo>
                      <a:lnTo>
                        <a:pt x="1424" y="1247"/>
                      </a:lnTo>
                      <a:lnTo>
                        <a:pt x="1413" y="1278"/>
                      </a:lnTo>
                      <a:lnTo>
                        <a:pt x="1398" y="1306"/>
                      </a:lnTo>
                      <a:lnTo>
                        <a:pt x="1376" y="1332"/>
                      </a:lnTo>
                      <a:lnTo>
                        <a:pt x="1352" y="1353"/>
                      </a:lnTo>
                      <a:lnTo>
                        <a:pt x="1324" y="1368"/>
                      </a:lnTo>
                      <a:lnTo>
                        <a:pt x="1292" y="1378"/>
                      </a:lnTo>
                      <a:lnTo>
                        <a:pt x="1259" y="1382"/>
                      </a:lnTo>
                      <a:lnTo>
                        <a:pt x="1258" y="1382"/>
                      </a:lnTo>
                      <a:lnTo>
                        <a:pt x="1227" y="1380"/>
                      </a:lnTo>
                      <a:lnTo>
                        <a:pt x="1198" y="1371"/>
                      </a:lnTo>
                      <a:lnTo>
                        <a:pt x="1172" y="1357"/>
                      </a:lnTo>
                      <a:lnTo>
                        <a:pt x="1148" y="1338"/>
                      </a:lnTo>
                      <a:lnTo>
                        <a:pt x="1128" y="1316"/>
                      </a:lnTo>
                      <a:lnTo>
                        <a:pt x="1063" y="2337"/>
                      </a:lnTo>
                      <a:lnTo>
                        <a:pt x="1056" y="2369"/>
                      </a:lnTo>
                      <a:lnTo>
                        <a:pt x="1045" y="2400"/>
                      </a:lnTo>
                      <a:lnTo>
                        <a:pt x="1028" y="2427"/>
                      </a:lnTo>
                      <a:lnTo>
                        <a:pt x="1008" y="2449"/>
                      </a:lnTo>
                      <a:lnTo>
                        <a:pt x="982" y="2470"/>
                      </a:lnTo>
                      <a:lnTo>
                        <a:pt x="953" y="2484"/>
                      </a:lnTo>
                      <a:lnTo>
                        <a:pt x="922" y="2492"/>
                      </a:lnTo>
                      <a:lnTo>
                        <a:pt x="888" y="2496"/>
                      </a:lnTo>
                      <a:lnTo>
                        <a:pt x="542" y="2496"/>
                      </a:lnTo>
                      <a:lnTo>
                        <a:pt x="509" y="2492"/>
                      </a:lnTo>
                      <a:lnTo>
                        <a:pt x="477" y="2484"/>
                      </a:lnTo>
                      <a:lnTo>
                        <a:pt x="448" y="2470"/>
                      </a:lnTo>
                      <a:lnTo>
                        <a:pt x="423" y="2451"/>
                      </a:lnTo>
                      <a:lnTo>
                        <a:pt x="402" y="2427"/>
                      </a:lnTo>
                      <a:lnTo>
                        <a:pt x="385" y="2400"/>
                      </a:lnTo>
                      <a:lnTo>
                        <a:pt x="374" y="2369"/>
                      </a:lnTo>
                      <a:lnTo>
                        <a:pt x="369" y="2337"/>
                      </a:lnTo>
                      <a:lnTo>
                        <a:pt x="302" y="1319"/>
                      </a:lnTo>
                      <a:lnTo>
                        <a:pt x="282" y="1340"/>
                      </a:lnTo>
                      <a:lnTo>
                        <a:pt x="259" y="1357"/>
                      </a:lnTo>
                      <a:lnTo>
                        <a:pt x="232" y="1371"/>
                      </a:lnTo>
                      <a:lnTo>
                        <a:pt x="203" y="1380"/>
                      </a:lnTo>
                      <a:lnTo>
                        <a:pt x="172" y="1382"/>
                      </a:lnTo>
                      <a:lnTo>
                        <a:pt x="172" y="1382"/>
                      </a:lnTo>
                      <a:lnTo>
                        <a:pt x="138" y="1378"/>
                      </a:lnTo>
                      <a:lnTo>
                        <a:pt x="107" y="1368"/>
                      </a:lnTo>
                      <a:lnTo>
                        <a:pt x="78" y="1353"/>
                      </a:lnTo>
                      <a:lnTo>
                        <a:pt x="53" y="1333"/>
                      </a:lnTo>
                      <a:lnTo>
                        <a:pt x="33" y="1308"/>
                      </a:lnTo>
                      <a:lnTo>
                        <a:pt x="18" y="1278"/>
                      </a:lnTo>
                      <a:lnTo>
                        <a:pt x="8" y="1248"/>
                      </a:lnTo>
                      <a:lnTo>
                        <a:pt x="4" y="1214"/>
                      </a:lnTo>
                      <a:lnTo>
                        <a:pt x="0" y="168"/>
                      </a:lnTo>
                      <a:lnTo>
                        <a:pt x="4" y="134"/>
                      </a:lnTo>
                      <a:lnTo>
                        <a:pt x="14" y="102"/>
                      </a:lnTo>
                      <a:lnTo>
                        <a:pt x="29" y="74"/>
                      </a:lnTo>
                      <a:lnTo>
                        <a:pt x="50" y="49"/>
                      </a:lnTo>
                      <a:lnTo>
                        <a:pt x="74" y="29"/>
                      </a:lnTo>
                      <a:lnTo>
                        <a:pt x="103" y="12"/>
                      </a:lnTo>
                      <a:lnTo>
                        <a:pt x="135" y="3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" name="Freeform 14"/>
                <p:cNvSpPr>
                  <a:spLocks/>
                </p:cNvSpPr>
                <p:nvPr/>
              </p:nvSpPr>
              <p:spPr bwMode="auto">
                <a:xfrm>
                  <a:off x="2776" y="2202"/>
                  <a:ext cx="310" cy="308"/>
                </a:xfrm>
                <a:custGeom>
                  <a:avLst/>
                  <a:gdLst>
                    <a:gd name="T0" fmla="*/ 466 w 931"/>
                    <a:gd name="T1" fmla="*/ 0 h 925"/>
                    <a:gd name="T2" fmla="*/ 524 w 931"/>
                    <a:gd name="T3" fmla="*/ 4 h 925"/>
                    <a:gd name="T4" fmla="*/ 580 w 931"/>
                    <a:gd name="T5" fmla="*/ 14 h 925"/>
                    <a:gd name="T6" fmla="*/ 634 w 931"/>
                    <a:gd name="T7" fmla="*/ 32 h 925"/>
                    <a:gd name="T8" fmla="*/ 684 w 931"/>
                    <a:gd name="T9" fmla="*/ 55 h 925"/>
                    <a:gd name="T10" fmla="*/ 731 w 931"/>
                    <a:gd name="T11" fmla="*/ 82 h 925"/>
                    <a:gd name="T12" fmla="*/ 774 w 931"/>
                    <a:gd name="T13" fmla="*/ 117 h 925"/>
                    <a:gd name="T14" fmla="*/ 814 w 931"/>
                    <a:gd name="T15" fmla="*/ 156 h 925"/>
                    <a:gd name="T16" fmla="*/ 847 w 931"/>
                    <a:gd name="T17" fmla="*/ 199 h 925"/>
                    <a:gd name="T18" fmla="*/ 876 w 931"/>
                    <a:gd name="T19" fmla="*/ 245 h 925"/>
                    <a:gd name="T20" fmla="*/ 899 w 931"/>
                    <a:gd name="T21" fmla="*/ 295 h 925"/>
                    <a:gd name="T22" fmla="*/ 917 w 931"/>
                    <a:gd name="T23" fmla="*/ 349 h 925"/>
                    <a:gd name="T24" fmla="*/ 927 w 931"/>
                    <a:gd name="T25" fmla="*/ 404 h 925"/>
                    <a:gd name="T26" fmla="*/ 931 w 931"/>
                    <a:gd name="T27" fmla="*/ 463 h 925"/>
                    <a:gd name="T28" fmla="*/ 927 w 931"/>
                    <a:gd name="T29" fmla="*/ 521 h 925"/>
                    <a:gd name="T30" fmla="*/ 917 w 931"/>
                    <a:gd name="T31" fmla="*/ 577 h 925"/>
                    <a:gd name="T32" fmla="*/ 899 w 931"/>
                    <a:gd name="T33" fmla="*/ 630 h 925"/>
                    <a:gd name="T34" fmla="*/ 876 w 931"/>
                    <a:gd name="T35" fmla="*/ 681 h 925"/>
                    <a:gd name="T36" fmla="*/ 847 w 931"/>
                    <a:gd name="T37" fmla="*/ 727 h 925"/>
                    <a:gd name="T38" fmla="*/ 814 w 931"/>
                    <a:gd name="T39" fmla="*/ 769 h 925"/>
                    <a:gd name="T40" fmla="*/ 774 w 931"/>
                    <a:gd name="T41" fmla="*/ 809 h 925"/>
                    <a:gd name="T42" fmla="*/ 731 w 931"/>
                    <a:gd name="T43" fmla="*/ 843 h 925"/>
                    <a:gd name="T44" fmla="*/ 684 w 931"/>
                    <a:gd name="T45" fmla="*/ 871 h 925"/>
                    <a:gd name="T46" fmla="*/ 634 w 931"/>
                    <a:gd name="T47" fmla="*/ 893 h 925"/>
                    <a:gd name="T48" fmla="*/ 580 w 931"/>
                    <a:gd name="T49" fmla="*/ 911 h 925"/>
                    <a:gd name="T50" fmla="*/ 524 w 931"/>
                    <a:gd name="T51" fmla="*/ 921 h 925"/>
                    <a:gd name="T52" fmla="*/ 466 w 931"/>
                    <a:gd name="T53" fmla="*/ 925 h 925"/>
                    <a:gd name="T54" fmla="*/ 407 w 931"/>
                    <a:gd name="T55" fmla="*/ 921 h 925"/>
                    <a:gd name="T56" fmla="*/ 351 w 931"/>
                    <a:gd name="T57" fmla="*/ 911 h 925"/>
                    <a:gd name="T58" fmla="*/ 297 w 931"/>
                    <a:gd name="T59" fmla="*/ 893 h 925"/>
                    <a:gd name="T60" fmla="*/ 246 w 931"/>
                    <a:gd name="T61" fmla="*/ 871 h 925"/>
                    <a:gd name="T62" fmla="*/ 199 w 931"/>
                    <a:gd name="T63" fmla="*/ 843 h 925"/>
                    <a:gd name="T64" fmla="*/ 156 w 931"/>
                    <a:gd name="T65" fmla="*/ 809 h 925"/>
                    <a:gd name="T66" fmla="*/ 117 w 931"/>
                    <a:gd name="T67" fmla="*/ 769 h 925"/>
                    <a:gd name="T68" fmla="*/ 83 w 931"/>
                    <a:gd name="T69" fmla="*/ 727 h 925"/>
                    <a:gd name="T70" fmla="*/ 55 w 931"/>
                    <a:gd name="T71" fmla="*/ 681 h 925"/>
                    <a:gd name="T72" fmla="*/ 31 w 931"/>
                    <a:gd name="T73" fmla="*/ 630 h 925"/>
                    <a:gd name="T74" fmla="*/ 14 w 931"/>
                    <a:gd name="T75" fmla="*/ 577 h 925"/>
                    <a:gd name="T76" fmla="*/ 4 w 931"/>
                    <a:gd name="T77" fmla="*/ 521 h 925"/>
                    <a:gd name="T78" fmla="*/ 0 w 931"/>
                    <a:gd name="T79" fmla="*/ 463 h 925"/>
                    <a:gd name="T80" fmla="*/ 4 w 931"/>
                    <a:gd name="T81" fmla="*/ 404 h 925"/>
                    <a:gd name="T82" fmla="*/ 14 w 931"/>
                    <a:gd name="T83" fmla="*/ 349 h 925"/>
                    <a:gd name="T84" fmla="*/ 31 w 931"/>
                    <a:gd name="T85" fmla="*/ 295 h 925"/>
                    <a:gd name="T86" fmla="*/ 55 w 931"/>
                    <a:gd name="T87" fmla="*/ 245 h 925"/>
                    <a:gd name="T88" fmla="*/ 83 w 931"/>
                    <a:gd name="T89" fmla="*/ 199 h 925"/>
                    <a:gd name="T90" fmla="*/ 117 w 931"/>
                    <a:gd name="T91" fmla="*/ 156 h 925"/>
                    <a:gd name="T92" fmla="*/ 156 w 931"/>
                    <a:gd name="T93" fmla="*/ 117 h 925"/>
                    <a:gd name="T94" fmla="*/ 199 w 931"/>
                    <a:gd name="T95" fmla="*/ 82 h 925"/>
                    <a:gd name="T96" fmla="*/ 246 w 931"/>
                    <a:gd name="T97" fmla="*/ 55 h 925"/>
                    <a:gd name="T98" fmla="*/ 297 w 931"/>
                    <a:gd name="T99" fmla="*/ 32 h 925"/>
                    <a:gd name="T100" fmla="*/ 351 w 931"/>
                    <a:gd name="T101" fmla="*/ 14 h 925"/>
                    <a:gd name="T102" fmla="*/ 407 w 931"/>
                    <a:gd name="T103" fmla="*/ 4 h 925"/>
                    <a:gd name="T104" fmla="*/ 466 w 931"/>
                    <a:gd name="T105" fmla="*/ 0 h 9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931" h="925">
                      <a:moveTo>
                        <a:pt x="466" y="0"/>
                      </a:moveTo>
                      <a:lnTo>
                        <a:pt x="524" y="4"/>
                      </a:lnTo>
                      <a:lnTo>
                        <a:pt x="580" y="14"/>
                      </a:lnTo>
                      <a:lnTo>
                        <a:pt x="634" y="32"/>
                      </a:lnTo>
                      <a:lnTo>
                        <a:pt x="684" y="55"/>
                      </a:lnTo>
                      <a:lnTo>
                        <a:pt x="731" y="82"/>
                      </a:lnTo>
                      <a:lnTo>
                        <a:pt x="774" y="117"/>
                      </a:lnTo>
                      <a:lnTo>
                        <a:pt x="814" y="156"/>
                      </a:lnTo>
                      <a:lnTo>
                        <a:pt x="847" y="199"/>
                      </a:lnTo>
                      <a:lnTo>
                        <a:pt x="876" y="245"/>
                      </a:lnTo>
                      <a:lnTo>
                        <a:pt x="899" y="295"/>
                      </a:lnTo>
                      <a:lnTo>
                        <a:pt x="917" y="349"/>
                      </a:lnTo>
                      <a:lnTo>
                        <a:pt x="927" y="404"/>
                      </a:lnTo>
                      <a:lnTo>
                        <a:pt x="931" y="463"/>
                      </a:lnTo>
                      <a:lnTo>
                        <a:pt x="927" y="521"/>
                      </a:lnTo>
                      <a:lnTo>
                        <a:pt x="917" y="577"/>
                      </a:lnTo>
                      <a:lnTo>
                        <a:pt x="899" y="630"/>
                      </a:lnTo>
                      <a:lnTo>
                        <a:pt x="876" y="681"/>
                      </a:lnTo>
                      <a:lnTo>
                        <a:pt x="847" y="727"/>
                      </a:lnTo>
                      <a:lnTo>
                        <a:pt x="814" y="769"/>
                      </a:lnTo>
                      <a:lnTo>
                        <a:pt x="774" y="809"/>
                      </a:lnTo>
                      <a:lnTo>
                        <a:pt x="731" y="843"/>
                      </a:lnTo>
                      <a:lnTo>
                        <a:pt x="684" y="871"/>
                      </a:lnTo>
                      <a:lnTo>
                        <a:pt x="634" y="893"/>
                      </a:lnTo>
                      <a:lnTo>
                        <a:pt x="580" y="911"/>
                      </a:lnTo>
                      <a:lnTo>
                        <a:pt x="524" y="921"/>
                      </a:lnTo>
                      <a:lnTo>
                        <a:pt x="466" y="925"/>
                      </a:lnTo>
                      <a:lnTo>
                        <a:pt x="407" y="921"/>
                      </a:lnTo>
                      <a:lnTo>
                        <a:pt x="351" y="911"/>
                      </a:lnTo>
                      <a:lnTo>
                        <a:pt x="297" y="893"/>
                      </a:lnTo>
                      <a:lnTo>
                        <a:pt x="246" y="871"/>
                      </a:lnTo>
                      <a:lnTo>
                        <a:pt x="199" y="843"/>
                      </a:lnTo>
                      <a:lnTo>
                        <a:pt x="156" y="809"/>
                      </a:lnTo>
                      <a:lnTo>
                        <a:pt x="117" y="769"/>
                      </a:lnTo>
                      <a:lnTo>
                        <a:pt x="83" y="727"/>
                      </a:lnTo>
                      <a:lnTo>
                        <a:pt x="55" y="681"/>
                      </a:lnTo>
                      <a:lnTo>
                        <a:pt x="31" y="630"/>
                      </a:lnTo>
                      <a:lnTo>
                        <a:pt x="14" y="577"/>
                      </a:lnTo>
                      <a:lnTo>
                        <a:pt x="4" y="521"/>
                      </a:lnTo>
                      <a:lnTo>
                        <a:pt x="0" y="463"/>
                      </a:lnTo>
                      <a:lnTo>
                        <a:pt x="4" y="404"/>
                      </a:lnTo>
                      <a:lnTo>
                        <a:pt x="14" y="349"/>
                      </a:lnTo>
                      <a:lnTo>
                        <a:pt x="31" y="295"/>
                      </a:lnTo>
                      <a:lnTo>
                        <a:pt x="55" y="245"/>
                      </a:lnTo>
                      <a:lnTo>
                        <a:pt x="83" y="199"/>
                      </a:lnTo>
                      <a:lnTo>
                        <a:pt x="117" y="156"/>
                      </a:lnTo>
                      <a:lnTo>
                        <a:pt x="156" y="117"/>
                      </a:lnTo>
                      <a:lnTo>
                        <a:pt x="199" y="82"/>
                      </a:lnTo>
                      <a:lnTo>
                        <a:pt x="246" y="55"/>
                      </a:lnTo>
                      <a:lnTo>
                        <a:pt x="297" y="32"/>
                      </a:lnTo>
                      <a:lnTo>
                        <a:pt x="351" y="14"/>
                      </a:lnTo>
                      <a:lnTo>
                        <a:pt x="407" y="4"/>
                      </a:lnTo>
                      <a:lnTo>
                        <a:pt x="46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76" name="Group 11"/>
              <p:cNvGrpSpPr>
                <a:grpSpLocks noChangeAspect="1"/>
              </p:cNvGrpSpPr>
              <p:nvPr/>
            </p:nvGrpSpPr>
            <p:grpSpPr bwMode="auto">
              <a:xfrm>
                <a:off x="955158" y="1228284"/>
                <a:ext cx="757238" cy="1868488"/>
                <a:chOff x="2692" y="2202"/>
                <a:chExt cx="477" cy="1177"/>
              </a:xfrm>
              <a:grpFill/>
            </p:grpSpPr>
            <p:sp>
              <p:nvSpPr>
                <p:cNvPr id="77" name="Freeform 13"/>
                <p:cNvSpPr>
                  <a:spLocks/>
                </p:cNvSpPr>
                <p:nvPr/>
              </p:nvSpPr>
              <p:spPr bwMode="auto">
                <a:xfrm>
                  <a:off x="2692" y="2547"/>
                  <a:ext cx="477" cy="832"/>
                </a:xfrm>
                <a:custGeom>
                  <a:avLst/>
                  <a:gdLst>
                    <a:gd name="T0" fmla="*/ 170 w 1430"/>
                    <a:gd name="T1" fmla="*/ 0 h 2496"/>
                    <a:gd name="T2" fmla="*/ 204 w 1430"/>
                    <a:gd name="T3" fmla="*/ 0 h 2496"/>
                    <a:gd name="T4" fmla="*/ 269 w 1430"/>
                    <a:gd name="T5" fmla="*/ 0 h 2496"/>
                    <a:gd name="T6" fmla="*/ 358 w 1430"/>
                    <a:gd name="T7" fmla="*/ 0 h 2496"/>
                    <a:gd name="T8" fmla="*/ 466 w 1430"/>
                    <a:gd name="T9" fmla="*/ 0 h 2496"/>
                    <a:gd name="T10" fmla="*/ 585 w 1430"/>
                    <a:gd name="T11" fmla="*/ 0 h 2496"/>
                    <a:gd name="T12" fmla="*/ 712 w 1430"/>
                    <a:gd name="T13" fmla="*/ 0 h 2496"/>
                    <a:gd name="T14" fmla="*/ 837 w 1430"/>
                    <a:gd name="T15" fmla="*/ 0 h 2496"/>
                    <a:gd name="T16" fmla="*/ 957 w 1430"/>
                    <a:gd name="T17" fmla="*/ 0 h 2496"/>
                    <a:gd name="T18" fmla="*/ 1065 w 1430"/>
                    <a:gd name="T19" fmla="*/ 0 h 2496"/>
                    <a:gd name="T20" fmla="*/ 1156 w 1430"/>
                    <a:gd name="T21" fmla="*/ 0 h 2496"/>
                    <a:gd name="T22" fmla="*/ 1222 w 1430"/>
                    <a:gd name="T23" fmla="*/ 0 h 2496"/>
                    <a:gd name="T24" fmla="*/ 1258 w 1430"/>
                    <a:gd name="T25" fmla="*/ 0 h 2496"/>
                    <a:gd name="T26" fmla="*/ 1296 w 1430"/>
                    <a:gd name="T27" fmla="*/ 3 h 2496"/>
                    <a:gd name="T28" fmla="*/ 1356 w 1430"/>
                    <a:gd name="T29" fmla="*/ 29 h 2496"/>
                    <a:gd name="T30" fmla="*/ 1402 w 1430"/>
                    <a:gd name="T31" fmla="*/ 76 h 2496"/>
                    <a:gd name="T32" fmla="*/ 1426 w 1430"/>
                    <a:gd name="T33" fmla="*/ 135 h 2496"/>
                    <a:gd name="T34" fmla="*/ 1426 w 1430"/>
                    <a:gd name="T35" fmla="*/ 1214 h 2496"/>
                    <a:gd name="T36" fmla="*/ 1413 w 1430"/>
                    <a:gd name="T37" fmla="*/ 1278 h 2496"/>
                    <a:gd name="T38" fmla="*/ 1376 w 1430"/>
                    <a:gd name="T39" fmla="*/ 1332 h 2496"/>
                    <a:gd name="T40" fmla="*/ 1324 w 1430"/>
                    <a:gd name="T41" fmla="*/ 1368 h 2496"/>
                    <a:gd name="T42" fmla="*/ 1259 w 1430"/>
                    <a:gd name="T43" fmla="*/ 1382 h 2496"/>
                    <a:gd name="T44" fmla="*/ 1227 w 1430"/>
                    <a:gd name="T45" fmla="*/ 1380 h 2496"/>
                    <a:gd name="T46" fmla="*/ 1172 w 1430"/>
                    <a:gd name="T47" fmla="*/ 1357 h 2496"/>
                    <a:gd name="T48" fmla="*/ 1128 w 1430"/>
                    <a:gd name="T49" fmla="*/ 1316 h 2496"/>
                    <a:gd name="T50" fmla="*/ 1056 w 1430"/>
                    <a:gd name="T51" fmla="*/ 2369 h 2496"/>
                    <a:gd name="T52" fmla="*/ 1028 w 1430"/>
                    <a:gd name="T53" fmla="*/ 2427 h 2496"/>
                    <a:gd name="T54" fmla="*/ 982 w 1430"/>
                    <a:gd name="T55" fmla="*/ 2470 h 2496"/>
                    <a:gd name="T56" fmla="*/ 922 w 1430"/>
                    <a:gd name="T57" fmla="*/ 2492 h 2496"/>
                    <a:gd name="T58" fmla="*/ 542 w 1430"/>
                    <a:gd name="T59" fmla="*/ 2496 h 2496"/>
                    <a:gd name="T60" fmla="*/ 477 w 1430"/>
                    <a:gd name="T61" fmla="*/ 2484 h 2496"/>
                    <a:gd name="T62" fmla="*/ 423 w 1430"/>
                    <a:gd name="T63" fmla="*/ 2451 h 2496"/>
                    <a:gd name="T64" fmla="*/ 385 w 1430"/>
                    <a:gd name="T65" fmla="*/ 2400 h 2496"/>
                    <a:gd name="T66" fmla="*/ 369 w 1430"/>
                    <a:gd name="T67" fmla="*/ 2337 h 2496"/>
                    <a:gd name="T68" fmla="*/ 282 w 1430"/>
                    <a:gd name="T69" fmla="*/ 1340 h 2496"/>
                    <a:gd name="T70" fmla="*/ 232 w 1430"/>
                    <a:gd name="T71" fmla="*/ 1371 h 2496"/>
                    <a:gd name="T72" fmla="*/ 172 w 1430"/>
                    <a:gd name="T73" fmla="*/ 1382 h 2496"/>
                    <a:gd name="T74" fmla="*/ 138 w 1430"/>
                    <a:gd name="T75" fmla="*/ 1378 h 2496"/>
                    <a:gd name="T76" fmla="*/ 78 w 1430"/>
                    <a:gd name="T77" fmla="*/ 1353 h 2496"/>
                    <a:gd name="T78" fmla="*/ 33 w 1430"/>
                    <a:gd name="T79" fmla="*/ 1308 h 2496"/>
                    <a:gd name="T80" fmla="*/ 8 w 1430"/>
                    <a:gd name="T81" fmla="*/ 1248 h 2496"/>
                    <a:gd name="T82" fmla="*/ 0 w 1430"/>
                    <a:gd name="T83" fmla="*/ 168 h 2496"/>
                    <a:gd name="T84" fmla="*/ 14 w 1430"/>
                    <a:gd name="T85" fmla="*/ 102 h 2496"/>
                    <a:gd name="T86" fmla="*/ 50 w 1430"/>
                    <a:gd name="T87" fmla="*/ 49 h 2496"/>
                    <a:gd name="T88" fmla="*/ 103 w 1430"/>
                    <a:gd name="T89" fmla="*/ 12 h 2496"/>
                    <a:gd name="T90" fmla="*/ 168 w 1430"/>
                    <a:gd name="T91" fmla="*/ 0 h 24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30" h="2496">
                      <a:moveTo>
                        <a:pt x="168" y="0"/>
                      </a:moveTo>
                      <a:lnTo>
                        <a:pt x="170" y="0"/>
                      </a:lnTo>
                      <a:lnTo>
                        <a:pt x="182" y="0"/>
                      </a:lnTo>
                      <a:lnTo>
                        <a:pt x="204" y="0"/>
                      </a:lnTo>
                      <a:lnTo>
                        <a:pt x="233" y="0"/>
                      </a:lnTo>
                      <a:lnTo>
                        <a:pt x="269" y="0"/>
                      </a:lnTo>
                      <a:lnTo>
                        <a:pt x="311" y="0"/>
                      </a:lnTo>
                      <a:lnTo>
                        <a:pt x="358" y="0"/>
                      </a:lnTo>
                      <a:lnTo>
                        <a:pt x="409" y="0"/>
                      </a:lnTo>
                      <a:lnTo>
                        <a:pt x="466" y="0"/>
                      </a:lnTo>
                      <a:lnTo>
                        <a:pt x="524" y="0"/>
                      </a:lnTo>
                      <a:lnTo>
                        <a:pt x="585" y="0"/>
                      </a:lnTo>
                      <a:lnTo>
                        <a:pt x="648" y="0"/>
                      </a:lnTo>
                      <a:lnTo>
                        <a:pt x="712" y="0"/>
                      </a:lnTo>
                      <a:lnTo>
                        <a:pt x="774" y="0"/>
                      </a:lnTo>
                      <a:lnTo>
                        <a:pt x="837" y="0"/>
                      </a:lnTo>
                      <a:lnTo>
                        <a:pt x="898" y="0"/>
                      </a:lnTo>
                      <a:lnTo>
                        <a:pt x="957" y="0"/>
                      </a:lnTo>
                      <a:lnTo>
                        <a:pt x="1013" y="0"/>
                      </a:lnTo>
                      <a:lnTo>
                        <a:pt x="1065" y="0"/>
                      </a:lnTo>
                      <a:lnTo>
                        <a:pt x="1114" y="0"/>
                      </a:lnTo>
                      <a:lnTo>
                        <a:pt x="1156" y="0"/>
                      </a:lnTo>
                      <a:lnTo>
                        <a:pt x="1191" y="0"/>
                      </a:lnTo>
                      <a:lnTo>
                        <a:pt x="1222" y="0"/>
                      </a:lnTo>
                      <a:lnTo>
                        <a:pt x="1244" y="0"/>
                      </a:lnTo>
                      <a:lnTo>
                        <a:pt x="1258" y="0"/>
                      </a:lnTo>
                      <a:lnTo>
                        <a:pt x="1263" y="0"/>
                      </a:lnTo>
                      <a:lnTo>
                        <a:pt x="1296" y="3"/>
                      </a:lnTo>
                      <a:lnTo>
                        <a:pt x="1328" y="14"/>
                      </a:lnTo>
                      <a:lnTo>
                        <a:pt x="1356" y="29"/>
                      </a:lnTo>
                      <a:lnTo>
                        <a:pt x="1381" y="50"/>
                      </a:lnTo>
                      <a:lnTo>
                        <a:pt x="1402" y="76"/>
                      </a:lnTo>
                      <a:lnTo>
                        <a:pt x="1417" y="105"/>
                      </a:lnTo>
                      <a:lnTo>
                        <a:pt x="1426" y="135"/>
                      </a:lnTo>
                      <a:lnTo>
                        <a:pt x="1430" y="170"/>
                      </a:lnTo>
                      <a:lnTo>
                        <a:pt x="1426" y="1214"/>
                      </a:lnTo>
                      <a:lnTo>
                        <a:pt x="1424" y="1247"/>
                      </a:lnTo>
                      <a:lnTo>
                        <a:pt x="1413" y="1278"/>
                      </a:lnTo>
                      <a:lnTo>
                        <a:pt x="1398" y="1306"/>
                      </a:lnTo>
                      <a:lnTo>
                        <a:pt x="1376" y="1332"/>
                      </a:lnTo>
                      <a:lnTo>
                        <a:pt x="1352" y="1353"/>
                      </a:lnTo>
                      <a:lnTo>
                        <a:pt x="1324" y="1368"/>
                      </a:lnTo>
                      <a:lnTo>
                        <a:pt x="1292" y="1378"/>
                      </a:lnTo>
                      <a:lnTo>
                        <a:pt x="1259" y="1382"/>
                      </a:lnTo>
                      <a:lnTo>
                        <a:pt x="1258" y="1382"/>
                      </a:lnTo>
                      <a:lnTo>
                        <a:pt x="1227" y="1380"/>
                      </a:lnTo>
                      <a:lnTo>
                        <a:pt x="1198" y="1371"/>
                      </a:lnTo>
                      <a:lnTo>
                        <a:pt x="1172" y="1357"/>
                      </a:lnTo>
                      <a:lnTo>
                        <a:pt x="1148" y="1338"/>
                      </a:lnTo>
                      <a:lnTo>
                        <a:pt x="1128" y="1316"/>
                      </a:lnTo>
                      <a:lnTo>
                        <a:pt x="1063" y="2337"/>
                      </a:lnTo>
                      <a:lnTo>
                        <a:pt x="1056" y="2369"/>
                      </a:lnTo>
                      <a:lnTo>
                        <a:pt x="1045" y="2400"/>
                      </a:lnTo>
                      <a:lnTo>
                        <a:pt x="1028" y="2427"/>
                      </a:lnTo>
                      <a:lnTo>
                        <a:pt x="1008" y="2449"/>
                      </a:lnTo>
                      <a:lnTo>
                        <a:pt x="982" y="2470"/>
                      </a:lnTo>
                      <a:lnTo>
                        <a:pt x="953" y="2484"/>
                      </a:lnTo>
                      <a:lnTo>
                        <a:pt x="922" y="2492"/>
                      </a:lnTo>
                      <a:lnTo>
                        <a:pt x="888" y="2496"/>
                      </a:lnTo>
                      <a:lnTo>
                        <a:pt x="542" y="2496"/>
                      </a:lnTo>
                      <a:lnTo>
                        <a:pt x="509" y="2492"/>
                      </a:lnTo>
                      <a:lnTo>
                        <a:pt x="477" y="2484"/>
                      </a:lnTo>
                      <a:lnTo>
                        <a:pt x="448" y="2470"/>
                      </a:lnTo>
                      <a:lnTo>
                        <a:pt x="423" y="2451"/>
                      </a:lnTo>
                      <a:lnTo>
                        <a:pt x="402" y="2427"/>
                      </a:lnTo>
                      <a:lnTo>
                        <a:pt x="385" y="2400"/>
                      </a:lnTo>
                      <a:lnTo>
                        <a:pt x="374" y="2369"/>
                      </a:lnTo>
                      <a:lnTo>
                        <a:pt x="369" y="2337"/>
                      </a:lnTo>
                      <a:lnTo>
                        <a:pt x="302" y="1319"/>
                      </a:lnTo>
                      <a:lnTo>
                        <a:pt x="282" y="1340"/>
                      </a:lnTo>
                      <a:lnTo>
                        <a:pt x="259" y="1357"/>
                      </a:lnTo>
                      <a:lnTo>
                        <a:pt x="232" y="1371"/>
                      </a:lnTo>
                      <a:lnTo>
                        <a:pt x="203" y="1380"/>
                      </a:lnTo>
                      <a:lnTo>
                        <a:pt x="172" y="1382"/>
                      </a:lnTo>
                      <a:lnTo>
                        <a:pt x="172" y="1382"/>
                      </a:lnTo>
                      <a:lnTo>
                        <a:pt x="138" y="1378"/>
                      </a:lnTo>
                      <a:lnTo>
                        <a:pt x="107" y="1368"/>
                      </a:lnTo>
                      <a:lnTo>
                        <a:pt x="78" y="1353"/>
                      </a:lnTo>
                      <a:lnTo>
                        <a:pt x="53" y="1333"/>
                      </a:lnTo>
                      <a:lnTo>
                        <a:pt x="33" y="1308"/>
                      </a:lnTo>
                      <a:lnTo>
                        <a:pt x="18" y="1278"/>
                      </a:lnTo>
                      <a:lnTo>
                        <a:pt x="8" y="1248"/>
                      </a:lnTo>
                      <a:lnTo>
                        <a:pt x="4" y="1214"/>
                      </a:lnTo>
                      <a:lnTo>
                        <a:pt x="0" y="168"/>
                      </a:lnTo>
                      <a:lnTo>
                        <a:pt x="4" y="134"/>
                      </a:lnTo>
                      <a:lnTo>
                        <a:pt x="14" y="102"/>
                      </a:lnTo>
                      <a:lnTo>
                        <a:pt x="29" y="74"/>
                      </a:lnTo>
                      <a:lnTo>
                        <a:pt x="50" y="49"/>
                      </a:lnTo>
                      <a:lnTo>
                        <a:pt x="74" y="29"/>
                      </a:lnTo>
                      <a:lnTo>
                        <a:pt x="103" y="12"/>
                      </a:lnTo>
                      <a:lnTo>
                        <a:pt x="135" y="3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" name="Freeform 14"/>
                <p:cNvSpPr>
                  <a:spLocks/>
                </p:cNvSpPr>
                <p:nvPr/>
              </p:nvSpPr>
              <p:spPr bwMode="auto">
                <a:xfrm>
                  <a:off x="2776" y="2202"/>
                  <a:ext cx="310" cy="308"/>
                </a:xfrm>
                <a:custGeom>
                  <a:avLst/>
                  <a:gdLst>
                    <a:gd name="T0" fmla="*/ 466 w 931"/>
                    <a:gd name="T1" fmla="*/ 0 h 925"/>
                    <a:gd name="T2" fmla="*/ 524 w 931"/>
                    <a:gd name="T3" fmla="*/ 4 h 925"/>
                    <a:gd name="T4" fmla="*/ 580 w 931"/>
                    <a:gd name="T5" fmla="*/ 14 h 925"/>
                    <a:gd name="T6" fmla="*/ 634 w 931"/>
                    <a:gd name="T7" fmla="*/ 32 h 925"/>
                    <a:gd name="T8" fmla="*/ 684 w 931"/>
                    <a:gd name="T9" fmla="*/ 55 h 925"/>
                    <a:gd name="T10" fmla="*/ 731 w 931"/>
                    <a:gd name="T11" fmla="*/ 82 h 925"/>
                    <a:gd name="T12" fmla="*/ 774 w 931"/>
                    <a:gd name="T13" fmla="*/ 117 h 925"/>
                    <a:gd name="T14" fmla="*/ 814 w 931"/>
                    <a:gd name="T15" fmla="*/ 156 h 925"/>
                    <a:gd name="T16" fmla="*/ 847 w 931"/>
                    <a:gd name="T17" fmla="*/ 199 h 925"/>
                    <a:gd name="T18" fmla="*/ 876 w 931"/>
                    <a:gd name="T19" fmla="*/ 245 h 925"/>
                    <a:gd name="T20" fmla="*/ 899 w 931"/>
                    <a:gd name="T21" fmla="*/ 295 h 925"/>
                    <a:gd name="T22" fmla="*/ 917 w 931"/>
                    <a:gd name="T23" fmla="*/ 349 h 925"/>
                    <a:gd name="T24" fmla="*/ 927 w 931"/>
                    <a:gd name="T25" fmla="*/ 404 h 925"/>
                    <a:gd name="T26" fmla="*/ 931 w 931"/>
                    <a:gd name="T27" fmla="*/ 463 h 925"/>
                    <a:gd name="T28" fmla="*/ 927 w 931"/>
                    <a:gd name="T29" fmla="*/ 521 h 925"/>
                    <a:gd name="T30" fmla="*/ 917 w 931"/>
                    <a:gd name="T31" fmla="*/ 577 h 925"/>
                    <a:gd name="T32" fmla="*/ 899 w 931"/>
                    <a:gd name="T33" fmla="*/ 630 h 925"/>
                    <a:gd name="T34" fmla="*/ 876 w 931"/>
                    <a:gd name="T35" fmla="*/ 681 h 925"/>
                    <a:gd name="T36" fmla="*/ 847 w 931"/>
                    <a:gd name="T37" fmla="*/ 727 h 925"/>
                    <a:gd name="T38" fmla="*/ 814 w 931"/>
                    <a:gd name="T39" fmla="*/ 769 h 925"/>
                    <a:gd name="T40" fmla="*/ 774 w 931"/>
                    <a:gd name="T41" fmla="*/ 809 h 925"/>
                    <a:gd name="T42" fmla="*/ 731 w 931"/>
                    <a:gd name="T43" fmla="*/ 843 h 925"/>
                    <a:gd name="T44" fmla="*/ 684 w 931"/>
                    <a:gd name="T45" fmla="*/ 871 h 925"/>
                    <a:gd name="T46" fmla="*/ 634 w 931"/>
                    <a:gd name="T47" fmla="*/ 893 h 925"/>
                    <a:gd name="T48" fmla="*/ 580 w 931"/>
                    <a:gd name="T49" fmla="*/ 911 h 925"/>
                    <a:gd name="T50" fmla="*/ 524 w 931"/>
                    <a:gd name="T51" fmla="*/ 921 h 925"/>
                    <a:gd name="T52" fmla="*/ 466 w 931"/>
                    <a:gd name="T53" fmla="*/ 925 h 925"/>
                    <a:gd name="T54" fmla="*/ 407 w 931"/>
                    <a:gd name="T55" fmla="*/ 921 h 925"/>
                    <a:gd name="T56" fmla="*/ 351 w 931"/>
                    <a:gd name="T57" fmla="*/ 911 h 925"/>
                    <a:gd name="T58" fmla="*/ 297 w 931"/>
                    <a:gd name="T59" fmla="*/ 893 h 925"/>
                    <a:gd name="T60" fmla="*/ 246 w 931"/>
                    <a:gd name="T61" fmla="*/ 871 h 925"/>
                    <a:gd name="T62" fmla="*/ 199 w 931"/>
                    <a:gd name="T63" fmla="*/ 843 h 925"/>
                    <a:gd name="T64" fmla="*/ 156 w 931"/>
                    <a:gd name="T65" fmla="*/ 809 h 925"/>
                    <a:gd name="T66" fmla="*/ 117 w 931"/>
                    <a:gd name="T67" fmla="*/ 769 h 925"/>
                    <a:gd name="T68" fmla="*/ 83 w 931"/>
                    <a:gd name="T69" fmla="*/ 727 h 925"/>
                    <a:gd name="T70" fmla="*/ 55 w 931"/>
                    <a:gd name="T71" fmla="*/ 681 h 925"/>
                    <a:gd name="T72" fmla="*/ 31 w 931"/>
                    <a:gd name="T73" fmla="*/ 630 h 925"/>
                    <a:gd name="T74" fmla="*/ 14 w 931"/>
                    <a:gd name="T75" fmla="*/ 577 h 925"/>
                    <a:gd name="T76" fmla="*/ 4 w 931"/>
                    <a:gd name="T77" fmla="*/ 521 h 925"/>
                    <a:gd name="T78" fmla="*/ 0 w 931"/>
                    <a:gd name="T79" fmla="*/ 463 h 925"/>
                    <a:gd name="T80" fmla="*/ 4 w 931"/>
                    <a:gd name="T81" fmla="*/ 404 h 925"/>
                    <a:gd name="T82" fmla="*/ 14 w 931"/>
                    <a:gd name="T83" fmla="*/ 349 h 925"/>
                    <a:gd name="T84" fmla="*/ 31 w 931"/>
                    <a:gd name="T85" fmla="*/ 295 h 925"/>
                    <a:gd name="T86" fmla="*/ 55 w 931"/>
                    <a:gd name="T87" fmla="*/ 245 h 925"/>
                    <a:gd name="T88" fmla="*/ 83 w 931"/>
                    <a:gd name="T89" fmla="*/ 199 h 925"/>
                    <a:gd name="T90" fmla="*/ 117 w 931"/>
                    <a:gd name="T91" fmla="*/ 156 h 925"/>
                    <a:gd name="T92" fmla="*/ 156 w 931"/>
                    <a:gd name="T93" fmla="*/ 117 h 925"/>
                    <a:gd name="T94" fmla="*/ 199 w 931"/>
                    <a:gd name="T95" fmla="*/ 82 h 925"/>
                    <a:gd name="T96" fmla="*/ 246 w 931"/>
                    <a:gd name="T97" fmla="*/ 55 h 925"/>
                    <a:gd name="T98" fmla="*/ 297 w 931"/>
                    <a:gd name="T99" fmla="*/ 32 h 925"/>
                    <a:gd name="T100" fmla="*/ 351 w 931"/>
                    <a:gd name="T101" fmla="*/ 14 h 925"/>
                    <a:gd name="T102" fmla="*/ 407 w 931"/>
                    <a:gd name="T103" fmla="*/ 4 h 925"/>
                    <a:gd name="T104" fmla="*/ 466 w 931"/>
                    <a:gd name="T105" fmla="*/ 0 h 9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931" h="925">
                      <a:moveTo>
                        <a:pt x="466" y="0"/>
                      </a:moveTo>
                      <a:lnTo>
                        <a:pt x="524" y="4"/>
                      </a:lnTo>
                      <a:lnTo>
                        <a:pt x="580" y="14"/>
                      </a:lnTo>
                      <a:lnTo>
                        <a:pt x="634" y="32"/>
                      </a:lnTo>
                      <a:lnTo>
                        <a:pt x="684" y="55"/>
                      </a:lnTo>
                      <a:lnTo>
                        <a:pt x="731" y="82"/>
                      </a:lnTo>
                      <a:lnTo>
                        <a:pt x="774" y="117"/>
                      </a:lnTo>
                      <a:lnTo>
                        <a:pt x="814" y="156"/>
                      </a:lnTo>
                      <a:lnTo>
                        <a:pt x="847" y="199"/>
                      </a:lnTo>
                      <a:lnTo>
                        <a:pt x="876" y="245"/>
                      </a:lnTo>
                      <a:lnTo>
                        <a:pt x="899" y="295"/>
                      </a:lnTo>
                      <a:lnTo>
                        <a:pt x="917" y="349"/>
                      </a:lnTo>
                      <a:lnTo>
                        <a:pt x="927" y="404"/>
                      </a:lnTo>
                      <a:lnTo>
                        <a:pt x="931" y="463"/>
                      </a:lnTo>
                      <a:lnTo>
                        <a:pt x="927" y="521"/>
                      </a:lnTo>
                      <a:lnTo>
                        <a:pt x="917" y="577"/>
                      </a:lnTo>
                      <a:lnTo>
                        <a:pt x="899" y="630"/>
                      </a:lnTo>
                      <a:lnTo>
                        <a:pt x="876" y="681"/>
                      </a:lnTo>
                      <a:lnTo>
                        <a:pt x="847" y="727"/>
                      </a:lnTo>
                      <a:lnTo>
                        <a:pt x="814" y="769"/>
                      </a:lnTo>
                      <a:lnTo>
                        <a:pt x="774" y="809"/>
                      </a:lnTo>
                      <a:lnTo>
                        <a:pt x="731" y="843"/>
                      </a:lnTo>
                      <a:lnTo>
                        <a:pt x="684" y="871"/>
                      </a:lnTo>
                      <a:lnTo>
                        <a:pt x="634" y="893"/>
                      </a:lnTo>
                      <a:lnTo>
                        <a:pt x="580" y="911"/>
                      </a:lnTo>
                      <a:lnTo>
                        <a:pt x="524" y="921"/>
                      </a:lnTo>
                      <a:lnTo>
                        <a:pt x="466" y="925"/>
                      </a:lnTo>
                      <a:lnTo>
                        <a:pt x="407" y="921"/>
                      </a:lnTo>
                      <a:lnTo>
                        <a:pt x="351" y="911"/>
                      </a:lnTo>
                      <a:lnTo>
                        <a:pt x="297" y="893"/>
                      </a:lnTo>
                      <a:lnTo>
                        <a:pt x="246" y="871"/>
                      </a:lnTo>
                      <a:lnTo>
                        <a:pt x="199" y="843"/>
                      </a:lnTo>
                      <a:lnTo>
                        <a:pt x="156" y="809"/>
                      </a:lnTo>
                      <a:lnTo>
                        <a:pt x="117" y="769"/>
                      </a:lnTo>
                      <a:lnTo>
                        <a:pt x="83" y="727"/>
                      </a:lnTo>
                      <a:lnTo>
                        <a:pt x="55" y="681"/>
                      </a:lnTo>
                      <a:lnTo>
                        <a:pt x="31" y="630"/>
                      </a:lnTo>
                      <a:lnTo>
                        <a:pt x="14" y="577"/>
                      </a:lnTo>
                      <a:lnTo>
                        <a:pt x="4" y="521"/>
                      </a:lnTo>
                      <a:lnTo>
                        <a:pt x="0" y="463"/>
                      </a:lnTo>
                      <a:lnTo>
                        <a:pt x="4" y="404"/>
                      </a:lnTo>
                      <a:lnTo>
                        <a:pt x="14" y="349"/>
                      </a:lnTo>
                      <a:lnTo>
                        <a:pt x="31" y="295"/>
                      </a:lnTo>
                      <a:lnTo>
                        <a:pt x="55" y="245"/>
                      </a:lnTo>
                      <a:lnTo>
                        <a:pt x="83" y="199"/>
                      </a:lnTo>
                      <a:lnTo>
                        <a:pt x="117" y="156"/>
                      </a:lnTo>
                      <a:lnTo>
                        <a:pt x="156" y="117"/>
                      </a:lnTo>
                      <a:lnTo>
                        <a:pt x="199" y="82"/>
                      </a:lnTo>
                      <a:lnTo>
                        <a:pt x="246" y="55"/>
                      </a:lnTo>
                      <a:lnTo>
                        <a:pt x="297" y="32"/>
                      </a:lnTo>
                      <a:lnTo>
                        <a:pt x="351" y="14"/>
                      </a:lnTo>
                      <a:lnTo>
                        <a:pt x="407" y="4"/>
                      </a:lnTo>
                      <a:lnTo>
                        <a:pt x="46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79" name="Group 11"/>
              <p:cNvGrpSpPr>
                <a:grpSpLocks noChangeAspect="1"/>
              </p:cNvGrpSpPr>
              <p:nvPr/>
            </p:nvGrpSpPr>
            <p:grpSpPr bwMode="auto">
              <a:xfrm>
                <a:off x="1863059" y="1228284"/>
                <a:ext cx="757238" cy="1868488"/>
                <a:chOff x="2692" y="2202"/>
                <a:chExt cx="477" cy="1177"/>
              </a:xfrm>
              <a:grpFill/>
            </p:grpSpPr>
            <p:sp>
              <p:nvSpPr>
                <p:cNvPr id="80" name="Freeform 13"/>
                <p:cNvSpPr>
                  <a:spLocks/>
                </p:cNvSpPr>
                <p:nvPr/>
              </p:nvSpPr>
              <p:spPr bwMode="auto">
                <a:xfrm>
                  <a:off x="2692" y="2547"/>
                  <a:ext cx="477" cy="832"/>
                </a:xfrm>
                <a:custGeom>
                  <a:avLst/>
                  <a:gdLst>
                    <a:gd name="T0" fmla="*/ 170 w 1430"/>
                    <a:gd name="T1" fmla="*/ 0 h 2496"/>
                    <a:gd name="T2" fmla="*/ 204 w 1430"/>
                    <a:gd name="T3" fmla="*/ 0 h 2496"/>
                    <a:gd name="T4" fmla="*/ 269 w 1430"/>
                    <a:gd name="T5" fmla="*/ 0 h 2496"/>
                    <a:gd name="T6" fmla="*/ 358 w 1430"/>
                    <a:gd name="T7" fmla="*/ 0 h 2496"/>
                    <a:gd name="T8" fmla="*/ 466 w 1430"/>
                    <a:gd name="T9" fmla="*/ 0 h 2496"/>
                    <a:gd name="T10" fmla="*/ 585 w 1430"/>
                    <a:gd name="T11" fmla="*/ 0 h 2496"/>
                    <a:gd name="T12" fmla="*/ 712 w 1430"/>
                    <a:gd name="T13" fmla="*/ 0 h 2496"/>
                    <a:gd name="T14" fmla="*/ 837 w 1430"/>
                    <a:gd name="T15" fmla="*/ 0 h 2496"/>
                    <a:gd name="T16" fmla="*/ 957 w 1430"/>
                    <a:gd name="T17" fmla="*/ 0 h 2496"/>
                    <a:gd name="T18" fmla="*/ 1065 w 1430"/>
                    <a:gd name="T19" fmla="*/ 0 h 2496"/>
                    <a:gd name="T20" fmla="*/ 1156 w 1430"/>
                    <a:gd name="T21" fmla="*/ 0 h 2496"/>
                    <a:gd name="T22" fmla="*/ 1222 w 1430"/>
                    <a:gd name="T23" fmla="*/ 0 h 2496"/>
                    <a:gd name="T24" fmla="*/ 1258 w 1430"/>
                    <a:gd name="T25" fmla="*/ 0 h 2496"/>
                    <a:gd name="T26" fmla="*/ 1296 w 1430"/>
                    <a:gd name="T27" fmla="*/ 3 h 2496"/>
                    <a:gd name="T28" fmla="*/ 1356 w 1430"/>
                    <a:gd name="T29" fmla="*/ 29 h 2496"/>
                    <a:gd name="T30" fmla="*/ 1402 w 1430"/>
                    <a:gd name="T31" fmla="*/ 76 h 2496"/>
                    <a:gd name="T32" fmla="*/ 1426 w 1430"/>
                    <a:gd name="T33" fmla="*/ 135 h 2496"/>
                    <a:gd name="T34" fmla="*/ 1426 w 1430"/>
                    <a:gd name="T35" fmla="*/ 1214 h 2496"/>
                    <a:gd name="T36" fmla="*/ 1413 w 1430"/>
                    <a:gd name="T37" fmla="*/ 1278 h 2496"/>
                    <a:gd name="T38" fmla="*/ 1376 w 1430"/>
                    <a:gd name="T39" fmla="*/ 1332 h 2496"/>
                    <a:gd name="T40" fmla="*/ 1324 w 1430"/>
                    <a:gd name="T41" fmla="*/ 1368 h 2496"/>
                    <a:gd name="T42" fmla="*/ 1259 w 1430"/>
                    <a:gd name="T43" fmla="*/ 1382 h 2496"/>
                    <a:gd name="T44" fmla="*/ 1227 w 1430"/>
                    <a:gd name="T45" fmla="*/ 1380 h 2496"/>
                    <a:gd name="T46" fmla="*/ 1172 w 1430"/>
                    <a:gd name="T47" fmla="*/ 1357 h 2496"/>
                    <a:gd name="T48" fmla="*/ 1128 w 1430"/>
                    <a:gd name="T49" fmla="*/ 1316 h 2496"/>
                    <a:gd name="T50" fmla="*/ 1056 w 1430"/>
                    <a:gd name="T51" fmla="*/ 2369 h 2496"/>
                    <a:gd name="T52" fmla="*/ 1028 w 1430"/>
                    <a:gd name="T53" fmla="*/ 2427 h 2496"/>
                    <a:gd name="T54" fmla="*/ 982 w 1430"/>
                    <a:gd name="T55" fmla="*/ 2470 h 2496"/>
                    <a:gd name="T56" fmla="*/ 922 w 1430"/>
                    <a:gd name="T57" fmla="*/ 2492 h 2496"/>
                    <a:gd name="T58" fmla="*/ 542 w 1430"/>
                    <a:gd name="T59" fmla="*/ 2496 h 2496"/>
                    <a:gd name="T60" fmla="*/ 477 w 1430"/>
                    <a:gd name="T61" fmla="*/ 2484 h 2496"/>
                    <a:gd name="T62" fmla="*/ 423 w 1430"/>
                    <a:gd name="T63" fmla="*/ 2451 h 2496"/>
                    <a:gd name="T64" fmla="*/ 385 w 1430"/>
                    <a:gd name="T65" fmla="*/ 2400 h 2496"/>
                    <a:gd name="T66" fmla="*/ 369 w 1430"/>
                    <a:gd name="T67" fmla="*/ 2337 h 2496"/>
                    <a:gd name="T68" fmla="*/ 282 w 1430"/>
                    <a:gd name="T69" fmla="*/ 1340 h 2496"/>
                    <a:gd name="T70" fmla="*/ 232 w 1430"/>
                    <a:gd name="T71" fmla="*/ 1371 h 2496"/>
                    <a:gd name="T72" fmla="*/ 172 w 1430"/>
                    <a:gd name="T73" fmla="*/ 1382 h 2496"/>
                    <a:gd name="T74" fmla="*/ 138 w 1430"/>
                    <a:gd name="T75" fmla="*/ 1378 h 2496"/>
                    <a:gd name="T76" fmla="*/ 78 w 1430"/>
                    <a:gd name="T77" fmla="*/ 1353 h 2496"/>
                    <a:gd name="T78" fmla="*/ 33 w 1430"/>
                    <a:gd name="T79" fmla="*/ 1308 h 2496"/>
                    <a:gd name="T80" fmla="*/ 8 w 1430"/>
                    <a:gd name="T81" fmla="*/ 1248 h 2496"/>
                    <a:gd name="T82" fmla="*/ 0 w 1430"/>
                    <a:gd name="T83" fmla="*/ 168 h 2496"/>
                    <a:gd name="T84" fmla="*/ 14 w 1430"/>
                    <a:gd name="T85" fmla="*/ 102 h 2496"/>
                    <a:gd name="T86" fmla="*/ 50 w 1430"/>
                    <a:gd name="T87" fmla="*/ 49 h 2496"/>
                    <a:gd name="T88" fmla="*/ 103 w 1430"/>
                    <a:gd name="T89" fmla="*/ 12 h 2496"/>
                    <a:gd name="T90" fmla="*/ 168 w 1430"/>
                    <a:gd name="T91" fmla="*/ 0 h 24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30" h="2496">
                      <a:moveTo>
                        <a:pt x="168" y="0"/>
                      </a:moveTo>
                      <a:lnTo>
                        <a:pt x="170" y="0"/>
                      </a:lnTo>
                      <a:lnTo>
                        <a:pt x="182" y="0"/>
                      </a:lnTo>
                      <a:lnTo>
                        <a:pt x="204" y="0"/>
                      </a:lnTo>
                      <a:lnTo>
                        <a:pt x="233" y="0"/>
                      </a:lnTo>
                      <a:lnTo>
                        <a:pt x="269" y="0"/>
                      </a:lnTo>
                      <a:lnTo>
                        <a:pt x="311" y="0"/>
                      </a:lnTo>
                      <a:lnTo>
                        <a:pt x="358" y="0"/>
                      </a:lnTo>
                      <a:lnTo>
                        <a:pt x="409" y="0"/>
                      </a:lnTo>
                      <a:lnTo>
                        <a:pt x="466" y="0"/>
                      </a:lnTo>
                      <a:lnTo>
                        <a:pt x="524" y="0"/>
                      </a:lnTo>
                      <a:lnTo>
                        <a:pt x="585" y="0"/>
                      </a:lnTo>
                      <a:lnTo>
                        <a:pt x="648" y="0"/>
                      </a:lnTo>
                      <a:lnTo>
                        <a:pt x="712" y="0"/>
                      </a:lnTo>
                      <a:lnTo>
                        <a:pt x="774" y="0"/>
                      </a:lnTo>
                      <a:lnTo>
                        <a:pt x="837" y="0"/>
                      </a:lnTo>
                      <a:lnTo>
                        <a:pt x="898" y="0"/>
                      </a:lnTo>
                      <a:lnTo>
                        <a:pt x="957" y="0"/>
                      </a:lnTo>
                      <a:lnTo>
                        <a:pt x="1013" y="0"/>
                      </a:lnTo>
                      <a:lnTo>
                        <a:pt x="1065" y="0"/>
                      </a:lnTo>
                      <a:lnTo>
                        <a:pt x="1114" y="0"/>
                      </a:lnTo>
                      <a:lnTo>
                        <a:pt x="1156" y="0"/>
                      </a:lnTo>
                      <a:lnTo>
                        <a:pt x="1191" y="0"/>
                      </a:lnTo>
                      <a:lnTo>
                        <a:pt x="1222" y="0"/>
                      </a:lnTo>
                      <a:lnTo>
                        <a:pt x="1244" y="0"/>
                      </a:lnTo>
                      <a:lnTo>
                        <a:pt x="1258" y="0"/>
                      </a:lnTo>
                      <a:lnTo>
                        <a:pt x="1263" y="0"/>
                      </a:lnTo>
                      <a:lnTo>
                        <a:pt x="1296" y="3"/>
                      </a:lnTo>
                      <a:lnTo>
                        <a:pt x="1328" y="14"/>
                      </a:lnTo>
                      <a:lnTo>
                        <a:pt x="1356" y="29"/>
                      </a:lnTo>
                      <a:lnTo>
                        <a:pt x="1381" y="50"/>
                      </a:lnTo>
                      <a:lnTo>
                        <a:pt x="1402" y="76"/>
                      </a:lnTo>
                      <a:lnTo>
                        <a:pt x="1417" y="105"/>
                      </a:lnTo>
                      <a:lnTo>
                        <a:pt x="1426" y="135"/>
                      </a:lnTo>
                      <a:lnTo>
                        <a:pt x="1430" y="170"/>
                      </a:lnTo>
                      <a:lnTo>
                        <a:pt x="1426" y="1214"/>
                      </a:lnTo>
                      <a:lnTo>
                        <a:pt x="1424" y="1247"/>
                      </a:lnTo>
                      <a:lnTo>
                        <a:pt x="1413" y="1278"/>
                      </a:lnTo>
                      <a:lnTo>
                        <a:pt x="1398" y="1306"/>
                      </a:lnTo>
                      <a:lnTo>
                        <a:pt x="1376" y="1332"/>
                      </a:lnTo>
                      <a:lnTo>
                        <a:pt x="1352" y="1353"/>
                      </a:lnTo>
                      <a:lnTo>
                        <a:pt x="1324" y="1368"/>
                      </a:lnTo>
                      <a:lnTo>
                        <a:pt x="1292" y="1378"/>
                      </a:lnTo>
                      <a:lnTo>
                        <a:pt x="1259" y="1382"/>
                      </a:lnTo>
                      <a:lnTo>
                        <a:pt x="1258" y="1382"/>
                      </a:lnTo>
                      <a:lnTo>
                        <a:pt x="1227" y="1380"/>
                      </a:lnTo>
                      <a:lnTo>
                        <a:pt x="1198" y="1371"/>
                      </a:lnTo>
                      <a:lnTo>
                        <a:pt x="1172" y="1357"/>
                      </a:lnTo>
                      <a:lnTo>
                        <a:pt x="1148" y="1338"/>
                      </a:lnTo>
                      <a:lnTo>
                        <a:pt x="1128" y="1316"/>
                      </a:lnTo>
                      <a:lnTo>
                        <a:pt x="1063" y="2337"/>
                      </a:lnTo>
                      <a:lnTo>
                        <a:pt x="1056" y="2369"/>
                      </a:lnTo>
                      <a:lnTo>
                        <a:pt x="1045" y="2400"/>
                      </a:lnTo>
                      <a:lnTo>
                        <a:pt x="1028" y="2427"/>
                      </a:lnTo>
                      <a:lnTo>
                        <a:pt x="1008" y="2449"/>
                      </a:lnTo>
                      <a:lnTo>
                        <a:pt x="982" y="2470"/>
                      </a:lnTo>
                      <a:lnTo>
                        <a:pt x="953" y="2484"/>
                      </a:lnTo>
                      <a:lnTo>
                        <a:pt x="922" y="2492"/>
                      </a:lnTo>
                      <a:lnTo>
                        <a:pt x="888" y="2496"/>
                      </a:lnTo>
                      <a:lnTo>
                        <a:pt x="542" y="2496"/>
                      </a:lnTo>
                      <a:lnTo>
                        <a:pt x="509" y="2492"/>
                      </a:lnTo>
                      <a:lnTo>
                        <a:pt x="477" y="2484"/>
                      </a:lnTo>
                      <a:lnTo>
                        <a:pt x="448" y="2470"/>
                      </a:lnTo>
                      <a:lnTo>
                        <a:pt x="423" y="2451"/>
                      </a:lnTo>
                      <a:lnTo>
                        <a:pt x="402" y="2427"/>
                      </a:lnTo>
                      <a:lnTo>
                        <a:pt x="385" y="2400"/>
                      </a:lnTo>
                      <a:lnTo>
                        <a:pt x="374" y="2369"/>
                      </a:lnTo>
                      <a:lnTo>
                        <a:pt x="369" y="2337"/>
                      </a:lnTo>
                      <a:lnTo>
                        <a:pt x="302" y="1319"/>
                      </a:lnTo>
                      <a:lnTo>
                        <a:pt x="282" y="1340"/>
                      </a:lnTo>
                      <a:lnTo>
                        <a:pt x="259" y="1357"/>
                      </a:lnTo>
                      <a:lnTo>
                        <a:pt x="232" y="1371"/>
                      </a:lnTo>
                      <a:lnTo>
                        <a:pt x="203" y="1380"/>
                      </a:lnTo>
                      <a:lnTo>
                        <a:pt x="172" y="1382"/>
                      </a:lnTo>
                      <a:lnTo>
                        <a:pt x="172" y="1382"/>
                      </a:lnTo>
                      <a:lnTo>
                        <a:pt x="138" y="1378"/>
                      </a:lnTo>
                      <a:lnTo>
                        <a:pt x="107" y="1368"/>
                      </a:lnTo>
                      <a:lnTo>
                        <a:pt x="78" y="1353"/>
                      </a:lnTo>
                      <a:lnTo>
                        <a:pt x="53" y="1333"/>
                      </a:lnTo>
                      <a:lnTo>
                        <a:pt x="33" y="1308"/>
                      </a:lnTo>
                      <a:lnTo>
                        <a:pt x="18" y="1278"/>
                      </a:lnTo>
                      <a:lnTo>
                        <a:pt x="8" y="1248"/>
                      </a:lnTo>
                      <a:lnTo>
                        <a:pt x="4" y="1214"/>
                      </a:lnTo>
                      <a:lnTo>
                        <a:pt x="0" y="168"/>
                      </a:lnTo>
                      <a:lnTo>
                        <a:pt x="4" y="134"/>
                      </a:lnTo>
                      <a:lnTo>
                        <a:pt x="14" y="102"/>
                      </a:lnTo>
                      <a:lnTo>
                        <a:pt x="29" y="74"/>
                      </a:lnTo>
                      <a:lnTo>
                        <a:pt x="50" y="49"/>
                      </a:lnTo>
                      <a:lnTo>
                        <a:pt x="74" y="29"/>
                      </a:lnTo>
                      <a:lnTo>
                        <a:pt x="103" y="12"/>
                      </a:lnTo>
                      <a:lnTo>
                        <a:pt x="135" y="3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1" name="Freeform 14"/>
                <p:cNvSpPr>
                  <a:spLocks/>
                </p:cNvSpPr>
                <p:nvPr/>
              </p:nvSpPr>
              <p:spPr bwMode="auto">
                <a:xfrm>
                  <a:off x="2776" y="2202"/>
                  <a:ext cx="310" cy="308"/>
                </a:xfrm>
                <a:custGeom>
                  <a:avLst/>
                  <a:gdLst>
                    <a:gd name="T0" fmla="*/ 466 w 931"/>
                    <a:gd name="T1" fmla="*/ 0 h 925"/>
                    <a:gd name="T2" fmla="*/ 524 w 931"/>
                    <a:gd name="T3" fmla="*/ 4 h 925"/>
                    <a:gd name="T4" fmla="*/ 580 w 931"/>
                    <a:gd name="T5" fmla="*/ 14 h 925"/>
                    <a:gd name="T6" fmla="*/ 634 w 931"/>
                    <a:gd name="T7" fmla="*/ 32 h 925"/>
                    <a:gd name="T8" fmla="*/ 684 w 931"/>
                    <a:gd name="T9" fmla="*/ 55 h 925"/>
                    <a:gd name="T10" fmla="*/ 731 w 931"/>
                    <a:gd name="T11" fmla="*/ 82 h 925"/>
                    <a:gd name="T12" fmla="*/ 774 w 931"/>
                    <a:gd name="T13" fmla="*/ 117 h 925"/>
                    <a:gd name="T14" fmla="*/ 814 w 931"/>
                    <a:gd name="T15" fmla="*/ 156 h 925"/>
                    <a:gd name="T16" fmla="*/ 847 w 931"/>
                    <a:gd name="T17" fmla="*/ 199 h 925"/>
                    <a:gd name="T18" fmla="*/ 876 w 931"/>
                    <a:gd name="T19" fmla="*/ 245 h 925"/>
                    <a:gd name="T20" fmla="*/ 899 w 931"/>
                    <a:gd name="T21" fmla="*/ 295 h 925"/>
                    <a:gd name="T22" fmla="*/ 917 w 931"/>
                    <a:gd name="T23" fmla="*/ 349 h 925"/>
                    <a:gd name="T24" fmla="*/ 927 w 931"/>
                    <a:gd name="T25" fmla="*/ 404 h 925"/>
                    <a:gd name="T26" fmla="*/ 931 w 931"/>
                    <a:gd name="T27" fmla="*/ 463 h 925"/>
                    <a:gd name="T28" fmla="*/ 927 w 931"/>
                    <a:gd name="T29" fmla="*/ 521 h 925"/>
                    <a:gd name="T30" fmla="*/ 917 w 931"/>
                    <a:gd name="T31" fmla="*/ 577 h 925"/>
                    <a:gd name="T32" fmla="*/ 899 w 931"/>
                    <a:gd name="T33" fmla="*/ 630 h 925"/>
                    <a:gd name="T34" fmla="*/ 876 w 931"/>
                    <a:gd name="T35" fmla="*/ 681 h 925"/>
                    <a:gd name="T36" fmla="*/ 847 w 931"/>
                    <a:gd name="T37" fmla="*/ 727 h 925"/>
                    <a:gd name="T38" fmla="*/ 814 w 931"/>
                    <a:gd name="T39" fmla="*/ 769 h 925"/>
                    <a:gd name="T40" fmla="*/ 774 w 931"/>
                    <a:gd name="T41" fmla="*/ 809 h 925"/>
                    <a:gd name="T42" fmla="*/ 731 w 931"/>
                    <a:gd name="T43" fmla="*/ 843 h 925"/>
                    <a:gd name="T44" fmla="*/ 684 w 931"/>
                    <a:gd name="T45" fmla="*/ 871 h 925"/>
                    <a:gd name="T46" fmla="*/ 634 w 931"/>
                    <a:gd name="T47" fmla="*/ 893 h 925"/>
                    <a:gd name="T48" fmla="*/ 580 w 931"/>
                    <a:gd name="T49" fmla="*/ 911 h 925"/>
                    <a:gd name="T50" fmla="*/ 524 w 931"/>
                    <a:gd name="T51" fmla="*/ 921 h 925"/>
                    <a:gd name="T52" fmla="*/ 466 w 931"/>
                    <a:gd name="T53" fmla="*/ 925 h 925"/>
                    <a:gd name="T54" fmla="*/ 407 w 931"/>
                    <a:gd name="T55" fmla="*/ 921 h 925"/>
                    <a:gd name="T56" fmla="*/ 351 w 931"/>
                    <a:gd name="T57" fmla="*/ 911 h 925"/>
                    <a:gd name="T58" fmla="*/ 297 w 931"/>
                    <a:gd name="T59" fmla="*/ 893 h 925"/>
                    <a:gd name="T60" fmla="*/ 246 w 931"/>
                    <a:gd name="T61" fmla="*/ 871 h 925"/>
                    <a:gd name="T62" fmla="*/ 199 w 931"/>
                    <a:gd name="T63" fmla="*/ 843 h 925"/>
                    <a:gd name="T64" fmla="*/ 156 w 931"/>
                    <a:gd name="T65" fmla="*/ 809 h 925"/>
                    <a:gd name="T66" fmla="*/ 117 w 931"/>
                    <a:gd name="T67" fmla="*/ 769 h 925"/>
                    <a:gd name="T68" fmla="*/ 83 w 931"/>
                    <a:gd name="T69" fmla="*/ 727 h 925"/>
                    <a:gd name="T70" fmla="*/ 55 w 931"/>
                    <a:gd name="T71" fmla="*/ 681 h 925"/>
                    <a:gd name="T72" fmla="*/ 31 w 931"/>
                    <a:gd name="T73" fmla="*/ 630 h 925"/>
                    <a:gd name="T74" fmla="*/ 14 w 931"/>
                    <a:gd name="T75" fmla="*/ 577 h 925"/>
                    <a:gd name="T76" fmla="*/ 4 w 931"/>
                    <a:gd name="T77" fmla="*/ 521 h 925"/>
                    <a:gd name="T78" fmla="*/ 0 w 931"/>
                    <a:gd name="T79" fmla="*/ 463 h 925"/>
                    <a:gd name="T80" fmla="*/ 4 w 931"/>
                    <a:gd name="T81" fmla="*/ 404 h 925"/>
                    <a:gd name="T82" fmla="*/ 14 w 931"/>
                    <a:gd name="T83" fmla="*/ 349 h 925"/>
                    <a:gd name="T84" fmla="*/ 31 w 931"/>
                    <a:gd name="T85" fmla="*/ 295 h 925"/>
                    <a:gd name="T86" fmla="*/ 55 w 931"/>
                    <a:gd name="T87" fmla="*/ 245 h 925"/>
                    <a:gd name="T88" fmla="*/ 83 w 931"/>
                    <a:gd name="T89" fmla="*/ 199 h 925"/>
                    <a:gd name="T90" fmla="*/ 117 w 931"/>
                    <a:gd name="T91" fmla="*/ 156 h 925"/>
                    <a:gd name="T92" fmla="*/ 156 w 931"/>
                    <a:gd name="T93" fmla="*/ 117 h 925"/>
                    <a:gd name="T94" fmla="*/ 199 w 931"/>
                    <a:gd name="T95" fmla="*/ 82 h 925"/>
                    <a:gd name="T96" fmla="*/ 246 w 931"/>
                    <a:gd name="T97" fmla="*/ 55 h 925"/>
                    <a:gd name="T98" fmla="*/ 297 w 931"/>
                    <a:gd name="T99" fmla="*/ 32 h 925"/>
                    <a:gd name="T100" fmla="*/ 351 w 931"/>
                    <a:gd name="T101" fmla="*/ 14 h 925"/>
                    <a:gd name="T102" fmla="*/ 407 w 931"/>
                    <a:gd name="T103" fmla="*/ 4 h 925"/>
                    <a:gd name="T104" fmla="*/ 466 w 931"/>
                    <a:gd name="T105" fmla="*/ 0 h 9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931" h="925">
                      <a:moveTo>
                        <a:pt x="466" y="0"/>
                      </a:moveTo>
                      <a:lnTo>
                        <a:pt x="524" y="4"/>
                      </a:lnTo>
                      <a:lnTo>
                        <a:pt x="580" y="14"/>
                      </a:lnTo>
                      <a:lnTo>
                        <a:pt x="634" y="32"/>
                      </a:lnTo>
                      <a:lnTo>
                        <a:pt x="684" y="55"/>
                      </a:lnTo>
                      <a:lnTo>
                        <a:pt x="731" y="82"/>
                      </a:lnTo>
                      <a:lnTo>
                        <a:pt x="774" y="117"/>
                      </a:lnTo>
                      <a:lnTo>
                        <a:pt x="814" y="156"/>
                      </a:lnTo>
                      <a:lnTo>
                        <a:pt x="847" y="199"/>
                      </a:lnTo>
                      <a:lnTo>
                        <a:pt x="876" y="245"/>
                      </a:lnTo>
                      <a:lnTo>
                        <a:pt x="899" y="295"/>
                      </a:lnTo>
                      <a:lnTo>
                        <a:pt x="917" y="349"/>
                      </a:lnTo>
                      <a:lnTo>
                        <a:pt x="927" y="404"/>
                      </a:lnTo>
                      <a:lnTo>
                        <a:pt x="931" y="463"/>
                      </a:lnTo>
                      <a:lnTo>
                        <a:pt x="927" y="521"/>
                      </a:lnTo>
                      <a:lnTo>
                        <a:pt x="917" y="577"/>
                      </a:lnTo>
                      <a:lnTo>
                        <a:pt x="899" y="630"/>
                      </a:lnTo>
                      <a:lnTo>
                        <a:pt x="876" y="681"/>
                      </a:lnTo>
                      <a:lnTo>
                        <a:pt x="847" y="727"/>
                      </a:lnTo>
                      <a:lnTo>
                        <a:pt x="814" y="769"/>
                      </a:lnTo>
                      <a:lnTo>
                        <a:pt x="774" y="809"/>
                      </a:lnTo>
                      <a:lnTo>
                        <a:pt x="731" y="843"/>
                      </a:lnTo>
                      <a:lnTo>
                        <a:pt x="684" y="871"/>
                      </a:lnTo>
                      <a:lnTo>
                        <a:pt x="634" y="893"/>
                      </a:lnTo>
                      <a:lnTo>
                        <a:pt x="580" y="911"/>
                      </a:lnTo>
                      <a:lnTo>
                        <a:pt x="524" y="921"/>
                      </a:lnTo>
                      <a:lnTo>
                        <a:pt x="466" y="925"/>
                      </a:lnTo>
                      <a:lnTo>
                        <a:pt x="407" y="921"/>
                      </a:lnTo>
                      <a:lnTo>
                        <a:pt x="351" y="911"/>
                      </a:lnTo>
                      <a:lnTo>
                        <a:pt x="297" y="893"/>
                      </a:lnTo>
                      <a:lnTo>
                        <a:pt x="246" y="871"/>
                      </a:lnTo>
                      <a:lnTo>
                        <a:pt x="199" y="843"/>
                      </a:lnTo>
                      <a:lnTo>
                        <a:pt x="156" y="809"/>
                      </a:lnTo>
                      <a:lnTo>
                        <a:pt x="117" y="769"/>
                      </a:lnTo>
                      <a:lnTo>
                        <a:pt x="83" y="727"/>
                      </a:lnTo>
                      <a:lnTo>
                        <a:pt x="55" y="681"/>
                      </a:lnTo>
                      <a:lnTo>
                        <a:pt x="31" y="630"/>
                      </a:lnTo>
                      <a:lnTo>
                        <a:pt x="14" y="577"/>
                      </a:lnTo>
                      <a:lnTo>
                        <a:pt x="4" y="521"/>
                      </a:lnTo>
                      <a:lnTo>
                        <a:pt x="0" y="463"/>
                      </a:lnTo>
                      <a:lnTo>
                        <a:pt x="4" y="404"/>
                      </a:lnTo>
                      <a:lnTo>
                        <a:pt x="14" y="349"/>
                      </a:lnTo>
                      <a:lnTo>
                        <a:pt x="31" y="295"/>
                      </a:lnTo>
                      <a:lnTo>
                        <a:pt x="55" y="245"/>
                      </a:lnTo>
                      <a:lnTo>
                        <a:pt x="83" y="199"/>
                      </a:lnTo>
                      <a:lnTo>
                        <a:pt x="117" y="156"/>
                      </a:lnTo>
                      <a:lnTo>
                        <a:pt x="156" y="117"/>
                      </a:lnTo>
                      <a:lnTo>
                        <a:pt x="199" y="82"/>
                      </a:lnTo>
                      <a:lnTo>
                        <a:pt x="246" y="55"/>
                      </a:lnTo>
                      <a:lnTo>
                        <a:pt x="297" y="32"/>
                      </a:lnTo>
                      <a:lnTo>
                        <a:pt x="351" y="14"/>
                      </a:lnTo>
                      <a:lnTo>
                        <a:pt x="407" y="4"/>
                      </a:lnTo>
                      <a:lnTo>
                        <a:pt x="46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82" name="Group 11"/>
              <p:cNvGrpSpPr>
                <a:grpSpLocks noChangeAspect="1"/>
              </p:cNvGrpSpPr>
              <p:nvPr/>
            </p:nvGrpSpPr>
            <p:grpSpPr bwMode="auto">
              <a:xfrm>
                <a:off x="2809363" y="3291672"/>
                <a:ext cx="757238" cy="1868488"/>
                <a:chOff x="2692" y="2202"/>
                <a:chExt cx="477" cy="1177"/>
              </a:xfrm>
              <a:grpFill/>
            </p:grpSpPr>
            <p:sp>
              <p:nvSpPr>
                <p:cNvPr id="83" name="Freeform 13"/>
                <p:cNvSpPr>
                  <a:spLocks/>
                </p:cNvSpPr>
                <p:nvPr/>
              </p:nvSpPr>
              <p:spPr bwMode="auto">
                <a:xfrm>
                  <a:off x="2692" y="2547"/>
                  <a:ext cx="477" cy="832"/>
                </a:xfrm>
                <a:custGeom>
                  <a:avLst/>
                  <a:gdLst>
                    <a:gd name="T0" fmla="*/ 170 w 1430"/>
                    <a:gd name="T1" fmla="*/ 0 h 2496"/>
                    <a:gd name="T2" fmla="*/ 204 w 1430"/>
                    <a:gd name="T3" fmla="*/ 0 h 2496"/>
                    <a:gd name="T4" fmla="*/ 269 w 1430"/>
                    <a:gd name="T5" fmla="*/ 0 h 2496"/>
                    <a:gd name="T6" fmla="*/ 358 w 1430"/>
                    <a:gd name="T7" fmla="*/ 0 h 2496"/>
                    <a:gd name="T8" fmla="*/ 466 w 1430"/>
                    <a:gd name="T9" fmla="*/ 0 h 2496"/>
                    <a:gd name="T10" fmla="*/ 585 w 1430"/>
                    <a:gd name="T11" fmla="*/ 0 h 2496"/>
                    <a:gd name="T12" fmla="*/ 712 w 1430"/>
                    <a:gd name="T13" fmla="*/ 0 h 2496"/>
                    <a:gd name="T14" fmla="*/ 837 w 1430"/>
                    <a:gd name="T15" fmla="*/ 0 h 2496"/>
                    <a:gd name="T16" fmla="*/ 957 w 1430"/>
                    <a:gd name="T17" fmla="*/ 0 h 2496"/>
                    <a:gd name="T18" fmla="*/ 1065 w 1430"/>
                    <a:gd name="T19" fmla="*/ 0 h 2496"/>
                    <a:gd name="T20" fmla="*/ 1156 w 1430"/>
                    <a:gd name="T21" fmla="*/ 0 h 2496"/>
                    <a:gd name="T22" fmla="*/ 1222 w 1430"/>
                    <a:gd name="T23" fmla="*/ 0 h 2496"/>
                    <a:gd name="T24" fmla="*/ 1258 w 1430"/>
                    <a:gd name="T25" fmla="*/ 0 h 2496"/>
                    <a:gd name="T26" fmla="*/ 1296 w 1430"/>
                    <a:gd name="T27" fmla="*/ 3 h 2496"/>
                    <a:gd name="T28" fmla="*/ 1356 w 1430"/>
                    <a:gd name="T29" fmla="*/ 29 h 2496"/>
                    <a:gd name="T30" fmla="*/ 1402 w 1430"/>
                    <a:gd name="T31" fmla="*/ 76 h 2496"/>
                    <a:gd name="T32" fmla="*/ 1426 w 1430"/>
                    <a:gd name="T33" fmla="*/ 135 h 2496"/>
                    <a:gd name="T34" fmla="*/ 1426 w 1430"/>
                    <a:gd name="T35" fmla="*/ 1214 h 2496"/>
                    <a:gd name="T36" fmla="*/ 1413 w 1430"/>
                    <a:gd name="T37" fmla="*/ 1278 h 2496"/>
                    <a:gd name="T38" fmla="*/ 1376 w 1430"/>
                    <a:gd name="T39" fmla="*/ 1332 h 2496"/>
                    <a:gd name="T40" fmla="*/ 1324 w 1430"/>
                    <a:gd name="T41" fmla="*/ 1368 h 2496"/>
                    <a:gd name="T42" fmla="*/ 1259 w 1430"/>
                    <a:gd name="T43" fmla="*/ 1382 h 2496"/>
                    <a:gd name="T44" fmla="*/ 1227 w 1430"/>
                    <a:gd name="T45" fmla="*/ 1380 h 2496"/>
                    <a:gd name="T46" fmla="*/ 1172 w 1430"/>
                    <a:gd name="T47" fmla="*/ 1357 h 2496"/>
                    <a:gd name="T48" fmla="*/ 1128 w 1430"/>
                    <a:gd name="T49" fmla="*/ 1316 h 2496"/>
                    <a:gd name="T50" fmla="*/ 1056 w 1430"/>
                    <a:gd name="T51" fmla="*/ 2369 h 2496"/>
                    <a:gd name="T52" fmla="*/ 1028 w 1430"/>
                    <a:gd name="T53" fmla="*/ 2427 h 2496"/>
                    <a:gd name="T54" fmla="*/ 982 w 1430"/>
                    <a:gd name="T55" fmla="*/ 2470 h 2496"/>
                    <a:gd name="T56" fmla="*/ 922 w 1430"/>
                    <a:gd name="T57" fmla="*/ 2492 h 2496"/>
                    <a:gd name="T58" fmla="*/ 542 w 1430"/>
                    <a:gd name="T59" fmla="*/ 2496 h 2496"/>
                    <a:gd name="T60" fmla="*/ 477 w 1430"/>
                    <a:gd name="T61" fmla="*/ 2484 h 2496"/>
                    <a:gd name="T62" fmla="*/ 423 w 1430"/>
                    <a:gd name="T63" fmla="*/ 2451 h 2496"/>
                    <a:gd name="T64" fmla="*/ 385 w 1430"/>
                    <a:gd name="T65" fmla="*/ 2400 h 2496"/>
                    <a:gd name="T66" fmla="*/ 369 w 1430"/>
                    <a:gd name="T67" fmla="*/ 2337 h 2496"/>
                    <a:gd name="T68" fmla="*/ 282 w 1430"/>
                    <a:gd name="T69" fmla="*/ 1340 h 2496"/>
                    <a:gd name="T70" fmla="*/ 232 w 1430"/>
                    <a:gd name="T71" fmla="*/ 1371 h 2496"/>
                    <a:gd name="T72" fmla="*/ 172 w 1430"/>
                    <a:gd name="T73" fmla="*/ 1382 h 2496"/>
                    <a:gd name="T74" fmla="*/ 138 w 1430"/>
                    <a:gd name="T75" fmla="*/ 1378 h 2496"/>
                    <a:gd name="T76" fmla="*/ 78 w 1430"/>
                    <a:gd name="T77" fmla="*/ 1353 h 2496"/>
                    <a:gd name="T78" fmla="*/ 33 w 1430"/>
                    <a:gd name="T79" fmla="*/ 1308 h 2496"/>
                    <a:gd name="T80" fmla="*/ 8 w 1430"/>
                    <a:gd name="T81" fmla="*/ 1248 h 2496"/>
                    <a:gd name="T82" fmla="*/ 0 w 1430"/>
                    <a:gd name="T83" fmla="*/ 168 h 2496"/>
                    <a:gd name="T84" fmla="*/ 14 w 1430"/>
                    <a:gd name="T85" fmla="*/ 102 h 2496"/>
                    <a:gd name="T86" fmla="*/ 50 w 1430"/>
                    <a:gd name="T87" fmla="*/ 49 h 2496"/>
                    <a:gd name="T88" fmla="*/ 103 w 1430"/>
                    <a:gd name="T89" fmla="*/ 12 h 2496"/>
                    <a:gd name="T90" fmla="*/ 168 w 1430"/>
                    <a:gd name="T91" fmla="*/ 0 h 24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30" h="2496">
                      <a:moveTo>
                        <a:pt x="168" y="0"/>
                      </a:moveTo>
                      <a:lnTo>
                        <a:pt x="170" y="0"/>
                      </a:lnTo>
                      <a:lnTo>
                        <a:pt x="182" y="0"/>
                      </a:lnTo>
                      <a:lnTo>
                        <a:pt x="204" y="0"/>
                      </a:lnTo>
                      <a:lnTo>
                        <a:pt x="233" y="0"/>
                      </a:lnTo>
                      <a:lnTo>
                        <a:pt x="269" y="0"/>
                      </a:lnTo>
                      <a:lnTo>
                        <a:pt x="311" y="0"/>
                      </a:lnTo>
                      <a:lnTo>
                        <a:pt x="358" y="0"/>
                      </a:lnTo>
                      <a:lnTo>
                        <a:pt x="409" y="0"/>
                      </a:lnTo>
                      <a:lnTo>
                        <a:pt x="466" y="0"/>
                      </a:lnTo>
                      <a:lnTo>
                        <a:pt x="524" y="0"/>
                      </a:lnTo>
                      <a:lnTo>
                        <a:pt x="585" y="0"/>
                      </a:lnTo>
                      <a:lnTo>
                        <a:pt x="648" y="0"/>
                      </a:lnTo>
                      <a:lnTo>
                        <a:pt x="712" y="0"/>
                      </a:lnTo>
                      <a:lnTo>
                        <a:pt x="774" y="0"/>
                      </a:lnTo>
                      <a:lnTo>
                        <a:pt x="837" y="0"/>
                      </a:lnTo>
                      <a:lnTo>
                        <a:pt x="898" y="0"/>
                      </a:lnTo>
                      <a:lnTo>
                        <a:pt x="957" y="0"/>
                      </a:lnTo>
                      <a:lnTo>
                        <a:pt x="1013" y="0"/>
                      </a:lnTo>
                      <a:lnTo>
                        <a:pt x="1065" y="0"/>
                      </a:lnTo>
                      <a:lnTo>
                        <a:pt x="1114" y="0"/>
                      </a:lnTo>
                      <a:lnTo>
                        <a:pt x="1156" y="0"/>
                      </a:lnTo>
                      <a:lnTo>
                        <a:pt x="1191" y="0"/>
                      </a:lnTo>
                      <a:lnTo>
                        <a:pt x="1222" y="0"/>
                      </a:lnTo>
                      <a:lnTo>
                        <a:pt x="1244" y="0"/>
                      </a:lnTo>
                      <a:lnTo>
                        <a:pt x="1258" y="0"/>
                      </a:lnTo>
                      <a:lnTo>
                        <a:pt x="1263" y="0"/>
                      </a:lnTo>
                      <a:lnTo>
                        <a:pt x="1296" y="3"/>
                      </a:lnTo>
                      <a:lnTo>
                        <a:pt x="1328" y="14"/>
                      </a:lnTo>
                      <a:lnTo>
                        <a:pt x="1356" y="29"/>
                      </a:lnTo>
                      <a:lnTo>
                        <a:pt x="1381" y="50"/>
                      </a:lnTo>
                      <a:lnTo>
                        <a:pt x="1402" y="76"/>
                      </a:lnTo>
                      <a:lnTo>
                        <a:pt x="1417" y="105"/>
                      </a:lnTo>
                      <a:lnTo>
                        <a:pt x="1426" y="135"/>
                      </a:lnTo>
                      <a:lnTo>
                        <a:pt x="1430" y="170"/>
                      </a:lnTo>
                      <a:lnTo>
                        <a:pt x="1426" y="1214"/>
                      </a:lnTo>
                      <a:lnTo>
                        <a:pt x="1424" y="1247"/>
                      </a:lnTo>
                      <a:lnTo>
                        <a:pt x="1413" y="1278"/>
                      </a:lnTo>
                      <a:lnTo>
                        <a:pt x="1398" y="1306"/>
                      </a:lnTo>
                      <a:lnTo>
                        <a:pt x="1376" y="1332"/>
                      </a:lnTo>
                      <a:lnTo>
                        <a:pt x="1352" y="1353"/>
                      </a:lnTo>
                      <a:lnTo>
                        <a:pt x="1324" y="1368"/>
                      </a:lnTo>
                      <a:lnTo>
                        <a:pt x="1292" y="1378"/>
                      </a:lnTo>
                      <a:lnTo>
                        <a:pt x="1259" y="1382"/>
                      </a:lnTo>
                      <a:lnTo>
                        <a:pt x="1258" y="1382"/>
                      </a:lnTo>
                      <a:lnTo>
                        <a:pt x="1227" y="1380"/>
                      </a:lnTo>
                      <a:lnTo>
                        <a:pt x="1198" y="1371"/>
                      </a:lnTo>
                      <a:lnTo>
                        <a:pt x="1172" y="1357"/>
                      </a:lnTo>
                      <a:lnTo>
                        <a:pt x="1148" y="1338"/>
                      </a:lnTo>
                      <a:lnTo>
                        <a:pt x="1128" y="1316"/>
                      </a:lnTo>
                      <a:lnTo>
                        <a:pt x="1063" y="2337"/>
                      </a:lnTo>
                      <a:lnTo>
                        <a:pt x="1056" y="2369"/>
                      </a:lnTo>
                      <a:lnTo>
                        <a:pt x="1045" y="2400"/>
                      </a:lnTo>
                      <a:lnTo>
                        <a:pt x="1028" y="2427"/>
                      </a:lnTo>
                      <a:lnTo>
                        <a:pt x="1008" y="2449"/>
                      </a:lnTo>
                      <a:lnTo>
                        <a:pt x="982" y="2470"/>
                      </a:lnTo>
                      <a:lnTo>
                        <a:pt x="953" y="2484"/>
                      </a:lnTo>
                      <a:lnTo>
                        <a:pt x="922" y="2492"/>
                      </a:lnTo>
                      <a:lnTo>
                        <a:pt x="888" y="2496"/>
                      </a:lnTo>
                      <a:lnTo>
                        <a:pt x="542" y="2496"/>
                      </a:lnTo>
                      <a:lnTo>
                        <a:pt x="509" y="2492"/>
                      </a:lnTo>
                      <a:lnTo>
                        <a:pt x="477" y="2484"/>
                      </a:lnTo>
                      <a:lnTo>
                        <a:pt x="448" y="2470"/>
                      </a:lnTo>
                      <a:lnTo>
                        <a:pt x="423" y="2451"/>
                      </a:lnTo>
                      <a:lnTo>
                        <a:pt x="402" y="2427"/>
                      </a:lnTo>
                      <a:lnTo>
                        <a:pt x="385" y="2400"/>
                      </a:lnTo>
                      <a:lnTo>
                        <a:pt x="374" y="2369"/>
                      </a:lnTo>
                      <a:lnTo>
                        <a:pt x="369" y="2337"/>
                      </a:lnTo>
                      <a:lnTo>
                        <a:pt x="302" y="1319"/>
                      </a:lnTo>
                      <a:lnTo>
                        <a:pt x="282" y="1340"/>
                      </a:lnTo>
                      <a:lnTo>
                        <a:pt x="259" y="1357"/>
                      </a:lnTo>
                      <a:lnTo>
                        <a:pt x="232" y="1371"/>
                      </a:lnTo>
                      <a:lnTo>
                        <a:pt x="203" y="1380"/>
                      </a:lnTo>
                      <a:lnTo>
                        <a:pt x="172" y="1382"/>
                      </a:lnTo>
                      <a:lnTo>
                        <a:pt x="172" y="1382"/>
                      </a:lnTo>
                      <a:lnTo>
                        <a:pt x="138" y="1378"/>
                      </a:lnTo>
                      <a:lnTo>
                        <a:pt x="107" y="1368"/>
                      </a:lnTo>
                      <a:lnTo>
                        <a:pt x="78" y="1353"/>
                      </a:lnTo>
                      <a:lnTo>
                        <a:pt x="53" y="1333"/>
                      </a:lnTo>
                      <a:lnTo>
                        <a:pt x="33" y="1308"/>
                      </a:lnTo>
                      <a:lnTo>
                        <a:pt x="18" y="1278"/>
                      </a:lnTo>
                      <a:lnTo>
                        <a:pt x="8" y="1248"/>
                      </a:lnTo>
                      <a:lnTo>
                        <a:pt x="4" y="1214"/>
                      </a:lnTo>
                      <a:lnTo>
                        <a:pt x="0" y="168"/>
                      </a:lnTo>
                      <a:lnTo>
                        <a:pt x="4" y="134"/>
                      </a:lnTo>
                      <a:lnTo>
                        <a:pt x="14" y="102"/>
                      </a:lnTo>
                      <a:lnTo>
                        <a:pt x="29" y="74"/>
                      </a:lnTo>
                      <a:lnTo>
                        <a:pt x="50" y="49"/>
                      </a:lnTo>
                      <a:lnTo>
                        <a:pt x="74" y="29"/>
                      </a:lnTo>
                      <a:lnTo>
                        <a:pt x="103" y="12"/>
                      </a:lnTo>
                      <a:lnTo>
                        <a:pt x="135" y="3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4" name="Freeform 14"/>
                <p:cNvSpPr>
                  <a:spLocks/>
                </p:cNvSpPr>
                <p:nvPr/>
              </p:nvSpPr>
              <p:spPr bwMode="auto">
                <a:xfrm>
                  <a:off x="2776" y="2202"/>
                  <a:ext cx="310" cy="308"/>
                </a:xfrm>
                <a:custGeom>
                  <a:avLst/>
                  <a:gdLst>
                    <a:gd name="T0" fmla="*/ 466 w 931"/>
                    <a:gd name="T1" fmla="*/ 0 h 925"/>
                    <a:gd name="T2" fmla="*/ 524 w 931"/>
                    <a:gd name="T3" fmla="*/ 4 h 925"/>
                    <a:gd name="T4" fmla="*/ 580 w 931"/>
                    <a:gd name="T5" fmla="*/ 14 h 925"/>
                    <a:gd name="T6" fmla="*/ 634 w 931"/>
                    <a:gd name="T7" fmla="*/ 32 h 925"/>
                    <a:gd name="T8" fmla="*/ 684 w 931"/>
                    <a:gd name="T9" fmla="*/ 55 h 925"/>
                    <a:gd name="T10" fmla="*/ 731 w 931"/>
                    <a:gd name="T11" fmla="*/ 82 h 925"/>
                    <a:gd name="T12" fmla="*/ 774 w 931"/>
                    <a:gd name="T13" fmla="*/ 117 h 925"/>
                    <a:gd name="T14" fmla="*/ 814 w 931"/>
                    <a:gd name="T15" fmla="*/ 156 h 925"/>
                    <a:gd name="T16" fmla="*/ 847 w 931"/>
                    <a:gd name="T17" fmla="*/ 199 h 925"/>
                    <a:gd name="T18" fmla="*/ 876 w 931"/>
                    <a:gd name="T19" fmla="*/ 245 h 925"/>
                    <a:gd name="T20" fmla="*/ 899 w 931"/>
                    <a:gd name="T21" fmla="*/ 295 h 925"/>
                    <a:gd name="T22" fmla="*/ 917 w 931"/>
                    <a:gd name="T23" fmla="*/ 349 h 925"/>
                    <a:gd name="T24" fmla="*/ 927 w 931"/>
                    <a:gd name="T25" fmla="*/ 404 h 925"/>
                    <a:gd name="T26" fmla="*/ 931 w 931"/>
                    <a:gd name="T27" fmla="*/ 463 h 925"/>
                    <a:gd name="T28" fmla="*/ 927 w 931"/>
                    <a:gd name="T29" fmla="*/ 521 h 925"/>
                    <a:gd name="T30" fmla="*/ 917 w 931"/>
                    <a:gd name="T31" fmla="*/ 577 h 925"/>
                    <a:gd name="T32" fmla="*/ 899 w 931"/>
                    <a:gd name="T33" fmla="*/ 630 h 925"/>
                    <a:gd name="T34" fmla="*/ 876 w 931"/>
                    <a:gd name="T35" fmla="*/ 681 h 925"/>
                    <a:gd name="T36" fmla="*/ 847 w 931"/>
                    <a:gd name="T37" fmla="*/ 727 h 925"/>
                    <a:gd name="T38" fmla="*/ 814 w 931"/>
                    <a:gd name="T39" fmla="*/ 769 h 925"/>
                    <a:gd name="T40" fmla="*/ 774 w 931"/>
                    <a:gd name="T41" fmla="*/ 809 h 925"/>
                    <a:gd name="T42" fmla="*/ 731 w 931"/>
                    <a:gd name="T43" fmla="*/ 843 h 925"/>
                    <a:gd name="T44" fmla="*/ 684 w 931"/>
                    <a:gd name="T45" fmla="*/ 871 h 925"/>
                    <a:gd name="T46" fmla="*/ 634 w 931"/>
                    <a:gd name="T47" fmla="*/ 893 h 925"/>
                    <a:gd name="T48" fmla="*/ 580 w 931"/>
                    <a:gd name="T49" fmla="*/ 911 h 925"/>
                    <a:gd name="T50" fmla="*/ 524 w 931"/>
                    <a:gd name="T51" fmla="*/ 921 h 925"/>
                    <a:gd name="T52" fmla="*/ 466 w 931"/>
                    <a:gd name="T53" fmla="*/ 925 h 925"/>
                    <a:gd name="T54" fmla="*/ 407 w 931"/>
                    <a:gd name="T55" fmla="*/ 921 h 925"/>
                    <a:gd name="T56" fmla="*/ 351 w 931"/>
                    <a:gd name="T57" fmla="*/ 911 h 925"/>
                    <a:gd name="T58" fmla="*/ 297 w 931"/>
                    <a:gd name="T59" fmla="*/ 893 h 925"/>
                    <a:gd name="T60" fmla="*/ 246 w 931"/>
                    <a:gd name="T61" fmla="*/ 871 h 925"/>
                    <a:gd name="T62" fmla="*/ 199 w 931"/>
                    <a:gd name="T63" fmla="*/ 843 h 925"/>
                    <a:gd name="T64" fmla="*/ 156 w 931"/>
                    <a:gd name="T65" fmla="*/ 809 h 925"/>
                    <a:gd name="T66" fmla="*/ 117 w 931"/>
                    <a:gd name="T67" fmla="*/ 769 h 925"/>
                    <a:gd name="T68" fmla="*/ 83 w 931"/>
                    <a:gd name="T69" fmla="*/ 727 h 925"/>
                    <a:gd name="T70" fmla="*/ 55 w 931"/>
                    <a:gd name="T71" fmla="*/ 681 h 925"/>
                    <a:gd name="T72" fmla="*/ 31 w 931"/>
                    <a:gd name="T73" fmla="*/ 630 h 925"/>
                    <a:gd name="T74" fmla="*/ 14 w 931"/>
                    <a:gd name="T75" fmla="*/ 577 h 925"/>
                    <a:gd name="T76" fmla="*/ 4 w 931"/>
                    <a:gd name="T77" fmla="*/ 521 h 925"/>
                    <a:gd name="T78" fmla="*/ 0 w 931"/>
                    <a:gd name="T79" fmla="*/ 463 h 925"/>
                    <a:gd name="T80" fmla="*/ 4 w 931"/>
                    <a:gd name="T81" fmla="*/ 404 h 925"/>
                    <a:gd name="T82" fmla="*/ 14 w 931"/>
                    <a:gd name="T83" fmla="*/ 349 h 925"/>
                    <a:gd name="T84" fmla="*/ 31 w 931"/>
                    <a:gd name="T85" fmla="*/ 295 h 925"/>
                    <a:gd name="T86" fmla="*/ 55 w 931"/>
                    <a:gd name="T87" fmla="*/ 245 h 925"/>
                    <a:gd name="T88" fmla="*/ 83 w 931"/>
                    <a:gd name="T89" fmla="*/ 199 h 925"/>
                    <a:gd name="T90" fmla="*/ 117 w 931"/>
                    <a:gd name="T91" fmla="*/ 156 h 925"/>
                    <a:gd name="T92" fmla="*/ 156 w 931"/>
                    <a:gd name="T93" fmla="*/ 117 h 925"/>
                    <a:gd name="T94" fmla="*/ 199 w 931"/>
                    <a:gd name="T95" fmla="*/ 82 h 925"/>
                    <a:gd name="T96" fmla="*/ 246 w 931"/>
                    <a:gd name="T97" fmla="*/ 55 h 925"/>
                    <a:gd name="T98" fmla="*/ 297 w 931"/>
                    <a:gd name="T99" fmla="*/ 32 h 925"/>
                    <a:gd name="T100" fmla="*/ 351 w 931"/>
                    <a:gd name="T101" fmla="*/ 14 h 925"/>
                    <a:gd name="T102" fmla="*/ 407 w 931"/>
                    <a:gd name="T103" fmla="*/ 4 h 925"/>
                    <a:gd name="T104" fmla="*/ 466 w 931"/>
                    <a:gd name="T105" fmla="*/ 0 h 9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931" h="925">
                      <a:moveTo>
                        <a:pt x="466" y="0"/>
                      </a:moveTo>
                      <a:lnTo>
                        <a:pt x="524" y="4"/>
                      </a:lnTo>
                      <a:lnTo>
                        <a:pt x="580" y="14"/>
                      </a:lnTo>
                      <a:lnTo>
                        <a:pt x="634" y="32"/>
                      </a:lnTo>
                      <a:lnTo>
                        <a:pt x="684" y="55"/>
                      </a:lnTo>
                      <a:lnTo>
                        <a:pt x="731" y="82"/>
                      </a:lnTo>
                      <a:lnTo>
                        <a:pt x="774" y="117"/>
                      </a:lnTo>
                      <a:lnTo>
                        <a:pt x="814" y="156"/>
                      </a:lnTo>
                      <a:lnTo>
                        <a:pt x="847" y="199"/>
                      </a:lnTo>
                      <a:lnTo>
                        <a:pt x="876" y="245"/>
                      </a:lnTo>
                      <a:lnTo>
                        <a:pt x="899" y="295"/>
                      </a:lnTo>
                      <a:lnTo>
                        <a:pt x="917" y="349"/>
                      </a:lnTo>
                      <a:lnTo>
                        <a:pt x="927" y="404"/>
                      </a:lnTo>
                      <a:lnTo>
                        <a:pt x="931" y="463"/>
                      </a:lnTo>
                      <a:lnTo>
                        <a:pt x="927" y="521"/>
                      </a:lnTo>
                      <a:lnTo>
                        <a:pt x="917" y="577"/>
                      </a:lnTo>
                      <a:lnTo>
                        <a:pt x="899" y="630"/>
                      </a:lnTo>
                      <a:lnTo>
                        <a:pt x="876" y="681"/>
                      </a:lnTo>
                      <a:lnTo>
                        <a:pt x="847" y="727"/>
                      </a:lnTo>
                      <a:lnTo>
                        <a:pt x="814" y="769"/>
                      </a:lnTo>
                      <a:lnTo>
                        <a:pt x="774" y="809"/>
                      </a:lnTo>
                      <a:lnTo>
                        <a:pt x="731" y="843"/>
                      </a:lnTo>
                      <a:lnTo>
                        <a:pt x="684" y="871"/>
                      </a:lnTo>
                      <a:lnTo>
                        <a:pt x="634" y="893"/>
                      </a:lnTo>
                      <a:lnTo>
                        <a:pt x="580" y="911"/>
                      </a:lnTo>
                      <a:lnTo>
                        <a:pt x="524" y="921"/>
                      </a:lnTo>
                      <a:lnTo>
                        <a:pt x="466" y="925"/>
                      </a:lnTo>
                      <a:lnTo>
                        <a:pt x="407" y="921"/>
                      </a:lnTo>
                      <a:lnTo>
                        <a:pt x="351" y="911"/>
                      </a:lnTo>
                      <a:lnTo>
                        <a:pt x="297" y="893"/>
                      </a:lnTo>
                      <a:lnTo>
                        <a:pt x="246" y="871"/>
                      </a:lnTo>
                      <a:lnTo>
                        <a:pt x="199" y="843"/>
                      </a:lnTo>
                      <a:lnTo>
                        <a:pt x="156" y="809"/>
                      </a:lnTo>
                      <a:lnTo>
                        <a:pt x="117" y="769"/>
                      </a:lnTo>
                      <a:lnTo>
                        <a:pt x="83" y="727"/>
                      </a:lnTo>
                      <a:lnTo>
                        <a:pt x="55" y="681"/>
                      </a:lnTo>
                      <a:lnTo>
                        <a:pt x="31" y="630"/>
                      </a:lnTo>
                      <a:lnTo>
                        <a:pt x="14" y="577"/>
                      </a:lnTo>
                      <a:lnTo>
                        <a:pt x="4" y="521"/>
                      </a:lnTo>
                      <a:lnTo>
                        <a:pt x="0" y="463"/>
                      </a:lnTo>
                      <a:lnTo>
                        <a:pt x="4" y="404"/>
                      </a:lnTo>
                      <a:lnTo>
                        <a:pt x="14" y="349"/>
                      </a:lnTo>
                      <a:lnTo>
                        <a:pt x="31" y="295"/>
                      </a:lnTo>
                      <a:lnTo>
                        <a:pt x="55" y="245"/>
                      </a:lnTo>
                      <a:lnTo>
                        <a:pt x="83" y="199"/>
                      </a:lnTo>
                      <a:lnTo>
                        <a:pt x="117" y="156"/>
                      </a:lnTo>
                      <a:lnTo>
                        <a:pt x="156" y="117"/>
                      </a:lnTo>
                      <a:lnTo>
                        <a:pt x="199" y="82"/>
                      </a:lnTo>
                      <a:lnTo>
                        <a:pt x="246" y="55"/>
                      </a:lnTo>
                      <a:lnTo>
                        <a:pt x="297" y="32"/>
                      </a:lnTo>
                      <a:lnTo>
                        <a:pt x="351" y="14"/>
                      </a:lnTo>
                      <a:lnTo>
                        <a:pt x="407" y="4"/>
                      </a:lnTo>
                      <a:lnTo>
                        <a:pt x="46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85" name="Group 11"/>
              <p:cNvGrpSpPr>
                <a:grpSpLocks noChangeAspect="1"/>
              </p:cNvGrpSpPr>
              <p:nvPr/>
            </p:nvGrpSpPr>
            <p:grpSpPr bwMode="auto">
              <a:xfrm>
                <a:off x="3717264" y="3291672"/>
                <a:ext cx="757238" cy="1868488"/>
                <a:chOff x="2692" y="2202"/>
                <a:chExt cx="477" cy="1177"/>
              </a:xfrm>
              <a:grpFill/>
            </p:grpSpPr>
            <p:sp>
              <p:nvSpPr>
                <p:cNvPr id="86" name="Freeform 13"/>
                <p:cNvSpPr>
                  <a:spLocks/>
                </p:cNvSpPr>
                <p:nvPr/>
              </p:nvSpPr>
              <p:spPr bwMode="auto">
                <a:xfrm>
                  <a:off x="2692" y="2547"/>
                  <a:ext cx="477" cy="832"/>
                </a:xfrm>
                <a:custGeom>
                  <a:avLst/>
                  <a:gdLst>
                    <a:gd name="T0" fmla="*/ 170 w 1430"/>
                    <a:gd name="T1" fmla="*/ 0 h 2496"/>
                    <a:gd name="T2" fmla="*/ 204 w 1430"/>
                    <a:gd name="T3" fmla="*/ 0 h 2496"/>
                    <a:gd name="T4" fmla="*/ 269 w 1430"/>
                    <a:gd name="T5" fmla="*/ 0 h 2496"/>
                    <a:gd name="T6" fmla="*/ 358 w 1430"/>
                    <a:gd name="T7" fmla="*/ 0 h 2496"/>
                    <a:gd name="T8" fmla="*/ 466 w 1430"/>
                    <a:gd name="T9" fmla="*/ 0 h 2496"/>
                    <a:gd name="T10" fmla="*/ 585 w 1430"/>
                    <a:gd name="T11" fmla="*/ 0 h 2496"/>
                    <a:gd name="T12" fmla="*/ 712 w 1430"/>
                    <a:gd name="T13" fmla="*/ 0 h 2496"/>
                    <a:gd name="T14" fmla="*/ 837 w 1430"/>
                    <a:gd name="T15" fmla="*/ 0 h 2496"/>
                    <a:gd name="T16" fmla="*/ 957 w 1430"/>
                    <a:gd name="T17" fmla="*/ 0 h 2496"/>
                    <a:gd name="T18" fmla="*/ 1065 w 1430"/>
                    <a:gd name="T19" fmla="*/ 0 h 2496"/>
                    <a:gd name="T20" fmla="*/ 1156 w 1430"/>
                    <a:gd name="T21" fmla="*/ 0 h 2496"/>
                    <a:gd name="T22" fmla="*/ 1222 w 1430"/>
                    <a:gd name="T23" fmla="*/ 0 h 2496"/>
                    <a:gd name="T24" fmla="*/ 1258 w 1430"/>
                    <a:gd name="T25" fmla="*/ 0 h 2496"/>
                    <a:gd name="T26" fmla="*/ 1296 w 1430"/>
                    <a:gd name="T27" fmla="*/ 3 h 2496"/>
                    <a:gd name="T28" fmla="*/ 1356 w 1430"/>
                    <a:gd name="T29" fmla="*/ 29 h 2496"/>
                    <a:gd name="T30" fmla="*/ 1402 w 1430"/>
                    <a:gd name="T31" fmla="*/ 76 h 2496"/>
                    <a:gd name="T32" fmla="*/ 1426 w 1430"/>
                    <a:gd name="T33" fmla="*/ 135 h 2496"/>
                    <a:gd name="T34" fmla="*/ 1426 w 1430"/>
                    <a:gd name="T35" fmla="*/ 1214 h 2496"/>
                    <a:gd name="T36" fmla="*/ 1413 w 1430"/>
                    <a:gd name="T37" fmla="*/ 1278 h 2496"/>
                    <a:gd name="T38" fmla="*/ 1376 w 1430"/>
                    <a:gd name="T39" fmla="*/ 1332 h 2496"/>
                    <a:gd name="T40" fmla="*/ 1324 w 1430"/>
                    <a:gd name="T41" fmla="*/ 1368 h 2496"/>
                    <a:gd name="T42" fmla="*/ 1259 w 1430"/>
                    <a:gd name="T43" fmla="*/ 1382 h 2496"/>
                    <a:gd name="T44" fmla="*/ 1227 w 1430"/>
                    <a:gd name="T45" fmla="*/ 1380 h 2496"/>
                    <a:gd name="T46" fmla="*/ 1172 w 1430"/>
                    <a:gd name="T47" fmla="*/ 1357 h 2496"/>
                    <a:gd name="T48" fmla="*/ 1128 w 1430"/>
                    <a:gd name="T49" fmla="*/ 1316 h 2496"/>
                    <a:gd name="T50" fmla="*/ 1056 w 1430"/>
                    <a:gd name="T51" fmla="*/ 2369 h 2496"/>
                    <a:gd name="T52" fmla="*/ 1028 w 1430"/>
                    <a:gd name="T53" fmla="*/ 2427 h 2496"/>
                    <a:gd name="T54" fmla="*/ 982 w 1430"/>
                    <a:gd name="T55" fmla="*/ 2470 h 2496"/>
                    <a:gd name="T56" fmla="*/ 922 w 1430"/>
                    <a:gd name="T57" fmla="*/ 2492 h 2496"/>
                    <a:gd name="T58" fmla="*/ 542 w 1430"/>
                    <a:gd name="T59" fmla="*/ 2496 h 2496"/>
                    <a:gd name="T60" fmla="*/ 477 w 1430"/>
                    <a:gd name="T61" fmla="*/ 2484 h 2496"/>
                    <a:gd name="T62" fmla="*/ 423 w 1430"/>
                    <a:gd name="T63" fmla="*/ 2451 h 2496"/>
                    <a:gd name="T64" fmla="*/ 385 w 1430"/>
                    <a:gd name="T65" fmla="*/ 2400 h 2496"/>
                    <a:gd name="T66" fmla="*/ 369 w 1430"/>
                    <a:gd name="T67" fmla="*/ 2337 h 2496"/>
                    <a:gd name="T68" fmla="*/ 282 w 1430"/>
                    <a:gd name="T69" fmla="*/ 1340 h 2496"/>
                    <a:gd name="T70" fmla="*/ 232 w 1430"/>
                    <a:gd name="T71" fmla="*/ 1371 h 2496"/>
                    <a:gd name="T72" fmla="*/ 172 w 1430"/>
                    <a:gd name="T73" fmla="*/ 1382 h 2496"/>
                    <a:gd name="T74" fmla="*/ 138 w 1430"/>
                    <a:gd name="T75" fmla="*/ 1378 h 2496"/>
                    <a:gd name="T76" fmla="*/ 78 w 1430"/>
                    <a:gd name="T77" fmla="*/ 1353 h 2496"/>
                    <a:gd name="T78" fmla="*/ 33 w 1430"/>
                    <a:gd name="T79" fmla="*/ 1308 h 2496"/>
                    <a:gd name="T80" fmla="*/ 8 w 1430"/>
                    <a:gd name="T81" fmla="*/ 1248 h 2496"/>
                    <a:gd name="T82" fmla="*/ 0 w 1430"/>
                    <a:gd name="T83" fmla="*/ 168 h 2496"/>
                    <a:gd name="T84" fmla="*/ 14 w 1430"/>
                    <a:gd name="T85" fmla="*/ 102 h 2496"/>
                    <a:gd name="T86" fmla="*/ 50 w 1430"/>
                    <a:gd name="T87" fmla="*/ 49 h 2496"/>
                    <a:gd name="T88" fmla="*/ 103 w 1430"/>
                    <a:gd name="T89" fmla="*/ 12 h 2496"/>
                    <a:gd name="T90" fmla="*/ 168 w 1430"/>
                    <a:gd name="T91" fmla="*/ 0 h 24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30" h="2496">
                      <a:moveTo>
                        <a:pt x="168" y="0"/>
                      </a:moveTo>
                      <a:lnTo>
                        <a:pt x="170" y="0"/>
                      </a:lnTo>
                      <a:lnTo>
                        <a:pt x="182" y="0"/>
                      </a:lnTo>
                      <a:lnTo>
                        <a:pt x="204" y="0"/>
                      </a:lnTo>
                      <a:lnTo>
                        <a:pt x="233" y="0"/>
                      </a:lnTo>
                      <a:lnTo>
                        <a:pt x="269" y="0"/>
                      </a:lnTo>
                      <a:lnTo>
                        <a:pt x="311" y="0"/>
                      </a:lnTo>
                      <a:lnTo>
                        <a:pt x="358" y="0"/>
                      </a:lnTo>
                      <a:lnTo>
                        <a:pt x="409" y="0"/>
                      </a:lnTo>
                      <a:lnTo>
                        <a:pt x="466" y="0"/>
                      </a:lnTo>
                      <a:lnTo>
                        <a:pt x="524" y="0"/>
                      </a:lnTo>
                      <a:lnTo>
                        <a:pt x="585" y="0"/>
                      </a:lnTo>
                      <a:lnTo>
                        <a:pt x="648" y="0"/>
                      </a:lnTo>
                      <a:lnTo>
                        <a:pt x="712" y="0"/>
                      </a:lnTo>
                      <a:lnTo>
                        <a:pt x="774" y="0"/>
                      </a:lnTo>
                      <a:lnTo>
                        <a:pt x="837" y="0"/>
                      </a:lnTo>
                      <a:lnTo>
                        <a:pt x="898" y="0"/>
                      </a:lnTo>
                      <a:lnTo>
                        <a:pt x="957" y="0"/>
                      </a:lnTo>
                      <a:lnTo>
                        <a:pt x="1013" y="0"/>
                      </a:lnTo>
                      <a:lnTo>
                        <a:pt x="1065" y="0"/>
                      </a:lnTo>
                      <a:lnTo>
                        <a:pt x="1114" y="0"/>
                      </a:lnTo>
                      <a:lnTo>
                        <a:pt x="1156" y="0"/>
                      </a:lnTo>
                      <a:lnTo>
                        <a:pt x="1191" y="0"/>
                      </a:lnTo>
                      <a:lnTo>
                        <a:pt x="1222" y="0"/>
                      </a:lnTo>
                      <a:lnTo>
                        <a:pt x="1244" y="0"/>
                      </a:lnTo>
                      <a:lnTo>
                        <a:pt x="1258" y="0"/>
                      </a:lnTo>
                      <a:lnTo>
                        <a:pt x="1263" y="0"/>
                      </a:lnTo>
                      <a:lnTo>
                        <a:pt x="1296" y="3"/>
                      </a:lnTo>
                      <a:lnTo>
                        <a:pt x="1328" y="14"/>
                      </a:lnTo>
                      <a:lnTo>
                        <a:pt x="1356" y="29"/>
                      </a:lnTo>
                      <a:lnTo>
                        <a:pt x="1381" y="50"/>
                      </a:lnTo>
                      <a:lnTo>
                        <a:pt x="1402" y="76"/>
                      </a:lnTo>
                      <a:lnTo>
                        <a:pt x="1417" y="105"/>
                      </a:lnTo>
                      <a:lnTo>
                        <a:pt x="1426" y="135"/>
                      </a:lnTo>
                      <a:lnTo>
                        <a:pt x="1430" y="170"/>
                      </a:lnTo>
                      <a:lnTo>
                        <a:pt x="1426" y="1214"/>
                      </a:lnTo>
                      <a:lnTo>
                        <a:pt x="1424" y="1247"/>
                      </a:lnTo>
                      <a:lnTo>
                        <a:pt x="1413" y="1278"/>
                      </a:lnTo>
                      <a:lnTo>
                        <a:pt x="1398" y="1306"/>
                      </a:lnTo>
                      <a:lnTo>
                        <a:pt x="1376" y="1332"/>
                      </a:lnTo>
                      <a:lnTo>
                        <a:pt x="1352" y="1353"/>
                      </a:lnTo>
                      <a:lnTo>
                        <a:pt x="1324" y="1368"/>
                      </a:lnTo>
                      <a:lnTo>
                        <a:pt x="1292" y="1378"/>
                      </a:lnTo>
                      <a:lnTo>
                        <a:pt x="1259" y="1382"/>
                      </a:lnTo>
                      <a:lnTo>
                        <a:pt x="1258" y="1382"/>
                      </a:lnTo>
                      <a:lnTo>
                        <a:pt x="1227" y="1380"/>
                      </a:lnTo>
                      <a:lnTo>
                        <a:pt x="1198" y="1371"/>
                      </a:lnTo>
                      <a:lnTo>
                        <a:pt x="1172" y="1357"/>
                      </a:lnTo>
                      <a:lnTo>
                        <a:pt x="1148" y="1338"/>
                      </a:lnTo>
                      <a:lnTo>
                        <a:pt x="1128" y="1316"/>
                      </a:lnTo>
                      <a:lnTo>
                        <a:pt x="1063" y="2337"/>
                      </a:lnTo>
                      <a:lnTo>
                        <a:pt x="1056" y="2369"/>
                      </a:lnTo>
                      <a:lnTo>
                        <a:pt x="1045" y="2400"/>
                      </a:lnTo>
                      <a:lnTo>
                        <a:pt x="1028" y="2427"/>
                      </a:lnTo>
                      <a:lnTo>
                        <a:pt x="1008" y="2449"/>
                      </a:lnTo>
                      <a:lnTo>
                        <a:pt x="982" y="2470"/>
                      </a:lnTo>
                      <a:lnTo>
                        <a:pt x="953" y="2484"/>
                      </a:lnTo>
                      <a:lnTo>
                        <a:pt x="922" y="2492"/>
                      </a:lnTo>
                      <a:lnTo>
                        <a:pt x="888" y="2496"/>
                      </a:lnTo>
                      <a:lnTo>
                        <a:pt x="542" y="2496"/>
                      </a:lnTo>
                      <a:lnTo>
                        <a:pt x="509" y="2492"/>
                      </a:lnTo>
                      <a:lnTo>
                        <a:pt x="477" y="2484"/>
                      </a:lnTo>
                      <a:lnTo>
                        <a:pt x="448" y="2470"/>
                      </a:lnTo>
                      <a:lnTo>
                        <a:pt x="423" y="2451"/>
                      </a:lnTo>
                      <a:lnTo>
                        <a:pt x="402" y="2427"/>
                      </a:lnTo>
                      <a:lnTo>
                        <a:pt x="385" y="2400"/>
                      </a:lnTo>
                      <a:lnTo>
                        <a:pt x="374" y="2369"/>
                      </a:lnTo>
                      <a:lnTo>
                        <a:pt x="369" y="2337"/>
                      </a:lnTo>
                      <a:lnTo>
                        <a:pt x="302" y="1319"/>
                      </a:lnTo>
                      <a:lnTo>
                        <a:pt x="282" y="1340"/>
                      </a:lnTo>
                      <a:lnTo>
                        <a:pt x="259" y="1357"/>
                      </a:lnTo>
                      <a:lnTo>
                        <a:pt x="232" y="1371"/>
                      </a:lnTo>
                      <a:lnTo>
                        <a:pt x="203" y="1380"/>
                      </a:lnTo>
                      <a:lnTo>
                        <a:pt x="172" y="1382"/>
                      </a:lnTo>
                      <a:lnTo>
                        <a:pt x="172" y="1382"/>
                      </a:lnTo>
                      <a:lnTo>
                        <a:pt x="138" y="1378"/>
                      </a:lnTo>
                      <a:lnTo>
                        <a:pt x="107" y="1368"/>
                      </a:lnTo>
                      <a:lnTo>
                        <a:pt x="78" y="1353"/>
                      </a:lnTo>
                      <a:lnTo>
                        <a:pt x="53" y="1333"/>
                      </a:lnTo>
                      <a:lnTo>
                        <a:pt x="33" y="1308"/>
                      </a:lnTo>
                      <a:lnTo>
                        <a:pt x="18" y="1278"/>
                      </a:lnTo>
                      <a:lnTo>
                        <a:pt x="8" y="1248"/>
                      </a:lnTo>
                      <a:lnTo>
                        <a:pt x="4" y="1214"/>
                      </a:lnTo>
                      <a:lnTo>
                        <a:pt x="0" y="168"/>
                      </a:lnTo>
                      <a:lnTo>
                        <a:pt x="4" y="134"/>
                      </a:lnTo>
                      <a:lnTo>
                        <a:pt x="14" y="102"/>
                      </a:lnTo>
                      <a:lnTo>
                        <a:pt x="29" y="74"/>
                      </a:lnTo>
                      <a:lnTo>
                        <a:pt x="50" y="49"/>
                      </a:lnTo>
                      <a:lnTo>
                        <a:pt x="74" y="29"/>
                      </a:lnTo>
                      <a:lnTo>
                        <a:pt x="103" y="12"/>
                      </a:lnTo>
                      <a:lnTo>
                        <a:pt x="135" y="3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7" name="Freeform 14"/>
                <p:cNvSpPr>
                  <a:spLocks/>
                </p:cNvSpPr>
                <p:nvPr/>
              </p:nvSpPr>
              <p:spPr bwMode="auto">
                <a:xfrm>
                  <a:off x="2776" y="2202"/>
                  <a:ext cx="310" cy="308"/>
                </a:xfrm>
                <a:custGeom>
                  <a:avLst/>
                  <a:gdLst>
                    <a:gd name="T0" fmla="*/ 466 w 931"/>
                    <a:gd name="T1" fmla="*/ 0 h 925"/>
                    <a:gd name="T2" fmla="*/ 524 w 931"/>
                    <a:gd name="T3" fmla="*/ 4 h 925"/>
                    <a:gd name="T4" fmla="*/ 580 w 931"/>
                    <a:gd name="T5" fmla="*/ 14 h 925"/>
                    <a:gd name="T6" fmla="*/ 634 w 931"/>
                    <a:gd name="T7" fmla="*/ 32 h 925"/>
                    <a:gd name="T8" fmla="*/ 684 w 931"/>
                    <a:gd name="T9" fmla="*/ 55 h 925"/>
                    <a:gd name="T10" fmla="*/ 731 w 931"/>
                    <a:gd name="T11" fmla="*/ 82 h 925"/>
                    <a:gd name="T12" fmla="*/ 774 w 931"/>
                    <a:gd name="T13" fmla="*/ 117 h 925"/>
                    <a:gd name="T14" fmla="*/ 814 w 931"/>
                    <a:gd name="T15" fmla="*/ 156 h 925"/>
                    <a:gd name="T16" fmla="*/ 847 w 931"/>
                    <a:gd name="T17" fmla="*/ 199 h 925"/>
                    <a:gd name="T18" fmla="*/ 876 w 931"/>
                    <a:gd name="T19" fmla="*/ 245 h 925"/>
                    <a:gd name="T20" fmla="*/ 899 w 931"/>
                    <a:gd name="T21" fmla="*/ 295 h 925"/>
                    <a:gd name="T22" fmla="*/ 917 w 931"/>
                    <a:gd name="T23" fmla="*/ 349 h 925"/>
                    <a:gd name="T24" fmla="*/ 927 w 931"/>
                    <a:gd name="T25" fmla="*/ 404 h 925"/>
                    <a:gd name="T26" fmla="*/ 931 w 931"/>
                    <a:gd name="T27" fmla="*/ 463 h 925"/>
                    <a:gd name="T28" fmla="*/ 927 w 931"/>
                    <a:gd name="T29" fmla="*/ 521 h 925"/>
                    <a:gd name="T30" fmla="*/ 917 w 931"/>
                    <a:gd name="T31" fmla="*/ 577 h 925"/>
                    <a:gd name="T32" fmla="*/ 899 w 931"/>
                    <a:gd name="T33" fmla="*/ 630 h 925"/>
                    <a:gd name="T34" fmla="*/ 876 w 931"/>
                    <a:gd name="T35" fmla="*/ 681 h 925"/>
                    <a:gd name="T36" fmla="*/ 847 w 931"/>
                    <a:gd name="T37" fmla="*/ 727 h 925"/>
                    <a:gd name="T38" fmla="*/ 814 w 931"/>
                    <a:gd name="T39" fmla="*/ 769 h 925"/>
                    <a:gd name="T40" fmla="*/ 774 w 931"/>
                    <a:gd name="T41" fmla="*/ 809 h 925"/>
                    <a:gd name="T42" fmla="*/ 731 w 931"/>
                    <a:gd name="T43" fmla="*/ 843 h 925"/>
                    <a:gd name="T44" fmla="*/ 684 w 931"/>
                    <a:gd name="T45" fmla="*/ 871 h 925"/>
                    <a:gd name="T46" fmla="*/ 634 w 931"/>
                    <a:gd name="T47" fmla="*/ 893 h 925"/>
                    <a:gd name="T48" fmla="*/ 580 w 931"/>
                    <a:gd name="T49" fmla="*/ 911 h 925"/>
                    <a:gd name="T50" fmla="*/ 524 w 931"/>
                    <a:gd name="T51" fmla="*/ 921 h 925"/>
                    <a:gd name="T52" fmla="*/ 466 w 931"/>
                    <a:gd name="T53" fmla="*/ 925 h 925"/>
                    <a:gd name="T54" fmla="*/ 407 w 931"/>
                    <a:gd name="T55" fmla="*/ 921 h 925"/>
                    <a:gd name="T56" fmla="*/ 351 w 931"/>
                    <a:gd name="T57" fmla="*/ 911 h 925"/>
                    <a:gd name="T58" fmla="*/ 297 w 931"/>
                    <a:gd name="T59" fmla="*/ 893 h 925"/>
                    <a:gd name="T60" fmla="*/ 246 w 931"/>
                    <a:gd name="T61" fmla="*/ 871 h 925"/>
                    <a:gd name="T62" fmla="*/ 199 w 931"/>
                    <a:gd name="T63" fmla="*/ 843 h 925"/>
                    <a:gd name="T64" fmla="*/ 156 w 931"/>
                    <a:gd name="T65" fmla="*/ 809 h 925"/>
                    <a:gd name="T66" fmla="*/ 117 w 931"/>
                    <a:gd name="T67" fmla="*/ 769 h 925"/>
                    <a:gd name="T68" fmla="*/ 83 w 931"/>
                    <a:gd name="T69" fmla="*/ 727 h 925"/>
                    <a:gd name="T70" fmla="*/ 55 w 931"/>
                    <a:gd name="T71" fmla="*/ 681 h 925"/>
                    <a:gd name="T72" fmla="*/ 31 w 931"/>
                    <a:gd name="T73" fmla="*/ 630 h 925"/>
                    <a:gd name="T74" fmla="*/ 14 w 931"/>
                    <a:gd name="T75" fmla="*/ 577 h 925"/>
                    <a:gd name="T76" fmla="*/ 4 w 931"/>
                    <a:gd name="T77" fmla="*/ 521 h 925"/>
                    <a:gd name="T78" fmla="*/ 0 w 931"/>
                    <a:gd name="T79" fmla="*/ 463 h 925"/>
                    <a:gd name="T80" fmla="*/ 4 w 931"/>
                    <a:gd name="T81" fmla="*/ 404 h 925"/>
                    <a:gd name="T82" fmla="*/ 14 w 931"/>
                    <a:gd name="T83" fmla="*/ 349 h 925"/>
                    <a:gd name="T84" fmla="*/ 31 w 931"/>
                    <a:gd name="T85" fmla="*/ 295 h 925"/>
                    <a:gd name="T86" fmla="*/ 55 w 931"/>
                    <a:gd name="T87" fmla="*/ 245 h 925"/>
                    <a:gd name="T88" fmla="*/ 83 w 931"/>
                    <a:gd name="T89" fmla="*/ 199 h 925"/>
                    <a:gd name="T90" fmla="*/ 117 w 931"/>
                    <a:gd name="T91" fmla="*/ 156 h 925"/>
                    <a:gd name="T92" fmla="*/ 156 w 931"/>
                    <a:gd name="T93" fmla="*/ 117 h 925"/>
                    <a:gd name="T94" fmla="*/ 199 w 931"/>
                    <a:gd name="T95" fmla="*/ 82 h 925"/>
                    <a:gd name="T96" fmla="*/ 246 w 931"/>
                    <a:gd name="T97" fmla="*/ 55 h 925"/>
                    <a:gd name="T98" fmla="*/ 297 w 931"/>
                    <a:gd name="T99" fmla="*/ 32 h 925"/>
                    <a:gd name="T100" fmla="*/ 351 w 931"/>
                    <a:gd name="T101" fmla="*/ 14 h 925"/>
                    <a:gd name="T102" fmla="*/ 407 w 931"/>
                    <a:gd name="T103" fmla="*/ 4 h 925"/>
                    <a:gd name="T104" fmla="*/ 466 w 931"/>
                    <a:gd name="T105" fmla="*/ 0 h 9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931" h="925">
                      <a:moveTo>
                        <a:pt x="466" y="0"/>
                      </a:moveTo>
                      <a:lnTo>
                        <a:pt x="524" y="4"/>
                      </a:lnTo>
                      <a:lnTo>
                        <a:pt x="580" y="14"/>
                      </a:lnTo>
                      <a:lnTo>
                        <a:pt x="634" y="32"/>
                      </a:lnTo>
                      <a:lnTo>
                        <a:pt x="684" y="55"/>
                      </a:lnTo>
                      <a:lnTo>
                        <a:pt x="731" y="82"/>
                      </a:lnTo>
                      <a:lnTo>
                        <a:pt x="774" y="117"/>
                      </a:lnTo>
                      <a:lnTo>
                        <a:pt x="814" y="156"/>
                      </a:lnTo>
                      <a:lnTo>
                        <a:pt x="847" y="199"/>
                      </a:lnTo>
                      <a:lnTo>
                        <a:pt x="876" y="245"/>
                      </a:lnTo>
                      <a:lnTo>
                        <a:pt x="899" y="295"/>
                      </a:lnTo>
                      <a:lnTo>
                        <a:pt x="917" y="349"/>
                      </a:lnTo>
                      <a:lnTo>
                        <a:pt x="927" y="404"/>
                      </a:lnTo>
                      <a:lnTo>
                        <a:pt x="931" y="463"/>
                      </a:lnTo>
                      <a:lnTo>
                        <a:pt x="927" y="521"/>
                      </a:lnTo>
                      <a:lnTo>
                        <a:pt x="917" y="577"/>
                      </a:lnTo>
                      <a:lnTo>
                        <a:pt x="899" y="630"/>
                      </a:lnTo>
                      <a:lnTo>
                        <a:pt x="876" y="681"/>
                      </a:lnTo>
                      <a:lnTo>
                        <a:pt x="847" y="727"/>
                      </a:lnTo>
                      <a:lnTo>
                        <a:pt x="814" y="769"/>
                      </a:lnTo>
                      <a:lnTo>
                        <a:pt x="774" y="809"/>
                      </a:lnTo>
                      <a:lnTo>
                        <a:pt x="731" y="843"/>
                      </a:lnTo>
                      <a:lnTo>
                        <a:pt x="684" y="871"/>
                      </a:lnTo>
                      <a:lnTo>
                        <a:pt x="634" y="893"/>
                      </a:lnTo>
                      <a:lnTo>
                        <a:pt x="580" y="911"/>
                      </a:lnTo>
                      <a:lnTo>
                        <a:pt x="524" y="921"/>
                      </a:lnTo>
                      <a:lnTo>
                        <a:pt x="466" y="925"/>
                      </a:lnTo>
                      <a:lnTo>
                        <a:pt x="407" y="921"/>
                      </a:lnTo>
                      <a:lnTo>
                        <a:pt x="351" y="911"/>
                      </a:lnTo>
                      <a:lnTo>
                        <a:pt x="297" y="893"/>
                      </a:lnTo>
                      <a:lnTo>
                        <a:pt x="246" y="871"/>
                      </a:lnTo>
                      <a:lnTo>
                        <a:pt x="199" y="843"/>
                      </a:lnTo>
                      <a:lnTo>
                        <a:pt x="156" y="809"/>
                      </a:lnTo>
                      <a:lnTo>
                        <a:pt x="117" y="769"/>
                      </a:lnTo>
                      <a:lnTo>
                        <a:pt x="83" y="727"/>
                      </a:lnTo>
                      <a:lnTo>
                        <a:pt x="55" y="681"/>
                      </a:lnTo>
                      <a:lnTo>
                        <a:pt x="31" y="630"/>
                      </a:lnTo>
                      <a:lnTo>
                        <a:pt x="14" y="577"/>
                      </a:lnTo>
                      <a:lnTo>
                        <a:pt x="4" y="521"/>
                      </a:lnTo>
                      <a:lnTo>
                        <a:pt x="0" y="463"/>
                      </a:lnTo>
                      <a:lnTo>
                        <a:pt x="4" y="404"/>
                      </a:lnTo>
                      <a:lnTo>
                        <a:pt x="14" y="349"/>
                      </a:lnTo>
                      <a:lnTo>
                        <a:pt x="31" y="295"/>
                      </a:lnTo>
                      <a:lnTo>
                        <a:pt x="55" y="245"/>
                      </a:lnTo>
                      <a:lnTo>
                        <a:pt x="83" y="199"/>
                      </a:lnTo>
                      <a:lnTo>
                        <a:pt x="117" y="156"/>
                      </a:lnTo>
                      <a:lnTo>
                        <a:pt x="156" y="117"/>
                      </a:lnTo>
                      <a:lnTo>
                        <a:pt x="199" y="82"/>
                      </a:lnTo>
                      <a:lnTo>
                        <a:pt x="246" y="55"/>
                      </a:lnTo>
                      <a:lnTo>
                        <a:pt x="297" y="32"/>
                      </a:lnTo>
                      <a:lnTo>
                        <a:pt x="351" y="14"/>
                      </a:lnTo>
                      <a:lnTo>
                        <a:pt x="407" y="4"/>
                      </a:lnTo>
                      <a:lnTo>
                        <a:pt x="46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88" name="Group 11"/>
              <p:cNvGrpSpPr>
                <a:grpSpLocks noChangeAspect="1"/>
              </p:cNvGrpSpPr>
              <p:nvPr/>
            </p:nvGrpSpPr>
            <p:grpSpPr bwMode="auto">
              <a:xfrm>
                <a:off x="999613" y="3305202"/>
                <a:ext cx="757238" cy="1868488"/>
                <a:chOff x="2692" y="2202"/>
                <a:chExt cx="477" cy="1177"/>
              </a:xfrm>
              <a:grpFill/>
            </p:grpSpPr>
            <p:sp>
              <p:nvSpPr>
                <p:cNvPr id="89" name="Freeform 13"/>
                <p:cNvSpPr>
                  <a:spLocks/>
                </p:cNvSpPr>
                <p:nvPr/>
              </p:nvSpPr>
              <p:spPr bwMode="auto">
                <a:xfrm>
                  <a:off x="2692" y="2547"/>
                  <a:ext cx="477" cy="832"/>
                </a:xfrm>
                <a:custGeom>
                  <a:avLst/>
                  <a:gdLst>
                    <a:gd name="T0" fmla="*/ 170 w 1430"/>
                    <a:gd name="T1" fmla="*/ 0 h 2496"/>
                    <a:gd name="T2" fmla="*/ 204 w 1430"/>
                    <a:gd name="T3" fmla="*/ 0 h 2496"/>
                    <a:gd name="T4" fmla="*/ 269 w 1430"/>
                    <a:gd name="T5" fmla="*/ 0 h 2496"/>
                    <a:gd name="T6" fmla="*/ 358 w 1430"/>
                    <a:gd name="T7" fmla="*/ 0 h 2496"/>
                    <a:gd name="T8" fmla="*/ 466 w 1430"/>
                    <a:gd name="T9" fmla="*/ 0 h 2496"/>
                    <a:gd name="T10" fmla="*/ 585 w 1430"/>
                    <a:gd name="T11" fmla="*/ 0 h 2496"/>
                    <a:gd name="T12" fmla="*/ 712 w 1430"/>
                    <a:gd name="T13" fmla="*/ 0 h 2496"/>
                    <a:gd name="T14" fmla="*/ 837 w 1430"/>
                    <a:gd name="T15" fmla="*/ 0 h 2496"/>
                    <a:gd name="T16" fmla="*/ 957 w 1430"/>
                    <a:gd name="T17" fmla="*/ 0 h 2496"/>
                    <a:gd name="T18" fmla="*/ 1065 w 1430"/>
                    <a:gd name="T19" fmla="*/ 0 h 2496"/>
                    <a:gd name="T20" fmla="*/ 1156 w 1430"/>
                    <a:gd name="T21" fmla="*/ 0 h 2496"/>
                    <a:gd name="T22" fmla="*/ 1222 w 1430"/>
                    <a:gd name="T23" fmla="*/ 0 h 2496"/>
                    <a:gd name="T24" fmla="*/ 1258 w 1430"/>
                    <a:gd name="T25" fmla="*/ 0 h 2496"/>
                    <a:gd name="T26" fmla="*/ 1296 w 1430"/>
                    <a:gd name="T27" fmla="*/ 3 h 2496"/>
                    <a:gd name="T28" fmla="*/ 1356 w 1430"/>
                    <a:gd name="T29" fmla="*/ 29 h 2496"/>
                    <a:gd name="T30" fmla="*/ 1402 w 1430"/>
                    <a:gd name="T31" fmla="*/ 76 h 2496"/>
                    <a:gd name="T32" fmla="*/ 1426 w 1430"/>
                    <a:gd name="T33" fmla="*/ 135 h 2496"/>
                    <a:gd name="T34" fmla="*/ 1426 w 1430"/>
                    <a:gd name="T35" fmla="*/ 1214 h 2496"/>
                    <a:gd name="T36" fmla="*/ 1413 w 1430"/>
                    <a:gd name="T37" fmla="*/ 1278 h 2496"/>
                    <a:gd name="T38" fmla="*/ 1376 w 1430"/>
                    <a:gd name="T39" fmla="*/ 1332 h 2496"/>
                    <a:gd name="T40" fmla="*/ 1324 w 1430"/>
                    <a:gd name="T41" fmla="*/ 1368 h 2496"/>
                    <a:gd name="T42" fmla="*/ 1259 w 1430"/>
                    <a:gd name="T43" fmla="*/ 1382 h 2496"/>
                    <a:gd name="T44" fmla="*/ 1227 w 1430"/>
                    <a:gd name="T45" fmla="*/ 1380 h 2496"/>
                    <a:gd name="T46" fmla="*/ 1172 w 1430"/>
                    <a:gd name="T47" fmla="*/ 1357 h 2496"/>
                    <a:gd name="T48" fmla="*/ 1128 w 1430"/>
                    <a:gd name="T49" fmla="*/ 1316 h 2496"/>
                    <a:gd name="T50" fmla="*/ 1056 w 1430"/>
                    <a:gd name="T51" fmla="*/ 2369 h 2496"/>
                    <a:gd name="T52" fmla="*/ 1028 w 1430"/>
                    <a:gd name="T53" fmla="*/ 2427 h 2496"/>
                    <a:gd name="T54" fmla="*/ 982 w 1430"/>
                    <a:gd name="T55" fmla="*/ 2470 h 2496"/>
                    <a:gd name="T56" fmla="*/ 922 w 1430"/>
                    <a:gd name="T57" fmla="*/ 2492 h 2496"/>
                    <a:gd name="T58" fmla="*/ 542 w 1430"/>
                    <a:gd name="T59" fmla="*/ 2496 h 2496"/>
                    <a:gd name="T60" fmla="*/ 477 w 1430"/>
                    <a:gd name="T61" fmla="*/ 2484 h 2496"/>
                    <a:gd name="T62" fmla="*/ 423 w 1430"/>
                    <a:gd name="T63" fmla="*/ 2451 h 2496"/>
                    <a:gd name="T64" fmla="*/ 385 w 1430"/>
                    <a:gd name="T65" fmla="*/ 2400 h 2496"/>
                    <a:gd name="T66" fmla="*/ 369 w 1430"/>
                    <a:gd name="T67" fmla="*/ 2337 h 2496"/>
                    <a:gd name="T68" fmla="*/ 282 w 1430"/>
                    <a:gd name="T69" fmla="*/ 1340 h 2496"/>
                    <a:gd name="T70" fmla="*/ 232 w 1430"/>
                    <a:gd name="T71" fmla="*/ 1371 h 2496"/>
                    <a:gd name="T72" fmla="*/ 172 w 1430"/>
                    <a:gd name="T73" fmla="*/ 1382 h 2496"/>
                    <a:gd name="T74" fmla="*/ 138 w 1430"/>
                    <a:gd name="T75" fmla="*/ 1378 h 2496"/>
                    <a:gd name="T76" fmla="*/ 78 w 1430"/>
                    <a:gd name="T77" fmla="*/ 1353 h 2496"/>
                    <a:gd name="T78" fmla="*/ 33 w 1430"/>
                    <a:gd name="T79" fmla="*/ 1308 h 2496"/>
                    <a:gd name="T80" fmla="*/ 8 w 1430"/>
                    <a:gd name="T81" fmla="*/ 1248 h 2496"/>
                    <a:gd name="T82" fmla="*/ 0 w 1430"/>
                    <a:gd name="T83" fmla="*/ 168 h 2496"/>
                    <a:gd name="T84" fmla="*/ 14 w 1430"/>
                    <a:gd name="T85" fmla="*/ 102 h 2496"/>
                    <a:gd name="T86" fmla="*/ 50 w 1430"/>
                    <a:gd name="T87" fmla="*/ 49 h 2496"/>
                    <a:gd name="T88" fmla="*/ 103 w 1430"/>
                    <a:gd name="T89" fmla="*/ 12 h 2496"/>
                    <a:gd name="T90" fmla="*/ 168 w 1430"/>
                    <a:gd name="T91" fmla="*/ 0 h 24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30" h="2496">
                      <a:moveTo>
                        <a:pt x="168" y="0"/>
                      </a:moveTo>
                      <a:lnTo>
                        <a:pt x="170" y="0"/>
                      </a:lnTo>
                      <a:lnTo>
                        <a:pt x="182" y="0"/>
                      </a:lnTo>
                      <a:lnTo>
                        <a:pt x="204" y="0"/>
                      </a:lnTo>
                      <a:lnTo>
                        <a:pt x="233" y="0"/>
                      </a:lnTo>
                      <a:lnTo>
                        <a:pt x="269" y="0"/>
                      </a:lnTo>
                      <a:lnTo>
                        <a:pt x="311" y="0"/>
                      </a:lnTo>
                      <a:lnTo>
                        <a:pt x="358" y="0"/>
                      </a:lnTo>
                      <a:lnTo>
                        <a:pt x="409" y="0"/>
                      </a:lnTo>
                      <a:lnTo>
                        <a:pt x="466" y="0"/>
                      </a:lnTo>
                      <a:lnTo>
                        <a:pt x="524" y="0"/>
                      </a:lnTo>
                      <a:lnTo>
                        <a:pt x="585" y="0"/>
                      </a:lnTo>
                      <a:lnTo>
                        <a:pt x="648" y="0"/>
                      </a:lnTo>
                      <a:lnTo>
                        <a:pt x="712" y="0"/>
                      </a:lnTo>
                      <a:lnTo>
                        <a:pt x="774" y="0"/>
                      </a:lnTo>
                      <a:lnTo>
                        <a:pt x="837" y="0"/>
                      </a:lnTo>
                      <a:lnTo>
                        <a:pt x="898" y="0"/>
                      </a:lnTo>
                      <a:lnTo>
                        <a:pt x="957" y="0"/>
                      </a:lnTo>
                      <a:lnTo>
                        <a:pt x="1013" y="0"/>
                      </a:lnTo>
                      <a:lnTo>
                        <a:pt x="1065" y="0"/>
                      </a:lnTo>
                      <a:lnTo>
                        <a:pt x="1114" y="0"/>
                      </a:lnTo>
                      <a:lnTo>
                        <a:pt x="1156" y="0"/>
                      </a:lnTo>
                      <a:lnTo>
                        <a:pt x="1191" y="0"/>
                      </a:lnTo>
                      <a:lnTo>
                        <a:pt x="1222" y="0"/>
                      </a:lnTo>
                      <a:lnTo>
                        <a:pt x="1244" y="0"/>
                      </a:lnTo>
                      <a:lnTo>
                        <a:pt x="1258" y="0"/>
                      </a:lnTo>
                      <a:lnTo>
                        <a:pt x="1263" y="0"/>
                      </a:lnTo>
                      <a:lnTo>
                        <a:pt x="1296" y="3"/>
                      </a:lnTo>
                      <a:lnTo>
                        <a:pt x="1328" y="14"/>
                      </a:lnTo>
                      <a:lnTo>
                        <a:pt x="1356" y="29"/>
                      </a:lnTo>
                      <a:lnTo>
                        <a:pt x="1381" y="50"/>
                      </a:lnTo>
                      <a:lnTo>
                        <a:pt x="1402" y="76"/>
                      </a:lnTo>
                      <a:lnTo>
                        <a:pt x="1417" y="105"/>
                      </a:lnTo>
                      <a:lnTo>
                        <a:pt x="1426" y="135"/>
                      </a:lnTo>
                      <a:lnTo>
                        <a:pt x="1430" y="170"/>
                      </a:lnTo>
                      <a:lnTo>
                        <a:pt x="1426" y="1214"/>
                      </a:lnTo>
                      <a:lnTo>
                        <a:pt x="1424" y="1247"/>
                      </a:lnTo>
                      <a:lnTo>
                        <a:pt x="1413" y="1278"/>
                      </a:lnTo>
                      <a:lnTo>
                        <a:pt x="1398" y="1306"/>
                      </a:lnTo>
                      <a:lnTo>
                        <a:pt x="1376" y="1332"/>
                      </a:lnTo>
                      <a:lnTo>
                        <a:pt x="1352" y="1353"/>
                      </a:lnTo>
                      <a:lnTo>
                        <a:pt x="1324" y="1368"/>
                      </a:lnTo>
                      <a:lnTo>
                        <a:pt x="1292" y="1378"/>
                      </a:lnTo>
                      <a:lnTo>
                        <a:pt x="1259" y="1382"/>
                      </a:lnTo>
                      <a:lnTo>
                        <a:pt x="1258" y="1382"/>
                      </a:lnTo>
                      <a:lnTo>
                        <a:pt x="1227" y="1380"/>
                      </a:lnTo>
                      <a:lnTo>
                        <a:pt x="1198" y="1371"/>
                      </a:lnTo>
                      <a:lnTo>
                        <a:pt x="1172" y="1357"/>
                      </a:lnTo>
                      <a:lnTo>
                        <a:pt x="1148" y="1338"/>
                      </a:lnTo>
                      <a:lnTo>
                        <a:pt x="1128" y="1316"/>
                      </a:lnTo>
                      <a:lnTo>
                        <a:pt x="1063" y="2337"/>
                      </a:lnTo>
                      <a:lnTo>
                        <a:pt x="1056" y="2369"/>
                      </a:lnTo>
                      <a:lnTo>
                        <a:pt x="1045" y="2400"/>
                      </a:lnTo>
                      <a:lnTo>
                        <a:pt x="1028" y="2427"/>
                      </a:lnTo>
                      <a:lnTo>
                        <a:pt x="1008" y="2449"/>
                      </a:lnTo>
                      <a:lnTo>
                        <a:pt x="982" y="2470"/>
                      </a:lnTo>
                      <a:lnTo>
                        <a:pt x="953" y="2484"/>
                      </a:lnTo>
                      <a:lnTo>
                        <a:pt x="922" y="2492"/>
                      </a:lnTo>
                      <a:lnTo>
                        <a:pt x="888" y="2496"/>
                      </a:lnTo>
                      <a:lnTo>
                        <a:pt x="542" y="2496"/>
                      </a:lnTo>
                      <a:lnTo>
                        <a:pt x="509" y="2492"/>
                      </a:lnTo>
                      <a:lnTo>
                        <a:pt x="477" y="2484"/>
                      </a:lnTo>
                      <a:lnTo>
                        <a:pt x="448" y="2470"/>
                      </a:lnTo>
                      <a:lnTo>
                        <a:pt x="423" y="2451"/>
                      </a:lnTo>
                      <a:lnTo>
                        <a:pt x="402" y="2427"/>
                      </a:lnTo>
                      <a:lnTo>
                        <a:pt x="385" y="2400"/>
                      </a:lnTo>
                      <a:lnTo>
                        <a:pt x="374" y="2369"/>
                      </a:lnTo>
                      <a:lnTo>
                        <a:pt x="369" y="2337"/>
                      </a:lnTo>
                      <a:lnTo>
                        <a:pt x="302" y="1319"/>
                      </a:lnTo>
                      <a:lnTo>
                        <a:pt x="282" y="1340"/>
                      </a:lnTo>
                      <a:lnTo>
                        <a:pt x="259" y="1357"/>
                      </a:lnTo>
                      <a:lnTo>
                        <a:pt x="232" y="1371"/>
                      </a:lnTo>
                      <a:lnTo>
                        <a:pt x="203" y="1380"/>
                      </a:lnTo>
                      <a:lnTo>
                        <a:pt x="172" y="1382"/>
                      </a:lnTo>
                      <a:lnTo>
                        <a:pt x="172" y="1382"/>
                      </a:lnTo>
                      <a:lnTo>
                        <a:pt x="138" y="1378"/>
                      </a:lnTo>
                      <a:lnTo>
                        <a:pt x="107" y="1368"/>
                      </a:lnTo>
                      <a:lnTo>
                        <a:pt x="78" y="1353"/>
                      </a:lnTo>
                      <a:lnTo>
                        <a:pt x="53" y="1333"/>
                      </a:lnTo>
                      <a:lnTo>
                        <a:pt x="33" y="1308"/>
                      </a:lnTo>
                      <a:lnTo>
                        <a:pt x="18" y="1278"/>
                      </a:lnTo>
                      <a:lnTo>
                        <a:pt x="8" y="1248"/>
                      </a:lnTo>
                      <a:lnTo>
                        <a:pt x="4" y="1214"/>
                      </a:lnTo>
                      <a:lnTo>
                        <a:pt x="0" y="168"/>
                      </a:lnTo>
                      <a:lnTo>
                        <a:pt x="4" y="134"/>
                      </a:lnTo>
                      <a:lnTo>
                        <a:pt x="14" y="102"/>
                      </a:lnTo>
                      <a:lnTo>
                        <a:pt x="29" y="74"/>
                      </a:lnTo>
                      <a:lnTo>
                        <a:pt x="50" y="49"/>
                      </a:lnTo>
                      <a:lnTo>
                        <a:pt x="74" y="29"/>
                      </a:lnTo>
                      <a:lnTo>
                        <a:pt x="103" y="12"/>
                      </a:lnTo>
                      <a:lnTo>
                        <a:pt x="135" y="3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0" name="Freeform 14"/>
                <p:cNvSpPr>
                  <a:spLocks/>
                </p:cNvSpPr>
                <p:nvPr/>
              </p:nvSpPr>
              <p:spPr bwMode="auto">
                <a:xfrm>
                  <a:off x="2776" y="2202"/>
                  <a:ext cx="310" cy="308"/>
                </a:xfrm>
                <a:custGeom>
                  <a:avLst/>
                  <a:gdLst>
                    <a:gd name="T0" fmla="*/ 466 w 931"/>
                    <a:gd name="T1" fmla="*/ 0 h 925"/>
                    <a:gd name="T2" fmla="*/ 524 w 931"/>
                    <a:gd name="T3" fmla="*/ 4 h 925"/>
                    <a:gd name="T4" fmla="*/ 580 w 931"/>
                    <a:gd name="T5" fmla="*/ 14 h 925"/>
                    <a:gd name="T6" fmla="*/ 634 w 931"/>
                    <a:gd name="T7" fmla="*/ 32 h 925"/>
                    <a:gd name="T8" fmla="*/ 684 w 931"/>
                    <a:gd name="T9" fmla="*/ 55 h 925"/>
                    <a:gd name="T10" fmla="*/ 731 w 931"/>
                    <a:gd name="T11" fmla="*/ 82 h 925"/>
                    <a:gd name="T12" fmla="*/ 774 w 931"/>
                    <a:gd name="T13" fmla="*/ 117 h 925"/>
                    <a:gd name="T14" fmla="*/ 814 w 931"/>
                    <a:gd name="T15" fmla="*/ 156 h 925"/>
                    <a:gd name="T16" fmla="*/ 847 w 931"/>
                    <a:gd name="T17" fmla="*/ 199 h 925"/>
                    <a:gd name="T18" fmla="*/ 876 w 931"/>
                    <a:gd name="T19" fmla="*/ 245 h 925"/>
                    <a:gd name="T20" fmla="*/ 899 w 931"/>
                    <a:gd name="T21" fmla="*/ 295 h 925"/>
                    <a:gd name="T22" fmla="*/ 917 w 931"/>
                    <a:gd name="T23" fmla="*/ 349 h 925"/>
                    <a:gd name="T24" fmla="*/ 927 w 931"/>
                    <a:gd name="T25" fmla="*/ 404 h 925"/>
                    <a:gd name="T26" fmla="*/ 931 w 931"/>
                    <a:gd name="T27" fmla="*/ 463 h 925"/>
                    <a:gd name="T28" fmla="*/ 927 w 931"/>
                    <a:gd name="T29" fmla="*/ 521 h 925"/>
                    <a:gd name="T30" fmla="*/ 917 w 931"/>
                    <a:gd name="T31" fmla="*/ 577 h 925"/>
                    <a:gd name="T32" fmla="*/ 899 w 931"/>
                    <a:gd name="T33" fmla="*/ 630 h 925"/>
                    <a:gd name="T34" fmla="*/ 876 w 931"/>
                    <a:gd name="T35" fmla="*/ 681 h 925"/>
                    <a:gd name="T36" fmla="*/ 847 w 931"/>
                    <a:gd name="T37" fmla="*/ 727 h 925"/>
                    <a:gd name="T38" fmla="*/ 814 w 931"/>
                    <a:gd name="T39" fmla="*/ 769 h 925"/>
                    <a:gd name="T40" fmla="*/ 774 w 931"/>
                    <a:gd name="T41" fmla="*/ 809 h 925"/>
                    <a:gd name="T42" fmla="*/ 731 w 931"/>
                    <a:gd name="T43" fmla="*/ 843 h 925"/>
                    <a:gd name="T44" fmla="*/ 684 w 931"/>
                    <a:gd name="T45" fmla="*/ 871 h 925"/>
                    <a:gd name="T46" fmla="*/ 634 w 931"/>
                    <a:gd name="T47" fmla="*/ 893 h 925"/>
                    <a:gd name="T48" fmla="*/ 580 w 931"/>
                    <a:gd name="T49" fmla="*/ 911 h 925"/>
                    <a:gd name="T50" fmla="*/ 524 w 931"/>
                    <a:gd name="T51" fmla="*/ 921 h 925"/>
                    <a:gd name="T52" fmla="*/ 466 w 931"/>
                    <a:gd name="T53" fmla="*/ 925 h 925"/>
                    <a:gd name="T54" fmla="*/ 407 w 931"/>
                    <a:gd name="T55" fmla="*/ 921 h 925"/>
                    <a:gd name="T56" fmla="*/ 351 w 931"/>
                    <a:gd name="T57" fmla="*/ 911 h 925"/>
                    <a:gd name="T58" fmla="*/ 297 w 931"/>
                    <a:gd name="T59" fmla="*/ 893 h 925"/>
                    <a:gd name="T60" fmla="*/ 246 w 931"/>
                    <a:gd name="T61" fmla="*/ 871 h 925"/>
                    <a:gd name="T62" fmla="*/ 199 w 931"/>
                    <a:gd name="T63" fmla="*/ 843 h 925"/>
                    <a:gd name="T64" fmla="*/ 156 w 931"/>
                    <a:gd name="T65" fmla="*/ 809 h 925"/>
                    <a:gd name="T66" fmla="*/ 117 w 931"/>
                    <a:gd name="T67" fmla="*/ 769 h 925"/>
                    <a:gd name="T68" fmla="*/ 83 w 931"/>
                    <a:gd name="T69" fmla="*/ 727 h 925"/>
                    <a:gd name="T70" fmla="*/ 55 w 931"/>
                    <a:gd name="T71" fmla="*/ 681 h 925"/>
                    <a:gd name="T72" fmla="*/ 31 w 931"/>
                    <a:gd name="T73" fmla="*/ 630 h 925"/>
                    <a:gd name="T74" fmla="*/ 14 w 931"/>
                    <a:gd name="T75" fmla="*/ 577 h 925"/>
                    <a:gd name="T76" fmla="*/ 4 w 931"/>
                    <a:gd name="T77" fmla="*/ 521 h 925"/>
                    <a:gd name="T78" fmla="*/ 0 w 931"/>
                    <a:gd name="T79" fmla="*/ 463 h 925"/>
                    <a:gd name="T80" fmla="*/ 4 w 931"/>
                    <a:gd name="T81" fmla="*/ 404 h 925"/>
                    <a:gd name="T82" fmla="*/ 14 w 931"/>
                    <a:gd name="T83" fmla="*/ 349 h 925"/>
                    <a:gd name="T84" fmla="*/ 31 w 931"/>
                    <a:gd name="T85" fmla="*/ 295 h 925"/>
                    <a:gd name="T86" fmla="*/ 55 w 931"/>
                    <a:gd name="T87" fmla="*/ 245 h 925"/>
                    <a:gd name="T88" fmla="*/ 83 w 931"/>
                    <a:gd name="T89" fmla="*/ 199 h 925"/>
                    <a:gd name="T90" fmla="*/ 117 w 931"/>
                    <a:gd name="T91" fmla="*/ 156 h 925"/>
                    <a:gd name="T92" fmla="*/ 156 w 931"/>
                    <a:gd name="T93" fmla="*/ 117 h 925"/>
                    <a:gd name="T94" fmla="*/ 199 w 931"/>
                    <a:gd name="T95" fmla="*/ 82 h 925"/>
                    <a:gd name="T96" fmla="*/ 246 w 931"/>
                    <a:gd name="T97" fmla="*/ 55 h 925"/>
                    <a:gd name="T98" fmla="*/ 297 w 931"/>
                    <a:gd name="T99" fmla="*/ 32 h 925"/>
                    <a:gd name="T100" fmla="*/ 351 w 931"/>
                    <a:gd name="T101" fmla="*/ 14 h 925"/>
                    <a:gd name="T102" fmla="*/ 407 w 931"/>
                    <a:gd name="T103" fmla="*/ 4 h 925"/>
                    <a:gd name="T104" fmla="*/ 466 w 931"/>
                    <a:gd name="T105" fmla="*/ 0 h 9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931" h="925">
                      <a:moveTo>
                        <a:pt x="466" y="0"/>
                      </a:moveTo>
                      <a:lnTo>
                        <a:pt x="524" y="4"/>
                      </a:lnTo>
                      <a:lnTo>
                        <a:pt x="580" y="14"/>
                      </a:lnTo>
                      <a:lnTo>
                        <a:pt x="634" y="32"/>
                      </a:lnTo>
                      <a:lnTo>
                        <a:pt x="684" y="55"/>
                      </a:lnTo>
                      <a:lnTo>
                        <a:pt x="731" y="82"/>
                      </a:lnTo>
                      <a:lnTo>
                        <a:pt x="774" y="117"/>
                      </a:lnTo>
                      <a:lnTo>
                        <a:pt x="814" y="156"/>
                      </a:lnTo>
                      <a:lnTo>
                        <a:pt x="847" y="199"/>
                      </a:lnTo>
                      <a:lnTo>
                        <a:pt x="876" y="245"/>
                      </a:lnTo>
                      <a:lnTo>
                        <a:pt x="899" y="295"/>
                      </a:lnTo>
                      <a:lnTo>
                        <a:pt x="917" y="349"/>
                      </a:lnTo>
                      <a:lnTo>
                        <a:pt x="927" y="404"/>
                      </a:lnTo>
                      <a:lnTo>
                        <a:pt x="931" y="463"/>
                      </a:lnTo>
                      <a:lnTo>
                        <a:pt x="927" y="521"/>
                      </a:lnTo>
                      <a:lnTo>
                        <a:pt x="917" y="577"/>
                      </a:lnTo>
                      <a:lnTo>
                        <a:pt x="899" y="630"/>
                      </a:lnTo>
                      <a:lnTo>
                        <a:pt x="876" y="681"/>
                      </a:lnTo>
                      <a:lnTo>
                        <a:pt x="847" y="727"/>
                      </a:lnTo>
                      <a:lnTo>
                        <a:pt x="814" y="769"/>
                      </a:lnTo>
                      <a:lnTo>
                        <a:pt x="774" y="809"/>
                      </a:lnTo>
                      <a:lnTo>
                        <a:pt x="731" y="843"/>
                      </a:lnTo>
                      <a:lnTo>
                        <a:pt x="684" y="871"/>
                      </a:lnTo>
                      <a:lnTo>
                        <a:pt x="634" y="893"/>
                      </a:lnTo>
                      <a:lnTo>
                        <a:pt x="580" y="911"/>
                      </a:lnTo>
                      <a:lnTo>
                        <a:pt x="524" y="921"/>
                      </a:lnTo>
                      <a:lnTo>
                        <a:pt x="466" y="925"/>
                      </a:lnTo>
                      <a:lnTo>
                        <a:pt x="407" y="921"/>
                      </a:lnTo>
                      <a:lnTo>
                        <a:pt x="351" y="911"/>
                      </a:lnTo>
                      <a:lnTo>
                        <a:pt x="297" y="893"/>
                      </a:lnTo>
                      <a:lnTo>
                        <a:pt x="246" y="871"/>
                      </a:lnTo>
                      <a:lnTo>
                        <a:pt x="199" y="843"/>
                      </a:lnTo>
                      <a:lnTo>
                        <a:pt x="156" y="809"/>
                      </a:lnTo>
                      <a:lnTo>
                        <a:pt x="117" y="769"/>
                      </a:lnTo>
                      <a:lnTo>
                        <a:pt x="83" y="727"/>
                      </a:lnTo>
                      <a:lnTo>
                        <a:pt x="55" y="681"/>
                      </a:lnTo>
                      <a:lnTo>
                        <a:pt x="31" y="630"/>
                      </a:lnTo>
                      <a:lnTo>
                        <a:pt x="14" y="577"/>
                      </a:lnTo>
                      <a:lnTo>
                        <a:pt x="4" y="521"/>
                      </a:lnTo>
                      <a:lnTo>
                        <a:pt x="0" y="463"/>
                      </a:lnTo>
                      <a:lnTo>
                        <a:pt x="4" y="404"/>
                      </a:lnTo>
                      <a:lnTo>
                        <a:pt x="14" y="349"/>
                      </a:lnTo>
                      <a:lnTo>
                        <a:pt x="31" y="295"/>
                      </a:lnTo>
                      <a:lnTo>
                        <a:pt x="55" y="245"/>
                      </a:lnTo>
                      <a:lnTo>
                        <a:pt x="83" y="199"/>
                      </a:lnTo>
                      <a:lnTo>
                        <a:pt x="117" y="156"/>
                      </a:lnTo>
                      <a:lnTo>
                        <a:pt x="156" y="117"/>
                      </a:lnTo>
                      <a:lnTo>
                        <a:pt x="199" y="82"/>
                      </a:lnTo>
                      <a:lnTo>
                        <a:pt x="246" y="55"/>
                      </a:lnTo>
                      <a:lnTo>
                        <a:pt x="297" y="32"/>
                      </a:lnTo>
                      <a:lnTo>
                        <a:pt x="351" y="14"/>
                      </a:lnTo>
                      <a:lnTo>
                        <a:pt x="407" y="4"/>
                      </a:lnTo>
                      <a:lnTo>
                        <a:pt x="46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91" name="Group 11"/>
              <p:cNvGrpSpPr>
                <a:grpSpLocks noChangeAspect="1"/>
              </p:cNvGrpSpPr>
              <p:nvPr/>
            </p:nvGrpSpPr>
            <p:grpSpPr bwMode="auto">
              <a:xfrm>
                <a:off x="1907514" y="3305202"/>
                <a:ext cx="757238" cy="1868488"/>
                <a:chOff x="2692" y="2202"/>
                <a:chExt cx="477" cy="1177"/>
              </a:xfrm>
              <a:grpFill/>
            </p:grpSpPr>
            <p:sp>
              <p:nvSpPr>
                <p:cNvPr id="92" name="Freeform 13"/>
                <p:cNvSpPr>
                  <a:spLocks/>
                </p:cNvSpPr>
                <p:nvPr/>
              </p:nvSpPr>
              <p:spPr bwMode="auto">
                <a:xfrm>
                  <a:off x="2692" y="2547"/>
                  <a:ext cx="477" cy="832"/>
                </a:xfrm>
                <a:custGeom>
                  <a:avLst/>
                  <a:gdLst>
                    <a:gd name="T0" fmla="*/ 170 w 1430"/>
                    <a:gd name="T1" fmla="*/ 0 h 2496"/>
                    <a:gd name="T2" fmla="*/ 204 w 1430"/>
                    <a:gd name="T3" fmla="*/ 0 h 2496"/>
                    <a:gd name="T4" fmla="*/ 269 w 1430"/>
                    <a:gd name="T5" fmla="*/ 0 h 2496"/>
                    <a:gd name="T6" fmla="*/ 358 w 1430"/>
                    <a:gd name="T7" fmla="*/ 0 h 2496"/>
                    <a:gd name="T8" fmla="*/ 466 w 1430"/>
                    <a:gd name="T9" fmla="*/ 0 h 2496"/>
                    <a:gd name="T10" fmla="*/ 585 w 1430"/>
                    <a:gd name="T11" fmla="*/ 0 h 2496"/>
                    <a:gd name="T12" fmla="*/ 712 w 1430"/>
                    <a:gd name="T13" fmla="*/ 0 h 2496"/>
                    <a:gd name="T14" fmla="*/ 837 w 1430"/>
                    <a:gd name="T15" fmla="*/ 0 h 2496"/>
                    <a:gd name="T16" fmla="*/ 957 w 1430"/>
                    <a:gd name="T17" fmla="*/ 0 h 2496"/>
                    <a:gd name="T18" fmla="*/ 1065 w 1430"/>
                    <a:gd name="T19" fmla="*/ 0 h 2496"/>
                    <a:gd name="T20" fmla="*/ 1156 w 1430"/>
                    <a:gd name="T21" fmla="*/ 0 h 2496"/>
                    <a:gd name="T22" fmla="*/ 1222 w 1430"/>
                    <a:gd name="T23" fmla="*/ 0 h 2496"/>
                    <a:gd name="T24" fmla="*/ 1258 w 1430"/>
                    <a:gd name="T25" fmla="*/ 0 h 2496"/>
                    <a:gd name="T26" fmla="*/ 1296 w 1430"/>
                    <a:gd name="T27" fmla="*/ 3 h 2496"/>
                    <a:gd name="T28" fmla="*/ 1356 w 1430"/>
                    <a:gd name="T29" fmla="*/ 29 h 2496"/>
                    <a:gd name="T30" fmla="*/ 1402 w 1430"/>
                    <a:gd name="T31" fmla="*/ 76 h 2496"/>
                    <a:gd name="T32" fmla="*/ 1426 w 1430"/>
                    <a:gd name="T33" fmla="*/ 135 h 2496"/>
                    <a:gd name="T34" fmla="*/ 1426 w 1430"/>
                    <a:gd name="T35" fmla="*/ 1214 h 2496"/>
                    <a:gd name="T36" fmla="*/ 1413 w 1430"/>
                    <a:gd name="T37" fmla="*/ 1278 h 2496"/>
                    <a:gd name="T38" fmla="*/ 1376 w 1430"/>
                    <a:gd name="T39" fmla="*/ 1332 h 2496"/>
                    <a:gd name="T40" fmla="*/ 1324 w 1430"/>
                    <a:gd name="T41" fmla="*/ 1368 h 2496"/>
                    <a:gd name="T42" fmla="*/ 1259 w 1430"/>
                    <a:gd name="T43" fmla="*/ 1382 h 2496"/>
                    <a:gd name="T44" fmla="*/ 1227 w 1430"/>
                    <a:gd name="T45" fmla="*/ 1380 h 2496"/>
                    <a:gd name="T46" fmla="*/ 1172 w 1430"/>
                    <a:gd name="T47" fmla="*/ 1357 h 2496"/>
                    <a:gd name="T48" fmla="*/ 1128 w 1430"/>
                    <a:gd name="T49" fmla="*/ 1316 h 2496"/>
                    <a:gd name="T50" fmla="*/ 1056 w 1430"/>
                    <a:gd name="T51" fmla="*/ 2369 h 2496"/>
                    <a:gd name="T52" fmla="*/ 1028 w 1430"/>
                    <a:gd name="T53" fmla="*/ 2427 h 2496"/>
                    <a:gd name="T54" fmla="*/ 982 w 1430"/>
                    <a:gd name="T55" fmla="*/ 2470 h 2496"/>
                    <a:gd name="T56" fmla="*/ 922 w 1430"/>
                    <a:gd name="T57" fmla="*/ 2492 h 2496"/>
                    <a:gd name="T58" fmla="*/ 542 w 1430"/>
                    <a:gd name="T59" fmla="*/ 2496 h 2496"/>
                    <a:gd name="T60" fmla="*/ 477 w 1430"/>
                    <a:gd name="T61" fmla="*/ 2484 h 2496"/>
                    <a:gd name="T62" fmla="*/ 423 w 1430"/>
                    <a:gd name="T63" fmla="*/ 2451 h 2496"/>
                    <a:gd name="T64" fmla="*/ 385 w 1430"/>
                    <a:gd name="T65" fmla="*/ 2400 h 2496"/>
                    <a:gd name="T66" fmla="*/ 369 w 1430"/>
                    <a:gd name="T67" fmla="*/ 2337 h 2496"/>
                    <a:gd name="T68" fmla="*/ 282 w 1430"/>
                    <a:gd name="T69" fmla="*/ 1340 h 2496"/>
                    <a:gd name="T70" fmla="*/ 232 w 1430"/>
                    <a:gd name="T71" fmla="*/ 1371 h 2496"/>
                    <a:gd name="T72" fmla="*/ 172 w 1430"/>
                    <a:gd name="T73" fmla="*/ 1382 h 2496"/>
                    <a:gd name="T74" fmla="*/ 138 w 1430"/>
                    <a:gd name="T75" fmla="*/ 1378 h 2496"/>
                    <a:gd name="T76" fmla="*/ 78 w 1430"/>
                    <a:gd name="T77" fmla="*/ 1353 h 2496"/>
                    <a:gd name="T78" fmla="*/ 33 w 1430"/>
                    <a:gd name="T79" fmla="*/ 1308 h 2496"/>
                    <a:gd name="T80" fmla="*/ 8 w 1430"/>
                    <a:gd name="T81" fmla="*/ 1248 h 2496"/>
                    <a:gd name="T82" fmla="*/ 0 w 1430"/>
                    <a:gd name="T83" fmla="*/ 168 h 2496"/>
                    <a:gd name="T84" fmla="*/ 14 w 1430"/>
                    <a:gd name="T85" fmla="*/ 102 h 2496"/>
                    <a:gd name="T86" fmla="*/ 50 w 1430"/>
                    <a:gd name="T87" fmla="*/ 49 h 2496"/>
                    <a:gd name="T88" fmla="*/ 103 w 1430"/>
                    <a:gd name="T89" fmla="*/ 12 h 2496"/>
                    <a:gd name="T90" fmla="*/ 168 w 1430"/>
                    <a:gd name="T91" fmla="*/ 0 h 24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30" h="2496">
                      <a:moveTo>
                        <a:pt x="168" y="0"/>
                      </a:moveTo>
                      <a:lnTo>
                        <a:pt x="170" y="0"/>
                      </a:lnTo>
                      <a:lnTo>
                        <a:pt x="182" y="0"/>
                      </a:lnTo>
                      <a:lnTo>
                        <a:pt x="204" y="0"/>
                      </a:lnTo>
                      <a:lnTo>
                        <a:pt x="233" y="0"/>
                      </a:lnTo>
                      <a:lnTo>
                        <a:pt x="269" y="0"/>
                      </a:lnTo>
                      <a:lnTo>
                        <a:pt x="311" y="0"/>
                      </a:lnTo>
                      <a:lnTo>
                        <a:pt x="358" y="0"/>
                      </a:lnTo>
                      <a:lnTo>
                        <a:pt x="409" y="0"/>
                      </a:lnTo>
                      <a:lnTo>
                        <a:pt x="466" y="0"/>
                      </a:lnTo>
                      <a:lnTo>
                        <a:pt x="524" y="0"/>
                      </a:lnTo>
                      <a:lnTo>
                        <a:pt x="585" y="0"/>
                      </a:lnTo>
                      <a:lnTo>
                        <a:pt x="648" y="0"/>
                      </a:lnTo>
                      <a:lnTo>
                        <a:pt x="712" y="0"/>
                      </a:lnTo>
                      <a:lnTo>
                        <a:pt x="774" y="0"/>
                      </a:lnTo>
                      <a:lnTo>
                        <a:pt x="837" y="0"/>
                      </a:lnTo>
                      <a:lnTo>
                        <a:pt x="898" y="0"/>
                      </a:lnTo>
                      <a:lnTo>
                        <a:pt x="957" y="0"/>
                      </a:lnTo>
                      <a:lnTo>
                        <a:pt x="1013" y="0"/>
                      </a:lnTo>
                      <a:lnTo>
                        <a:pt x="1065" y="0"/>
                      </a:lnTo>
                      <a:lnTo>
                        <a:pt x="1114" y="0"/>
                      </a:lnTo>
                      <a:lnTo>
                        <a:pt x="1156" y="0"/>
                      </a:lnTo>
                      <a:lnTo>
                        <a:pt x="1191" y="0"/>
                      </a:lnTo>
                      <a:lnTo>
                        <a:pt x="1222" y="0"/>
                      </a:lnTo>
                      <a:lnTo>
                        <a:pt x="1244" y="0"/>
                      </a:lnTo>
                      <a:lnTo>
                        <a:pt x="1258" y="0"/>
                      </a:lnTo>
                      <a:lnTo>
                        <a:pt x="1263" y="0"/>
                      </a:lnTo>
                      <a:lnTo>
                        <a:pt x="1296" y="3"/>
                      </a:lnTo>
                      <a:lnTo>
                        <a:pt x="1328" y="14"/>
                      </a:lnTo>
                      <a:lnTo>
                        <a:pt x="1356" y="29"/>
                      </a:lnTo>
                      <a:lnTo>
                        <a:pt x="1381" y="50"/>
                      </a:lnTo>
                      <a:lnTo>
                        <a:pt x="1402" y="76"/>
                      </a:lnTo>
                      <a:lnTo>
                        <a:pt x="1417" y="105"/>
                      </a:lnTo>
                      <a:lnTo>
                        <a:pt x="1426" y="135"/>
                      </a:lnTo>
                      <a:lnTo>
                        <a:pt x="1430" y="170"/>
                      </a:lnTo>
                      <a:lnTo>
                        <a:pt x="1426" y="1214"/>
                      </a:lnTo>
                      <a:lnTo>
                        <a:pt x="1424" y="1247"/>
                      </a:lnTo>
                      <a:lnTo>
                        <a:pt x="1413" y="1278"/>
                      </a:lnTo>
                      <a:lnTo>
                        <a:pt x="1398" y="1306"/>
                      </a:lnTo>
                      <a:lnTo>
                        <a:pt x="1376" y="1332"/>
                      </a:lnTo>
                      <a:lnTo>
                        <a:pt x="1352" y="1353"/>
                      </a:lnTo>
                      <a:lnTo>
                        <a:pt x="1324" y="1368"/>
                      </a:lnTo>
                      <a:lnTo>
                        <a:pt x="1292" y="1378"/>
                      </a:lnTo>
                      <a:lnTo>
                        <a:pt x="1259" y="1382"/>
                      </a:lnTo>
                      <a:lnTo>
                        <a:pt x="1258" y="1382"/>
                      </a:lnTo>
                      <a:lnTo>
                        <a:pt x="1227" y="1380"/>
                      </a:lnTo>
                      <a:lnTo>
                        <a:pt x="1198" y="1371"/>
                      </a:lnTo>
                      <a:lnTo>
                        <a:pt x="1172" y="1357"/>
                      </a:lnTo>
                      <a:lnTo>
                        <a:pt x="1148" y="1338"/>
                      </a:lnTo>
                      <a:lnTo>
                        <a:pt x="1128" y="1316"/>
                      </a:lnTo>
                      <a:lnTo>
                        <a:pt x="1063" y="2337"/>
                      </a:lnTo>
                      <a:lnTo>
                        <a:pt x="1056" y="2369"/>
                      </a:lnTo>
                      <a:lnTo>
                        <a:pt x="1045" y="2400"/>
                      </a:lnTo>
                      <a:lnTo>
                        <a:pt x="1028" y="2427"/>
                      </a:lnTo>
                      <a:lnTo>
                        <a:pt x="1008" y="2449"/>
                      </a:lnTo>
                      <a:lnTo>
                        <a:pt x="982" y="2470"/>
                      </a:lnTo>
                      <a:lnTo>
                        <a:pt x="953" y="2484"/>
                      </a:lnTo>
                      <a:lnTo>
                        <a:pt x="922" y="2492"/>
                      </a:lnTo>
                      <a:lnTo>
                        <a:pt x="888" y="2496"/>
                      </a:lnTo>
                      <a:lnTo>
                        <a:pt x="542" y="2496"/>
                      </a:lnTo>
                      <a:lnTo>
                        <a:pt x="509" y="2492"/>
                      </a:lnTo>
                      <a:lnTo>
                        <a:pt x="477" y="2484"/>
                      </a:lnTo>
                      <a:lnTo>
                        <a:pt x="448" y="2470"/>
                      </a:lnTo>
                      <a:lnTo>
                        <a:pt x="423" y="2451"/>
                      </a:lnTo>
                      <a:lnTo>
                        <a:pt x="402" y="2427"/>
                      </a:lnTo>
                      <a:lnTo>
                        <a:pt x="385" y="2400"/>
                      </a:lnTo>
                      <a:lnTo>
                        <a:pt x="374" y="2369"/>
                      </a:lnTo>
                      <a:lnTo>
                        <a:pt x="369" y="2337"/>
                      </a:lnTo>
                      <a:lnTo>
                        <a:pt x="302" y="1319"/>
                      </a:lnTo>
                      <a:lnTo>
                        <a:pt x="282" y="1340"/>
                      </a:lnTo>
                      <a:lnTo>
                        <a:pt x="259" y="1357"/>
                      </a:lnTo>
                      <a:lnTo>
                        <a:pt x="232" y="1371"/>
                      </a:lnTo>
                      <a:lnTo>
                        <a:pt x="203" y="1380"/>
                      </a:lnTo>
                      <a:lnTo>
                        <a:pt x="172" y="1382"/>
                      </a:lnTo>
                      <a:lnTo>
                        <a:pt x="172" y="1382"/>
                      </a:lnTo>
                      <a:lnTo>
                        <a:pt x="138" y="1378"/>
                      </a:lnTo>
                      <a:lnTo>
                        <a:pt x="107" y="1368"/>
                      </a:lnTo>
                      <a:lnTo>
                        <a:pt x="78" y="1353"/>
                      </a:lnTo>
                      <a:lnTo>
                        <a:pt x="53" y="1333"/>
                      </a:lnTo>
                      <a:lnTo>
                        <a:pt x="33" y="1308"/>
                      </a:lnTo>
                      <a:lnTo>
                        <a:pt x="18" y="1278"/>
                      </a:lnTo>
                      <a:lnTo>
                        <a:pt x="8" y="1248"/>
                      </a:lnTo>
                      <a:lnTo>
                        <a:pt x="4" y="1214"/>
                      </a:lnTo>
                      <a:lnTo>
                        <a:pt x="0" y="168"/>
                      </a:lnTo>
                      <a:lnTo>
                        <a:pt x="4" y="134"/>
                      </a:lnTo>
                      <a:lnTo>
                        <a:pt x="14" y="102"/>
                      </a:lnTo>
                      <a:lnTo>
                        <a:pt x="29" y="74"/>
                      </a:lnTo>
                      <a:lnTo>
                        <a:pt x="50" y="49"/>
                      </a:lnTo>
                      <a:lnTo>
                        <a:pt x="74" y="29"/>
                      </a:lnTo>
                      <a:lnTo>
                        <a:pt x="103" y="12"/>
                      </a:lnTo>
                      <a:lnTo>
                        <a:pt x="135" y="3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3" name="Freeform 14"/>
                <p:cNvSpPr>
                  <a:spLocks/>
                </p:cNvSpPr>
                <p:nvPr/>
              </p:nvSpPr>
              <p:spPr bwMode="auto">
                <a:xfrm>
                  <a:off x="2776" y="2202"/>
                  <a:ext cx="310" cy="308"/>
                </a:xfrm>
                <a:custGeom>
                  <a:avLst/>
                  <a:gdLst>
                    <a:gd name="T0" fmla="*/ 466 w 931"/>
                    <a:gd name="T1" fmla="*/ 0 h 925"/>
                    <a:gd name="T2" fmla="*/ 524 w 931"/>
                    <a:gd name="T3" fmla="*/ 4 h 925"/>
                    <a:gd name="T4" fmla="*/ 580 w 931"/>
                    <a:gd name="T5" fmla="*/ 14 h 925"/>
                    <a:gd name="T6" fmla="*/ 634 w 931"/>
                    <a:gd name="T7" fmla="*/ 32 h 925"/>
                    <a:gd name="T8" fmla="*/ 684 w 931"/>
                    <a:gd name="T9" fmla="*/ 55 h 925"/>
                    <a:gd name="T10" fmla="*/ 731 w 931"/>
                    <a:gd name="T11" fmla="*/ 82 h 925"/>
                    <a:gd name="T12" fmla="*/ 774 w 931"/>
                    <a:gd name="T13" fmla="*/ 117 h 925"/>
                    <a:gd name="T14" fmla="*/ 814 w 931"/>
                    <a:gd name="T15" fmla="*/ 156 h 925"/>
                    <a:gd name="T16" fmla="*/ 847 w 931"/>
                    <a:gd name="T17" fmla="*/ 199 h 925"/>
                    <a:gd name="T18" fmla="*/ 876 w 931"/>
                    <a:gd name="T19" fmla="*/ 245 h 925"/>
                    <a:gd name="T20" fmla="*/ 899 w 931"/>
                    <a:gd name="T21" fmla="*/ 295 h 925"/>
                    <a:gd name="T22" fmla="*/ 917 w 931"/>
                    <a:gd name="T23" fmla="*/ 349 h 925"/>
                    <a:gd name="T24" fmla="*/ 927 w 931"/>
                    <a:gd name="T25" fmla="*/ 404 h 925"/>
                    <a:gd name="T26" fmla="*/ 931 w 931"/>
                    <a:gd name="T27" fmla="*/ 463 h 925"/>
                    <a:gd name="T28" fmla="*/ 927 w 931"/>
                    <a:gd name="T29" fmla="*/ 521 h 925"/>
                    <a:gd name="T30" fmla="*/ 917 w 931"/>
                    <a:gd name="T31" fmla="*/ 577 h 925"/>
                    <a:gd name="T32" fmla="*/ 899 w 931"/>
                    <a:gd name="T33" fmla="*/ 630 h 925"/>
                    <a:gd name="T34" fmla="*/ 876 w 931"/>
                    <a:gd name="T35" fmla="*/ 681 h 925"/>
                    <a:gd name="T36" fmla="*/ 847 w 931"/>
                    <a:gd name="T37" fmla="*/ 727 h 925"/>
                    <a:gd name="T38" fmla="*/ 814 w 931"/>
                    <a:gd name="T39" fmla="*/ 769 h 925"/>
                    <a:gd name="T40" fmla="*/ 774 w 931"/>
                    <a:gd name="T41" fmla="*/ 809 h 925"/>
                    <a:gd name="T42" fmla="*/ 731 w 931"/>
                    <a:gd name="T43" fmla="*/ 843 h 925"/>
                    <a:gd name="T44" fmla="*/ 684 w 931"/>
                    <a:gd name="T45" fmla="*/ 871 h 925"/>
                    <a:gd name="T46" fmla="*/ 634 w 931"/>
                    <a:gd name="T47" fmla="*/ 893 h 925"/>
                    <a:gd name="T48" fmla="*/ 580 w 931"/>
                    <a:gd name="T49" fmla="*/ 911 h 925"/>
                    <a:gd name="T50" fmla="*/ 524 w 931"/>
                    <a:gd name="T51" fmla="*/ 921 h 925"/>
                    <a:gd name="T52" fmla="*/ 466 w 931"/>
                    <a:gd name="T53" fmla="*/ 925 h 925"/>
                    <a:gd name="T54" fmla="*/ 407 w 931"/>
                    <a:gd name="T55" fmla="*/ 921 h 925"/>
                    <a:gd name="T56" fmla="*/ 351 w 931"/>
                    <a:gd name="T57" fmla="*/ 911 h 925"/>
                    <a:gd name="T58" fmla="*/ 297 w 931"/>
                    <a:gd name="T59" fmla="*/ 893 h 925"/>
                    <a:gd name="T60" fmla="*/ 246 w 931"/>
                    <a:gd name="T61" fmla="*/ 871 h 925"/>
                    <a:gd name="T62" fmla="*/ 199 w 931"/>
                    <a:gd name="T63" fmla="*/ 843 h 925"/>
                    <a:gd name="T64" fmla="*/ 156 w 931"/>
                    <a:gd name="T65" fmla="*/ 809 h 925"/>
                    <a:gd name="T66" fmla="*/ 117 w 931"/>
                    <a:gd name="T67" fmla="*/ 769 h 925"/>
                    <a:gd name="T68" fmla="*/ 83 w 931"/>
                    <a:gd name="T69" fmla="*/ 727 h 925"/>
                    <a:gd name="T70" fmla="*/ 55 w 931"/>
                    <a:gd name="T71" fmla="*/ 681 h 925"/>
                    <a:gd name="T72" fmla="*/ 31 w 931"/>
                    <a:gd name="T73" fmla="*/ 630 h 925"/>
                    <a:gd name="T74" fmla="*/ 14 w 931"/>
                    <a:gd name="T75" fmla="*/ 577 h 925"/>
                    <a:gd name="T76" fmla="*/ 4 w 931"/>
                    <a:gd name="T77" fmla="*/ 521 h 925"/>
                    <a:gd name="T78" fmla="*/ 0 w 931"/>
                    <a:gd name="T79" fmla="*/ 463 h 925"/>
                    <a:gd name="T80" fmla="*/ 4 w 931"/>
                    <a:gd name="T81" fmla="*/ 404 h 925"/>
                    <a:gd name="T82" fmla="*/ 14 w 931"/>
                    <a:gd name="T83" fmla="*/ 349 h 925"/>
                    <a:gd name="T84" fmla="*/ 31 w 931"/>
                    <a:gd name="T85" fmla="*/ 295 h 925"/>
                    <a:gd name="T86" fmla="*/ 55 w 931"/>
                    <a:gd name="T87" fmla="*/ 245 h 925"/>
                    <a:gd name="T88" fmla="*/ 83 w 931"/>
                    <a:gd name="T89" fmla="*/ 199 h 925"/>
                    <a:gd name="T90" fmla="*/ 117 w 931"/>
                    <a:gd name="T91" fmla="*/ 156 h 925"/>
                    <a:gd name="T92" fmla="*/ 156 w 931"/>
                    <a:gd name="T93" fmla="*/ 117 h 925"/>
                    <a:gd name="T94" fmla="*/ 199 w 931"/>
                    <a:gd name="T95" fmla="*/ 82 h 925"/>
                    <a:gd name="T96" fmla="*/ 246 w 931"/>
                    <a:gd name="T97" fmla="*/ 55 h 925"/>
                    <a:gd name="T98" fmla="*/ 297 w 931"/>
                    <a:gd name="T99" fmla="*/ 32 h 925"/>
                    <a:gd name="T100" fmla="*/ 351 w 931"/>
                    <a:gd name="T101" fmla="*/ 14 h 925"/>
                    <a:gd name="T102" fmla="*/ 407 w 931"/>
                    <a:gd name="T103" fmla="*/ 4 h 925"/>
                    <a:gd name="T104" fmla="*/ 466 w 931"/>
                    <a:gd name="T105" fmla="*/ 0 h 9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931" h="925">
                      <a:moveTo>
                        <a:pt x="466" y="0"/>
                      </a:moveTo>
                      <a:lnTo>
                        <a:pt x="524" y="4"/>
                      </a:lnTo>
                      <a:lnTo>
                        <a:pt x="580" y="14"/>
                      </a:lnTo>
                      <a:lnTo>
                        <a:pt x="634" y="32"/>
                      </a:lnTo>
                      <a:lnTo>
                        <a:pt x="684" y="55"/>
                      </a:lnTo>
                      <a:lnTo>
                        <a:pt x="731" y="82"/>
                      </a:lnTo>
                      <a:lnTo>
                        <a:pt x="774" y="117"/>
                      </a:lnTo>
                      <a:lnTo>
                        <a:pt x="814" y="156"/>
                      </a:lnTo>
                      <a:lnTo>
                        <a:pt x="847" y="199"/>
                      </a:lnTo>
                      <a:lnTo>
                        <a:pt x="876" y="245"/>
                      </a:lnTo>
                      <a:lnTo>
                        <a:pt x="899" y="295"/>
                      </a:lnTo>
                      <a:lnTo>
                        <a:pt x="917" y="349"/>
                      </a:lnTo>
                      <a:lnTo>
                        <a:pt x="927" y="404"/>
                      </a:lnTo>
                      <a:lnTo>
                        <a:pt x="931" y="463"/>
                      </a:lnTo>
                      <a:lnTo>
                        <a:pt x="927" y="521"/>
                      </a:lnTo>
                      <a:lnTo>
                        <a:pt x="917" y="577"/>
                      </a:lnTo>
                      <a:lnTo>
                        <a:pt x="899" y="630"/>
                      </a:lnTo>
                      <a:lnTo>
                        <a:pt x="876" y="681"/>
                      </a:lnTo>
                      <a:lnTo>
                        <a:pt x="847" y="727"/>
                      </a:lnTo>
                      <a:lnTo>
                        <a:pt x="814" y="769"/>
                      </a:lnTo>
                      <a:lnTo>
                        <a:pt x="774" y="809"/>
                      </a:lnTo>
                      <a:lnTo>
                        <a:pt x="731" y="843"/>
                      </a:lnTo>
                      <a:lnTo>
                        <a:pt x="684" y="871"/>
                      </a:lnTo>
                      <a:lnTo>
                        <a:pt x="634" y="893"/>
                      </a:lnTo>
                      <a:lnTo>
                        <a:pt x="580" y="911"/>
                      </a:lnTo>
                      <a:lnTo>
                        <a:pt x="524" y="921"/>
                      </a:lnTo>
                      <a:lnTo>
                        <a:pt x="466" y="925"/>
                      </a:lnTo>
                      <a:lnTo>
                        <a:pt x="407" y="921"/>
                      </a:lnTo>
                      <a:lnTo>
                        <a:pt x="351" y="911"/>
                      </a:lnTo>
                      <a:lnTo>
                        <a:pt x="297" y="893"/>
                      </a:lnTo>
                      <a:lnTo>
                        <a:pt x="246" y="871"/>
                      </a:lnTo>
                      <a:lnTo>
                        <a:pt x="199" y="843"/>
                      </a:lnTo>
                      <a:lnTo>
                        <a:pt x="156" y="809"/>
                      </a:lnTo>
                      <a:lnTo>
                        <a:pt x="117" y="769"/>
                      </a:lnTo>
                      <a:lnTo>
                        <a:pt x="83" y="727"/>
                      </a:lnTo>
                      <a:lnTo>
                        <a:pt x="55" y="681"/>
                      </a:lnTo>
                      <a:lnTo>
                        <a:pt x="31" y="630"/>
                      </a:lnTo>
                      <a:lnTo>
                        <a:pt x="14" y="577"/>
                      </a:lnTo>
                      <a:lnTo>
                        <a:pt x="4" y="521"/>
                      </a:lnTo>
                      <a:lnTo>
                        <a:pt x="0" y="463"/>
                      </a:lnTo>
                      <a:lnTo>
                        <a:pt x="4" y="404"/>
                      </a:lnTo>
                      <a:lnTo>
                        <a:pt x="14" y="349"/>
                      </a:lnTo>
                      <a:lnTo>
                        <a:pt x="31" y="295"/>
                      </a:lnTo>
                      <a:lnTo>
                        <a:pt x="55" y="245"/>
                      </a:lnTo>
                      <a:lnTo>
                        <a:pt x="83" y="199"/>
                      </a:lnTo>
                      <a:lnTo>
                        <a:pt x="117" y="156"/>
                      </a:lnTo>
                      <a:lnTo>
                        <a:pt x="156" y="117"/>
                      </a:lnTo>
                      <a:lnTo>
                        <a:pt x="199" y="82"/>
                      </a:lnTo>
                      <a:lnTo>
                        <a:pt x="246" y="55"/>
                      </a:lnTo>
                      <a:lnTo>
                        <a:pt x="297" y="32"/>
                      </a:lnTo>
                      <a:lnTo>
                        <a:pt x="351" y="14"/>
                      </a:lnTo>
                      <a:lnTo>
                        <a:pt x="407" y="4"/>
                      </a:lnTo>
                      <a:lnTo>
                        <a:pt x="46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94" name="Group 93"/>
            <p:cNvGrpSpPr/>
            <p:nvPr/>
          </p:nvGrpSpPr>
          <p:grpSpPr>
            <a:xfrm>
              <a:off x="3927087" y="3059542"/>
              <a:ext cx="854609" cy="1295584"/>
              <a:chOff x="1863059" y="1214754"/>
              <a:chExt cx="2611443" cy="3958936"/>
            </a:xfrm>
            <a:solidFill>
              <a:schemeClr val="accent2"/>
            </a:solidFill>
          </p:grpSpPr>
          <p:grpSp>
            <p:nvGrpSpPr>
              <p:cNvPr id="95" name="Group 11"/>
              <p:cNvGrpSpPr>
                <a:grpSpLocks noChangeAspect="1"/>
              </p:cNvGrpSpPr>
              <p:nvPr/>
            </p:nvGrpSpPr>
            <p:grpSpPr bwMode="auto">
              <a:xfrm>
                <a:off x="2764908" y="1214754"/>
                <a:ext cx="757238" cy="1868488"/>
                <a:chOff x="2692" y="2202"/>
                <a:chExt cx="477" cy="1177"/>
              </a:xfrm>
              <a:grpFill/>
            </p:grpSpPr>
            <p:sp>
              <p:nvSpPr>
                <p:cNvPr id="117" name="Freeform 13"/>
                <p:cNvSpPr>
                  <a:spLocks/>
                </p:cNvSpPr>
                <p:nvPr/>
              </p:nvSpPr>
              <p:spPr bwMode="auto">
                <a:xfrm>
                  <a:off x="2692" y="2547"/>
                  <a:ext cx="477" cy="832"/>
                </a:xfrm>
                <a:custGeom>
                  <a:avLst/>
                  <a:gdLst>
                    <a:gd name="T0" fmla="*/ 170 w 1430"/>
                    <a:gd name="T1" fmla="*/ 0 h 2496"/>
                    <a:gd name="T2" fmla="*/ 204 w 1430"/>
                    <a:gd name="T3" fmla="*/ 0 h 2496"/>
                    <a:gd name="T4" fmla="*/ 269 w 1430"/>
                    <a:gd name="T5" fmla="*/ 0 h 2496"/>
                    <a:gd name="T6" fmla="*/ 358 w 1430"/>
                    <a:gd name="T7" fmla="*/ 0 h 2496"/>
                    <a:gd name="T8" fmla="*/ 466 w 1430"/>
                    <a:gd name="T9" fmla="*/ 0 h 2496"/>
                    <a:gd name="T10" fmla="*/ 585 w 1430"/>
                    <a:gd name="T11" fmla="*/ 0 h 2496"/>
                    <a:gd name="T12" fmla="*/ 712 w 1430"/>
                    <a:gd name="T13" fmla="*/ 0 h 2496"/>
                    <a:gd name="T14" fmla="*/ 837 w 1430"/>
                    <a:gd name="T15" fmla="*/ 0 h 2496"/>
                    <a:gd name="T16" fmla="*/ 957 w 1430"/>
                    <a:gd name="T17" fmla="*/ 0 h 2496"/>
                    <a:gd name="T18" fmla="*/ 1065 w 1430"/>
                    <a:gd name="T19" fmla="*/ 0 h 2496"/>
                    <a:gd name="T20" fmla="*/ 1156 w 1430"/>
                    <a:gd name="T21" fmla="*/ 0 h 2496"/>
                    <a:gd name="T22" fmla="*/ 1222 w 1430"/>
                    <a:gd name="T23" fmla="*/ 0 h 2496"/>
                    <a:gd name="T24" fmla="*/ 1258 w 1430"/>
                    <a:gd name="T25" fmla="*/ 0 h 2496"/>
                    <a:gd name="T26" fmla="*/ 1296 w 1430"/>
                    <a:gd name="T27" fmla="*/ 3 h 2496"/>
                    <a:gd name="T28" fmla="*/ 1356 w 1430"/>
                    <a:gd name="T29" fmla="*/ 29 h 2496"/>
                    <a:gd name="T30" fmla="*/ 1402 w 1430"/>
                    <a:gd name="T31" fmla="*/ 76 h 2496"/>
                    <a:gd name="T32" fmla="*/ 1426 w 1430"/>
                    <a:gd name="T33" fmla="*/ 135 h 2496"/>
                    <a:gd name="T34" fmla="*/ 1426 w 1430"/>
                    <a:gd name="T35" fmla="*/ 1214 h 2496"/>
                    <a:gd name="T36" fmla="*/ 1413 w 1430"/>
                    <a:gd name="T37" fmla="*/ 1278 h 2496"/>
                    <a:gd name="T38" fmla="*/ 1376 w 1430"/>
                    <a:gd name="T39" fmla="*/ 1332 h 2496"/>
                    <a:gd name="T40" fmla="*/ 1324 w 1430"/>
                    <a:gd name="T41" fmla="*/ 1368 h 2496"/>
                    <a:gd name="T42" fmla="*/ 1259 w 1430"/>
                    <a:gd name="T43" fmla="*/ 1382 h 2496"/>
                    <a:gd name="T44" fmla="*/ 1227 w 1430"/>
                    <a:gd name="T45" fmla="*/ 1380 h 2496"/>
                    <a:gd name="T46" fmla="*/ 1172 w 1430"/>
                    <a:gd name="T47" fmla="*/ 1357 h 2496"/>
                    <a:gd name="T48" fmla="*/ 1128 w 1430"/>
                    <a:gd name="T49" fmla="*/ 1316 h 2496"/>
                    <a:gd name="T50" fmla="*/ 1056 w 1430"/>
                    <a:gd name="T51" fmla="*/ 2369 h 2496"/>
                    <a:gd name="T52" fmla="*/ 1028 w 1430"/>
                    <a:gd name="T53" fmla="*/ 2427 h 2496"/>
                    <a:gd name="T54" fmla="*/ 982 w 1430"/>
                    <a:gd name="T55" fmla="*/ 2470 h 2496"/>
                    <a:gd name="T56" fmla="*/ 922 w 1430"/>
                    <a:gd name="T57" fmla="*/ 2492 h 2496"/>
                    <a:gd name="T58" fmla="*/ 542 w 1430"/>
                    <a:gd name="T59" fmla="*/ 2496 h 2496"/>
                    <a:gd name="T60" fmla="*/ 477 w 1430"/>
                    <a:gd name="T61" fmla="*/ 2484 h 2496"/>
                    <a:gd name="T62" fmla="*/ 423 w 1430"/>
                    <a:gd name="T63" fmla="*/ 2451 h 2496"/>
                    <a:gd name="T64" fmla="*/ 385 w 1430"/>
                    <a:gd name="T65" fmla="*/ 2400 h 2496"/>
                    <a:gd name="T66" fmla="*/ 369 w 1430"/>
                    <a:gd name="T67" fmla="*/ 2337 h 2496"/>
                    <a:gd name="T68" fmla="*/ 282 w 1430"/>
                    <a:gd name="T69" fmla="*/ 1340 h 2496"/>
                    <a:gd name="T70" fmla="*/ 232 w 1430"/>
                    <a:gd name="T71" fmla="*/ 1371 h 2496"/>
                    <a:gd name="T72" fmla="*/ 172 w 1430"/>
                    <a:gd name="T73" fmla="*/ 1382 h 2496"/>
                    <a:gd name="T74" fmla="*/ 138 w 1430"/>
                    <a:gd name="T75" fmla="*/ 1378 h 2496"/>
                    <a:gd name="T76" fmla="*/ 78 w 1430"/>
                    <a:gd name="T77" fmla="*/ 1353 h 2496"/>
                    <a:gd name="T78" fmla="*/ 33 w 1430"/>
                    <a:gd name="T79" fmla="*/ 1308 h 2496"/>
                    <a:gd name="T80" fmla="*/ 8 w 1430"/>
                    <a:gd name="T81" fmla="*/ 1248 h 2496"/>
                    <a:gd name="T82" fmla="*/ 0 w 1430"/>
                    <a:gd name="T83" fmla="*/ 168 h 2496"/>
                    <a:gd name="T84" fmla="*/ 14 w 1430"/>
                    <a:gd name="T85" fmla="*/ 102 h 2496"/>
                    <a:gd name="T86" fmla="*/ 50 w 1430"/>
                    <a:gd name="T87" fmla="*/ 49 h 2496"/>
                    <a:gd name="T88" fmla="*/ 103 w 1430"/>
                    <a:gd name="T89" fmla="*/ 12 h 2496"/>
                    <a:gd name="T90" fmla="*/ 168 w 1430"/>
                    <a:gd name="T91" fmla="*/ 0 h 24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30" h="2496">
                      <a:moveTo>
                        <a:pt x="168" y="0"/>
                      </a:moveTo>
                      <a:lnTo>
                        <a:pt x="170" y="0"/>
                      </a:lnTo>
                      <a:lnTo>
                        <a:pt x="182" y="0"/>
                      </a:lnTo>
                      <a:lnTo>
                        <a:pt x="204" y="0"/>
                      </a:lnTo>
                      <a:lnTo>
                        <a:pt x="233" y="0"/>
                      </a:lnTo>
                      <a:lnTo>
                        <a:pt x="269" y="0"/>
                      </a:lnTo>
                      <a:lnTo>
                        <a:pt x="311" y="0"/>
                      </a:lnTo>
                      <a:lnTo>
                        <a:pt x="358" y="0"/>
                      </a:lnTo>
                      <a:lnTo>
                        <a:pt x="409" y="0"/>
                      </a:lnTo>
                      <a:lnTo>
                        <a:pt x="466" y="0"/>
                      </a:lnTo>
                      <a:lnTo>
                        <a:pt x="524" y="0"/>
                      </a:lnTo>
                      <a:lnTo>
                        <a:pt x="585" y="0"/>
                      </a:lnTo>
                      <a:lnTo>
                        <a:pt x="648" y="0"/>
                      </a:lnTo>
                      <a:lnTo>
                        <a:pt x="712" y="0"/>
                      </a:lnTo>
                      <a:lnTo>
                        <a:pt x="774" y="0"/>
                      </a:lnTo>
                      <a:lnTo>
                        <a:pt x="837" y="0"/>
                      </a:lnTo>
                      <a:lnTo>
                        <a:pt x="898" y="0"/>
                      </a:lnTo>
                      <a:lnTo>
                        <a:pt x="957" y="0"/>
                      </a:lnTo>
                      <a:lnTo>
                        <a:pt x="1013" y="0"/>
                      </a:lnTo>
                      <a:lnTo>
                        <a:pt x="1065" y="0"/>
                      </a:lnTo>
                      <a:lnTo>
                        <a:pt x="1114" y="0"/>
                      </a:lnTo>
                      <a:lnTo>
                        <a:pt x="1156" y="0"/>
                      </a:lnTo>
                      <a:lnTo>
                        <a:pt x="1191" y="0"/>
                      </a:lnTo>
                      <a:lnTo>
                        <a:pt x="1222" y="0"/>
                      </a:lnTo>
                      <a:lnTo>
                        <a:pt x="1244" y="0"/>
                      </a:lnTo>
                      <a:lnTo>
                        <a:pt x="1258" y="0"/>
                      </a:lnTo>
                      <a:lnTo>
                        <a:pt x="1263" y="0"/>
                      </a:lnTo>
                      <a:lnTo>
                        <a:pt x="1296" y="3"/>
                      </a:lnTo>
                      <a:lnTo>
                        <a:pt x="1328" y="14"/>
                      </a:lnTo>
                      <a:lnTo>
                        <a:pt x="1356" y="29"/>
                      </a:lnTo>
                      <a:lnTo>
                        <a:pt x="1381" y="50"/>
                      </a:lnTo>
                      <a:lnTo>
                        <a:pt x="1402" y="76"/>
                      </a:lnTo>
                      <a:lnTo>
                        <a:pt x="1417" y="105"/>
                      </a:lnTo>
                      <a:lnTo>
                        <a:pt x="1426" y="135"/>
                      </a:lnTo>
                      <a:lnTo>
                        <a:pt x="1430" y="170"/>
                      </a:lnTo>
                      <a:lnTo>
                        <a:pt x="1426" y="1214"/>
                      </a:lnTo>
                      <a:lnTo>
                        <a:pt x="1424" y="1247"/>
                      </a:lnTo>
                      <a:lnTo>
                        <a:pt x="1413" y="1278"/>
                      </a:lnTo>
                      <a:lnTo>
                        <a:pt x="1398" y="1306"/>
                      </a:lnTo>
                      <a:lnTo>
                        <a:pt x="1376" y="1332"/>
                      </a:lnTo>
                      <a:lnTo>
                        <a:pt x="1352" y="1353"/>
                      </a:lnTo>
                      <a:lnTo>
                        <a:pt x="1324" y="1368"/>
                      </a:lnTo>
                      <a:lnTo>
                        <a:pt x="1292" y="1378"/>
                      </a:lnTo>
                      <a:lnTo>
                        <a:pt x="1259" y="1382"/>
                      </a:lnTo>
                      <a:lnTo>
                        <a:pt x="1258" y="1382"/>
                      </a:lnTo>
                      <a:lnTo>
                        <a:pt x="1227" y="1380"/>
                      </a:lnTo>
                      <a:lnTo>
                        <a:pt x="1198" y="1371"/>
                      </a:lnTo>
                      <a:lnTo>
                        <a:pt x="1172" y="1357"/>
                      </a:lnTo>
                      <a:lnTo>
                        <a:pt x="1148" y="1338"/>
                      </a:lnTo>
                      <a:lnTo>
                        <a:pt x="1128" y="1316"/>
                      </a:lnTo>
                      <a:lnTo>
                        <a:pt x="1063" y="2337"/>
                      </a:lnTo>
                      <a:lnTo>
                        <a:pt x="1056" y="2369"/>
                      </a:lnTo>
                      <a:lnTo>
                        <a:pt x="1045" y="2400"/>
                      </a:lnTo>
                      <a:lnTo>
                        <a:pt x="1028" y="2427"/>
                      </a:lnTo>
                      <a:lnTo>
                        <a:pt x="1008" y="2449"/>
                      </a:lnTo>
                      <a:lnTo>
                        <a:pt x="982" y="2470"/>
                      </a:lnTo>
                      <a:lnTo>
                        <a:pt x="953" y="2484"/>
                      </a:lnTo>
                      <a:lnTo>
                        <a:pt x="922" y="2492"/>
                      </a:lnTo>
                      <a:lnTo>
                        <a:pt x="888" y="2496"/>
                      </a:lnTo>
                      <a:lnTo>
                        <a:pt x="542" y="2496"/>
                      </a:lnTo>
                      <a:lnTo>
                        <a:pt x="509" y="2492"/>
                      </a:lnTo>
                      <a:lnTo>
                        <a:pt x="477" y="2484"/>
                      </a:lnTo>
                      <a:lnTo>
                        <a:pt x="448" y="2470"/>
                      </a:lnTo>
                      <a:lnTo>
                        <a:pt x="423" y="2451"/>
                      </a:lnTo>
                      <a:lnTo>
                        <a:pt x="402" y="2427"/>
                      </a:lnTo>
                      <a:lnTo>
                        <a:pt x="385" y="2400"/>
                      </a:lnTo>
                      <a:lnTo>
                        <a:pt x="374" y="2369"/>
                      </a:lnTo>
                      <a:lnTo>
                        <a:pt x="369" y="2337"/>
                      </a:lnTo>
                      <a:lnTo>
                        <a:pt x="302" y="1319"/>
                      </a:lnTo>
                      <a:lnTo>
                        <a:pt x="282" y="1340"/>
                      </a:lnTo>
                      <a:lnTo>
                        <a:pt x="259" y="1357"/>
                      </a:lnTo>
                      <a:lnTo>
                        <a:pt x="232" y="1371"/>
                      </a:lnTo>
                      <a:lnTo>
                        <a:pt x="203" y="1380"/>
                      </a:lnTo>
                      <a:lnTo>
                        <a:pt x="172" y="1382"/>
                      </a:lnTo>
                      <a:lnTo>
                        <a:pt x="172" y="1382"/>
                      </a:lnTo>
                      <a:lnTo>
                        <a:pt x="138" y="1378"/>
                      </a:lnTo>
                      <a:lnTo>
                        <a:pt x="107" y="1368"/>
                      </a:lnTo>
                      <a:lnTo>
                        <a:pt x="78" y="1353"/>
                      </a:lnTo>
                      <a:lnTo>
                        <a:pt x="53" y="1333"/>
                      </a:lnTo>
                      <a:lnTo>
                        <a:pt x="33" y="1308"/>
                      </a:lnTo>
                      <a:lnTo>
                        <a:pt x="18" y="1278"/>
                      </a:lnTo>
                      <a:lnTo>
                        <a:pt x="8" y="1248"/>
                      </a:lnTo>
                      <a:lnTo>
                        <a:pt x="4" y="1214"/>
                      </a:lnTo>
                      <a:lnTo>
                        <a:pt x="0" y="168"/>
                      </a:lnTo>
                      <a:lnTo>
                        <a:pt x="4" y="134"/>
                      </a:lnTo>
                      <a:lnTo>
                        <a:pt x="14" y="102"/>
                      </a:lnTo>
                      <a:lnTo>
                        <a:pt x="29" y="74"/>
                      </a:lnTo>
                      <a:lnTo>
                        <a:pt x="50" y="49"/>
                      </a:lnTo>
                      <a:lnTo>
                        <a:pt x="74" y="29"/>
                      </a:lnTo>
                      <a:lnTo>
                        <a:pt x="103" y="12"/>
                      </a:lnTo>
                      <a:lnTo>
                        <a:pt x="135" y="3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 14"/>
                <p:cNvSpPr>
                  <a:spLocks/>
                </p:cNvSpPr>
                <p:nvPr/>
              </p:nvSpPr>
              <p:spPr bwMode="auto">
                <a:xfrm>
                  <a:off x="2776" y="2202"/>
                  <a:ext cx="310" cy="308"/>
                </a:xfrm>
                <a:custGeom>
                  <a:avLst/>
                  <a:gdLst>
                    <a:gd name="T0" fmla="*/ 466 w 931"/>
                    <a:gd name="T1" fmla="*/ 0 h 925"/>
                    <a:gd name="T2" fmla="*/ 524 w 931"/>
                    <a:gd name="T3" fmla="*/ 4 h 925"/>
                    <a:gd name="T4" fmla="*/ 580 w 931"/>
                    <a:gd name="T5" fmla="*/ 14 h 925"/>
                    <a:gd name="T6" fmla="*/ 634 w 931"/>
                    <a:gd name="T7" fmla="*/ 32 h 925"/>
                    <a:gd name="T8" fmla="*/ 684 w 931"/>
                    <a:gd name="T9" fmla="*/ 55 h 925"/>
                    <a:gd name="T10" fmla="*/ 731 w 931"/>
                    <a:gd name="T11" fmla="*/ 82 h 925"/>
                    <a:gd name="T12" fmla="*/ 774 w 931"/>
                    <a:gd name="T13" fmla="*/ 117 h 925"/>
                    <a:gd name="T14" fmla="*/ 814 w 931"/>
                    <a:gd name="T15" fmla="*/ 156 h 925"/>
                    <a:gd name="T16" fmla="*/ 847 w 931"/>
                    <a:gd name="T17" fmla="*/ 199 h 925"/>
                    <a:gd name="T18" fmla="*/ 876 w 931"/>
                    <a:gd name="T19" fmla="*/ 245 h 925"/>
                    <a:gd name="T20" fmla="*/ 899 w 931"/>
                    <a:gd name="T21" fmla="*/ 295 h 925"/>
                    <a:gd name="T22" fmla="*/ 917 w 931"/>
                    <a:gd name="T23" fmla="*/ 349 h 925"/>
                    <a:gd name="T24" fmla="*/ 927 w 931"/>
                    <a:gd name="T25" fmla="*/ 404 h 925"/>
                    <a:gd name="T26" fmla="*/ 931 w 931"/>
                    <a:gd name="T27" fmla="*/ 463 h 925"/>
                    <a:gd name="T28" fmla="*/ 927 w 931"/>
                    <a:gd name="T29" fmla="*/ 521 h 925"/>
                    <a:gd name="T30" fmla="*/ 917 w 931"/>
                    <a:gd name="T31" fmla="*/ 577 h 925"/>
                    <a:gd name="T32" fmla="*/ 899 w 931"/>
                    <a:gd name="T33" fmla="*/ 630 h 925"/>
                    <a:gd name="T34" fmla="*/ 876 w 931"/>
                    <a:gd name="T35" fmla="*/ 681 h 925"/>
                    <a:gd name="T36" fmla="*/ 847 w 931"/>
                    <a:gd name="T37" fmla="*/ 727 h 925"/>
                    <a:gd name="T38" fmla="*/ 814 w 931"/>
                    <a:gd name="T39" fmla="*/ 769 h 925"/>
                    <a:gd name="T40" fmla="*/ 774 w 931"/>
                    <a:gd name="T41" fmla="*/ 809 h 925"/>
                    <a:gd name="T42" fmla="*/ 731 w 931"/>
                    <a:gd name="T43" fmla="*/ 843 h 925"/>
                    <a:gd name="T44" fmla="*/ 684 w 931"/>
                    <a:gd name="T45" fmla="*/ 871 h 925"/>
                    <a:gd name="T46" fmla="*/ 634 w 931"/>
                    <a:gd name="T47" fmla="*/ 893 h 925"/>
                    <a:gd name="T48" fmla="*/ 580 w 931"/>
                    <a:gd name="T49" fmla="*/ 911 h 925"/>
                    <a:gd name="T50" fmla="*/ 524 w 931"/>
                    <a:gd name="T51" fmla="*/ 921 h 925"/>
                    <a:gd name="T52" fmla="*/ 466 w 931"/>
                    <a:gd name="T53" fmla="*/ 925 h 925"/>
                    <a:gd name="T54" fmla="*/ 407 w 931"/>
                    <a:gd name="T55" fmla="*/ 921 h 925"/>
                    <a:gd name="T56" fmla="*/ 351 w 931"/>
                    <a:gd name="T57" fmla="*/ 911 h 925"/>
                    <a:gd name="T58" fmla="*/ 297 w 931"/>
                    <a:gd name="T59" fmla="*/ 893 h 925"/>
                    <a:gd name="T60" fmla="*/ 246 w 931"/>
                    <a:gd name="T61" fmla="*/ 871 h 925"/>
                    <a:gd name="T62" fmla="*/ 199 w 931"/>
                    <a:gd name="T63" fmla="*/ 843 h 925"/>
                    <a:gd name="T64" fmla="*/ 156 w 931"/>
                    <a:gd name="T65" fmla="*/ 809 h 925"/>
                    <a:gd name="T66" fmla="*/ 117 w 931"/>
                    <a:gd name="T67" fmla="*/ 769 h 925"/>
                    <a:gd name="T68" fmla="*/ 83 w 931"/>
                    <a:gd name="T69" fmla="*/ 727 h 925"/>
                    <a:gd name="T70" fmla="*/ 55 w 931"/>
                    <a:gd name="T71" fmla="*/ 681 h 925"/>
                    <a:gd name="T72" fmla="*/ 31 w 931"/>
                    <a:gd name="T73" fmla="*/ 630 h 925"/>
                    <a:gd name="T74" fmla="*/ 14 w 931"/>
                    <a:gd name="T75" fmla="*/ 577 h 925"/>
                    <a:gd name="T76" fmla="*/ 4 w 931"/>
                    <a:gd name="T77" fmla="*/ 521 h 925"/>
                    <a:gd name="T78" fmla="*/ 0 w 931"/>
                    <a:gd name="T79" fmla="*/ 463 h 925"/>
                    <a:gd name="T80" fmla="*/ 4 w 931"/>
                    <a:gd name="T81" fmla="*/ 404 h 925"/>
                    <a:gd name="T82" fmla="*/ 14 w 931"/>
                    <a:gd name="T83" fmla="*/ 349 h 925"/>
                    <a:gd name="T84" fmla="*/ 31 w 931"/>
                    <a:gd name="T85" fmla="*/ 295 h 925"/>
                    <a:gd name="T86" fmla="*/ 55 w 931"/>
                    <a:gd name="T87" fmla="*/ 245 h 925"/>
                    <a:gd name="T88" fmla="*/ 83 w 931"/>
                    <a:gd name="T89" fmla="*/ 199 h 925"/>
                    <a:gd name="T90" fmla="*/ 117 w 931"/>
                    <a:gd name="T91" fmla="*/ 156 h 925"/>
                    <a:gd name="T92" fmla="*/ 156 w 931"/>
                    <a:gd name="T93" fmla="*/ 117 h 925"/>
                    <a:gd name="T94" fmla="*/ 199 w 931"/>
                    <a:gd name="T95" fmla="*/ 82 h 925"/>
                    <a:gd name="T96" fmla="*/ 246 w 931"/>
                    <a:gd name="T97" fmla="*/ 55 h 925"/>
                    <a:gd name="T98" fmla="*/ 297 w 931"/>
                    <a:gd name="T99" fmla="*/ 32 h 925"/>
                    <a:gd name="T100" fmla="*/ 351 w 931"/>
                    <a:gd name="T101" fmla="*/ 14 h 925"/>
                    <a:gd name="T102" fmla="*/ 407 w 931"/>
                    <a:gd name="T103" fmla="*/ 4 h 925"/>
                    <a:gd name="T104" fmla="*/ 466 w 931"/>
                    <a:gd name="T105" fmla="*/ 0 h 9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931" h="925">
                      <a:moveTo>
                        <a:pt x="466" y="0"/>
                      </a:moveTo>
                      <a:lnTo>
                        <a:pt x="524" y="4"/>
                      </a:lnTo>
                      <a:lnTo>
                        <a:pt x="580" y="14"/>
                      </a:lnTo>
                      <a:lnTo>
                        <a:pt x="634" y="32"/>
                      </a:lnTo>
                      <a:lnTo>
                        <a:pt x="684" y="55"/>
                      </a:lnTo>
                      <a:lnTo>
                        <a:pt x="731" y="82"/>
                      </a:lnTo>
                      <a:lnTo>
                        <a:pt x="774" y="117"/>
                      </a:lnTo>
                      <a:lnTo>
                        <a:pt x="814" y="156"/>
                      </a:lnTo>
                      <a:lnTo>
                        <a:pt x="847" y="199"/>
                      </a:lnTo>
                      <a:lnTo>
                        <a:pt x="876" y="245"/>
                      </a:lnTo>
                      <a:lnTo>
                        <a:pt x="899" y="295"/>
                      </a:lnTo>
                      <a:lnTo>
                        <a:pt x="917" y="349"/>
                      </a:lnTo>
                      <a:lnTo>
                        <a:pt x="927" y="404"/>
                      </a:lnTo>
                      <a:lnTo>
                        <a:pt x="931" y="463"/>
                      </a:lnTo>
                      <a:lnTo>
                        <a:pt x="927" y="521"/>
                      </a:lnTo>
                      <a:lnTo>
                        <a:pt x="917" y="577"/>
                      </a:lnTo>
                      <a:lnTo>
                        <a:pt x="899" y="630"/>
                      </a:lnTo>
                      <a:lnTo>
                        <a:pt x="876" y="681"/>
                      </a:lnTo>
                      <a:lnTo>
                        <a:pt x="847" y="727"/>
                      </a:lnTo>
                      <a:lnTo>
                        <a:pt x="814" y="769"/>
                      </a:lnTo>
                      <a:lnTo>
                        <a:pt x="774" y="809"/>
                      </a:lnTo>
                      <a:lnTo>
                        <a:pt x="731" y="843"/>
                      </a:lnTo>
                      <a:lnTo>
                        <a:pt x="684" y="871"/>
                      </a:lnTo>
                      <a:lnTo>
                        <a:pt x="634" y="893"/>
                      </a:lnTo>
                      <a:lnTo>
                        <a:pt x="580" y="911"/>
                      </a:lnTo>
                      <a:lnTo>
                        <a:pt x="524" y="921"/>
                      </a:lnTo>
                      <a:lnTo>
                        <a:pt x="466" y="925"/>
                      </a:lnTo>
                      <a:lnTo>
                        <a:pt x="407" y="921"/>
                      </a:lnTo>
                      <a:lnTo>
                        <a:pt x="351" y="911"/>
                      </a:lnTo>
                      <a:lnTo>
                        <a:pt x="297" y="893"/>
                      </a:lnTo>
                      <a:lnTo>
                        <a:pt x="246" y="871"/>
                      </a:lnTo>
                      <a:lnTo>
                        <a:pt x="199" y="843"/>
                      </a:lnTo>
                      <a:lnTo>
                        <a:pt x="156" y="809"/>
                      </a:lnTo>
                      <a:lnTo>
                        <a:pt x="117" y="769"/>
                      </a:lnTo>
                      <a:lnTo>
                        <a:pt x="83" y="727"/>
                      </a:lnTo>
                      <a:lnTo>
                        <a:pt x="55" y="681"/>
                      </a:lnTo>
                      <a:lnTo>
                        <a:pt x="31" y="630"/>
                      </a:lnTo>
                      <a:lnTo>
                        <a:pt x="14" y="577"/>
                      </a:lnTo>
                      <a:lnTo>
                        <a:pt x="4" y="521"/>
                      </a:lnTo>
                      <a:lnTo>
                        <a:pt x="0" y="463"/>
                      </a:lnTo>
                      <a:lnTo>
                        <a:pt x="4" y="404"/>
                      </a:lnTo>
                      <a:lnTo>
                        <a:pt x="14" y="349"/>
                      </a:lnTo>
                      <a:lnTo>
                        <a:pt x="31" y="295"/>
                      </a:lnTo>
                      <a:lnTo>
                        <a:pt x="55" y="245"/>
                      </a:lnTo>
                      <a:lnTo>
                        <a:pt x="83" y="199"/>
                      </a:lnTo>
                      <a:lnTo>
                        <a:pt x="117" y="156"/>
                      </a:lnTo>
                      <a:lnTo>
                        <a:pt x="156" y="117"/>
                      </a:lnTo>
                      <a:lnTo>
                        <a:pt x="199" y="82"/>
                      </a:lnTo>
                      <a:lnTo>
                        <a:pt x="246" y="55"/>
                      </a:lnTo>
                      <a:lnTo>
                        <a:pt x="297" y="32"/>
                      </a:lnTo>
                      <a:lnTo>
                        <a:pt x="351" y="14"/>
                      </a:lnTo>
                      <a:lnTo>
                        <a:pt x="407" y="4"/>
                      </a:lnTo>
                      <a:lnTo>
                        <a:pt x="46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96" name="Group 11"/>
              <p:cNvGrpSpPr>
                <a:grpSpLocks noChangeAspect="1"/>
              </p:cNvGrpSpPr>
              <p:nvPr/>
            </p:nvGrpSpPr>
            <p:grpSpPr bwMode="auto">
              <a:xfrm>
                <a:off x="3672809" y="1214754"/>
                <a:ext cx="757238" cy="1868488"/>
                <a:chOff x="2692" y="2202"/>
                <a:chExt cx="477" cy="1177"/>
              </a:xfrm>
              <a:grpFill/>
            </p:grpSpPr>
            <p:sp>
              <p:nvSpPr>
                <p:cNvPr id="115" name="Freeform 13"/>
                <p:cNvSpPr>
                  <a:spLocks/>
                </p:cNvSpPr>
                <p:nvPr/>
              </p:nvSpPr>
              <p:spPr bwMode="auto">
                <a:xfrm>
                  <a:off x="2692" y="2547"/>
                  <a:ext cx="477" cy="832"/>
                </a:xfrm>
                <a:custGeom>
                  <a:avLst/>
                  <a:gdLst>
                    <a:gd name="T0" fmla="*/ 170 w 1430"/>
                    <a:gd name="T1" fmla="*/ 0 h 2496"/>
                    <a:gd name="T2" fmla="*/ 204 w 1430"/>
                    <a:gd name="T3" fmla="*/ 0 h 2496"/>
                    <a:gd name="T4" fmla="*/ 269 w 1430"/>
                    <a:gd name="T5" fmla="*/ 0 h 2496"/>
                    <a:gd name="T6" fmla="*/ 358 w 1430"/>
                    <a:gd name="T7" fmla="*/ 0 h 2496"/>
                    <a:gd name="T8" fmla="*/ 466 w 1430"/>
                    <a:gd name="T9" fmla="*/ 0 h 2496"/>
                    <a:gd name="T10" fmla="*/ 585 w 1430"/>
                    <a:gd name="T11" fmla="*/ 0 h 2496"/>
                    <a:gd name="T12" fmla="*/ 712 w 1430"/>
                    <a:gd name="T13" fmla="*/ 0 h 2496"/>
                    <a:gd name="T14" fmla="*/ 837 w 1430"/>
                    <a:gd name="T15" fmla="*/ 0 h 2496"/>
                    <a:gd name="T16" fmla="*/ 957 w 1430"/>
                    <a:gd name="T17" fmla="*/ 0 h 2496"/>
                    <a:gd name="T18" fmla="*/ 1065 w 1430"/>
                    <a:gd name="T19" fmla="*/ 0 h 2496"/>
                    <a:gd name="T20" fmla="*/ 1156 w 1430"/>
                    <a:gd name="T21" fmla="*/ 0 h 2496"/>
                    <a:gd name="T22" fmla="*/ 1222 w 1430"/>
                    <a:gd name="T23" fmla="*/ 0 h 2496"/>
                    <a:gd name="T24" fmla="*/ 1258 w 1430"/>
                    <a:gd name="T25" fmla="*/ 0 h 2496"/>
                    <a:gd name="T26" fmla="*/ 1296 w 1430"/>
                    <a:gd name="T27" fmla="*/ 3 h 2496"/>
                    <a:gd name="T28" fmla="*/ 1356 w 1430"/>
                    <a:gd name="T29" fmla="*/ 29 h 2496"/>
                    <a:gd name="T30" fmla="*/ 1402 w 1430"/>
                    <a:gd name="T31" fmla="*/ 76 h 2496"/>
                    <a:gd name="T32" fmla="*/ 1426 w 1430"/>
                    <a:gd name="T33" fmla="*/ 135 h 2496"/>
                    <a:gd name="T34" fmla="*/ 1426 w 1430"/>
                    <a:gd name="T35" fmla="*/ 1214 h 2496"/>
                    <a:gd name="T36" fmla="*/ 1413 w 1430"/>
                    <a:gd name="T37" fmla="*/ 1278 h 2496"/>
                    <a:gd name="T38" fmla="*/ 1376 w 1430"/>
                    <a:gd name="T39" fmla="*/ 1332 h 2496"/>
                    <a:gd name="T40" fmla="*/ 1324 w 1430"/>
                    <a:gd name="T41" fmla="*/ 1368 h 2496"/>
                    <a:gd name="T42" fmla="*/ 1259 w 1430"/>
                    <a:gd name="T43" fmla="*/ 1382 h 2496"/>
                    <a:gd name="T44" fmla="*/ 1227 w 1430"/>
                    <a:gd name="T45" fmla="*/ 1380 h 2496"/>
                    <a:gd name="T46" fmla="*/ 1172 w 1430"/>
                    <a:gd name="T47" fmla="*/ 1357 h 2496"/>
                    <a:gd name="T48" fmla="*/ 1128 w 1430"/>
                    <a:gd name="T49" fmla="*/ 1316 h 2496"/>
                    <a:gd name="T50" fmla="*/ 1056 w 1430"/>
                    <a:gd name="T51" fmla="*/ 2369 h 2496"/>
                    <a:gd name="T52" fmla="*/ 1028 w 1430"/>
                    <a:gd name="T53" fmla="*/ 2427 h 2496"/>
                    <a:gd name="T54" fmla="*/ 982 w 1430"/>
                    <a:gd name="T55" fmla="*/ 2470 h 2496"/>
                    <a:gd name="T56" fmla="*/ 922 w 1430"/>
                    <a:gd name="T57" fmla="*/ 2492 h 2496"/>
                    <a:gd name="T58" fmla="*/ 542 w 1430"/>
                    <a:gd name="T59" fmla="*/ 2496 h 2496"/>
                    <a:gd name="T60" fmla="*/ 477 w 1430"/>
                    <a:gd name="T61" fmla="*/ 2484 h 2496"/>
                    <a:gd name="T62" fmla="*/ 423 w 1430"/>
                    <a:gd name="T63" fmla="*/ 2451 h 2496"/>
                    <a:gd name="T64" fmla="*/ 385 w 1430"/>
                    <a:gd name="T65" fmla="*/ 2400 h 2496"/>
                    <a:gd name="T66" fmla="*/ 369 w 1430"/>
                    <a:gd name="T67" fmla="*/ 2337 h 2496"/>
                    <a:gd name="T68" fmla="*/ 282 w 1430"/>
                    <a:gd name="T69" fmla="*/ 1340 h 2496"/>
                    <a:gd name="T70" fmla="*/ 232 w 1430"/>
                    <a:gd name="T71" fmla="*/ 1371 h 2496"/>
                    <a:gd name="T72" fmla="*/ 172 w 1430"/>
                    <a:gd name="T73" fmla="*/ 1382 h 2496"/>
                    <a:gd name="T74" fmla="*/ 138 w 1430"/>
                    <a:gd name="T75" fmla="*/ 1378 h 2496"/>
                    <a:gd name="T76" fmla="*/ 78 w 1430"/>
                    <a:gd name="T77" fmla="*/ 1353 h 2496"/>
                    <a:gd name="T78" fmla="*/ 33 w 1430"/>
                    <a:gd name="T79" fmla="*/ 1308 h 2496"/>
                    <a:gd name="T80" fmla="*/ 8 w 1430"/>
                    <a:gd name="T81" fmla="*/ 1248 h 2496"/>
                    <a:gd name="T82" fmla="*/ 0 w 1430"/>
                    <a:gd name="T83" fmla="*/ 168 h 2496"/>
                    <a:gd name="T84" fmla="*/ 14 w 1430"/>
                    <a:gd name="T85" fmla="*/ 102 h 2496"/>
                    <a:gd name="T86" fmla="*/ 50 w 1430"/>
                    <a:gd name="T87" fmla="*/ 49 h 2496"/>
                    <a:gd name="T88" fmla="*/ 103 w 1430"/>
                    <a:gd name="T89" fmla="*/ 12 h 2496"/>
                    <a:gd name="T90" fmla="*/ 168 w 1430"/>
                    <a:gd name="T91" fmla="*/ 0 h 24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30" h="2496">
                      <a:moveTo>
                        <a:pt x="168" y="0"/>
                      </a:moveTo>
                      <a:lnTo>
                        <a:pt x="170" y="0"/>
                      </a:lnTo>
                      <a:lnTo>
                        <a:pt x="182" y="0"/>
                      </a:lnTo>
                      <a:lnTo>
                        <a:pt x="204" y="0"/>
                      </a:lnTo>
                      <a:lnTo>
                        <a:pt x="233" y="0"/>
                      </a:lnTo>
                      <a:lnTo>
                        <a:pt x="269" y="0"/>
                      </a:lnTo>
                      <a:lnTo>
                        <a:pt x="311" y="0"/>
                      </a:lnTo>
                      <a:lnTo>
                        <a:pt x="358" y="0"/>
                      </a:lnTo>
                      <a:lnTo>
                        <a:pt x="409" y="0"/>
                      </a:lnTo>
                      <a:lnTo>
                        <a:pt x="466" y="0"/>
                      </a:lnTo>
                      <a:lnTo>
                        <a:pt x="524" y="0"/>
                      </a:lnTo>
                      <a:lnTo>
                        <a:pt x="585" y="0"/>
                      </a:lnTo>
                      <a:lnTo>
                        <a:pt x="648" y="0"/>
                      </a:lnTo>
                      <a:lnTo>
                        <a:pt x="712" y="0"/>
                      </a:lnTo>
                      <a:lnTo>
                        <a:pt x="774" y="0"/>
                      </a:lnTo>
                      <a:lnTo>
                        <a:pt x="837" y="0"/>
                      </a:lnTo>
                      <a:lnTo>
                        <a:pt x="898" y="0"/>
                      </a:lnTo>
                      <a:lnTo>
                        <a:pt x="957" y="0"/>
                      </a:lnTo>
                      <a:lnTo>
                        <a:pt x="1013" y="0"/>
                      </a:lnTo>
                      <a:lnTo>
                        <a:pt x="1065" y="0"/>
                      </a:lnTo>
                      <a:lnTo>
                        <a:pt x="1114" y="0"/>
                      </a:lnTo>
                      <a:lnTo>
                        <a:pt x="1156" y="0"/>
                      </a:lnTo>
                      <a:lnTo>
                        <a:pt x="1191" y="0"/>
                      </a:lnTo>
                      <a:lnTo>
                        <a:pt x="1222" y="0"/>
                      </a:lnTo>
                      <a:lnTo>
                        <a:pt x="1244" y="0"/>
                      </a:lnTo>
                      <a:lnTo>
                        <a:pt x="1258" y="0"/>
                      </a:lnTo>
                      <a:lnTo>
                        <a:pt x="1263" y="0"/>
                      </a:lnTo>
                      <a:lnTo>
                        <a:pt x="1296" y="3"/>
                      </a:lnTo>
                      <a:lnTo>
                        <a:pt x="1328" y="14"/>
                      </a:lnTo>
                      <a:lnTo>
                        <a:pt x="1356" y="29"/>
                      </a:lnTo>
                      <a:lnTo>
                        <a:pt x="1381" y="50"/>
                      </a:lnTo>
                      <a:lnTo>
                        <a:pt x="1402" y="76"/>
                      </a:lnTo>
                      <a:lnTo>
                        <a:pt x="1417" y="105"/>
                      </a:lnTo>
                      <a:lnTo>
                        <a:pt x="1426" y="135"/>
                      </a:lnTo>
                      <a:lnTo>
                        <a:pt x="1430" y="170"/>
                      </a:lnTo>
                      <a:lnTo>
                        <a:pt x="1426" y="1214"/>
                      </a:lnTo>
                      <a:lnTo>
                        <a:pt x="1424" y="1247"/>
                      </a:lnTo>
                      <a:lnTo>
                        <a:pt x="1413" y="1278"/>
                      </a:lnTo>
                      <a:lnTo>
                        <a:pt x="1398" y="1306"/>
                      </a:lnTo>
                      <a:lnTo>
                        <a:pt x="1376" y="1332"/>
                      </a:lnTo>
                      <a:lnTo>
                        <a:pt x="1352" y="1353"/>
                      </a:lnTo>
                      <a:lnTo>
                        <a:pt x="1324" y="1368"/>
                      </a:lnTo>
                      <a:lnTo>
                        <a:pt x="1292" y="1378"/>
                      </a:lnTo>
                      <a:lnTo>
                        <a:pt x="1259" y="1382"/>
                      </a:lnTo>
                      <a:lnTo>
                        <a:pt x="1258" y="1382"/>
                      </a:lnTo>
                      <a:lnTo>
                        <a:pt x="1227" y="1380"/>
                      </a:lnTo>
                      <a:lnTo>
                        <a:pt x="1198" y="1371"/>
                      </a:lnTo>
                      <a:lnTo>
                        <a:pt x="1172" y="1357"/>
                      </a:lnTo>
                      <a:lnTo>
                        <a:pt x="1148" y="1338"/>
                      </a:lnTo>
                      <a:lnTo>
                        <a:pt x="1128" y="1316"/>
                      </a:lnTo>
                      <a:lnTo>
                        <a:pt x="1063" y="2337"/>
                      </a:lnTo>
                      <a:lnTo>
                        <a:pt x="1056" y="2369"/>
                      </a:lnTo>
                      <a:lnTo>
                        <a:pt x="1045" y="2400"/>
                      </a:lnTo>
                      <a:lnTo>
                        <a:pt x="1028" y="2427"/>
                      </a:lnTo>
                      <a:lnTo>
                        <a:pt x="1008" y="2449"/>
                      </a:lnTo>
                      <a:lnTo>
                        <a:pt x="982" y="2470"/>
                      </a:lnTo>
                      <a:lnTo>
                        <a:pt x="953" y="2484"/>
                      </a:lnTo>
                      <a:lnTo>
                        <a:pt x="922" y="2492"/>
                      </a:lnTo>
                      <a:lnTo>
                        <a:pt x="888" y="2496"/>
                      </a:lnTo>
                      <a:lnTo>
                        <a:pt x="542" y="2496"/>
                      </a:lnTo>
                      <a:lnTo>
                        <a:pt x="509" y="2492"/>
                      </a:lnTo>
                      <a:lnTo>
                        <a:pt x="477" y="2484"/>
                      </a:lnTo>
                      <a:lnTo>
                        <a:pt x="448" y="2470"/>
                      </a:lnTo>
                      <a:lnTo>
                        <a:pt x="423" y="2451"/>
                      </a:lnTo>
                      <a:lnTo>
                        <a:pt x="402" y="2427"/>
                      </a:lnTo>
                      <a:lnTo>
                        <a:pt x="385" y="2400"/>
                      </a:lnTo>
                      <a:lnTo>
                        <a:pt x="374" y="2369"/>
                      </a:lnTo>
                      <a:lnTo>
                        <a:pt x="369" y="2337"/>
                      </a:lnTo>
                      <a:lnTo>
                        <a:pt x="302" y="1319"/>
                      </a:lnTo>
                      <a:lnTo>
                        <a:pt x="282" y="1340"/>
                      </a:lnTo>
                      <a:lnTo>
                        <a:pt x="259" y="1357"/>
                      </a:lnTo>
                      <a:lnTo>
                        <a:pt x="232" y="1371"/>
                      </a:lnTo>
                      <a:lnTo>
                        <a:pt x="203" y="1380"/>
                      </a:lnTo>
                      <a:lnTo>
                        <a:pt x="172" y="1382"/>
                      </a:lnTo>
                      <a:lnTo>
                        <a:pt x="172" y="1382"/>
                      </a:lnTo>
                      <a:lnTo>
                        <a:pt x="138" y="1378"/>
                      </a:lnTo>
                      <a:lnTo>
                        <a:pt x="107" y="1368"/>
                      </a:lnTo>
                      <a:lnTo>
                        <a:pt x="78" y="1353"/>
                      </a:lnTo>
                      <a:lnTo>
                        <a:pt x="53" y="1333"/>
                      </a:lnTo>
                      <a:lnTo>
                        <a:pt x="33" y="1308"/>
                      </a:lnTo>
                      <a:lnTo>
                        <a:pt x="18" y="1278"/>
                      </a:lnTo>
                      <a:lnTo>
                        <a:pt x="8" y="1248"/>
                      </a:lnTo>
                      <a:lnTo>
                        <a:pt x="4" y="1214"/>
                      </a:lnTo>
                      <a:lnTo>
                        <a:pt x="0" y="168"/>
                      </a:lnTo>
                      <a:lnTo>
                        <a:pt x="4" y="134"/>
                      </a:lnTo>
                      <a:lnTo>
                        <a:pt x="14" y="102"/>
                      </a:lnTo>
                      <a:lnTo>
                        <a:pt x="29" y="74"/>
                      </a:lnTo>
                      <a:lnTo>
                        <a:pt x="50" y="49"/>
                      </a:lnTo>
                      <a:lnTo>
                        <a:pt x="74" y="29"/>
                      </a:lnTo>
                      <a:lnTo>
                        <a:pt x="103" y="12"/>
                      </a:lnTo>
                      <a:lnTo>
                        <a:pt x="135" y="3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 14"/>
                <p:cNvSpPr>
                  <a:spLocks/>
                </p:cNvSpPr>
                <p:nvPr/>
              </p:nvSpPr>
              <p:spPr bwMode="auto">
                <a:xfrm>
                  <a:off x="2776" y="2202"/>
                  <a:ext cx="310" cy="308"/>
                </a:xfrm>
                <a:custGeom>
                  <a:avLst/>
                  <a:gdLst>
                    <a:gd name="T0" fmla="*/ 466 w 931"/>
                    <a:gd name="T1" fmla="*/ 0 h 925"/>
                    <a:gd name="T2" fmla="*/ 524 w 931"/>
                    <a:gd name="T3" fmla="*/ 4 h 925"/>
                    <a:gd name="T4" fmla="*/ 580 w 931"/>
                    <a:gd name="T5" fmla="*/ 14 h 925"/>
                    <a:gd name="T6" fmla="*/ 634 w 931"/>
                    <a:gd name="T7" fmla="*/ 32 h 925"/>
                    <a:gd name="T8" fmla="*/ 684 w 931"/>
                    <a:gd name="T9" fmla="*/ 55 h 925"/>
                    <a:gd name="T10" fmla="*/ 731 w 931"/>
                    <a:gd name="T11" fmla="*/ 82 h 925"/>
                    <a:gd name="T12" fmla="*/ 774 w 931"/>
                    <a:gd name="T13" fmla="*/ 117 h 925"/>
                    <a:gd name="T14" fmla="*/ 814 w 931"/>
                    <a:gd name="T15" fmla="*/ 156 h 925"/>
                    <a:gd name="T16" fmla="*/ 847 w 931"/>
                    <a:gd name="T17" fmla="*/ 199 h 925"/>
                    <a:gd name="T18" fmla="*/ 876 w 931"/>
                    <a:gd name="T19" fmla="*/ 245 h 925"/>
                    <a:gd name="T20" fmla="*/ 899 w 931"/>
                    <a:gd name="T21" fmla="*/ 295 h 925"/>
                    <a:gd name="T22" fmla="*/ 917 w 931"/>
                    <a:gd name="T23" fmla="*/ 349 h 925"/>
                    <a:gd name="T24" fmla="*/ 927 w 931"/>
                    <a:gd name="T25" fmla="*/ 404 h 925"/>
                    <a:gd name="T26" fmla="*/ 931 w 931"/>
                    <a:gd name="T27" fmla="*/ 463 h 925"/>
                    <a:gd name="T28" fmla="*/ 927 w 931"/>
                    <a:gd name="T29" fmla="*/ 521 h 925"/>
                    <a:gd name="T30" fmla="*/ 917 w 931"/>
                    <a:gd name="T31" fmla="*/ 577 h 925"/>
                    <a:gd name="T32" fmla="*/ 899 w 931"/>
                    <a:gd name="T33" fmla="*/ 630 h 925"/>
                    <a:gd name="T34" fmla="*/ 876 w 931"/>
                    <a:gd name="T35" fmla="*/ 681 h 925"/>
                    <a:gd name="T36" fmla="*/ 847 w 931"/>
                    <a:gd name="T37" fmla="*/ 727 h 925"/>
                    <a:gd name="T38" fmla="*/ 814 w 931"/>
                    <a:gd name="T39" fmla="*/ 769 h 925"/>
                    <a:gd name="T40" fmla="*/ 774 w 931"/>
                    <a:gd name="T41" fmla="*/ 809 h 925"/>
                    <a:gd name="T42" fmla="*/ 731 w 931"/>
                    <a:gd name="T43" fmla="*/ 843 h 925"/>
                    <a:gd name="T44" fmla="*/ 684 w 931"/>
                    <a:gd name="T45" fmla="*/ 871 h 925"/>
                    <a:gd name="T46" fmla="*/ 634 w 931"/>
                    <a:gd name="T47" fmla="*/ 893 h 925"/>
                    <a:gd name="T48" fmla="*/ 580 w 931"/>
                    <a:gd name="T49" fmla="*/ 911 h 925"/>
                    <a:gd name="T50" fmla="*/ 524 w 931"/>
                    <a:gd name="T51" fmla="*/ 921 h 925"/>
                    <a:gd name="T52" fmla="*/ 466 w 931"/>
                    <a:gd name="T53" fmla="*/ 925 h 925"/>
                    <a:gd name="T54" fmla="*/ 407 w 931"/>
                    <a:gd name="T55" fmla="*/ 921 h 925"/>
                    <a:gd name="T56" fmla="*/ 351 w 931"/>
                    <a:gd name="T57" fmla="*/ 911 h 925"/>
                    <a:gd name="T58" fmla="*/ 297 w 931"/>
                    <a:gd name="T59" fmla="*/ 893 h 925"/>
                    <a:gd name="T60" fmla="*/ 246 w 931"/>
                    <a:gd name="T61" fmla="*/ 871 h 925"/>
                    <a:gd name="T62" fmla="*/ 199 w 931"/>
                    <a:gd name="T63" fmla="*/ 843 h 925"/>
                    <a:gd name="T64" fmla="*/ 156 w 931"/>
                    <a:gd name="T65" fmla="*/ 809 h 925"/>
                    <a:gd name="T66" fmla="*/ 117 w 931"/>
                    <a:gd name="T67" fmla="*/ 769 h 925"/>
                    <a:gd name="T68" fmla="*/ 83 w 931"/>
                    <a:gd name="T69" fmla="*/ 727 h 925"/>
                    <a:gd name="T70" fmla="*/ 55 w 931"/>
                    <a:gd name="T71" fmla="*/ 681 h 925"/>
                    <a:gd name="T72" fmla="*/ 31 w 931"/>
                    <a:gd name="T73" fmla="*/ 630 h 925"/>
                    <a:gd name="T74" fmla="*/ 14 w 931"/>
                    <a:gd name="T75" fmla="*/ 577 h 925"/>
                    <a:gd name="T76" fmla="*/ 4 w 931"/>
                    <a:gd name="T77" fmla="*/ 521 h 925"/>
                    <a:gd name="T78" fmla="*/ 0 w 931"/>
                    <a:gd name="T79" fmla="*/ 463 h 925"/>
                    <a:gd name="T80" fmla="*/ 4 w 931"/>
                    <a:gd name="T81" fmla="*/ 404 h 925"/>
                    <a:gd name="T82" fmla="*/ 14 w 931"/>
                    <a:gd name="T83" fmla="*/ 349 h 925"/>
                    <a:gd name="T84" fmla="*/ 31 w 931"/>
                    <a:gd name="T85" fmla="*/ 295 h 925"/>
                    <a:gd name="T86" fmla="*/ 55 w 931"/>
                    <a:gd name="T87" fmla="*/ 245 h 925"/>
                    <a:gd name="T88" fmla="*/ 83 w 931"/>
                    <a:gd name="T89" fmla="*/ 199 h 925"/>
                    <a:gd name="T90" fmla="*/ 117 w 931"/>
                    <a:gd name="T91" fmla="*/ 156 h 925"/>
                    <a:gd name="T92" fmla="*/ 156 w 931"/>
                    <a:gd name="T93" fmla="*/ 117 h 925"/>
                    <a:gd name="T94" fmla="*/ 199 w 931"/>
                    <a:gd name="T95" fmla="*/ 82 h 925"/>
                    <a:gd name="T96" fmla="*/ 246 w 931"/>
                    <a:gd name="T97" fmla="*/ 55 h 925"/>
                    <a:gd name="T98" fmla="*/ 297 w 931"/>
                    <a:gd name="T99" fmla="*/ 32 h 925"/>
                    <a:gd name="T100" fmla="*/ 351 w 931"/>
                    <a:gd name="T101" fmla="*/ 14 h 925"/>
                    <a:gd name="T102" fmla="*/ 407 w 931"/>
                    <a:gd name="T103" fmla="*/ 4 h 925"/>
                    <a:gd name="T104" fmla="*/ 466 w 931"/>
                    <a:gd name="T105" fmla="*/ 0 h 9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931" h="925">
                      <a:moveTo>
                        <a:pt x="466" y="0"/>
                      </a:moveTo>
                      <a:lnTo>
                        <a:pt x="524" y="4"/>
                      </a:lnTo>
                      <a:lnTo>
                        <a:pt x="580" y="14"/>
                      </a:lnTo>
                      <a:lnTo>
                        <a:pt x="634" y="32"/>
                      </a:lnTo>
                      <a:lnTo>
                        <a:pt x="684" y="55"/>
                      </a:lnTo>
                      <a:lnTo>
                        <a:pt x="731" y="82"/>
                      </a:lnTo>
                      <a:lnTo>
                        <a:pt x="774" y="117"/>
                      </a:lnTo>
                      <a:lnTo>
                        <a:pt x="814" y="156"/>
                      </a:lnTo>
                      <a:lnTo>
                        <a:pt x="847" y="199"/>
                      </a:lnTo>
                      <a:lnTo>
                        <a:pt x="876" y="245"/>
                      </a:lnTo>
                      <a:lnTo>
                        <a:pt x="899" y="295"/>
                      </a:lnTo>
                      <a:lnTo>
                        <a:pt x="917" y="349"/>
                      </a:lnTo>
                      <a:lnTo>
                        <a:pt x="927" y="404"/>
                      </a:lnTo>
                      <a:lnTo>
                        <a:pt x="931" y="463"/>
                      </a:lnTo>
                      <a:lnTo>
                        <a:pt x="927" y="521"/>
                      </a:lnTo>
                      <a:lnTo>
                        <a:pt x="917" y="577"/>
                      </a:lnTo>
                      <a:lnTo>
                        <a:pt x="899" y="630"/>
                      </a:lnTo>
                      <a:lnTo>
                        <a:pt x="876" y="681"/>
                      </a:lnTo>
                      <a:lnTo>
                        <a:pt x="847" y="727"/>
                      </a:lnTo>
                      <a:lnTo>
                        <a:pt x="814" y="769"/>
                      </a:lnTo>
                      <a:lnTo>
                        <a:pt x="774" y="809"/>
                      </a:lnTo>
                      <a:lnTo>
                        <a:pt x="731" y="843"/>
                      </a:lnTo>
                      <a:lnTo>
                        <a:pt x="684" y="871"/>
                      </a:lnTo>
                      <a:lnTo>
                        <a:pt x="634" y="893"/>
                      </a:lnTo>
                      <a:lnTo>
                        <a:pt x="580" y="911"/>
                      </a:lnTo>
                      <a:lnTo>
                        <a:pt x="524" y="921"/>
                      </a:lnTo>
                      <a:lnTo>
                        <a:pt x="466" y="925"/>
                      </a:lnTo>
                      <a:lnTo>
                        <a:pt x="407" y="921"/>
                      </a:lnTo>
                      <a:lnTo>
                        <a:pt x="351" y="911"/>
                      </a:lnTo>
                      <a:lnTo>
                        <a:pt x="297" y="893"/>
                      </a:lnTo>
                      <a:lnTo>
                        <a:pt x="246" y="871"/>
                      </a:lnTo>
                      <a:lnTo>
                        <a:pt x="199" y="843"/>
                      </a:lnTo>
                      <a:lnTo>
                        <a:pt x="156" y="809"/>
                      </a:lnTo>
                      <a:lnTo>
                        <a:pt x="117" y="769"/>
                      </a:lnTo>
                      <a:lnTo>
                        <a:pt x="83" y="727"/>
                      </a:lnTo>
                      <a:lnTo>
                        <a:pt x="55" y="681"/>
                      </a:lnTo>
                      <a:lnTo>
                        <a:pt x="31" y="630"/>
                      </a:lnTo>
                      <a:lnTo>
                        <a:pt x="14" y="577"/>
                      </a:lnTo>
                      <a:lnTo>
                        <a:pt x="4" y="521"/>
                      </a:lnTo>
                      <a:lnTo>
                        <a:pt x="0" y="463"/>
                      </a:lnTo>
                      <a:lnTo>
                        <a:pt x="4" y="404"/>
                      </a:lnTo>
                      <a:lnTo>
                        <a:pt x="14" y="349"/>
                      </a:lnTo>
                      <a:lnTo>
                        <a:pt x="31" y="295"/>
                      </a:lnTo>
                      <a:lnTo>
                        <a:pt x="55" y="245"/>
                      </a:lnTo>
                      <a:lnTo>
                        <a:pt x="83" y="199"/>
                      </a:lnTo>
                      <a:lnTo>
                        <a:pt x="117" y="156"/>
                      </a:lnTo>
                      <a:lnTo>
                        <a:pt x="156" y="117"/>
                      </a:lnTo>
                      <a:lnTo>
                        <a:pt x="199" y="82"/>
                      </a:lnTo>
                      <a:lnTo>
                        <a:pt x="246" y="55"/>
                      </a:lnTo>
                      <a:lnTo>
                        <a:pt x="297" y="32"/>
                      </a:lnTo>
                      <a:lnTo>
                        <a:pt x="351" y="14"/>
                      </a:lnTo>
                      <a:lnTo>
                        <a:pt x="407" y="4"/>
                      </a:lnTo>
                      <a:lnTo>
                        <a:pt x="46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98" name="Group 11"/>
              <p:cNvGrpSpPr>
                <a:grpSpLocks noChangeAspect="1"/>
              </p:cNvGrpSpPr>
              <p:nvPr/>
            </p:nvGrpSpPr>
            <p:grpSpPr bwMode="auto">
              <a:xfrm>
                <a:off x="1863059" y="1228284"/>
                <a:ext cx="757238" cy="1868488"/>
                <a:chOff x="2692" y="2202"/>
                <a:chExt cx="477" cy="1177"/>
              </a:xfrm>
              <a:grpFill/>
            </p:grpSpPr>
            <p:sp>
              <p:nvSpPr>
                <p:cNvPr id="111" name="Freeform 13"/>
                <p:cNvSpPr>
                  <a:spLocks/>
                </p:cNvSpPr>
                <p:nvPr/>
              </p:nvSpPr>
              <p:spPr bwMode="auto">
                <a:xfrm>
                  <a:off x="2692" y="2547"/>
                  <a:ext cx="477" cy="832"/>
                </a:xfrm>
                <a:custGeom>
                  <a:avLst/>
                  <a:gdLst>
                    <a:gd name="T0" fmla="*/ 170 w 1430"/>
                    <a:gd name="T1" fmla="*/ 0 h 2496"/>
                    <a:gd name="T2" fmla="*/ 204 w 1430"/>
                    <a:gd name="T3" fmla="*/ 0 h 2496"/>
                    <a:gd name="T4" fmla="*/ 269 w 1430"/>
                    <a:gd name="T5" fmla="*/ 0 h 2496"/>
                    <a:gd name="T6" fmla="*/ 358 w 1430"/>
                    <a:gd name="T7" fmla="*/ 0 h 2496"/>
                    <a:gd name="T8" fmla="*/ 466 w 1430"/>
                    <a:gd name="T9" fmla="*/ 0 h 2496"/>
                    <a:gd name="T10" fmla="*/ 585 w 1430"/>
                    <a:gd name="T11" fmla="*/ 0 h 2496"/>
                    <a:gd name="T12" fmla="*/ 712 w 1430"/>
                    <a:gd name="T13" fmla="*/ 0 h 2496"/>
                    <a:gd name="T14" fmla="*/ 837 w 1430"/>
                    <a:gd name="T15" fmla="*/ 0 h 2496"/>
                    <a:gd name="T16" fmla="*/ 957 w 1430"/>
                    <a:gd name="T17" fmla="*/ 0 h 2496"/>
                    <a:gd name="T18" fmla="*/ 1065 w 1430"/>
                    <a:gd name="T19" fmla="*/ 0 h 2496"/>
                    <a:gd name="T20" fmla="*/ 1156 w 1430"/>
                    <a:gd name="T21" fmla="*/ 0 h 2496"/>
                    <a:gd name="T22" fmla="*/ 1222 w 1430"/>
                    <a:gd name="T23" fmla="*/ 0 h 2496"/>
                    <a:gd name="T24" fmla="*/ 1258 w 1430"/>
                    <a:gd name="T25" fmla="*/ 0 h 2496"/>
                    <a:gd name="T26" fmla="*/ 1296 w 1430"/>
                    <a:gd name="T27" fmla="*/ 3 h 2496"/>
                    <a:gd name="T28" fmla="*/ 1356 w 1430"/>
                    <a:gd name="T29" fmla="*/ 29 h 2496"/>
                    <a:gd name="T30" fmla="*/ 1402 w 1430"/>
                    <a:gd name="T31" fmla="*/ 76 h 2496"/>
                    <a:gd name="T32" fmla="*/ 1426 w 1430"/>
                    <a:gd name="T33" fmla="*/ 135 h 2496"/>
                    <a:gd name="T34" fmla="*/ 1426 w 1430"/>
                    <a:gd name="T35" fmla="*/ 1214 h 2496"/>
                    <a:gd name="T36" fmla="*/ 1413 w 1430"/>
                    <a:gd name="T37" fmla="*/ 1278 h 2496"/>
                    <a:gd name="T38" fmla="*/ 1376 w 1430"/>
                    <a:gd name="T39" fmla="*/ 1332 h 2496"/>
                    <a:gd name="T40" fmla="*/ 1324 w 1430"/>
                    <a:gd name="T41" fmla="*/ 1368 h 2496"/>
                    <a:gd name="T42" fmla="*/ 1259 w 1430"/>
                    <a:gd name="T43" fmla="*/ 1382 h 2496"/>
                    <a:gd name="T44" fmla="*/ 1227 w 1430"/>
                    <a:gd name="T45" fmla="*/ 1380 h 2496"/>
                    <a:gd name="T46" fmla="*/ 1172 w 1430"/>
                    <a:gd name="T47" fmla="*/ 1357 h 2496"/>
                    <a:gd name="T48" fmla="*/ 1128 w 1430"/>
                    <a:gd name="T49" fmla="*/ 1316 h 2496"/>
                    <a:gd name="T50" fmla="*/ 1056 w 1430"/>
                    <a:gd name="T51" fmla="*/ 2369 h 2496"/>
                    <a:gd name="T52" fmla="*/ 1028 w 1430"/>
                    <a:gd name="T53" fmla="*/ 2427 h 2496"/>
                    <a:gd name="T54" fmla="*/ 982 w 1430"/>
                    <a:gd name="T55" fmla="*/ 2470 h 2496"/>
                    <a:gd name="T56" fmla="*/ 922 w 1430"/>
                    <a:gd name="T57" fmla="*/ 2492 h 2496"/>
                    <a:gd name="T58" fmla="*/ 542 w 1430"/>
                    <a:gd name="T59" fmla="*/ 2496 h 2496"/>
                    <a:gd name="T60" fmla="*/ 477 w 1430"/>
                    <a:gd name="T61" fmla="*/ 2484 h 2496"/>
                    <a:gd name="T62" fmla="*/ 423 w 1430"/>
                    <a:gd name="T63" fmla="*/ 2451 h 2496"/>
                    <a:gd name="T64" fmla="*/ 385 w 1430"/>
                    <a:gd name="T65" fmla="*/ 2400 h 2496"/>
                    <a:gd name="T66" fmla="*/ 369 w 1430"/>
                    <a:gd name="T67" fmla="*/ 2337 h 2496"/>
                    <a:gd name="T68" fmla="*/ 282 w 1430"/>
                    <a:gd name="T69" fmla="*/ 1340 h 2496"/>
                    <a:gd name="T70" fmla="*/ 232 w 1430"/>
                    <a:gd name="T71" fmla="*/ 1371 h 2496"/>
                    <a:gd name="T72" fmla="*/ 172 w 1430"/>
                    <a:gd name="T73" fmla="*/ 1382 h 2496"/>
                    <a:gd name="T74" fmla="*/ 138 w 1430"/>
                    <a:gd name="T75" fmla="*/ 1378 h 2496"/>
                    <a:gd name="T76" fmla="*/ 78 w 1430"/>
                    <a:gd name="T77" fmla="*/ 1353 h 2496"/>
                    <a:gd name="T78" fmla="*/ 33 w 1430"/>
                    <a:gd name="T79" fmla="*/ 1308 h 2496"/>
                    <a:gd name="T80" fmla="*/ 8 w 1430"/>
                    <a:gd name="T81" fmla="*/ 1248 h 2496"/>
                    <a:gd name="T82" fmla="*/ 0 w 1430"/>
                    <a:gd name="T83" fmla="*/ 168 h 2496"/>
                    <a:gd name="T84" fmla="*/ 14 w 1430"/>
                    <a:gd name="T85" fmla="*/ 102 h 2496"/>
                    <a:gd name="T86" fmla="*/ 50 w 1430"/>
                    <a:gd name="T87" fmla="*/ 49 h 2496"/>
                    <a:gd name="T88" fmla="*/ 103 w 1430"/>
                    <a:gd name="T89" fmla="*/ 12 h 2496"/>
                    <a:gd name="T90" fmla="*/ 168 w 1430"/>
                    <a:gd name="T91" fmla="*/ 0 h 24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30" h="2496">
                      <a:moveTo>
                        <a:pt x="168" y="0"/>
                      </a:moveTo>
                      <a:lnTo>
                        <a:pt x="170" y="0"/>
                      </a:lnTo>
                      <a:lnTo>
                        <a:pt x="182" y="0"/>
                      </a:lnTo>
                      <a:lnTo>
                        <a:pt x="204" y="0"/>
                      </a:lnTo>
                      <a:lnTo>
                        <a:pt x="233" y="0"/>
                      </a:lnTo>
                      <a:lnTo>
                        <a:pt x="269" y="0"/>
                      </a:lnTo>
                      <a:lnTo>
                        <a:pt x="311" y="0"/>
                      </a:lnTo>
                      <a:lnTo>
                        <a:pt x="358" y="0"/>
                      </a:lnTo>
                      <a:lnTo>
                        <a:pt x="409" y="0"/>
                      </a:lnTo>
                      <a:lnTo>
                        <a:pt x="466" y="0"/>
                      </a:lnTo>
                      <a:lnTo>
                        <a:pt x="524" y="0"/>
                      </a:lnTo>
                      <a:lnTo>
                        <a:pt x="585" y="0"/>
                      </a:lnTo>
                      <a:lnTo>
                        <a:pt x="648" y="0"/>
                      </a:lnTo>
                      <a:lnTo>
                        <a:pt x="712" y="0"/>
                      </a:lnTo>
                      <a:lnTo>
                        <a:pt x="774" y="0"/>
                      </a:lnTo>
                      <a:lnTo>
                        <a:pt x="837" y="0"/>
                      </a:lnTo>
                      <a:lnTo>
                        <a:pt x="898" y="0"/>
                      </a:lnTo>
                      <a:lnTo>
                        <a:pt x="957" y="0"/>
                      </a:lnTo>
                      <a:lnTo>
                        <a:pt x="1013" y="0"/>
                      </a:lnTo>
                      <a:lnTo>
                        <a:pt x="1065" y="0"/>
                      </a:lnTo>
                      <a:lnTo>
                        <a:pt x="1114" y="0"/>
                      </a:lnTo>
                      <a:lnTo>
                        <a:pt x="1156" y="0"/>
                      </a:lnTo>
                      <a:lnTo>
                        <a:pt x="1191" y="0"/>
                      </a:lnTo>
                      <a:lnTo>
                        <a:pt x="1222" y="0"/>
                      </a:lnTo>
                      <a:lnTo>
                        <a:pt x="1244" y="0"/>
                      </a:lnTo>
                      <a:lnTo>
                        <a:pt x="1258" y="0"/>
                      </a:lnTo>
                      <a:lnTo>
                        <a:pt x="1263" y="0"/>
                      </a:lnTo>
                      <a:lnTo>
                        <a:pt x="1296" y="3"/>
                      </a:lnTo>
                      <a:lnTo>
                        <a:pt x="1328" y="14"/>
                      </a:lnTo>
                      <a:lnTo>
                        <a:pt x="1356" y="29"/>
                      </a:lnTo>
                      <a:lnTo>
                        <a:pt x="1381" y="50"/>
                      </a:lnTo>
                      <a:lnTo>
                        <a:pt x="1402" y="76"/>
                      </a:lnTo>
                      <a:lnTo>
                        <a:pt x="1417" y="105"/>
                      </a:lnTo>
                      <a:lnTo>
                        <a:pt x="1426" y="135"/>
                      </a:lnTo>
                      <a:lnTo>
                        <a:pt x="1430" y="170"/>
                      </a:lnTo>
                      <a:lnTo>
                        <a:pt x="1426" y="1214"/>
                      </a:lnTo>
                      <a:lnTo>
                        <a:pt x="1424" y="1247"/>
                      </a:lnTo>
                      <a:lnTo>
                        <a:pt x="1413" y="1278"/>
                      </a:lnTo>
                      <a:lnTo>
                        <a:pt x="1398" y="1306"/>
                      </a:lnTo>
                      <a:lnTo>
                        <a:pt x="1376" y="1332"/>
                      </a:lnTo>
                      <a:lnTo>
                        <a:pt x="1352" y="1353"/>
                      </a:lnTo>
                      <a:lnTo>
                        <a:pt x="1324" y="1368"/>
                      </a:lnTo>
                      <a:lnTo>
                        <a:pt x="1292" y="1378"/>
                      </a:lnTo>
                      <a:lnTo>
                        <a:pt x="1259" y="1382"/>
                      </a:lnTo>
                      <a:lnTo>
                        <a:pt x="1258" y="1382"/>
                      </a:lnTo>
                      <a:lnTo>
                        <a:pt x="1227" y="1380"/>
                      </a:lnTo>
                      <a:lnTo>
                        <a:pt x="1198" y="1371"/>
                      </a:lnTo>
                      <a:lnTo>
                        <a:pt x="1172" y="1357"/>
                      </a:lnTo>
                      <a:lnTo>
                        <a:pt x="1148" y="1338"/>
                      </a:lnTo>
                      <a:lnTo>
                        <a:pt x="1128" y="1316"/>
                      </a:lnTo>
                      <a:lnTo>
                        <a:pt x="1063" y="2337"/>
                      </a:lnTo>
                      <a:lnTo>
                        <a:pt x="1056" y="2369"/>
                      </a:lnTo>
                      <a:lnTo>
                        <a:pt x="1045" y="2400"/>
                      </a:lnTo>
                      <a:lnTo>
                        <a:pt x="1028" y="2427"/>
                      </a:lnTo>
                      <a:lnTo>
                        <a:pt x="1008" y="2449"/>
                      </a:lnTo>
                      <a:lnTo>
                        <a:pt x="982" y="2470"/>
                      </a:lnTo>
                      <a:lnTo>
                        <a:pt x="953" y="2484"/>
                      </a:lnTo>
                      <a:lnTo>
                        <a:pt x="922" y="2492"/>
                      </a:lnTo>
                      <a:lnTo>
                        <a:pt x="888" y="2496"/>
                      </a:lnTo>
                      <a:lnTo>
                        <a:pt x="542" y="2496"/>
                      </a:lnTo>
                      <a:lnTo>
                        <a:pt x="509" y="2492"/>
                      </a:lnTo>
                      <a:lnTo>
                        <a:pt x="477" y="2484"/>
                      </a:lnTo>
                      <a:lnTo>
                        <a:pt x="448" y="2470"/>
                      </a:lnTo>
                      <a:lnTo>
                        <a:pt x="423" y="2451"/>
                      </a:lnTo>
                      <a:lnTo>
                        <a:pt x="402" y="2427"/>
                      </a:lnTo>
                      <a:lnTo>
                        <a:pt x="385" y="2400"/>
                      </a:lnTo>
                      <a:lnTo>
                        <a:pt x="374" y="2369"/>
                      </a:lnTo>
                      <a:lnTo>
                        <a:pt x="369" y="2337"/>
                      </a:lnTo>
                      <a:lnTo>
                        <a:pt x="302" y="1319"/>
                      </a:lnTo>
                      <a:lnTo>
                        <a:pt x="282" y="1340"/>
                      </a:lnTo>
                      <a:lnTo>
                        <a:pt x="259" y="1357"/>
                      </a:lnTo>
                      <a:lnTo>
                        <a:pt x="232" y="1371"/>
                      </a:lnTo>
                      <a:lnTo>
                        <a:pt x="203" y="1380"/>
                      </a:lnTo>
                      <a:lnTo>
                        <a:pt x="172" y="1382"/>
                      </a:lnTo>
                      <a:lnTo>
                        <a:pt x="172" y="1382"/>
                      </a:lnTo>
                      <a:lnTo>
                        <a:pt x="138" y="1378"/>
                      </a:lnTo>
                      <a:lnTo>
                        <a:pt x="107" y="1368"/>
                      </a:lnTo>
                      <a:lnTo>
                        <a:pt x="78" y="1353"/>
                      </a:lnTo>
                      <a:lnTo>
                        <a:pt x="53" y="1333"/>
                      </a:lnTo>
                      <a:lnTo>
                        <a:pt x="33" y="1308"/>
                      </a:lnTo>
                      <a:lnTo>
                        <a:pt x="18" y="1278"/>
                      </a:lnTo>
                      <a:lnTo>
                        <a:pt x="8" y="1248"/>
                      </a:lnTo>
                      <a:lnTo>
                        <a:pt x="4" y="1214"/>
                      </a:lnTo>
                      <a:lnTo>
                        <a:pt x="0" y="168"/>
                      </a:lnTo>
                      <a:lnTo>
                        <a:pt x="4" y="134"/>
                      </a:lnTo>
                      <a:lnTo>
                        <a:pt x="14" y="102"/>
                      </a:lnTo>
                      <a:lnTo>
                        <a:pt x="29" y="74"/>
                      </a:lnTo>
                      <a:lnTo>
                        <a:pt x="50" y="49"/>
                      </a:lnTo>
                      <a:lnTo>
                        <a:pt x="74" y="29"/>
                      </a:lnTo>
                      <a:lnTo>
                        <a:pt x="103" y="12"/>
                      </a:lnTo>
                      <a:lnTo>
                        <a:pt x="135" y="3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2" name="Freeform 14"/>
                <p:cNvSpPr>
                  <a:spLocks/>
                </p:cNvSpPr>
                <p:nvPr/>
              </p:nvSpPr>
              <p:spPr bwMode="auto">
                <a:xfrm>
                  <a:off x="2776" y="2202"/>
                  <a:ext cx="310" cy="308"/>
                </a:xfrm>
                <a:custGeom>
                  <a:avLst/>
                  <a:gdLst>
                    <a:gd name="T0" fmla="*/ 466 w 931"/>
                    <a:gd name="T1" fmla="*/ 0 h 925"/>
                    <a:gd name="T2" fmla="*/ 524 w 931"/>
                    <a:gd name="T3" fmla="*/ 4 h 925"/>
                    <a:gd name="T4" fmla="*/ 580 w 931"/>
                    <a:gd name="T5" fmla="*/ 14 h 925"/>
                    <a:gd name="T6" fmla="*/ 634 w 931"/>
                    <a:gd name="T7" fmla="*/ 32 h 925"/>
                    <a:gd name="T8" fmla="*/ 684 w 931"/>
                    <a:gd name="T9" fmla="*/ 55 h 925"/>
                    <a:gd name="T10" fmla="*/ 731 w 931"/>
                    <a:gd name="T11" fmla="*/ 82 h 925"/>
                    <a:gd name="T12" fmla="*/ 774 w 931"/>
                    <a:gd name="T13" fmla="*/ 117 h 925"/>
                    <a:gd name="T14" fmla="*/ 814 w 931"/>
                    <a:gd name="T15" fmla="*/ 156 h 925"/>
                    <a:gd name="T16" fmla="*/ 847 w 931"/>
                    <a:gd name="T17" fmla="*/ 199 h 925"/>
                    <a:gd name="T18" fmla="*/ 876 w 931"/>
                    <a:gd name="T19" fmla="*/ 245 h 925"/>
                    <a:gd name="T20" fmla="*/ 899 w 931"/>
                    <a:gd name="T21" fmla="*/ 295 h 925"/>
                    <a:gd name="T22" fmla="*/ 917 w 931"/>
                    <a:gd name="T23" fmla="*/ 349 h 925"/>
                    <a:gd name="T24" fmla="*/ 927 w 931"/>
                    <a:gd name="T25" fmla="*/ 404 h 925"/>
                    <a:gd name="T26" fmla="*/ 931 w 931"/>
                    <a:gd name="T27" fmla="*/ 463 h 925"/>
                    <a:gd name="T28" fmla="*/ 927 w 931"/>
                    <a:gd name="T29" fmla="*/ 521 h 925"/>
                    <a:gd name="T30" fmla="*/ 917 w 931"/>
                    <a:gd name="T31" fmla="*/ 577 h 925"/>
                    <a:gd name="T32" fmla="*/ 899 w 931"/>
                    <a:gd name="T33" fmla="*/ 630 h 925"/>
                    <a:gd name="T34" fmla="*/ 876 w 931"/>
                    <a:gd name="T35" fmla="*/ 681 h 925"/>
                    <a:gd name="T36" fmla="*/ 847 w 931"/>
                    <a:gd name="T37" fmla="*/ 727 h 925"/>
                    <a:gd name="T38" fmla="*/ 814 w 931"/>
                    <a:gd name="T39" fmla="*/ 769 h 925"/>
                    <a:gd name="T40" fmla="*/ 774 w 931"/>
                    <a:gd name="T41" fmla="*/ 809 h 925"/>
                    <a:gd name="T42" fmla="*/ 731 w 931"/>
                    <a:gd name="T43" fmla="*/ 843 h 925"/>
                    <a:gd name="T44" fmla="*/ 684 w 931"/>
                    <a:gd name="T45" fmla="*/ 871 h 925"/>
                    <a:gd name="T46" fmla="*/ 634 w 931"/>
                    <a:gd name="T47" fmla="*/ 893 h 925"/>
                    <a:gd name="T48" fmla="*/ 580 w 931"/>
                    <a:gd name="T49" fmla="*/ 911 h 925"/>
                    <a:gd name="T50" fmla="*/ 524 w 931"/>
                    <a:gd name="T51" fmla="*/ 921 h 925"/>
                    <a:gd name="T52" fmla="*/ 466 w 931"/>
                    <a:gd name="T53" fmla="*/ 925 h 925"/>
                    <a:gd name="T54" fmla="*/ 407 w 931"/>
                    <a:gd name="T55" fmla="*/ 921 h 925"/>
                    <a:gd name="T56" fmla="*/ 351 w 931"/>
                    <a:gd name="T57" fmla="*/ 911 h 925"/>
                    <a:gd name="T58" fmla="*/ 297 w 931"/>
                    <a:gd name="T59" fmla="*/ 893 h 925"/>
                    <a:gd name="T60" fmla="*/ 246 w 931"/>
                    <a:gd name="T61" fmla="*/ 871 h 925"/>
                    <a:gd name="T62" fmla="*/ 199 w 931"/>
                    <a:gd name="T63" fmla="*/ 843 h 925"/>
                    <a:gd name="T64" fmla="*/ 156 w 931"/>
                    <a:gd name="T65" fmla="*/ 809 h 925"/>
                    <a:gd name="T66" fmla="*/ 117 w 931"/>
                    <a:gd name="T67" fmla="*/ 769 h 925"/>
                    <a:gd name="T68" fmla="*/ 83 w 931"/>
                    <a:gd name="T69" fmla="*/ 727 h 925"/>
                    <a:gd name="T70" fmla="*/ 55 w 931"/>
                    <a:gd name="T71" fmla="*/ 681 h 925"/>
                    <a:gd name="T72" fmla="*/ 31 w 931"/>
                    <a:gd name="T73" fmla="*/ 630 h 925"/>
                    <a:gd name="T74" fmla="*/ 14 w 931"/>
                    <a:gd name="T75" fmla="*/ 577 h 925"/>
                    <a:gd name="T76" fmla="*/ 4 w 931"/>
                    <a:gd name="T77" fmla="*/ 521 h 925"/>
                    <a:gd name="T78" fmla="*/ 0 w 931"/>
                    <a:gd name="T79" fmla="*/ 463 h 925"/>
                    <a:gd name="T80" fmla="*/ 4 w 931"/>
                    <a:gd name="T81" fmla="*/ 404 h 925"/>
                    <a:gd name="T82" fmla="*/ 14 w 931"/>
                    <a:gd name="T83" fmla="*/ 349 h 925"/>
                    <a:gd name="T84" fmla="*/ 31 w 931"/>
                    <a:gd name="T85" fmla="*/ 295 h 925"/>
                    <a:gd name="T86" fmla="*/ 55 w 931"/>
                    <a:gd name="T87" fmla="*/ 245 h 925"/>
                    <a:gd name="T88" fmla="*/ 83 w 931"/>
                    <a:gd name="T89" fmla="*/ 199 h 925"/>
                    <a:gd name="T90" fmla="*/ 117 w 931"/>
                    <a:gd name="T91" fmla="*/ 156 h 925"/>
                    <a:gd name="T92" fmla="*/ 156 w 931"/>
                    <a:gd name="T93" fmla="*/ 117 h 925"/>
                    <a:gd name="T94" fmla="*/ 199 w 931"/>
                    <a:gd name="T95" fmla="*/ 82 h 925"/>
                    <a:gd name="T96" fmla="*/ 246 w 931"/>
                    <a:gd name="T97" fmla="*/ 55 h 925"/>
                    <a:gd name="T98" fmla="*/ 297 w 931"/>
                    <a:gd name="T99" fmla="*/ 32 h 925"/>
                    <a:gd name="T100" fmla="*/ 351 w 931"/>
                    <a:gd name="T101" fmla="*/ 14 h 925"/>
                    <a:gd name="T102" fmla="*/ 407 w 931"/>
                    <a:gd name="T103" fmla="*/ 4 h 925"/>
                    <a:gd name="T104" fmla="*/ 466 w 931"/>
                    <a:gd name="T105" fmla="*/ 0 h 9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931" h="925">
                      <a:moveTo>
                        <a:pt x="466" y="0"/>
                      </a:moveTo>
                      <a:lnTo>
                        <a:pt x="524" y="4"/>
                      </a:lnTo>
                      <a:lnTo>
                        <a:pt x="580" y="14"/>
                      </a:lnTo>
                      <a:lnTo>
                        <a:pt x="634" y="32"/>
                      </a:lnTo>
                      <a:lnTo>
                        <a:pt x="684" y="55"/>
                      </a:lnTo>
                      <a:lnTo>
                        <a:pt x="731" y="82"/>
                      </a:lnTo>
                      <a:lnTo>
                        <a:pt x="774" y="117"/>
                      </a:lnTo>
                      <a:lnTo>
                        <a:pt x="814" y="156"/>
                      </a:lnTo>
                      <a:lnTo>
                        <a:pt x="847" y="199"/>
                      </a:lnTo>
                      <a:lnTo>
                        <a:pt x="876" y="245"/>
                      </a:lnTo>
                      <a:lnTo>
                        <a:pt x="899" y="295"/>
                      </a:lnTo>
                      <a:lnTo>
                        <a:pt x="917" y="349"/>
                      </a:lnTo>
                      <a:lnTo>
                        <a:pt x="927" y="404"/>
                      </a:lnTo>
                      <a:lnTo>
                        <a:pt x="931" y="463"/>
                      </a:lnTo>
                      <a:lnTo>
                        <a:pt x="927" y="521"/>
                      </a:lnTo>
                      <a:lnTo>
                        <a:pt x="917" y="577"/>
                      </a:lnTo>
                      <a:lnTo>
                        <a:pt x="899" y="630"/>
                      </a:lnTo>
                      <a:lnTo>
                        <a:pt x="876" y="681"/>
                      </a:lnTo>
                      <a:lnTo>
                        <a:pt x="847" y="727"/>
                      </a:lnTo>
                      <a:lnTo>
                        <a:pt x="814" y="769"/>
                      </a:lnTo>
                      <a:lnTo>
                        <a:pt x="774" y="809"/>
                      </a:lnTo>
                      <a:lnTo>
                        <a:pt x="731" y="843"/>
                      </a:lnTo>
                      <a:lnTo>
                        <a:pt x="684" y="871"/>
                      </a:lnTo>
                      <a:lnTo>
                        <a:pt x="634" y="893"/>
                      </a:lnTo>
                      <a:lnTo>
                        <a:pt x="580" y="911"/>
                      </a:lnTo>
                      <a:lnTo>
                        <a:pt x="524" y="921"/>
                      </a:lnTo>
                      <a:lnTo>
                        <a:pt x="466" y="925"/>
                      </a:lnTo>
                      <a:lnTo>
                        <a:pt x="407" y="921"/>
                      </a:lnTo>
                      <a:lnTo>
                        <a:pt x="351" y="911"/>
                      </a:lnTo>
                      <a:lnTo>
                        <a:pt x="297" y="893"/>
                      </a:lnTo>
                      <a:lnTo>
                        <a:pt x="246" y="871"/>
                      </a:lnTo>
                      <a:lnTo>
                        <a:pt x="199" y="843"/>
                      </a:lnTo>
                      <a:lnTo>
                        <a:pt x="156" y="809"/>
                      </a:lnTo>
                      <a:lnTo>
                        <a:pt x="117" y="769"/>
                      </a:lnTo>
                      <a:lnTo>
                        <a:pt x="83" y="727"/>
                      </a:lnTo>
                      <a:lnTo>
                        <a:pt x="55" y="681"/>
                      </a:lnTo>
                      <a:lnTo>
                        <a:pt x="31" y="630"/>
                      </a:lnTo>
                      <a:lnTo>
                        <a:pt x="14" y="577"/>
                      </a:lnTo>
                      <a:lnTo>
                        <a:pt x="4" y="521"/>
                      </a:lnTo>
                      <a:lnTo>
                        <a:pt x="0" y="463"/>
                      </a:lnTo>
                      <a:lnTo>
                        <a:pt x="4" y="404"/>
                      </a:lnTo>
                      <a:lnTo>
                        <a:pt x="14" y="349"/>
                      </a:lnTo>
                      <a:lnTo>
                        <a:pt x="31" y="295"/>
                      </a:lnTo>
                      <a:lnTo>
                        <a:pt x="55" y="245"/>
                      </a:lnTo>
                      <a:lnTo>
                        <a:pt x="83" y="199"/>
                      </a:lnTo>
                      <a:lnTo>
                        <a:pt x="117" y="156"/>
                      </a:lnTo>
                      <a:lnTo>
                        <a:pt x="156" y="117"/>
                      </a:lnTo>
                      <a:lnTo>
                        <a:pt x="199" y="82"/>
                      </a:lnTo>
                      <a:lnTo>
                        <a:pt x="246" y="55"/>
                      </a:lnTo>
                      <a:lnTo>
                        <a:pt x="297" y="32"/>
                      </a:lnTo>
                      <a:lnTo>
                        <a:pt x="351" y="14"/>
                      </a:lnTo>
                      <a:lnTo>
                        <a:pt x="407" y="4"/>
                      </a:lnTo>
                      <a:lnTo>
                        <a:pt x="46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99" name="Group 11"/>
              <p:cNvGrpSpPr>
                <a:grpSpLocks noChangeAspect="1"/>
              </p:cNvGrpSpPr>
              <p:nvPr/>
            </p:nvGrpSpPr>
            <p:grpSpPr bwMode="auto">
              <a:xfrm>
                <a:off x="2809363" y="3291672"/>
                <a:ext cx="757238" cy="1868488"/>
                <a:chOff x="2692" y="2202"/>
                <a:chExt cx="477" cy="1177"/>
              </a:xfrm>
              <a:grpFill/>
            </p:grpSpPr>
            <p:sp>
              <p:nvSpPr>
                <p:cNvPr id="109" name="Freeform 13"/>
                <p:cNvSpPr>
                  <a:spLocks/>
                </p:cNvSpPr>
                <p:nvPr/>
              </p:nvSpPr>
              <p:spPr bwMode="auto">
                <a:xfrm>
                  <a:off x="2692" y="2547"/>
                  <a:ext cx="477" cy="832"/>
                </a:xfrm>
                <a:custGeom>
                  <a:avLst/>
                  <a:gdLst>
                    <a:gd name="T0" fmla="*/ 170 w 1430"/>
                    <a:gd name="T1" fmla="*/ 0 h 2496"/>
                    <a:gd name="T2" fmla="*/ 204 w 1430"/>
                    <a:gd name="T3" fmla="*/ 0 h 2496"/>
                    <a:gd name="T4" fmla="*/ 269 w 1430"/>
                    <a:gd name="T5" fmla="*/ 0 h 2496"/>
                    <a:gd name="T6" fmla="*/ 358 w 1430"/>
                    <a:gd name="T7" fmla="*/ 0 h 2496"/>
                    <a:gd name="T8" fmla="*/ 466 w 1430"/>
                    <a:gd name="T9" fmla="*/ 0 h 2496"/>
                    <a:gd name="T10" fmla="*/ 585 w 1430"/>
                    <a:gd name="T11" fmla="*/ 0 h 2496"/>
                    <a:gd name="T12" fmla="*/ 712 w 1430"/>
                    <a:gd name="T13" fmla="*/ 0 h 2496"/>
                    <a:gd name="T14" fmla="*/ 837 w 1430"/>
                    <a:gd name="T15" fmla="*/ 0 h 2496"/>
                    <a:gd name="T16" fmla="*/ 957 w 1430"/>
                    <a:gd name="T17" fmla="*/ 0 h 2496"/>
                    <a:gd name="T18" fmla="*/ 1065 w 1430"/>
                    <a:gd name="T19" fmla="*/ 0 h 2496"/>
                    <a:gd name="T20" fmla="*/ 1156 w 1430"/>
                    <a:gd name="T21" fmla="*/ 0 h 2496"/>
                    <a:gd name="T22" fmla="*/ 1222 w 1430"/>
                    <a:gd name="T23" fmla="*/ 0 h 2496"/>
                    <a:gd name="T24" fmla="*/ 1258 w 1430"/>
                    <a:gd name="T25" fmla="*/ 0 h 2496"/>
                    <a:gd name="T26" fmla="*/ 1296 w 1430"/>
                    <a:gd name="T27" fmla="*/ 3 h 2496"/>
                    <a:gd name="T28" fmla="*/ 1356 w 1430"/>
                    <a:gd name="T29" fmla="*/ 29 h 2496"/>
                    <a:gd name="T30" fmla="*/ 1402 w 1430"/>
                    <a:gd name="T31" fmla="*/ 76 h 2496"/>
                    <a:gd name="T32" fmla="*/ 1426 w 1430"/>
                    <a:gd name="T33" fmla="*/ 135 h 2496"/>
                    <a:gd name="T34" fmla="*/ 1426 w 1430"/>
                    <a:gd name="T35" fmla="*/ 1214 h 2496"/>
                    <a:gd name="T36" fmla="*/ 1413 w 1430"/>
                    <a:gd name="T37" fmla="*/ 1278 h 2496"/>
                    <a:gd name="T38" fmla="*/ 1376 w 1430"/>
                    <a:gd name="T39" fmla="*/ 1332 h 2496"/>
                    <a:gd name="T40" fmla="*/ 1324 w 1430"/>
                    <a:gd name="T41" fmla="*/ 1368 h 2496"/>
                    <a:gd name="T42" fmla="*/ 1259 w 1430"/>
                    <a:gd name="T43" fmla="*/ 1382 h 2496"/>
                    <a:gd name="T44" fmla="*/ 1227 w 1430"/>
                    <a:gd name="T45" fmla="*/ 1380 h 2496"/>
                    <a:gd name="T46" fmla="*/ 1172 w 1430"/>
                    <a:gd name="T47" fmla="*/ 1357 h 2496"/>
                    <a:gd name="T48" fmla="*/ 1128 w 1430"/>
                    <a:gd name="T49" fmla="*/ 1316 h 2496"/>
                    <a:gd name="T50" fmla="*/ 1056 w 1430"/>
                    <a:gd name="T51" fmla="*/ 2369 h 2496"/>
                    <a:gd name="T52" fmla="*/ 1028 w 1430"/>
                    <a:gd name="T53" fmla="*/ 2427 h 2496"/>
                    <a:gd name="T54" fmla="*/ 982 w 1430"/>
                    <a:gd name="T55" fmla="*/ 2470 h 2496"/>
                    <a:gd name="T56" fmla="*/ 922 w 1430"/>
                    <a:gd name="T57" fmla="*/ 2492 h 2496"/>
                    <a:gd name="T58" fmla="*/ 542 w 1430"/>
                    <a:gd name="T59" fmla="*/ 2496 h 2496"/>
                    <a:gd name="T60" fmla="*/ 477 w 1430"/>
                    <a:gd name="T61" fmla="*/ 2484 h 2496"/>
                    <a:gd name="T62" fmla="*/ 423 w 1430"/>
                    <a:gd name="T63" fmla="*/ 2451 h 2496"/>
                    <a:gd name="T64" fmla="*/ 385 w 1430"/>
                    <a:gd name="T65" fmla="*/ 2400 h 2496"/>
                    <a:gd name="T66" fmla="*/ 369 w 1430"/>
                    <a:gd name="T67" fmla="*/ 2337 h 2496"/>
                    <a:gd name="T68" fmla="*/ 282 w 1430"/>
                    <a:gd name="T69" fmla="*/ 1340 h 2496"/>
                    <a:gd name="T70" fmla="*/ 232 w 1430"/>
                    <a:gd name="T71" fmla="*/ 1371 h 2496"/>
                    <a:gd name="T72" fmla="*/ 172 w 1430"/>
                    <a:gd name="T73" fmla="*/ 1382 h 2496"/>
                    <a:gd name="T74" fmla="*/ 138 w 1430"/>
                    <a:gd name="T75" fmla="*/ 1378 h 2496"/>
                    <a:gd name="T76" fmla="*/ 78 w 1430"/>
                    <a:gd name="T77" fmla="*/ 1353 h 2496"/>
                    <a:gd name="T78" fmla="*/ 33 w 1430"/>
                    <a:gd name="T79" fmla="*/ 1308 h 2496"/>
                    <a:gd name="T80" fmla="*/ 8 w 1430"/>
                    <a:gd name="T81" fmla="*/ 1248 h 2496"/>
                    <a:gd name="T82" fmla="*/ 0 w 1430"/>
                    <a:gd name="T83" fmla="*/ 168 h 2496"/>
                    <a:gd name="T84" fmla="*/ 14 w 1430"/>
                    <a:gd name="T85" fmla="*/ 102 h 2496"/>
                    <a:gd name="T86" fmla="*/ 50 w 1430"/>
                    <a:gd name="T87" fmla="*/ 49 h 2496"/>
                    <a:gd name="T88" fmla="*/ 103 w 1430"/>
                    <a:gd name="T89" fmla="*/ 12 h 2496"/>
                    <a:gd name="T90" fmla="*/ 168 w 1430"/>
                    <a:gd name="T91" fmla="*/ 0 h 24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30" h="2496">
                      <a:moveTo>
                        <a:pt x="168" y="0"/>
                      </a:moveTo>
                      <a:lnTo>
                        <a:pt x="170" y="0"/>
                      </a:lnTo>
                      <a:lnTo>
                        <a:pt x="182" y="0"/>
                      </a:lnTo>
                      <a:lnTo>
                        <a:pt x="204" y="0"/>
                      </a:lnTo>
                      <a:lnTo>
                        <a:pt x="233" y="0"/>
                      </a:lnTo>
                      <a:lnTo>
                        <a:pt x="269" y="0"/>
                      </a:lnTo>
                      <a:lnTo>
                        <a:pt x="311" y="0"/>
                      </a:lnTo>
                      <a:lnTo>
                        <a:pt x="358" y="0"/>
                      </a:lnTo>
                      <a:lnTo>
                        <a:pt x="409" y="0"/>
                      </a:lnTo>
                      <a:lnTo>
                        <a:pt x="466" y="0"/>
                      </a:lnTo>
                      <a:lnTo>
                        <a:pt x="524" y="0"/>
                      </a:lnTo>
                      <a:lnTo>
                        <a:pt x="585" y="0"/>
                      </a:lnTo>
                      <a:lnTo>
                        <a:pt x="648" y="0"/>
                      </a:lnTo>
                      <a:lnTo>
                        <a:pt x="712" y="0"/>
                      </a:lnTo>
                      <a:lnTo>
                        <a:pt x="774" y="0"/>
                      </a:lnTo>
                      <a:lnTo>
                        <a:pt x="837" y="0"/>
                      </a:lnTo>
                      <a:lnTo>
                        <a:pt x="898" y="0"/>
                      </a:lnTo>
                      <a:lnTo>
                        <a:pt x="957" y="0"/>
                      </a:lnTo>
                      <a:lnTo>
                        <a:pt x="1013" y="0"/>
                      </a:lnTo>
                      <a:lnTo>
                        <a:pt x="1065" y="0"/>
                      </a:lnTo>
                      <a:lnTo>
                        <a:pt x="1114" y="0"/>
                      </a:lnTo>
                      <a:lnTo>
                        <a:pt x="1156" y="0"/>
                      </a:lnTo>
                      <a:lnTo>
                        <a:pt x="1191" y="0"/>
                      </a:lnTo>
                      <a:lnTo>
                        <a:pt x="1222" y="0"/>
                      </a:lnTo>
                      <a:lnTo>
                        <a:pt x="1244" y="0"/>
                      </a:lnTo>
                      <a:lnTo>
                        <a:pt x="1258" y="0"/>
                      </a:lnTo>
                      <a:lnTo>
                        <a:pt x="1263" y="0"/>
                      </a:lnTo>
                      <a:lnTo>
                        <a:pt x="1296" y="3"/>
                      </a:lnTo>
                      <a:lnTo>
                        <a:pt x="1328" y="14"/>
                      </a:lnTo>
                      <a:lnTo>
                        <a:pt x="1356" y="29"/>
                      </a:lnTo>
                      <a:lnTo>
                        <a:pt x="1381" y="50"/>
                      </a:lnTo>
                      <a:lnTo>
                        <a:pt x="1402" y="76"/>
                      </a:lnTo>
                      <a:lnTo>
                        <a:pt x="1417" y="105"/>
                      </a:lnTo>
                      <a:lnTo>
                        <a:pt x="1426" y="135"/>
                      </a:lnTo>
                      <a:lnTo>
                        <a:pt x="1430" y="170"/>
                      </a:lnTo>
                      <a:lnTo>
                        <a:pt x="1426" y="1214"/>
                      </a:lnTo>
                      <a:lnTo>
                        <a:pt x="1424" y="1247"/>
                      </a:lnTo>
                      <a:lnTo>
                        <a:pt x="1413" y="1278"/>
                      </a:lnTo>
                      <a:lnTo>
                        <a:pt x="1398" y="1306"/>
                      </a:lnTo>
                      <a:lnTo>
                        <a:pt x="1376" y="1332"/>
                      </a:lnTo>
                      <a:lnTo>
                        <a:pt x="1352" y="1353"/>
                      </a:lnTo>
                      <a:lnTo>
                        <a:pt x="1324" y="1368"/>
                      </a:lnTo>
                      <a:lnTo>
                        <a:pt x="1292" y="1378"/>
                      </a:lnTo>
                      <a:lnTo>
                        <a:pt x="1259" y="1382"/>
                      </a:lnTo>
                      <a:lnTo>
                        <a:pt x="1258" y="1382"/>
                      </a:lnTo>
                      <a:lnTo>
                        <a:pt x="1227" y="1380"/>
                      </a:lnTo>
                      <a:lnTo>
                        <a:pt x="1198" y="1371"/>
                      </a:lnTo>
                      <a:lnTo>
                        <a:pt x="1172" y="1357"/>
                      </a:lnTo>
                      <a:lnTo>
                        <a:pt x="1148" y="1338"/>
                      </a:lnTo>
                      <a:lnTo>
                        <a:pt x="1128" y="1316"/>
                      </a:lnTo>
                      <a:lnTo>
                        <a:pt x="1063" y="2337"/>
                      </a:lnTo>
                      <a:lnTo>
                        <a:pt x="1056" y="2369"/>
                      </a:lnTo>
                      <a:lnTo>
                        <a:pt x="1045" y="2400"/>
                      </a:lnTo>
                      <a:lnTo>
                        <a:pt x="1028" y="2427"/>
                      </a:lnTo>
                      <a:lnTo>
                        <a:pt x="1008" y="2449"/>
                      </a:lnTo>
                      <a:lnTo>
                        <a:pt x="982" y="2470"/>
                      </a:lnTo>
                      <a:lnTo>
                        <a:pt x="953" y="2484"/>
                      </a:lnTo>
                      <a:lnTo>
                        <a:pt x="922" y="2492"/>
                      </a:lnTo>
                      <a:lnTo>
                        <a:pt x="888" y="2496"/>
                      </a:lnTo>
                      <a:lnTo>
                        <a:pt x="542" y="2496"/>
                      </a:lnTo>
                      <a:lnTo>
                        <a:pt x="509" y="2492"/>
                      </a:lnTo>
                      <a:lnTo>
                        <a:pt x="477" y="2484"/>
                      </a:lnTo>
                      <a:lnTo>
                        <a:pt x="448" y="2470"/>
                      </a:lnTo>
                      <a:lnTo>
                        <a:pt x="423" y="2451"/>
                      </a:lnTo>
                      <a:lnTo>
                        <a:pt x="402" y="2427"/>
                      </a:lnTo>
                      <a:lnTo>
                        <a:pt x="385" y="2400"/>
                      </a:lnTo>
                      <a:lnTo>
                        <a:pt x="374" y="2369"/>
                      </a:lnTo>
                      <a:lnTo>
                        <a:pt x="369" y="2337"/>
                      </a:lnTo>
                      <a:lnTo>
                        <a:pt x="302" y="1319"/>
                      </a:lnTo>
                      <a:lnTo>
                        <a:pt x="282" y="1340"/>
                      </a:lnTo>
                      <a:lnTo>
                        <a:pt x="259" y="1357"/>
                      </a:lnTo>
                      <a:lnTo>
                        <a:pt x="232" y="1371"/>
                      </a:lnTo>
                      <a:lnTo>
                        <a:pt x="203" y="1380"/>
                      </a:lnTo>
                      <a:lnTo>
                        <a:pt x="172" y="1382"/>
                      </a:lnTo>
                      <a:lnTo>
                        <a:pt x="172" y="1382"/>
                      </a:lnTo>
                      <a:lnTo>
                        <a:pt x="138" y="1378"/>
                      </a:lnTo>
                      <a:lnTo>
                        <a:pt x="107" y="1368"/>
                      </a:lnTo>
                      <a:lnTo>
                        <a:pt x="78" y="1353"/>
                      </a:lnTo>
                      <a:lnTo>
                        <a:pt x="53" y="1333"/>
                      </a:lnTo>
                      <a:lnTo>
                        <a:pt x="33" y="1308"/>
                      </a:lnTo>
                      <a:lnTo>
                        <a:pt x="18" y="1278"/>
                      </a:lnTo>
                      <a:lnTo>
                        <a:pt x="8" y="1248"/>
                      </a:lnTo>
                      <a:lnTo>
                        <a:pt x="4" y="1214"/>
                      </a:lnTo>
                      <a:lnTo>
                        <a:pt x="0" y="168"/>
                      </a:lnTo>
                      <a:lnTo>
                        <a:pt x="4" y="134"/>
                      </a:lnTo>
                      <a:lnTo>
                        <a:pt x="14" y="102"/>
                      </a:lnTo>
                      <a:lnTo>
                        <a:pt x="29" y="74"/>
                      </a:lnTo>
                      <a:lnTo>
                        <a:pt x="50" y="49"/>
                      </a:lnTo>
                      <a:lnTo>
                        <a:pt x="74" y="29"/>
                      </a:lnTo>
                      <a:lnTo>
                        <a:pt x="103" y="12"/>
                      </a:lnTo>
                      <a:lnTo>
                        <a:pt x="135" y="3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0" name="Freeform 14"/>
                <p:cNvSpPr>
                  <a:spLocks/>
                </p:cNvSpPr>
                <p:nvPr/>
              </p:nvSpPr>
              <p:spPr bwMode="auto">
                <a:xfrm>
                  <a:off x="2776" y="2202"/>
                  <a:ext cx="310" cy="308"/>
                </a:xfrm>
                <a:custGeom>
                  <a:avLst/>
                  <a:gdLst>
                    <a:gd name="T0" fmla="*/ 466 w 931"/>
                    <a:gd name="T1" fmla="*/ 0 h 925"/>
                    <a:gd name="T2" fmla="*/ 524 w 931"/>
                    <a:gd name="T3" fmla="*/ 4 h 925"/>
                    <a:gd name="T4" fmla="*/ 580 w 931"/>
                    <a:gd name="T5" fmla="*/ 14 h 925"/>
                    <a:gd name="T6" fmla="*/ 634 w 931"/>
                    <a:gd name="T7" fmla="*/ 32 h 925"/>
                    <a:gd name="T8" fmla="*/ 684 w 931"/>
                    <a:gd name="T9" fmla="*/ 55 h 925"/>
                    <a:gd name="T10" fmla="*/ 731 w 931"/>
                    <a:gd name="T11" fmla="*/ 82 h 925"/>
                    <a:gd name="T12" fmla="*/ 774 w 931"/>
                    <a:gd name="T13" fmla="*/ 117 h 925"/>
                    <a:gd name="T14" fmla="*/ 814 w 931"/>
                    <a:gd name="T15" fmla="*/ 156 h 925"/>
                    <a:gd name="T16" fmla="*/ 847 w 931"/>
                    <a:gd name="T17" fmla="*/ 199 h 925"/>
                    <a:gd name="T18" fmla="*/ 876 w 931"/>
                    <a:gd name="T19" fmla="*/ 245 h 925"/>
                    <a:gd name="T20" fmla="*/ 899 w 931"/>
                    <a:gd name="T21" fmla="*/ 295 h 925"/>
                    <a:gd name="T22" fmla="*/ 917 w 931"/>
                    <a:gd name="T23" fmla="*/ 349 h 925"/>
                    <a:gd name="T24" fmla="*/ 927 w 931"/>
                    <a:gd name="T25" fmla="*/ 404 h 925"/>
                    <a:gd name="T26" fmla="*/ 931 w 931"/>
                    <a:gd name="T27" fmla="*/ 463 h 925"/>
                    <a:gd name="T28" fmla="*/ 927 w 931"/>
                    <a:gd name="T29" fmla="*/ 521 h 925"/>
                    <a:gd name="T30" fmla="*/ 917 w 931"/>
                    <a:gd name="T31" fmla="*/ 577 h 925"/>
                    <a:gd name="T32" fmla="*/ 899 w 931"/>
                    <a:gd name="T33" fmla="*/ 630 h 925"/>
                    <a:gd name="T34" fmla="*/ 876 w 931"/>
                    <a:gd name="T35" fmla="*/ 681 h 925"/>
                    <a:gd name="T36" fmla="*/ 847 w 931"/>
                    <a:gd name="T37" fmla="*/ 727 h 925"/>
                    <a:gd name="T38" fmla="*/ 814 w 931"/>
                    <a:gd name="T39" fmla="*/ 769 h 925"/>
                    <a:gd name="T40" fmla="*/ 774 w 931"/>
                    <a:gd name="T41" fmla="*/ 809 h 925"/>
                    <a:gd name="T42" fmla="*/ 731 w 931"/>
                    <a:gd name="T43" fmla="*/ 843 h 925"/>
                    <a:gd name="T44" fmla="*/ 684 w 931"/>
                    <a:gd name="T45" fmla="*/ 871 h 925"/>
                    <a:gd name="T46" fmla="*/ 634 w 931"/>
                    <a:gd name="T47" fmla="*/ 893 h 925"/>
                    <a:gd name="T48" fmla="*/ 580 w 931"/>
                    <a:gd name="T49" fmla="*/ 911 h 925"/>
                    <a:gd name="T50" fmla="*/ 524 w 931"/>
                    <a:gd name="T51" fmla="*/ 921 h 925"/>
                    <a:gd name="T52" fmla="*/ 466 w 931"/>
                    <a:gd name="T53" fmla="*/ 925 h 925"/>
                    <a:gd name="T54" fmla="*/ 407 w 931"/>
                    <a:gd name="T55" fmla="*/ 921 h 925"/>
                    <a:gd name="T56" fmla="*/ 351 w 931"/>
                    <a:gd name="T57" fmla="*/ 911 h 925"/>
                    <a:gd name="T58" fmla="*/ 297 w 931"/>
                    <a:gd name="T59" fmla="*/ 893 h 925"/>
                    <a:gd name="T60" fmla="*/ 246 w 931"/>
                    <a:gd name="T61" fmla="*/ 871 h 925"/>
                    <a:gd name="T62" fmla="*/ 199 w 931"/>
                    <a:gd name="T63" fmla="*/ 843 h 925"/>
                    <a:gd name="T64" fmla="*/ 156 w 931"/>
                    <a:gd name="T65" fmla="*/ 809 h 925"/>
                    <a:gd name="T66" fmla="*/ 117 w 931"/>
                    <a:gd name="T67" fmla="*/ 769 h 925"/>
                    <a:gd name="T68" fmla="*/ 83 w 931"/>
                    <a:gd name="T69" fmla="*/ 727 h 925"/>
                    <a:gd name="T70" fmla="*/ 55 w 931"/>
                    <a:gd name="T71" fmla="*/ 681 h 925"/>
                    <a:gd name="T72" fmla="*/ 31 w 931"/>
                    <a:gd name="T73" fmla="*/ 630 h 925"/>
                    <a:gd name="T74" fmla="*/ 14 w 931"/>
                    <a:gd name="T75" fmla="*/ 577 h 925"/>
                    <a:gd name="T76" fmla="*/ 4 w 931"/>
                    <a:gd name="T77" fmla="*/ 521 h 925"/>
                    <a:gd name="T78" fmla="*/ 0 w 931"/>
                    <a:gd name="T79" fmla="*/ 463 h 925"/>
                    <a:gd name="T80" fmla="*/ 4 w 931"/>
                    <a:gd name="T81" fmla="*/ 404 h 925"/>
                    <a:gd name="T82" fmla="*/ 14 w 931"/>
                    <a:gd name="T83" fmla="*/ 349 h 925"/>
                    <a:gd name="T84" fmla="*/ 31 w 931"/>
                    <a:gd name="T85" fmla="*/ 295 h 925"/>
                    <a:gd name="T86" fmla="*/ 55 w 931"/>
                    <a:gd name="T87" fmla="*/ 245 h 925"/>
                    <a:gd name="T88" fmla="*/ 83 w 931"/>
                    <a:gd name="T89" fmla="*/ 199 h 925"/>
                    <a:gd name="T90" fmla="*/ 117 w 931"/>
                    <a:gd name="T91" fmla="*/ 156 h 925"/>
                    <a:gd name="T92" fmla="*/ 156 w 931"/>
                    <a:gd name="T93" fmla="*/ 117 h 925"/>
                    <a:gd name="T94" fmla="*/ 199 w 931"/>
                    <a:gd name="T95" fmla="*/ 82 h 925"/>
                    <a:gd name="T96" fmla="*/ 246 w 931"/>
                    <a:gd name="T97" fmla="*/ 55 h 925"/>
                    <a:gd name="T98" fmla="*/ 297 w 931"/>
                    <a:gd name="T99" fmla="*/ 32 h 925"/>
                    <a:gd name="T100" fmla="*/ 351 w 931"/>
                    <a:gd name="T101" fmla="*/ 14 h 925"/>
                    <a:gd name="T102" fmla="*/ 407 w 931"/>
                    <a:gd name="T103" fmla="*/ 4 h 925"/>
                    <a:gd name="T104" fmla="*/ 466 w 931"/>
                    <a:gd name="T105" fmla="*/ 0 h 9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931" h="925">
                      <a:moveTo>
                        <a:pt x="466" y="0"/>
                      </a:moveTo>
                      <a:lnTo>
                        <a:pt x="524" y="4"/>
                      </a:lnTo>
                      <a:lnTo>
                        <a:pt x="580" y="14"/>
                      </a:lnTo>
                      <a:lnTo>
                        <a:pt x="634" y="32"/>
                      </a:lnTo>
                      <a:lnTo>
                        <a:pt x="684" y="55"/>
                      </a:lnTo>
                      <a:lnTo>
                        <a:pt x="731" y="82"/>
                      </a:lnTo>
                      <a:lnTo>
                        <a:pt x="774" y="117"/>
                      </a:lnTo>
                      <a:lnTo>
                        <a:pt x="814" y="156"/>
                      </a:lnTo>
                      <a:lnTo>
                        <a:pt x="847" y="199"/>
                      </a:lnTo>
                      <a:lnTo>
                        <a:pt x="876" y="245"/>
                      </a:lnTo>
                      <a:lnTo>
                        <a:pt x="899" y="295"/>
                      </a:lnTo>
                      <a:lnTo>
                        <a:pt x="917" y="349"/>
                      </a:lnTo>
                      <a:lnTo>
                        <a:pt x="927" y="404"/>
                      </a:lnTo>
                      <a:lnTo>
                        <a:pt x="931" y="463"/>
                      </a:lnTo>
                      <a:lnTo>
                        <a:pt x="927" y="521"/>
                      </a:lnTo>
                      <a:lnTo>
                        <a:pt x="917" y="577"/>
                      </a:lnTo>
                      <a:lnTo>
                        <a:pt x="899" y="630"/>
                      </a:lnTo>
                      <a:lnTo>
                        <a:pt x="876" y="681"/>
                      </a:lnTo>
                      <a:lnTo>
                        <a:pt x="847" y="727"/>
                      </a:lnTo>
                      <a:lnTo>
                        <a:pt x="814" y="769"/>
                      </a:lnTo>
                      <a:lnTo>
                        <a:pt x="774" y="809"/>
                      </a:lnTo>
                      <a:lnTo>
                        <a:pt x="731" y="843"/>
                      </a:lnTo>
                      <a:lnTo>
                        <a:pt x="684" y="871"/>
                      </a:lnTo>
                      <a:lnTo>
                        <a:pt x="634" y="893"/>
                      </a:lnTo>
                      <a:lnTo>
                        <a:pt x="580" y="911"/>
                      </a:lnTo>
                      <a:lnTo>
                        <a:pt x="524" y="921"/>
                      </a:lnTo>
                      <a:lnTo>
                        <a:pt x="466" y="925"/>
                      </a:lnTo>
                      <a:lnTo>
                        <a:pt x="407" y="921"/>
                      </a:lnTo>
                      <a:lnTo>
                        <a:pt x="351" y="911"/>
                      </a:lnTo>
                      <a:lnTo>
                        <a:pt x="297" y="893"/>
                      </a:lnTo>
                      <a:lnTo>
                        <a:pt x="246" y="871"/>
                      </a:lnTo>
                      <a:lnTo>
                        <a:pt x="199" y="843"/>
                      </a:lnTo>
                      <a:lnTo>
                        <a:pt x="156" y="809"/>
                      </a:lnTo>
                      <a:lnTo>
                        <a:pt x="117" y="769"/>
                      </a:lnTo>
                      <a:lnTo>
                        <a:pt x="83" y="727"/>
                      </a:lnTo>
                      <a:lnTo>
                        <a:pt x="55" y="681"/>
                      </a:lnTo>
                      <a:lnTo>
                        <a:pt x="31" y="630"/>
                      </a:lnTo>
                      <a:lnTo>
                        <a:pt x="14" y="577"/>
                      </a:lnTo>
                      <a:lnTo>
                        <a:pt x="4" y="521"/>
                      </a:lnTo>
                      <a:lnTo>
                        <a:pt x="0" y="463"/>
                      </a:lnTo>
                      <a:lnTo>
                        <a:pt x="4" y="404"/>
                      </a:lnTo>
                      <a:lnTo>
                        <a:pt x="14" y="349"/>
                      </a:lnTo>
                      <a:lnTo>
                        <a:pt x="31" y="295"/>
                      </a:lnTo>
                      <a:lnTo>
                        <a:pt x="55" y="245"/>
                      </a:lnTo>
                      <a:lnTo>
                        <a:pt x="83" y="199"/>
                      </a:lnTo>
                      <a:lnTo>
                        <a:pt x="117" y="156"/>
                      </a:lnTo>
                      <a:lnTo>
                        <a:pt x="156" y="117"/>
                      </a:lnTo>
                      <a:lnTo>
                        <a:pt x="199" y="82"/>
                      </a:lnTo>
                      <a:lnTo>
                        <a:pt x="246" y="55"/>
                      </a:lnTo>
                      <a:lnTo>
                        <a:pt x="297" y="32"/>
                      </a:lnTo>
                      <a:lnTo>
                        <a:pt x="351" y="14"/>
                      </a:lnTo>
                      <a:lnTo>
                        <a:pt x="407" y="4"/>
                      </a:lnTo>
                      <a:lnTo>
                        <a:pt x="46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00" name="Group 11"/>
              <p:cNvGrpSpPr>
                <a:grpSpLocks noChangeAspect="1"/>
              </p:cNvGrpSpPr>
              <p:nvPr/>
            </p:nvGrpSpPr>
            <p:grpSpPr bwMode="auto">
              <a:xfrm>
                <a:off x="3717264" y="3291672"/>
                <a:ext cx="757238" cy="1868488"/>
                <a:chOff x="2692" y="2202"/>
                <a:chExt cx="477" cy="1177"/>
              </a:xfrm>
              <a:grpFill/>
            </p:grpSpPr>
            <p:sp>
              <p:nvSpPr>
                <p:cNvPr id="107" name="Freeform 13"/>
                <p:cNvSpPr>
                  <a:spLocks/>
                </p:cNvSpPr>
                <p:nvPr/>
              </p:nvSpPr>
              <p:spPr bwMode="auto">
                <a:xfrm>
                  <a:off x="2692" y="2547"/>
                  <a:ext cx="477" cy="832"/>
                </a:xfrm>
                <a:custGeom>
                  <a:avLst/>
                  <a:gdLst>
                    <a:gd name="T0" fmla="*/ 170 w 1430"/>
                    <a:gd name="T1" fmla="*/ 0 h 2496"/>
                    <a:gd name="T2" fmla="*/ 204 w 1430"/>
                    <a:gd name="T3" fmla="*/ 0 h 2496"/>
                    <a:gd name="T4" fmla="*/ 269 w 1430"/>
                    <a:gd name="T5" fmla="*/ 0 h 2496"/>
                    <a:gd name="T6" fmla="*/ 358 w 1430"/>
                    <a:gd name="T7" fmla="*/ 0 h 2496"/>
                    <a:gd name="T8" fmla="*/ 466 w 1430"/>
                    <a:gd name="T9" fmla="*/ 0 h 2496"/>
                    <a:gd name="T10" fmla="*/ 585 w 1430"/>
                    <a:gd name="T11" fmla="*/ 0 h 2496"/>
                    <a:gd name="T12" fmla="*/ 712 w 1430"/>
                    <a:gd name="T13" fmla="*/ 0 h 2496"/>
                    <a:gd name="T14" fmla="*/ 837 w 1430"/>
                    <a:gd name="T15" fmla="*/ 0 h 2496"/>
                    <a:gd name="T16" fmla="*/ 957 w 1430"/>
                    <a:gd name="T17" fmla="*/ 0 h 2496"/>
                    <a:gd name="T18" fmla="*/ 1065 w 1430"/>
                    <a:gd name="T19" fmla="*/ 0 h 2496"/>
                    <a:gd name="T20" fmla="*/ 1156 w 1430"/>
                    <a:gd name="T21" fmla="*/ 0 h 2496"/>
                    <a:gd name="T22" fmla="*/ 1222 w 1430"/>
                    <a:gd name="T23" fmla="*/ 0 h 2496"/>
                    <a:gd name="T24" fmla="*/ 1258 w 1430"/>
                    <a:gd name="T25" fmla="*/ 0 h 2496"/>
                    <a:gd name="T26" fmla="*/ 1296 w 1430"/>
                    <a:gd name="T27" fmla="*/ 3 h 2496"/>
                    <a:gd name="T28" fmla="*/ 1356 w 1430"/>
                    <a:gd name="T29" fmla="*/ 29 h 2496"/>
                    <a:gd name="T30" fmla="*/ 1402 w 1430"/>
                    <a:gd name="T31" fmla="*/ 76 h 2496"/>
                    <a:gd name="T32" fmla="*/ 1426 w 1430"/>
                    <a:gd name="T33" fmla="*/ 135 h 2496"/>
                    <a:gd name="T34" fmla="*/ 1426 w 1430"/>
                    <a:gd name="T35" fmla="*/ 1214 h 2496"/>
                    <a:gd name="T36" fmla="*/ 1413 w 1430"/>
                    <a:gd name="T37" fmla="*/ 1278 h 2496"/>
                    <a:gd name="T38" fmla="*/ 1376 w 1430"/>
                    <a:gd name="T39" fmla="*/ 1332 h 2496"/>
                    <a:gd name="T40" fmla="*/ 1324 w 1430"/>
                    <a:gd name="T41" fmla="*/ 1368 h 2496"/>
                    <a:gd name="T42" fmla="*/ 1259 w 1430"/>
                    <a:gd name="T43" fmla="*/ 1382 h 2496"/>
                    <a:gd name="T44" fmla="*/ 1227 w 1430"/>
                    <a:gd name="T45" fmla="*/ 1380 h 2496"/>
                    <a:gd name="T46" fmla="*/ 1172 w 1430"/>
                    <a:gd name="T47" fmla="*/ 1357 h 2496"/>
                    <a:gd name="T48" fmla="*/ 1128 w 1430"/>
                    <a:gd name="T49" fmla="*/ 1316 h 2496"/>
                    <a:gd name="T50" fmla="*/ 1056 w 1430"/>
                    <a:gd name="T51" fmla="*/ 2369 h 2496"/>
                    <a:gd name="T52" fmla="*/ 1028 w 1430"/>
                    <a:gd name="T53" fmla="*/ 2427 h 2496"/>
                    <a:gd name="T54" fmla="*/ 982 w 1430"/>
                    <a:gd name="T55" fmla="*/ 2470 h 2496"/>
                    <a:gd name="T56" fmla="*/ 922 w 1430"/>
                    <a:gd name="T57" fmla="*/ 2492 h 2496"/>
                    <a:gd name="T58" fmla="*/ 542 w 1430"/>
                    <a:gd name="T59" fmla="*/ 2496 h 2496"/>
                    <a:gd name="T60" fmla="*/ 477 w 1430"/>
                    <a:gd name="T61" fmla="*/ 2484 h 2496"/>
                    <a:gd name="T62" fmla="*/ 423 w 1430"/>
                    <a:gd name="T63" fmla="*/ 2451 h 2496"/>
                    <a:gd name="T64" fmla="*/ 385 w 1430"/>
                    <a:gd name="T65" fmla="*/ 2400 h 2496"/>
                    <a:gd name="T66" fmla="*/ 369 w 1430"/>
                    <a:gd name="T67" fmla="*/ 2337 h 2496"/>
                    <a:gd name="T68" fmla="*/ 282 w 1430"/>
                    <a:gd name="T69" fmla="*/ 1340 h 2496"/>
                    <a:gd name="T70" fmla="*/ 232 w 1430"/>
                    <a:gd name="T71" fmla="*/ 1371 h 2496"/>
                    <a:gd name="T72" fmla="*/ 172 w 1430"/>
                    <a:gd name="T73" fmla="*/ 1382 h 2496"/>
                    <a:gd name="T74" fmla="*/ 138 w 1430"/>
                    <a:gd name="T75" fmla="*/ 1378 h 2496"/>
                    <a:gd name="T76" fmla="*/ 78 w 1430"/>
                    <a:gd name="T77" fmla="*/ 1353 h 2496"/>
                    <a:gd name="T78" fmla="*/ 33 w 1430"/>
                    <a:gd name="T79" fmla="*/ 1308 h 2496"/>
                    <a:gd name="T80" fmla="*/ 8 w 1430"/>
                    <a:gd name="T81" fmla="*/ 1248 h 2496"/>
                    <a:gd name="T82" fmla="*/ 0 w 1430"/>
                    <a:gd name="T83" fmla="*/ 168 h 2496"/>
                    <a:gd name="T84" fmla="*/ 14 w 1430"/>
                    <a:gd name="T85" fmla="*/ 102 h 2496"/>
                    <a:gd name="T86" fmla="*/ 50 w 1430"/>
                    <a:gd name="T87" fmla="*/ 49 h 2496"/>
                    <a:gd name="T88" fmla="*/ 103 w 1430"/>
                    <a:gd name="T89" fmla="*/ 12 h 2496"/>
                    <a:gd name="T90" fmla="*/ 168 w 1430"/>
                    <a:gd name="T91" fmla="*/ 0 h 24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30" h="2496">
                      <a:moveTo>
                        <a:pt x="168" y="0"/>
                      </a:moveTo>
                      <a:lnTo>
                        <a:pt x="170" y="0"/>
                      </a:lnTo>
                      <a:lnTo>
                        <a:pt x="182" y="0"/>
                      </a:lnTo>
                      <a:lnTo>
                        <a:pt x="204" y="0"/>
                      </a:lnTo>
                      <a:lnTo>
                        <a:pt x="233" y="0"/>
                      </a:lnTo>
                      <a:lnTo>
                        <a:pt x="269" y="0"/>
                      </a:lnTo>
                      <a:lnTo>
                        <a:pt x="311" y="0"/>
                      </a:lnTo>
                      <a:lnTo>
                        <a:pt x="358" y="0"/>
                      </a:lnTo>
                      <a:lnTo>
                        <a:pt x="409" y="0"/>
                      </a:lnTo>
                      <a:lnTo>
                        <a:pt x="466" y="0"/>
                      </a:lnTo>
                      <a:lnTo>
                        <a:pt x="524" y="0"/>
                      </a:lnTo>
                      <a:lnTo>
                        <a:pt x="585" y="0"/>
                      </a:lnTo>
                      <a:lnTo>
                        <a:pt x="648" y="0"/>
                      </a:lnTo>
                      <a:lnTo>
                        <a:pt x="712" y="0"/>
                      </a:lnTo>
                      <a:lnTo>
                        <a:pt x="774" y="0"/>
                      </a:lnTo>
                      <a:lnTo>
                        <a:pt x="837" y="0"/>
                      </a:lnTo>
                      <a:lnTo>
                        <a:pt x="898" y="0"/>
                      </a:lnTo>
                      <a:lnTo>
                        <a:pt x="957" y="0"/>
                      </a:lnTo>
                      <a:lnTo>
                        <a:pt x="1013" y="0"/>
                      </a:lnTo>
                      <a:lnTo>
                        <a:pt x="1065" y="0"/>
                      </a:lnTo>
                      <a:lnTo>
                        <a:pt x="1114" y="0"/>
                      </a:lnTo>
                      <a:lnTo>
                        <a:pt x="1156" y="0"/>
                      </a:lnTo>
                      <a:lnTo>
                        <a:pt x="1191" y="0"/>
                      </a:lnTo>
                      <a:lnTo>
                        <a:pt x="1222" y="0"/>
                      </a:lnTo>
                      <a:lnTo>
                        <a:pt x="1244" y="0"/>
                      </a:lnTo>
                      <a:lnTo>
                        <a:pt x="1258" y="0"/>
                      </a:lnTo>
                      <a:lnTo>
                        <a:pt x="1263" y="0"/>
                      </a:lnTo>
                      <a:lnTo>
                        <a:pt x="1296" y="3"/>
                      </a:lnTo>
                      <a:lnTo>
                        <a:pt x="1328" y="14"/>
                      </a:lnTo>
                      <a:lnTo>
                        <a:pt x="1356" y="29"/>
                      </a:lnTo>
                      <a:lnTo>
                        <a:pt x="1381" y="50"/>
                      </a:lnTo>
                      <a:lnTo>
                        <a:pt x="1402" y="76"/>
                      </a:lnTo>
                      <a:lnTo>
                        <a:pt x="1417" y="105"/>
                      </a:lnTo>
                      <a:lnTo>
                        <a:pt x="1426" y="135"/>
                      </a:lnTo>
                      <a:lnTo>
                        <a:pt x="1430" y="170"/>
                      </a:lnTo>
                      <a:lnTo>
                        <a:pt x="1426" y="1214"/>
                      </a:lnTo>
                      <a:lnTo>
                        <a:pt x="1424" y="1247"/>
                      </a:lnTo>
                      <a:lnTo>
                        <a:pt x="1413" y="1278"/>
                      </a:lnTo>
                      <a:lnTo>
                        <a:pt x="1398" y="1306"/>
                      </a:lnTo>
                      <a:lnTo>
                        <a:pt x="1376" y="1332"/>
                      </a:lnTo>
                      <a:lnTo>
                        <a:pt x="1352" y="1353"/>
                      </a:lnTo>
                      <a:lnTo>
                        <a:pt x="1324" y="1368"/>
                      </a:lnTo>
                      <a:lnTo>
                        <a:pt x="1292" y="1378"/>
                      </a:lnTo>
                      <a:lnTo>
                        <a:pt x="1259" y="1382"/>
                      </a:lnTo>
                      <a:lnTo>
                        <a:pt x="1258" y="1382"/>
                      </a:lnTo>
                      <a:lnTo>
                        <a:pt x="1227" y="1380"/>
                      </a:lnTo>
                      <a:lnTo>
                        <a:pt x="1198" y="1371"/>
                      </a:lnTo>
                      <a:lnTo>
                        <a:pt x="1172" y="1357"/>
                      </a:lnTo>
                      <a:lnTo>
                        <a:pt x="1148" y="1338"/>
                      </a:lnTo>
                      <a:lnTo>
                        <a:pt x="1128" y="1316"/>
                      </a:lnTo>
                      <a:lnTo>
                        <a:pt x="1063" y="2337"/>
                      </a:lnTo>
                      <a:lnTo>
                        <a:pt x="1056" y="2369"/>
                      </a:lnTo>
                      <a:lnTo>
                        <a:pt x="1045" y="2400"/>
                      </a:lnTo>
                      <a:lnTo>
                        <a:pt x="1028" y="2427"/>
                      </a:lnTo>
                      <a:lnTo>
                        <a:pt x="1008" y="2449"/>
                      </a:lnTo>
                      <a:lnTo>
                        <a:pt x="982" y="2470"/>
                      </a:lnTo>
                      <a:lnTo>
                        <a:pt x="953" y="2484"/>
                      </a:lnTo>
                      <a:lnTo>
                        <a:pt x="922" y="2492"/>
                      </a:lnTo>
                      <a:lnTo>
                        <a:pt x="888" y="2496"/>
                      </a:lnTo>
                      <a:lnTo>
                        <a:pt x="542" y="2496"/>
                      </a:lnTo>
                      <a:lnTo>
                        <a:pt x="509" y="2492"/>
                      </a:lnTo>
                      <a:lnTo>
                        <a:pt x="477" y="2484"/>
                      </a:lnTo>
                      <a:lnTo>
                        <a:pt x="448" y="2470"/>
                      </a:lnTo>
                      <a:lnTo>
                        <a:pt x="423" y="2451"/>
                      </a:lnTo>
                      <a:lnTo>
                        <a:pt x="402" y="2427"/>
                      </a:lnTo>
                      <a:lnTo>
                        <a:pt x="385" y="2400"/>
                      </a:lnTo>
                      <a:lnTo>
                        <a:pt x="374" y="2369"/>
                      </a:lnTo>
                      <a:lnTo>
                        <a:pt x="369" y="2337"/>
                      </a:lnTo>
                      <a:lnTo>
                        <a:pt x="302" y="1319"/>
                      </a:lnTo>
                      <a:lnTo>
                        <a:pt x="282" y="1340"/>
                      </a:lnTo>
                      <a:lnTo>
                        <a:pt x="259" y="1357"/>
                      </a:lnTo>
                      <a:lnTo>
                        <a:pt x="232" y="1371"/>
                      </a:lnTo>
                      <a:lnTo>
                        <a:pt x="203" y="1380"/>
                      </a:lnTo>
                      <a:lnTo>
                        <a:pt x="172" y="1382"/>
                      </a:lnTo>
                      <a:lnTo>
                        <a:pt x="172" y="1382"/>
                      </a:lnTo>
                      <a:lnTo>
                        <a:pt x="138" y="1378"/>
                      </a:lnTo>
                      <a:lnTo>
                        <a:pt x="107" y="1368"/>
                      </a:lnTo>
                      <a:lnTo>
                        <a:pt x="78" y="1353"/>
                      </a:lnTo>
                      <a:lnTo>
                        <a:pt x="53" y="1333"/>
                      </a:lnTo>
                      <a:lnTo>
                        <a:pt x="33" y="1308"/>
                      </a:lnTo>
                      <a:lnTo>
                        <a:pt x="18" y="1278"/>
                      </a:lnTo>
                      <a:lnTo>
                        <a:pt x="8" y="1248"/>
                      </a:lnTo>
                      <a:lnTo>
                        <a:pt x="4" y="1214"/>
                      </a:lnTo>
                      <a:lnTo>
                        <a:pt x="0" y="168"/>
                      </a:lnTo>
                      <a:lnTo>
                        <a:pt x="4" y="134"/>
                      </a:lnTo>
                      <a:lnTo>
                        <a:pt x="14" y="102"/>
                      </a:lnTo>
                      <a:lnTo>
                        <a:pt x="29" y="74"/>
                      </a:lnTo>
                      <a:lnTo>
                        <a:pt x="50" y="49"/>
                      </a:lnTo>
                      <a:lnTo>
                        <a:pt x="74" y="29"/>
                      </a:lnTo>
                      <a:lnTo>
                        <a:pt x="103" y="12"/>
                      </a:lnTo>
                      <a:lnTo>
                        <a:pt x="135" y="3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8" name="Freeform 14"/>
                <p:cNvSpPr>
                  <a:spLocks/>
                </p:cNvSpPr>
                <p:nvPr/>
              </p:nvSpPr>
              <p:spPr bwMode="auto">
                <a:xfrm>
                  <a:off x="2776" y="2202"/>
                  <a:ext cx="310" cy="308"/>
                </a:xfrm>
                <a:custGeom>
                  <a:avLst/>
                  <a:gdLst>
                    <a:gd name="T0" fmla="*/ 466 w 931"/>
                    <a:gd name="T1" fmla="*/ 0 h 925"/>
                    <a:gd name="T2" fmla="*/ 524 w 931"/>
                    <a:gd name="T3" fmla="*/ 4 h 925"/>
                    <a:gd name="T4" fmla="*/ 580 w 931"/>
                    <a:gd name="T5" fmla="*/ 14 h 925"/>
                    <a:gd name="T6" fmla="*/ 634 w 931"/>
                    <a:gd name="T7" fmla="*/ 32 h 925"/>
                    <a:gd name="T8" fmla="*/ 684 w 931"/>
                    <a:gd name="T9" fmla="*/ 55 h 925"/>
                    <a:gd name="T10" fmla="*/ 731 w 931"/>
                    <a:gd name="T11" fmla="*/ 82 h 925"/>
                    <a:gd name="T12" fmla="*/ 774 w 931"/>
                    <a:gd name="T13" fmla="*/ 117 h 925"/>
                    <a:gd name="T14" fmla="*/ 814 w 931"/>
                    <a:gd name="T15" fmla="*/ 156 h 925"/>
                    <a:gd name="T16" fmla="*/ 847 w 931"/>
                    <a:gd name="T17" fmla="*/ 199 h 925"/>
                    <a:gd name="T18" fmla="*/ 876 w 931"/>
                    <a:gd name="T19" fmla="*/ 245 h 925"/>
                    <a:gd name="T20" fmla="*/ 899 w 931"/>
                    <a:gd name="T21" fmla="*/ 295 h 925"/>
                    <a:gd name="T22" fmla="*/ 917 w 931"/>
                    <a:gd name="T23" fmla="*/ 349 h 925"/>
                    <a:gd name="T24" fmla="*/ 927 w 931"/>
                    <a:gd name="T25" fmla="*/ 404 h 925"/>
                    <a:gd name="T26" fmla="*/ 931 w 931"/>
                    <a:gd name="T27" fmla="*/ 463 h 925"/>
                    <a:gd name="T28" fmla="*/ 927 w 931"/>
                    <a:gd name="T29" fmla="*/ 521 h 925"/>
                    <a:gd name="T30" fmla="*/ 917 w 931"/>
                    <a:gd name="T31" fmla="*/ 577 h 925"/>
                    <a:gd name="T32" fmla="*/ 899 w 931"/>
                    <a:gd name="T33" fmla="*/ 630 h 925"/>
                    <a:gd name="T34" fmla="*/ 876 w 931"/>
                    <a:gd name="T35" fmla="*/ 681 h 925"/>
                    <a:gd name="T36" fmla="*/ 847 w 931"/>
                    <a:gd name="T37" fmla="*/ 727 h 925"/>
                    <a:gd name="T38" fmla="*/ 814 w 931"/>
                    <a:gd name="T39" fmla="*/ 769 h 925"/>
                    <a:gd name="T40" fmla="*/ 774 w 931"/>
                    <a:gd name="T41" fmla="*/ 809 h 925"/>
                    <a:gd name="T42" fmla="*/ 731 w 931"/>
                    <a:gd name="T43" fmla="*/ 843 h 925"/>
                    <a:gd name="T44" fmla="*/ 684 w 931"/>
                    <a:gd name="T45" fmla="*/ 871 h 925"/>
                    <a:gd name="T46" fmla="*/ 634 w 931"/>
                    <a:gd name="T47" fmla="*/ 893 h 925"/>
                    <a:gd name="T48" fmla="*/ 580 w 931"/>
                    <a:gd name="T49" fmla="*/ 911 h 925"/>
                    <a:gd name="T50" fmla="*/ 524 w 931"/>
                    <a:gd name="T51" fmla="*/ 921 h 925"/>
                    <a:gd name="T52" fmla="*/ 466 w 931"/>
                    <a:gd name="T53" fmla="*/ 925 h 925"/>
                    <a:gd name="T54" fmla="*/ 407 w 931"/>
                    <a:gd name="T55" fmla="*/ 921 h 925"/>
                    <a:gd name="T56" fmla="*/ 351 w 931"/>
                    <a:gd name="T57" fmla="*/ 911 h 925"/>
                    <a:gd name="T58" fmla="*/ 297 w 931"/>
                    <a:gd name="T59" fmla="*/ 893 h 925"/>
                    <a:gd name="T60" fmla="*/ 246 w 931"/>
                    <a:gd name="T61" fmla="*/ 871 h 925"/>
                    <a:gd name="T62" fmla="*/ 199 w 931"/>
                    <a:gd name="T63" fmla="*/ 843 h 925"/>
                    <a:gd name="T64" fmla="*/ 156 w 931"/>
                    <a:gd name="T65" fmla="*/ 809 h 925"/>
                    <a:gd name="T66" fmla="*/ 117 w 931"/>
                    <a:gd name="T67" fmla="*/ 769 h 925"/>
                    <a:gd name="T68" fmla="*/ 83 w 931"/>
                    <a:gd name="T69" fmla="*/ 727 h 925"/>
                    <a:gd name="T70" fmla="*/ 55 w 931"/>
                    <a:gd name="T71" fmla="*/ 681 h 925"/>
                    <a:gd name="T72" fmla="*/ 31 w 931"/>
                    <a:gd name="T73" fmla="*/ 630 h 925"/>
                    <a:gd name="T74" fmla="*/ 14 w 931"/>
                    <a:gd name="T75" fmla="*/ 577 h 925"/>
                    <a:gd name="T76" fmla="*/ 4 w 931"/>
                    <a:gd name="T77" fmla="*/ 521 h 925"/>
                    <a:gd name="T78" fmla="*/ 0 w 931"/>
                    <a:gd name="T79" fmla="*/ 463 h 925"/>
                    <a:gd name="T80" fmla="*/ 4 w 931"/>
                    <a:gd name="T81" fmla="*/ 404 h 925"/>
                    <a:gd name="T82" fmla="*/ 14 w 931"/>
                    <a:gd name="T83" fmla="*/ 349 h 925"/>
                    <a:gd name="T84" fmla="*/ 31 w 931"/>
                    <a:gd name="T85" fmla="*/ 295 h 925"/>
                    <a:gd name="T86" fmla="*/ 55 w 931"/>
                    <a:gd name="T87" fmla="*/ 245 h 925"/>
                    <a:gd name="T88" fmla="*/ 83 w 931"/>
                    <a:gd name="T89" fmla="*/ 199 h 925"/>
                    <a:gd name="T90" fmla="*/ 117 w 931"/>
                    <a:gd name="T91" fmla="*/ 156 h 925"/>
                    <a:gd name="T92" fmla="*/ 156 w 931"/>
                    <a:gd name="T93" fmla="*/ 117 h 925"/>
                    <a:gd name="T94" fmla="*/ 199 w 931"/>
                    <a:gd name="T95" fmla="*/ 82 h 925"/>
                    <a:gd name="T96" fmla="*/ 246 w 931"/>
                    <a:gd name="T97" fmla="*/ 55 h 925"/>
                    <a:gd name="T98" fmla="*/ 297 w 931"/>
                    <a:gd name="T99" fmla="*/ 32 h 925"/>
                    <a:gd name="T100" fmla="*/ 351 w 931"/>
                    <a:gd name="T101" fmla="*/ 14 h 925"/>
                    <a:gd name="T102" fmla="*/ 407 w 931"/>
                    <a:gd name="T103" fmla="*/ 4 h 925"/>
                    <a:gd name="T104" fmla="*/ 466 w 931"/>
                    <a:gd name="T105" fmla="*/ 0 h 9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931" h="925">
                      <a:moveTo>
                        <a:pt x="466" y="0"/>
                      </a:moveTo>
                      <a:lnTo>
                        <a:pt x="524" y="4"/>
                      </a:lnTo>
                      <a:lnTo>
                        <a:pt x="580" y="14"/>
                      </a:lnTo>
                      <a:lnTo>
                        <a:pt x="634" y="32"/>
                      </a:lnTo>
                      <a:lnTo>
                        <a:pt x="684" y="55"/>
                      </a:lnTo>
                      <a:lnTo>
                        <a:pt x="731" y="82"/>
                      </a:lnTo>
                      <a:lnTo>
                        <a:pt x="774" y="117"/>
                      </a:lnTo>
                      <a:lnTo>
                        <a:pt x="814" y="156"/>
                      </a:lnTo>
                      <a:lnTo>
                        <a:pt x="847" y="199"/>
                      </a:lnTo>
                      <a:lnTo>
                        <a:pt x="876" y="245"/>
                      </a:lnTo>
                      <a:lnTo>
                        <a:pt x="899" y="295"/>
                      </a:lnTo>
                      <a:lnTo>
                        <a:pt x="917" y="349"/>
                      </a:lnTo>
                      <a:lnTo>
                        <a:pt x="927" y="404"/>
                      </a:lnTo>
                      <a:lnTo>
                        <a:pt x="931" y="463"/>
                      </a:lnTo>
                      <a:lnTo>
                        <a:pt x="927" y="521"/>
                      </a:lnTo>
                      <a:lnTo>
                        <a:pt x="917" y="577"/>
                      </a:lnTo>
                      <a:lnTo>
                        <a:pt x="899" y="630"/>
                      </a:lnTo>
                      <a:lnTo>
                        <a:pt x="876" y="681"/>
                      </a:lnTo>
                      <a:lnTo>
                        <a:pt x="847" y="727"/>
                      </a:lnTo>
                      <a:lnTo>
                        <a:pt x="814" y="769"/>
                      </a:lnTo>
                      <a:lnTo>
                        <a:pt x="774" y="809"/>
                      </a:lnTo>
                      <a:lnTo>
                        <a:pt x="731" y="843"/>
                      </a:lnTo>
                      <a:lnTo>
                        <a:pt x="684" y="871"/>
                      </a:lnTo>
                      <a:lnTo>
                        <a:pt x="634" y="893"/>
                      </a:lnTo>
                      <a:lnTo>
                        <a:pt x="580" y="911"/>
                      </a:lnTo>
                      <a:lnTo>
                        <a:pt x="524" y="921"/>
                      </a:lnTo>
                      <a:lnTo>
                        <a:pt x="466" y="925"/>
                      </a:lnTo>
                      <a:lnTo>
                        <a:pt x="407" y="921"/>
                      </a:lnTo>
                      <a:lnTo>
                        <a:pt x="351" y="911"/>
                      </a:lnTo>
                      <a:lnTo>
                        <a:pt x="297" y="893"/>
                      </a:lnTo>
                      <a:lnTo>
                        <a:pt x="246" y="871"/>
                      </a:lnTo>
                      <a:lnTo>
                        <a:pt x="199" y="843"/>
                      </a:lnTo>
                      <a:lnTo>
                        <a:pt x="156" y="809"/>
                      </a:lnTo>
                      <a:lnTo>
                        <a:pt x="117" y="769"/>
                      </a:lnTo>
                      <a:lnTo>
                        <a:pt x="83" y="727"/>
                      </a:lnTo>
                      <a:lnTo>
                        <a:pt x="55" y="681"/>
                      </a:lnTo>
                      <a:lnTo>
                        <a:pt x="31" y="630"/>
                      </a:lnTo>
                      <a:lnTo>
                        <a:pt x="14" y="577"/>
                      </a:lnTo>
                      <a:lnTo>
                        <a:pt x="4" y="521"/>
                      </a:lnTo>
                      <a:lnTo>
                        <a:pt x="0" y="463"/>
                      </a:lnTo>
                      <a:lnTo>
                        <a:pt x="4" y="404"/>
                      </a:lnTo>
                      <a:lnTo>
                        <a:pt x="14" y="349"/>
                      </a:lnTo>
                      <a:lnTo>
                        <a:pt x="31" y="295"/>
                      </a:lnTo>
                      <a:lnTo>
                        <a:pt x="55" y="245"/>
                      </a:lnTo>
                      <a:lnTo>
                        <a:pt x="83" y="199"/>
                      </a:lnTo>
                      <a:lnTo>
                        <a:pt x="117" y="156"/>
                      </a:lnTo>
                      <a:lnTo>
                        <a:pt x="156" y="117"/>
                      </a:lnTo>
                      <a:lnTo>
                        <a:pt x="199" y="82"/>
                      </a:lnTo>
                      <a:lnTo>
                        <a:pt x="246" y="55"/>
                      </a:lnTo>
                      <a:lnTo>
                        <a:pt x="297" y="32"/>
                      </a:lnTo>
                      <a:lnTo>
                        <a:pt x="351" y="14"/>
                      </a:lnTo>
                      <a:lnTo>
                        <a:pt x="407" y="4"/>
                      </a:lnTo>
                      <a:lnTo>
                        <a:pt x="46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02" name="Group 11"/>
              <p:cNvGrpSpPr>
                <a:grpSpLocks noChangeAspect="1"/>
              </p:cNvGrpSpPr>
              <p:nvPr/>
            </p:nvGrpSpPr>
            <p:grpSpPr bwMode="auto">
              <a:xfrm>
                <a:off x="1907514" y="3305202"/>
                <a:ext cx="757238" cy="1868488"/>
                <a:chOff x="2692" y="2202"/>
                <a:chExt cx="477" cy="1177"/>
              </a:xfrm>
              <a:grpFill/>
            </p:grpSpPr>
            <p:sp>
              <p:nvSpPr>
                <p:cNvPr id="103" name="Freeform 13"/>
                <p:cNvSpPr>
                  <a:spLocks/>
                </p:cNvSpPr>
                <p:nvPr/>
              </p:nvSpPr>
              <p:spPr bwMode="auto">
                <a:xfrm>
                  <a:off x="2692" y="2547"/>
                  <a:ext cx="477" cy="832"/>
                </a:xfrm>
                <a:custGeom>
                  <a:avLst/>
                  <a:gdLst>
                    <a:gd name="T0" fmla="*/ 170 w 1430"/>
                    <a:gd name="T1" fmla="*/ 0 h 2496"/>
                    <a:gd name="T2" fmla="*/ 204 w 1430"/>
                    <a:gd name="T3" fmla="*/ 0 h 2496"/>
                    <a:gd name="T4" fmla="*/ 269 w 1430"/>
                    <a:gd name="T5" fmla="*/ 0 h 2496"/>
                    <a:gd name="T6" fmla="*/ 358 w 1430"/>
                    <a:gd name="T7" fmla="*/ 0 h 2496"/>
                    <a:gd name="T8" fmla="*/ 466 w 1430"/>
                    <a:gd name="T9" fmla="*/ 0 h 2496"/>
                    <a:gd name="T10" fmla="*/ 585 w 1430"/>
                    <a:gd name="T11" fmla="*/ 0 h 2496"/>
                    <a:gd name="T12" fmla="*/ 712 w 1430"/>
                    <a:gd name="T13" fmla="*/ 0 h 2496"/>
                    <a:gd name="T14" fmla="*/ 837 w 1430"/>
                    <a:gd name="T15" fmla="*/ 0 h 2496"/>
                    <a:gd name="T16" fmla="*/ 957 w 1430"/>
                    <a:gd name="T17" fmla="*/ 0 h 2496"/>
                    <a:gd name="T18" fmla="*/ 1065 w 1430"/>
                    <a:gd name="T19" fmla="*/ 0 h 2496"/>
                    <a:gd name="T20" fmla="*/ 1156 w 1430"/>
                    <a:gd name="T21" fmla="*/ 0 h 2496"/>
                    <a:gd name="T22" fmla="*/ 1222 w 1430"/>
                    <a:gd name="T23" fmla="*/ 0 h 2496"/>
                    <a:gd name="T24" fmla="*/ 1258 w 1430"/>
                    <a:gd name="T25" fmla="*/ 0 h 2496"/>
                    <a:gd name="T26" fmla="*/ 1296 w 1430"/>
                    <a:gd name="T27" fmla="*/ 3 h 2496"/>
                    <a:gd name="T28" fmla="*/ 1356 w 1430"/>
                    <a:gd name="T29" fmla="*/ 29 h 2496"/>
                    <a:gd name="T30" fmla="*/ 1402 w 1430"/>
                    <a:gd name="T31" fmla="*/ 76 h 2496"/>
                    <a:gd name="T32" fmla="*/ 1426 w 1430"/>
                    <a:gd name="T33" fmla="*/ 135 h 2496"/>
                    <a:gd name="T34" fmla="*/ 1426 w 1430"/>
                    <a:gd name="T35" fmla="*/ 1214 h 2496"/>
                    <a:gd name="T36" fmla="*/ 1413 w 1430"/>
                    <a:gd name="T37" fmla="*/ 1278 h 2496"/>
                    <a:gd name="T38" fmla="*/ 1376 w 1430"/>
                    <a:gd name="T39" fmla="*/ 1332 h 2496"/>
                    <a:gd name="T40" fmla="*/ 1324 w 1430"/>
                    <a:gd name="T41" fmla="*/ 1368 h 2496"/>
                    <a:gd name="T42" fmla="*/ 1259 w 1430"/>
                    <a:gd name="T43" fmla="*/ 1382 h 2496"/>
                    <a:gd name="T44" fmla="*/ 1227 w 1430"/>
                    <a:gd name="T45" fmla="*/ 1380 h 2496"/>
                    <a:gd name="T46" fmla="*/ 1172 w 1430"/>
                    <a:gd name="T47" fmla="*/ 1357 h 2496"/>
                    <a:gd name="T48" fmla="*/ 1128 w 1430"/>
                    <a:gd name="T49" fmla="*/ 1316 h 2496"/>
                    <a:gd name="T50" fmla="*/ 1056 w 1430"/>
                    <a:gd name="T51" fmla="*/ 2369 h 2496"/>
                    <a:gd name="T52" fmla="*/ 1028 w 1430"/>
                    <a:gd name="T53" fmla="*/ 2427 h 2496"/>
                    <a:gd name="T54" fmla="*/ 982 w 1430"/>
                    <a:gd name="T55" fmla="*/ 2470 h 2496"/>
                    <a:gd name="T56" fmla="*/ 922 w 1430"/>
                    <a:gd name="T57" fmla="*/ 2492 h 2496"/>
                    <a:gd name="T58" fmla="*/ 542 w 1430"/>
                    <a:gd name="T59" fmla="*/ 2496 h 2496"/>
                    <a:gd name="T60" fmla="*/ 477 w 1430"/>
                    <a:gd name="T61" fmla="*/ 2484 h 2496"/>
                    <a:gd name="T62" fmla="*/ 423 w 1430"/>
                    <a:gd name="T63" fmla="*/ 2451 h 2496"/>
                    <a:gd name="T64" fmla="*/ 385 w 1430"/>
                    <a:gd name="T65" fmla="*/ 2400 h 2496"/>
                    <a:gd name="T66" fmla="*/ 369 w 1430"/>
                    <a:gd name="T67" fmla="*/ 2337 h 2496"/>
                    <a:gd name="T68" fmla="*/ 282 w 1430"/>
                    <a:gd name="T69" fmla="*/ 1340 h 2496"/>
                    <a:gd name="T70" fmla="*/ 232 w 1430"/>
                    <a:gd name="T71" fmla="*/ 1371 h 2496"/>
                    <a:gd name="T72" fmla="*/ 172 w 1430"/>
                    <a:gd name="T73" fmla="*/ 1382 h 2496"/>
                    <a:gd name="T74" fmla="*/ 138 w 1430"/>
                    <a:gd name="T75" fmla="*/ 1378 h 2496"/>
                    <a:gd name="T76" fmla="*/ 78 w 1430"/>
                    <a:gd name="T77" fmla="*/ 1353 h 2496"/>
                    <a:gd name="T78" fmla="*/ 33 w 1430"/>
                    <a:gd name="T79" fmla="*/ 1308 h 2496"/>
                    <a:gd name="T80" fmla="*/ 8 w 1430"/>
                    <a:gd name="T81" fmla="*/ 1248 h 2496"/>
                    <a:gd name="T82" fmla="*/ 0 w 1430"/>
                    <a:gd name="T83" fmla="*/ 168 h 2496"/>
                    <a:gd name="T84" fmla="*/ 14 w 1430"/>
                    <a:gd name="T85" fmla="*/ 102 h 2496"/>
                    <a:gd name="T86" fmla="*/ 50 w 1430"/>
                    <a:gd name="T87" fmla="*/ 49 h 2496"/>
                    <a:gd name="T88" fmla="*/ 103 w 1430"/>
                    <a:gd name="T89" fmla="*/ 12 h 2496"/>
                    <a:gd name="T90" fmla="*/ 168 w 1430"/>
                    <a:gd name="T91" fmla="*/ 0 h 24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30" h="2496">
                      <a:moveTo>
                        <a:pt x="168" y="0"/>
                      </a:moveTo>
                      <a:lnTo>
                        <a:pt x="170" y="0"/>
                      </a:lnTo>
                      <a:lnTo>
                        <a:pt x="182" y="0"/>
                      </a:lnTo>
                      <a:lnTo>
                        <a:pt x="204" y="0"/>
                      </a:lnTo>
                      <a:lnTo>
                        <a:pt x="233" y="0"/>
                      </a:lnTo>
                      <a:lnTo>
                        <a:pt x="269" y="0"/>
                      </a:lnTo>
                      <a:lnTo>
                        <a:pt x="311" y="0"/>
                      </a:lnTo>
                      <a:lnTo>
                        <a:pt x="358" y="0"/>
                      </a:lnTo>
                      <a:lnTo>
                        <a:pt x="409" y="0"/>
                      </a:lnTo>
                      <a:lnTo>
                        <a:pt x="466" y="0"/>
                      </a:lnTo>
                      <a:lnTo>
                        <a:pt x="524" y="0"/>
                      </a:lnTo>
                      <a:lnTo>
                        <a:pt x="585" y="0"/>
                      </a:lnTo>
                      <a:lnTo>
                        <a:pt x="648" y="0"/>
                      </a:lnTo>
                      <a:lnTo>
                        <a:pt x="712" y="0"/>
                      </a:lnTo>
                      <a:lnTo>
                        <a:pt x="774" y="0"/>
                      </a:lnTo>
                      <a:lnTo>
                        <a:pt x="837" y="0"/>
                      </a:lnTo>
                      <a:lnTo>
                        <a:pt x="898" y="0"/>
                      </a:lnTo>
                      <a:lnTo>
                        <a:pt x="957" y="0"/>
                      </a:lnTo>
                      <a:lnTo>
                        <a:pt x="1013" y="0"/>
                      </a:lnTo>
                      <a:lnTo>
                        <a:pt x="1065" y="0"/>
                      </a:lnTo>
                      <a:lnTo>
                        <a:pt x="1114" y="0"/>
                      </a:lnTo>
                      <a:lnTo>
                        <a:pt x="1156" y="0"/>
                      </a:lnTo>
                      <a:lnTo>
                        <a:pt x="1191" y="0"/>
                      </a:lnTo>
                      <a:lnTo>
                        <a:pt x="1222" y="0"/>
                      </a:lnTo>
                      <a:lnTo>
                        <a:pt x="1244" y="0"/>
                      </a:lnTo>
                      <a:lnTo>
                        <a:pt x="1258" y="0"/>
                      </a:lnTo>
                      <a:lnTo>
                        <a:pt x="1263" y="0"/>
                      </a:lnTo>
                      <a:lnTo>
                        <a:pt x="1296" y="3"/>
                      </a:lnTo>
                      <a:lnTo>
                        <a:pt x="1328" y="14"/>
                      </a:lnTo>
                      <a:lnTo>
                        <a:pt x="1356" y="29"/>
                      </a:lnTo>
                      <a:lnTo>
                        <a:pt x="1381" y="50"/>
                      </a:lnTo>
                      <a:lnTo>
                        <a:pt x="1402" y="76"/>
                      </a:lnTo>
                      <a:lnTo>
                        <a:pt x="1417" y="105"/>
                      </a:lnTo>
                      <a:lnTo>
                        <a:pt x="1426" y="135"/>
                      </a:lnTo>
                      <a:lnTo>
                        <a:pt x="1430" y="170"/>
                      </a:lnTo>
                      <a:lnTo>
                        <a:pt x="1426" y="1214"/>
                      </a:lnTo>
                      <a:lnTo>
                        <a:pt x="1424" y="1247"/>
                      </a:lnTo>
                      <a:lnTo>
                        <a:pt x="1413" y="1278"/>
                      </a:lnTo>
                      <a:lnTo>
                        <a:pt x="1398" y="1306"/>
                      </a:lnTo>
                      <a:lnTo>
                        <a:pt x="1376" y="1332"/>
                      </a:lnTo>
                      <a:lnTo>
                        <a:pt x="1352" y="1353"/>
                      </a:lnTo>
                      <a:lnTo>
                        <a:pt x="1324" y="1368"/>
                      </a:lnTo>
                      <a:lnTo>
                        <a:pt x="1292" y="1378"/>
                      </a:lnTo>
                      <a:lnTo>
                        <a:pt x="1259" y="1382"/>
                      </a:lnTo>
                      <a:lnTo>
                        <a:pt x="1258" y="1382"/>
                      </a:lnTo>
                      <a:lnTo>
                        <a:pt x="1227" y="1380"/>
                      </a:lnTo>
                      <a:lnTo>
                        <a:pt x="1198" y="1371"/>
                      </a:lnTo>
                      <a:lnTo>
                        <a:pt x="1172" y="1357"/>
                      </a:lnTo>
                      <a:lnTo>
                        <a:pt x="1148" y="1338"/>
                      </a:lnTo>
                      <a:lnTo>
                        <a:pt x="1128" y="1316"/>
                      </a:lnTo>
                      <a:lnTo>
                        <a:pt x="1063" y="2337"/>
                      </a:lnTo>
                      <a:lnTo>
                        <a:pt x="1056" y="2369"/>
                      </a:lnTo>
                      <a:lnTo>
                        <a:pt x="1045" y="2400"/>
                      </a:lnTo>
                      <a:lnTo>
                        <a:pt x="1028" y="2427"/>
                      </a:lnTo>
                      <a:lnTo>
                        <a:pt x="1008" y="2449"/>
                      </a:lnTo>
                      <a:lnTo>
                        <a:pt x="982" y="2470"/>
                      </a:lnTo>
                      <a:lnTo>
                        <a:pt x="953" y="2484"/>
                      </a:lnTo>
                      <a:lnTo>
                        <a:pt x="922" y="2492"/>
                      </a:lnTo>
                      <a:lnTo>
                        <a:pt x="888" y="2496"/>
                      </a:lnTo>
                      <a:lnTo>
                        <a:pt x="542" y="2496"/>
                      </a:lnTo>
                      <a:lnTo>
                        <a:pt x="509" y="2492"/>
                      </a:lnTo>
                      <a:lnTo>
                        <a:pt x="477" y="2484"/>
                      </a:lnTo>
                      <a:lnTo>
                        <a:pt x="448" y="2470"/>
                      </a:lnTo>
                      <a:lnTo>
                        <a:pt x="423" y="2451"/>
                      </a:lnTo>
                      <a:lnTo>
                        <a:pt x="402" y="2427"/>
                      </a:lnTo>
                      <a:lnTo>
                        <a:pt x="385" y="2400"/>
                      </a:lnTo>
                      <a:lnTo>
                        <a:pt x="374" y="2369"/>
                      </a:lnTo>
                      <a:lnTo>
                        <a:pt x="369" y="2337"/>
                      </a:lnTo>
                      <a:lnTo>
                        <a:pt x="302" y="1319"/>
                      </a:lnTo>
                      <a:lnTo>
                        <a:pt x="282" y="1340"/>
                      </a:lnTo>
                      <a:lnTo>
                        <a:pt x="259" y="1357"/>
                      </a:lnTo>
                      <a:lnTo>
                        <a:pt x="232" y="1371"/>
                      </a:lnTo>
                      <a:lnTo>
                        <a:pt x="203" y="1380"/>
                      </a:lnTo>
                      <a:lnTo>
                        <a:pt x="172" y="1382"/>
                      </a:lnTo>
                      <a:lnTo>
                        <a:pt x="172" y="1382"/>
                      </a:lnTo>
                      <a:lnTo>
                        <a:pt x="138" y="1378"/>
                      </a:lnTo>
                      <a:lnTo>
                        <a:pt x="107" y="1368"/>
                      </a:lnTo>
                      <a:lnTo>
                        <a:pt x="78" y="1353"/>
                      </a:lnTo>
                      <a:lnTo>
                        <a:pt x="53" y="1333"/>
                      </a:lnTo>
                      <a:lnTo>
                        <a:pt x="33" y="1308"/>
                      </a:lnTo>
                      <a:lnTo>
                        <a:pt x="18" y="1278"/>
                      </a:lnTo>
                      <a:lnTo>
                        <a:pt x="8" y="1248"/>
                      </a:lnTo>
                      <a:lnTo>
                        <a:pt x="4" y="1214"/>
                      </a:lnTo>
                      <a:lnTo>
                        <a:pt x="0" y="168"/>
                      </a:lnTo>
                      <a:lnTo>
                        <a:pt x="4" y="134"/>
                      </a:lnTo>
                      <a:lnTo>
                        <a:pt x="14" y="102"/>
                      </a:lnTo>
                      <a:lnTo>
                        <a:pt x="29" y="74"/>
                      </a:lnTo>
                      <a:lnTo>
                        <a:pt x="50" y="49"/>
                      </a:lnTo>
                      <a:lnTo>
                        <a:pt x="74" y="29"/>
                      </a:lnTo>
                      <a:lnTo>
                        <a:pt x="103" y="12"/>
                      </a:lnTo>
                      <a:lnTo>
                        <a:pt x="135" y="3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4" name="Freeform 14"/>
                <p:cNvSpPr>
                  <a:spLocks/>
                </p:cNvSpPr>
                <p:nvPr/>
              </p:nvSpPr>
              <p:spPr bwMode="auto">
                <a:xfrm>
                  <a:off x="2776" y="2202"/>
                  <a:ext cx="310" cy="308"/>
                </a:xfrm>
                <a:custGeom>
                  <a:avLst/>
                  <a:gdLst>
                    <a:gd name="T0" fmla="*/ 466 w 931"/>
                    <a:gd name="T1" fmla="*/ 0 h 925"/>
                    <a:gd name="T2" fmla="*/ 524 w 931"/>
                    <a:gd name="T3" fmla="*/ 4 h 925"/>
                    <a:gd name="T4" fmla="*/ 580 w 931"/>
                    <a:gd name="T5" fmla="*/ 14 h 925"/>
                    <a:gd name="T6" fmla="*/ 634 w 931"/>
                    <a:gd name="T7" fmla="*/ 32 h 925"/>
                    <a:gd name="T8" fmla="*/ 684 w 931"/>
                    <a:gd name="T9" fmla="*/ 55 h 925"/>
                    <a:gd name="T10" fmla="*/ 731 w 931"/>
                    <a:gd name="T11" fmla="*/ 82 h 925"/>
                    <a:gd name="T12" fmla="*/ 774 w 931"/>
                    <a:gd name="T13" fmla="*/ 117 h 925"/>
                    <a:gd name="T14" fmla="*/ 814 w 931"/>
                    <a:gd name="T15" fmla="*/ 156 h 925"/>
                    <a:gd name="T16" fmla="*/ 847 w 931"/>
                    <a:gd name="T17" fmla="*/ 199 h 925"/>
                    <a:gd name="T18" fmla="*/ 876 w 931"/>
                    <a:gd name="T19" fmla="*/ 245 h 925"/>
                    <a:gd name="T20" fmla="*/ 899 w 931"/>
                    <a:gd name="T21" fmla="*/ 295 h 925"/>
                    <a:gd name="T22" fmla="*/ 917 w 931"/>
                    <a:gd name="T23" fmla="*/ 349 h 925"/>
                    <a:gd name="T24" fmla="*/ 927 w 931"/>
                    <a:gd name="T25" fmla="*/ 404 h 925"/>
                    <a:gd name="T26" fmla="*/ 931 w 931"/>
                    <a:gd name="T27" fmla="*/ 463 h 925"/>
                    <a:gd name="T28" fmla="*/ 927 w 931"/>
                    <a:gd name="T29" fmla="*/ 521 h 925"/>
                    <a:gd name="T30" fmla="*/ 917 w 931"/>
                    <a:gd name="T31" fmla="*/ 577 h 925"/>
                    <a:gd name="T32" fmla="*/ 899 w 931"/>
                    <a:gd name="T33" fmla="*/ 630 h 925"/>
                    <a:gd name="T34" fmla="*/ 876 w 931"/>
                    <a:gd name="T35" fmla="*/ 681 h 925"/>
                    <a:gd name="T36" fmla="*/ 847 w 931"/>
                    <a:gd name="T37" fmla="*/ 727 h 925"/>
                    <a:gd name="T38" fmla="*/ 814 w 931"/>
                    <a:gd name="T39" fmla="*/ 769 h 925"/>
                    <a:gd name="T40" fmla="*/ 774 w 931"/>
                    <a:gd name="T41" fmla="*/ 809 h 925"/>
                    <a:gd name="T42" fmla="*/ 731 w 931"/>
                    <a:gd name="T43" fmla="*/ 843 h 925"/>
                    <a:gd name="T44" fmla="*/ 684 w 931"/>
                    <a:gd name="T45" fmla="*/ 871 h 925"/>
                    <a:gd name="T46" fmla="*/ 634 w 931"/>
                    <a:gd name="T47" fmla="*/ 893 h 925"/>
                    <a:gd name="T48" fmla="*/ 580 w 931"/>
                    <a:gd name="T49" fmla="*/ 911 h 925"/>
                    <a:gd name="T50" fmla="*/ 524 w 931"/>
                    <a:gd name="T51" fmla="*/ 921 h 925"/>
                    <a:gd name="T52" fmla="*/ 466 w 931"/>
                    <a:gd name="T53" fmla="*/ 925 h 925"/>
                    <a:gd name="T54" fmla="*/ 407 w 931"/>
                    <a:gd name="T55" fmla="*/ 921 h 925"/>
                    <a:gd name="T56" fmla="*/ 351 w 931"/>
                    <a:gd name="T57" fmla="*/ 911 h 925"/>
                    <a:gd name="T58" fmla="*/ 297 w 931"/>
                    <a:gd name="T59" fmla="*/ 893 h 925"/>
                    <a:gd name="T60" fmla="*/ 246 w 931"/>
                    <a:gd name="T61" fmla="*/ 871 h 925"/>
                    <a:gd name="T62" fmla="*/ 199 w 931"/>
                    <a:gd name="T63" fmla="*/ 843 h 925"/>
                    <a:gd name="T64" fmla="*/ 156 w 931"/>
                    <a:gd name="T65" fmla="*/ 809 h 925"/>
                    <a:gd name="T66" fmla="*/ 117 w 931"/>
                    <a:gd name="T67" fmla="*/ 769 h 925"/>
                    <a:gd name="T68" fmla="*/ 83 w 931"/>
                    <a:gd name="T69" fmla="*/ 727 h 925"/>
                    <a:gd name="T70" fmla="*/ 55 w 931"/>
                    <a:gd name="T71" fmla="*/ 681 h 925"/>
                    <a:gd name="T72" fmla="*/ 31 w 931"/>
                    <a:gd name="T73" fmla="*/ 630 h 925"/>
                    <a:gd name="T74" fmla="*/ 14 w 931"/>
                    <a:gd name="T75" fmla="*/ 577 h 925"/>
                    <a:gd name="T76" fmla="*/ 4 w 931"/>
                    <a:gd name="T77" fmla="*/ 521 h 925"/>
                    <a:gd name="T78" fmla="*/ 0 w 931"/>
                    <a:gd name="T79" fmla="*/ 463 h 925"/>
                    <a:gd name="T80" fmla="*/ 4 w 931"/>
                    <a:gd name="T81" fmla="*/ 404 h 925"/>
                    <a:gd name="T82" fmla="*/ 14 w 931"/>
                    <a:gd name="T83" fmla="*/ 349 h 925"/>
                    <a:gd name="T84" fmla="*/ 31 w 931"/>
                    <a:gd name="T85" fmla="*/ 295 h 925"/>
                    <a:gd name="T86" fmla="*/ 55 w 931"/>
                    <a:gd name="T87" fmla="*/ 245 h 925"/>
                    <a:gd name="T88" fmla="*/ 83 w 931"/>
                    <a:gd name="T89" fmla="*/ 199 h 925"/>
                    <a:gd name="T90" fmla="*/ 117 w 931"/>
                    <a:gd name="T91" fmla="*/ 156 h 925"/>
                    <a:gd name="T92" fmla="*/ 156 w 931"/>
                    <a:gd name="T93" fmla="*/ 117 h 925"/>
                    <a:gd name="T94" fmla="*/ 199 w 931"/>
                    <a:gd name="T95" fmla="*/ 82 h 925"/>
                    <a:gd name="T96" fmla="*/ 246 w 931"/>
                    <a:gd name="T97" fmla="*/ 55 h 925"/>
                    <a:gd name="T98" fmla="*/ 297 w 931"/>
                    <a:gd name="T99" fmla="*/ 32 h 925"/>
                    <a:gd name="T100" fmla="*/ 351 w 931"/>
                    <a:gd name="T101" fmla="*/ 14 h 925"/>
                    <a:gd name="T102" fmla="*/ 407 w 931"/>
                    <a:gd name="T103" fmla="*/ 4 h 925"/>
                    <a:gd name="T104" fmla="*/ 466 w 931"/>
                    <a:gd name="T105" fmla="*/ 0 h 9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931" h="925">
                      <a:moveTo>
                        <a:pt x="466" y="0"/>
                      </a:moveTo>
                      <a:lnTo>
                        <a:pt x="524" y="4"/>
                      </a:lnTo>
                      <a:lnTo>
                        <a:pt x="580" y="14"/>
                      </a:lnTo>
                      <a:lnTo>
                        <a:pt x="634" y="32"/>
                      </a:lnTo>
                      <a:lnTo>
                        <a:pt x="684" y="55"/>
                      </a:lnTo>
                      <a:lnTo>
                        <a:pt x="731" y="82"/>
                      </a:lnTo>
                      <a:lnTo>
                        <a:pt x="774" y="117"/>
                      </a:lnTo>
                      <a:lnTo>
                        <a:pt x="814" y="156"/>
                      </a:lnTo>
                      <a:lnTo>
                        <a:pt x="847" y="199"/>
                      </a:lnTo>
                      <a:lnTo>
                        <a:pt x="876" y="245"/>
                      </a:lnTo>
                      <a:lnTo>
                        <a:pt x="899" y="295"/>
                      </a:lnTo>
                      <a:lnTo>
                        <a:pt x="917" y="349"/>
                      </a:lnTo>
                      <a:lnTo>
                        <a:pt x="927" y="404"/>
                      </a:lnTo>
                      <a:lnTo>
                        <a:pt x="931" y="463"/>
                      </a:lnTo>
                      <a:lnTo>
                        <a:pt x="927" y="521"/>
                      </a:lnTo>
                      <a:lnTo>
                        <a:pt x="917" y="577"/>
                      </a:lnTo>
                      <a:lnTo>
                        <a:pt x="899" y="630"/>
                      </a:lnTo>
                      <a:lnTo>
                        <a:pt x="876" y="681"/>
                      </a:lnTo>
                      <a:lnTo>
                        <a:pt x="847" y="727"/>
                      </a:lnTo>
                      <a:lnTo>
                        <a:pt x="814" y="769"/>
                      </a:lnTo>
                      <a:lnTo>
                        <a:pt x="774" y="809"/>
                      </a:lnTo>
                      <a:lnTo>
                        <a:pt x="731" y="843"/>
                      </a:lnTo>
                      <a:lnTo>
                        <a:pt x="684" y="871"/>
                      </a:lnTo>
                      <a:lnTo>
                        <a:pt x="634" y="893"/>
                      </a:lnTo>
                      <a:lnTo>
                        <a:pt x="580" y="911"/>
                      </a:lnTo>
                      <a:lnTo>
                        <a:pt x="524" y="921"/>
                      </a:lnTo>
                      <a:lnTo>
                        <a:pt x="466" y="925"/>
                      </a:lnTo>
                      <a:lnTo>
                        <a:pt x="407" y="921"/>
                      </a:lnTo>
                      <a:lnTo>
                        <a:pt x="351" y="911"/>
                      </a:lnTo>
                      <a:lnTo>
                        <a:pt x="297" y="893"/>
                      </a:lnTo>
                      <a:lnTo>
                        <a:pt x="246" y="871"/>
                      </a:lnTo>
                      <a:lnTo>
                        <a:pt x="199" y="843"/>
                      </a:lnTo>
                      <a:lnTo>
                        <a:pt x="156" y="809"/>
                      </a:lnTo>
                      <a:lnTo>
                        <a:pt x="117" y="769"/>
                      </a:lnTo>
                      <a:lnTo>
                        <a:pt x="83" y="727"/>
                      </a:lnTo>
                      <a:lnTo>
                        <a:pt x="55" y="681"/>
                      </a:lnTo>
                      <a:lnTo>
                        <a:pt x="31" y="630"/>
                      </a:lnTo>
                      <a:lnTo>
                        <a:pt x="14" y="577"/>
                      </a:lnTo>
                      <a:lnTo>
                        <a:pt x="4" y="521"/>
                      </a:lnTo>
                      <a:lnTo>
                        <a:pt x="0" y="463"/>
                      </a:lnTo>
                      <a:lnTo>
                        <a:pt x="4" y="404"/>
                      </a:lnTo>
                      <a:lnTo>
                        <a:pt x="14" y="349"/>
                      </a:lnTo>
                      <a:lnTo>
                        <a:pt x="31" y="295"/>
                      </a:lnTo>
                      <a:lnTo>
                        <a:pt x="55" y="245"/>
                      </a:lnTo>
                      <a:lnTo>
                        <a:pt x="83" y="199"/>
                      </a:lnTo>
                      <a:lnTo>
                        <a:pt x="117" y="156"/>
                      </a:lnTo>
                      <a:lnTo>
                        <a:pt x="156" y="117"/>
                      </a:lnTo>
                      <a:lnTo>
                        <a:pt x="199" y="82"/>
                      </a:lnTo>
                      <a:lnTo>
                        <a:pt x="246" y="55"/>
                      </a:lnTo>
                      <a:lnTo>
                        <a:pt x="297" y="32"/>
                      </a:lnTo>
                      <a:lnTo>
                        <a:pt x="351" y="14"/>
                      </a:lnTo>
                      <a:lnTo>
                        <a:pt x="407" y="4"/>
                      </a:lnTo>
                      <a:lnTo>
                        <a:pt x="46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cxnSp>
        <p:nvCxnSpPr>
          <p:cNvPr id="120" name="Straight Connector 119"/>
          <p:cNvCxnSpPr/>
          <p:nvPr/>
        </p:nvCxnSpPr>
        <p:spPr>
          <a:xfrm>
            <a:off x="9304527" y="3492420"/>
            <a:ext cx="0" cy="905888"/>
          </a:xfrm>
          <a:prstGeom prst="line">
            <a:avLst/>
          </a:prstGeom>
          <a:ln w="6350">
            <a:solidFill>
              <a:schemeClr val="bg2">
                <a:alpha val="37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099" name="Group 26"/>
          <p:cNvGrpSpPr>
            <a:grpSpLocks noChangeAspect="1"/>
          </p:cNvGrpSpPr>
          <p:nvPr/>
        </p:nvGrpSpPr>
        <p:grpSpPr bwMode="auto">
          <a:xfrm>
            <a:off x="6957338" y="1363381"/>
            <a:ext cx="499906" cy="506153"/>
            <a:chOff x="2277" y="576"/>
            <a:chExt cx="3121" cy="3160"/>
          </a:xfrm>
          <a:solidFill>
            <a:schemeClr val="accent2"/>
          </a:solidFill>
        </p:grpSpPr>
        <p:sp>
          <p:nvSpPr>
            <p:cNvPr id="4102" name="Freeform 28"/>
            <p:cNvSpPr>
              <a:spLocks/>
            </p:cNvSpPr>
            <p:nvPr/>
          </p:nvSpPr>
          <p:spPr bwMode="auto">
            <a:xfrm>
              <a:off x="2277" y="576"/>
              <a:ext cx="1494" cy="1494"/>
            </a:xfrm>
            <a:custGeom>
              <a:avLst/>
              <a:gdLst>
                <a:gd name="T0" fmla="*/ 530 w 2988"/>
                <a:gd name="T1" fmla="*/ 2 h 2988"/>
                <a:gd name="T2" fmla="*/ 566 w 2988"/>
                <a:gd name="T3" fmla="*/ 23 h 2988"/>
                <a:gd name="T4" fmla="*/ 2088 w 2988"/>
                <a:gd name="T5" fmla="*/ 601 h 2988"/>
                <a:gd name="T6" fmla="*/ 2088 w 2988"/>
                <a:gd name="T7" fmla="*/ 490 h 2988"/>
                <a:gd name="T8" fmla="*/ 2120 w 2988"/>
                <a:gd name="T9" fmla="*/ 382 h 2988"/>
                <a:gd name="T10" fmla="*/ 2188 w 2988"/>
                <a:gd name="T11" fmla="*/ 290 h 2988"/>
                <a:gd name="T12" fmla="*/ 2282 w 2988"/>
                <a:gd name="T13" fmla="*/ 221 h 2988"/>
                <a:gd name="T14" fmla="*/ 2387 w 2988"/>
                <a:gd name="T15" fmla="*/ 188 h 2988"/>
                <a:gd name="T16" fmla="*/ 2498 w 2988"/>
                <a:gd name="T17" fmla="*/ 188 h 2988"/>
                <a:gd name="T18" fmla="*/ 2604 w 2988"/>
                <a:gd name="T19" fmla="*/ 221 h 2988"/>
                <a:gd name="T20" fmla="*/ 2698 w 2988"/>
                <a:gd name="T21" fmla="*/ 290 h 2988"/>
                <a:gd name="T22" fmla="*/ 2765 w 2988"/>
                <a:gd name="T23" fmla="*/ 382 h 2988"/>
                <a:gd name="T24" fmla="*/ 2800 w 2988"/>
                <a:gd name="T25" fmla="*/ 490 h 2988"/>
                <a:gd name="T26" fmla="*/ 2800 w 2988"/>
                <a:gd name="T27" fmla="*/ 599 h 2988"/>
                <a:gd name="T28" fmla="*/ 2765 w 2988"/>
                <a:gd name="T29" fmla="*/ 705 h 2988"/>
                <a:gd name="T30" fmla="*/ 2698 w 2988"/>
                <a:gd name="T31" fmla="*/ 799 h 2988"/>
                <a:gd name="T32" fmla="*/ 2604 w 2988"/>
                <a:gd name="T33" fmla="*/ 866 h 2988"/>
                <a:gd name="T34" fmla="*/ 2497 w 2988"/>
                <a:gd name="T35" fmla="*/ 901 h 2988"/>
                <a:gd name="T36" fmla="*/ 2387 w 2988"/>
                <a:gd name="T37" fmla="*/ 899 h 2988"/>
                <a:gd name="T38" fmla="*/ 2965 w 2988"/>
                <a:gd name="T39" fmla="*/ 2422 h 2988"/>
                <a:gd name="T40" fmla="*/ 2986 w 2988"/>
                <a:gd name="T41" fmla="*/ 2460 h 2988"/>
                <a:gd name="T42" fmla="*/ 2984 w 2988"/>
                <a:gd name="T43" fmla="*/ 2503 h 2988"/>
                <a:gd name="T44" fmla="*/ 2959 w 2988"/>
                <a:gd name="T45" fmla="*/ 2539 h 2988"/>
                <a:gd name="T46" fmla="*/ 2742 w 2988"/>
                <a:gd name="T47" fmla="*/ 2698 h 2988"/>
                <a:gd name="T48" fmla="*/ 2506 w 2988"/>
                <a:gd name="T49" fmla="*/ 2821 h 2988"/>
                <a:gd name="T50" fmla="*/ 2261 w 2988"/>
                <a:gd name="T51" fmla="*/ 2906 h 2988"/>
                <a:gd name="T52" fmla="*/ 2005 w 2988"/>
                <a:gd name="T53" fmla="*/ 2954 h 2988"/>
                <a:gd name="T54" fmla="*/ 1748 w 2988"/>
                <a:gd name="T55" fmla="*/ 2965 h 2988"/>
                <a:gd name="T56" fmla="*/ 1491 w 2988"/>
                <a:gd name="T57" fmla="*/ 2938 h 2988"/>
                <a:gd name="T58" fmla="*/ 1240 w 2988"/>
                <a:gd name="T59" fmla="*/ 2875 h 2988"/>
                <a:gd name="T60" fmla="*/ 1054 w 2988"/>
                <a:gd name="T61" fmla="*/ 2877 h 2988"/>
                <a:gd name="T62" fmla="*/ 913 w 2988"/>
                <a:gd name="T63" fmla="*/ 2946 h 2988"/>
                <a:gd name="T64" fmla="*/ 766 w 2988"/>
                <a:gd name="T65" fmla="*/ 2983 h 2988"/>
                <a:gd name="T66" fmla="*/ 614 w 2988"/>
                <a:gd name="T67" fmla="*/ 2985 h 2988"/>
                <a:gd name="T68" fmla="*/ 466 w 2988"/>
                <a:gd name="T69" fmla="*/ 2954 h 2988"/>
                <a:gd name="T70" fmla="*/ 326 w 2988"/>
                <a:gd name="T71" fmla="*/ 2889 h 2988"/>
                <a:gd name="T72" fmla="*/ 200 w 2988"/>
                <a:gd name="T73" fmla="*/ 2789 h 2988"/>
                <a:gd name="T74" fmla="*/ 104 w 2988"/>
                <a:gd name="T75" fmla="*/ 2670 h 2988"/>
                <a:gd name="T76" fmla="*/ 38 w 2988"/>
                <a:gd name="T77" fmla="*/ 2531 h 2988"/>
                <a:gd name="T78" fmla="*/ 4 w 2988"/>
                <a:gd name="T79" fmla="*/ 2383 h 2988"/>
                <a:gd name="T80" fmla="*/ 4 w 2988"/>
                <a:gd name="T81" fmla="*/ 2226 h 2988"/>
                <a:gd name="T82" fmla="*/ 42 w 2988"/>
                <a:gd name="T83" fmla="*/ 2074 h 2988"/>
                <a:gd name="T84" fmla="*/ 113 w 2988"/>
                <a:gd name="T85" fmla="*/ 1936 h 2988"/>
                <a:gd name="T86" fmla="*/ 113 w 2988"/>
                <a:gd name="T87" fmla="*/ 1750 h 2988"/>
                <a:gd name="T88" fmla="*/ 50 w 2988"/>
                <a:gd name="T89" fmla="*/ 1498 h 2988"/>
                <a:gd name="T90" fmla="*/ 23 w 2988"/>
                <a:gd name="T91" fmla="*/ 1241 h 2988"/>
                <a:gd name="T92" fmla="*/ 35 w 2988"/>
                <a:gd name="T93" fmla="*/ 981 h 2988"/>
                <a:gd name="T94" fmla="*/ 83 w 2988"/>
                <a:gd name="T95" fmla="*/ 728 h 2988"/>
                <a:gd name="T96" fmla="*/ 169 w 2988"/>
                <a:gd name="T97" fmla="*/ 480 h 2988"/>
                <a:gd name="T98" fmla="*/ 290 w 2988"/>
                <a:gd name="T99" fmla="*/ 246 h 2988"/>
                <a:gd name="T100" fmla="*/ 451 w 2988"/>
                <a:gd name="T101" fmla="*/ 27 h 2988"/>
                <a:gd name="T102" fmla="*/ 485 w 2988"/>
                <a:gd name="T103" fmla="*/ 4 h 2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88" h="2988">
                  <a:moveTo>
                    <a:pt x="509" y="0"/>
                  </a:moveTo>
                  <a:lnTo>
                    <a:pt x="530" y="2"/>
                  </a:lnTo>
                  <a:lnTo>
                    <a:pt x="549" y="10"/>
                  </a:lnTo>
                  <a:lnTo>
                    <a:pt x="566" y="23"/>
                  </a:lnTo>
                  <a:lnTo>
                    <a:pt x="1616" y="1074"/>
                  </a:lnTo>
                  <a:lnTo>
                    <a:pt x="2088" y="601"/>
                  </a:lnTo>
                  <a:lnTo>
                    <a:pt x="2084" y="545"/>
                  </a:lnTo>
                  <a:lnTo>
                    <a:pt x="2088" y="490"/>
                  </a:lnTo>
                  <a:lnTo>
                    <a:pt x="2099" y="436"/>
                  </a:lnTo>
                  <a:lnTo>
                    <a:pt x="2120" y="382"/>
                  </a:lnTo>
                  <a:lnTo>
                    <a:pt x="2151" y="334"/>
                  </a:lnTo>
                  <a:lnTo>
                    <a:pt x="2188" y="290"/>
                  </a:lnTo>
                  <a:lnTo>
                    <a:pt x="2234" y="252"/>
                  </a:lnTo>
                  <a:lnTo>
                    <a:pt x="2282" y="221"/>
                  </a:lnTo>
                  <a:lnTo>
                    <a:pt x="2333" y="200"/>
                  </a:lnTo>
                  <a:lnTo>
                    <a:pt x="2387" y="188"/>
                  </a:lnTo>
                  <a:lnTo>
                    <a:pt x="2443" y="184"/>
                  </a:lnTo>
                  <a:lnTo>
                    <a:pt x="2498" y="188"/>
                  </a:lnTo>
                  <a:lnTo>
                    <a:pt x="2552" y="200"/>
                  </a:lnTo>
                  <a:lnTo>
                    <a:pt x="2604" y="221"/>
                  </a:lnTo>
                  <a:lnTo>
                    <a:pt x="2654" y="252"/>
                  </a:lnTo>
                  <a:lnTo>
                    <a:pt x="2698" y="290"/>
                  </a:lnTo>
                  <a:lnTo>
                    <a:pt x="2736" y="334"/>
                  </a:lnTo>
                  <a:lnTo>
                    <a:pt x="2765" y="382"/>
                  </a:lnTo>
                  <a:lnTo>
                    <a:pt x="2786" y="434"/>
                  </a:lnTo>
                  <a:lnTo>
                    <a:pt x="2800" y="490"/>
                  </a:lnTo>
                  <a:lnTo>
                    <a:pt x="2804" y="544"/>
                  </a:lnTo>
                  <a:lnTo>
                    <a:pt x="2800" y="599"/>
                  </a:lnTo>
                  <a:lnTo>
                    <a:pt x="2786" y="653"/>
                  </a:lnTo>
                  <a:lnTo>
                    <a:pt x="2765" y="705"/>
                  </a:lnTo>
                  <a:lnTo>
                    <a:pt x="2736" y="755"/>
                  </a:lnTo>
                  <a:lnTo>
                    <a:pt x="2698" y="799"/>
                  </a:lnTo>
                  <a:lnTo>
                    <a:pt x="2654" y="837"/>
                  </a:lnTo>
                  <a:lnTo>
                    <a:pt x="2604" y="866"/>
                  </a:lnTo>
                  <a:lnTo>
                    <a:pt x="2552" y="887"/>
                  </a:lnTo>
                  <a:lnTo>
                    <a:pt x="2497" y="901"/>
                  </a:lnTo>
                  <a:lnTo>
                    <a:pt x="2443" y="905"/>
                  </a:lnTo>
                  <a:lnTo>
                    <a:pt x="2387" y="899"/>
                  </a:lnTo>
                  <a:lnTo>
                    <a:pt x="1915" y="1371"/>
                  </a:lnTo>
                  <a:lnTo>
                    <a:pt x="2965" y="2422"/>
                  </a:lnTo>
                  <a:lnTo>
                    <a:pt x="2976" y="2439"/>
                  </a:lnTo>
                  <a:lnTo>
                    <a:pt x="2986" y="2460"/>
                  </a:lnTo>
                  <a:lnTo>
                    <a:pt x="2988" y="2481"/>
                  </a:lnTo>
                  <a:lnTo>
                    <a:pt x="2984" y="2503"/>
                  </a:lnTo>
                  <a:lnTo>
                    <a:pt x="2974" y="2522"/>
                  </a:lnTo>
                  <a:lnTo>
                    <a:pt x="2959" y="2539"/>
                  </a:lnTo>
                  <a:lnTo>
                    <a:pt x="2854" y="2624"/>
                  </a:lnTo>
                  <a:lnTo>
                    <a:pt x="2742" y="2698"/>
                  </a:lnTo>
                  <a:lnTo>
                    <a:pt x="2625" y="2764"/>
                  </a:lnTo>
                  <a:lnTo>
                    <a:pt x="2506" y="2821"/>
                  </a:lnTo>
                  <a:lnTo>
                    <a:pt x="2385" y="2869"/>
                  </a:lnTo>
                  <a:lnTo>
                    <a:pt x="2261" y="2906"/>
                  </a:lnTo>
                  <a:lnTo>
                    <a:pt x="2134" y="2935"/>
                  </a:lnTo>
                  <a:lnTo>
                    <a:pt x="2005" y="2954"/>
                  </a:lnTo>
                  <a:lnTo>
                    <a:pt x="1877" y="2965"/>
                  </a:lnTo>
                  <a:lnTo>
                    <a:pt x="1748" y="2965"/>
                  </a:lnTo>
                  <a:lnTo>
                    <a:pt x="1620" y="2958"/>
                  </a:lnTo>
                  <a:lnTo>
                    <a:pt x="1491" y="2938"/>
                  </a:lnTo>
                  <a:lnTo>
                    <a:pt x="1364" y="2912"/>
                  </a:lnTo>
                  <a:lnTo>
                    <a:pt x="1240" y="2875"/>
                  </a:lnTo>
                  <a:lnTo>
                    <a:pt x="1117" y="2829"/>
                  </a:lnTo>
                  <a:lnTo>
                    <a:pt x="1054" y="2877"/>
                  </a:lnTo>
                  <a:lnTo>
                    <a:pt x="984" y="2915"/>
                  </a:lnTo>
                  <a:lnTo>
                    <a:pt x="913" y="2946"/>
                  </a:lnTo>
                  <a:lnTo>
                    <a:pt x="841" y="2969"/>
                  </a:lnTo>
                  <a:lnTo>
                    <a:pt x="766" y="2983"/>
                  </a:lnTo>
                  <a:lnTo>
                    <a:pt x="689" y="2988"/>
                  </a:lnTo>
                  <a:lnTo>
                    <a:pt x="614" y="2985"/>
                  </a:lnTo>
                  <a:lnTo>
                    <a:pt x="539" y="2973"/>
                  </a:lnTo>
                  <a:lnTo>
                    <a:pt x="466" y="2954"/>
                  </a:lnTo>
                  <a:lnTo>
                    <a:pt x="393" y="2925"/>
                  </a:lnTo>
                  <a:lnTo>
                    <a:pt x="326" y="2889"/>
                  </a:lnTo>
                  <a:lnTo>
                    <a:pt x="261" y="2842"/>
                  </a:lnTo>
                  <a:lnTo>
                    <a:pt x="200" y="2789"/>
                  </a:lnTo>
                  <a:lnTo>
                    <a:pt x="148" y="2731"/>
                  </a:lnTo>
                  <a:lnTo>
                    <a:pt x="104" y="2670"/>
                  </a:lnTo>
                  <a:lnTo>
                    <a:pt x="67" y="2602"/>
                  </a:lnTo>
                  <a:lnTo>
                    <a:pt x="38" y="2531"/>
                  </a:lnTo>
                  <a:lnTo>
                    <a:pt x="17" y="2458"/>
                  </a:lnTo>
                  <a:lnTo>
                    <a:pt x="4" y="2383"/>
                  </a:lnTo>
                  <a:lnTo>
                    <a:pt x="0" y="2307"/>
                  </a:lnTo>
                  <a:lnTo>
                    <a:pt x="4" y="2226"/>
                  </a:lnTo>
                  <a:lnTo>
                    <a:pt x="19" y="2149"/>
                  </a:lnTo>
                  <a:lnTo>
                    <a:pt x="42" y="2074"/>
                  </a:lnTo>
                  <a:lnTo>
                    <a:pt x="73" y="2003"/>
                  </a:lnTo>
                  <a:lnTo>
                    <a:pt x="113" y="1936"/>
                  </a:lnTo>
                  <a:lnTo>
                    <a:pt x="159" y="1873"/>
                  </a:lnTo>
                  <a:lnTo>
                    <a:pt x="113" y="1750"/>
                  </a:lnTo>
                  <a:lnTo>
                    <a:pt x="77" y="1625"/>
                  </a:lnTo>
                  <a:lnTo>
                    <a:pt x="50" y="1498"/>
                  </a:lnTo>
                  <a:lnTo>
                    <a:pt x="33" y="1369"/>
                  </a:lnTo>
                  <a:lnTo>
                    <a:pt x="23" y="1241"/>
                  </a:lnTo>
                  <a:lnTo>
                    <a:pt x="25" y="1110"/>
                  </a:lnTo>
                  <a:lnTo>
                    <a:pt x="35" y="981"/>
                  </a:lnTo>
                  <a:lnTo>
                    <a:pt x="54" y="855"/>
                  </a:lnTo>
                  <a:lnTo>
                    <a:pt x="83" y="728"/>
                  </a:lnTo>
                  <a:lnTo>
                    <a:pt x="121" y="603"/>
                  </a:lnTo>
                  <a:lnTo>
                    <a:pt x="169" y="480"/>
                  </a:lnTo>
                  <a:lnTo>
                    <a:pt x="225" y="361"/>
                  </a:lnTo>
                  <a:lnTo>
                    <a:pt x="290" y="246"/>
                  </a:lnTo>
                  <a:lnTo>
                    <a:pt x="367" y="134"/>
                  </a:lnTo>
                  <a:lnTo>
                    <a:pt x="451" y="27"/>
                  </a:lnTo>
                  <a:lnTo>
                    <a:pt x="466" y="13"/>
                  </a:lnTo>
                  <a:lnTo>
                    <a:pt x="485" y="4"/>
                  </a:lnTo>
                  <a:lnTo>
                    <a:pt x="50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03" name="Freeform 29"/>
            <p:cNvSpPr>
              <a:spLocks noEditPoints="1"/>
            </p:cNvSpPr>
            <p:nvPr/>
          </p:nvSpPr>
          <p:spPr bwMode="auto">
            <a:xfrm>
              <a:off x="3761" y="2239"/>
              <a:ext cx="1637" cy="1497"/>
            </a:xfrm>
            <a:custGeom>
              <a:avLst/>
              <a:gdLst>
                <a:gd name="T0" fmla="*/ 460 w 3273"/>
                <a:gd name="T1" fmla="*/ 429 h 2995"/>
                <a:gd name="T2" fmla="*/ 428 w 3273"/>
                <a:gd name="T3" fmla="*/ 461 h 2995"/>
                <a:gd name="T4" fmla="*/ 422 w 3273"/>
                <a:gd name="T5" fmla="*/ 1946 h 2995"/>
                <a:gd name="T6" fmla="*/ 441 w 3273"/>
                <a:gd name="T7" fmla="*/ 1990 h 2995"/>
                <a:gd name="T8" fmla="*/ 485 w 3273"/>
                <a:gd name="T9" fmla="*/ 2007 h 2995"/>
                <a:gd name="T10" fmla="*/ 2813 w 3273"/>
                <a:gd name="T11" fmla="*/ 2004 h 2995"/>
                <a:gd name="T12" fmla="*/ 2845 w 3273"/>
                <a:gd name="T13" fmla="*/ 1971 h 2995"/>
                <a:gd name="T14" fmla="*/ 2851 w 3273"/>
                <a:gd name="T15" fmla="*/ 484 h 2995"/>
                <a:gd name="T16" fmla="*/ 2834 w 3273"/>
                <a:gd name="T17" fmla="*/ 442 h 2995"/>
                <a:gd name="T18" fmla="*/ 2790 w 3273"/>
                <a:gd name="T19" fmla="*/ 423 h 2995"/>
                <a:gd name="T20" fmla="*/ 485 w 3273"/>
                <a:gd name="T21" fmla="*/ 0 h 2995"/>
                <a:gd name="T22" fmla="*/ 2861 w 3273"/>
                <a:gd name="T23" fmla="*/ 6 h 2995"/>
                <a:gd name="T24" fmla="*/ 2993 w 3273"/>
                <a:gd name="T25" fmla="*/ 47 h 2995"/>
                <a:gd name="T26" fmla="*/ 3106 w 3273"/>
                <a:gd name="T27" fmla="*/ 120 h 2995"/>
                <a:gd name="T28" fmla="*/ 3195 w 3273"/>
                <a:gd name="T29" fmla="*/ 221 h 2995"/>
                <a:gd name="T30" fmla="*/ 3252 w 3273"/>
                <a:gd name="T31" fmla="*/ 346 h 2995"/>
                <a:gd name="T32" fmla="*/ 3273 w 3273"/>
                <a:gd name="T33" fmla="*/ 484 h 2995"/>
                <a:gd name="T34" fmla="*/ 3268 w 3273"/>
                <a:gd name="T35" fmla="*/ 2017 h 2995"/>
                <a:gd name="T36" fmla="*/ 3229 w 3273"/>
                <a:gd name="T37" fmla="*/ 2150 h 2995"/>
                <a:gd name="T38" fmla="*/ 3154 w 3273"/>
                <a:gd name="T39" fmla="*/ 2263 h 2995"/>
                <a:gd name="T40" fmla="*/ 3053 w 3273"/>
                <a:gd name="T41" fmla="*/ 2353 h 2995"/>
                <a:gd name="T42" fmla="*/ 2930 w 3273"/>
                <a:gd name="T43" fmla="*/ 2411 h 2995"/>
                <a:gd name="T44" fmla="*/ 2790 w 3273"/>
                <a:gd name="T45" fmla="*/ 2430 h 2995"/>
                <a:gd name="T46" fmla="*/ 2277 w 3273"/>
                <a:gd name="T47" fmla="*/ 2789 h 2995"/>
                <a:gd name="T48" fmla="*/ 2283 w 3273"/>
                <a:gd name="T49" fmla="*/ 2862 h 2995"/>
                <a:gd name="T50" fmla="*/ 2254 w 3273"/>
                <a:gd name="T51" fmla="*/ 2929 h 2995"/>
                <a:gd name="T52" fmla="*/ 2199 w 3273"/>
                <a:gd name="T53" fmla="*/ 2977 h 2995"/>
                <a:gd name="T54" fmla="*/ 2126 w 3273"/>
                <a:gd name="T55" fmla="*/ 2995 h 2995"/>
                <a:gd name="T56" fmla="*/ 1111 w 3273"/>
                <a:gd name="T57" fmla="*/ 2989 h 2995"/>
                <a:gd name="T58" fmla="*/ 1045 w 3273"/>
                <a:gd name="T59" fmla="*/ 2956 h 2995"/>
                <a:gd name="T60" fmla="*/ 1001 w 3273"/>
                <a:gd name="T61" fmla="*/ 2897 h 2995"/>
                <a:gd name="T62" fmla="*/ 990 w 3273"/>
                <a:gd name="T63" fmla="*/ 2826 h 2995"/>
                <a:gd name="T64" fmla="*/ 1107 w 3273"/>
                <a:gd name="T65" fmla="*/ 2430 h 2995"/>
                <a:gd name="T66" fmla="*/ 412 w 3273"/>
                <a:gd name="T67" fmla="*/ 2426 h 2995"/>
                <a:gd name="T68" fmla="*/ 280 w 3273"/>
                <a:gd name="T69" fmla="*/ 2386 h 2995"/>
                <a:gd name="T70" fmla="*/ 167 w 3273"/>
                <a:gd name="T71" fmla="*/ 2311 h 2995"/>
                <a:gd name="T72" fmla="*/ 78 w 3273"/>
                <a:gd name="T73" fmla="*/ 2209 h 2995"/>
                <a:gd name="T74" fmla="*/ 21 w 3273"/>
                <a:gd name="T75" fmla="*/ 2086 h 2995"/>
                <a:gd name="T76" fmla="*/ 0 w 3273"/>
                <a:gd name="T77" fmla="*/ 1946 h 2995"/>
                <a:gd name="T78" fmla="*/ 5 w 3273"/>
                <a:gd name="T79" fmla="*/ 413 h 2995"/>
                <a:gd name="T80" fmla="*/ 46 w 3273"/>
                <a:gd name="T81" fmla="*/ 281 h 2995"/>
                <a:gd name="T82" fmla="*/ 119 w 3273"/>
                <a:gd name="T83" fmla="*/ 168 h 2995"/>
                <a:gd name="T84" fmla="*/ 220 w 3273"/>
                <a:gd name="T85" fmla="*/ 79 h 2995"/>
                <a:gd name="T86" fmla="*/ 345 w 3273"/>
                <a:gd name="T87" fmla="*/ 22 h 2995"/>
                <a:gd name="T88" fmla="*/ 485 w 3273"/>
                <a:gd name="T89" fmla="*/ 0 h 2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273" h="2995">
                  <a:moveTo>
                    <a:pt x="485" y="423"/>
                  </a:moveTo>
                  <a:lnTo>
                    <a:pt x="460" y="429"/>
                  </a:lnTo>
                  <a:lnTo>
                    <a:pt x="441" y="442"/>
                  </a:lnTo>
                  <a:lnTo>
                    <a:pt x="428" y="461"/>
                  </a:lnTo>
                  <a:lnTo>
                    <a:pt x="422" y="484"/>
                  </a:lnTo>
                  <a:lnTo>
                    <a:pt x="422" y="1946"/>
                  </a:lnTo>
                  <a:lnTo>
                    <a:pt x="428" y="1971"/>
                  </a:lnTo>
                  <a:lnTo>
                    <a:pt x="441" y="1990"/>
                  </a:lnTo>
                  <a:lnTo>
                    <a:pt x="460" y="2004"/>
                  </a:lnTo>
                  <a:lnTo>
                    <a:pt x="485" y="2007"/>
                  </a:lnTo>
                  <a:lnTo>
                    <a:pt x="2790" y="2007"/>
                  </a:lnTo>
                  <a:lnTo>
                    <a:pt x="2813" y="2004"/>
                  </a:lnTo>
                  <a:lnTo>
                    <a:pt x="2834" y="1990"/>
                  </a:lnTo>
                  <a:lnTo>
                    <a:pt x="2845" y="1971"/>
                  </a:lnTo>
                  <a:lnTo>
                    <a:pt x="2851" y="1946"/>
                  </a:lnTo>
                  <a:lnTo>
                    <a:pt x="2851" y="484"/>
                  </a:lnTo>
                  <a:lnTo>
                    <a:pt x="2845" y="461"/>
                  </a:lnTo>
                  <a:lnTo>
                    <a:pt x="2834" y="442"/>
                  </a:lnTo>
                  <a:lnTo>
                    <a:pt x="2813" y="429"/>
                  </a:lnTo>
                  <a:lnTo>
                    <a:pt x="2790" y="423"/>
                  </a:lnTo>
                  <a:lnTo>
                    <a:pt x="485" y="423"/>
                  </a:lnTo>
                  <a:close/>
                  <a:moveTo>
                    <a:pt x="485" y="0"/>
                  </a:moveTo>
                  <a:lnTo>
                    <a:pt x="2790" y="0"/>
                  </a:lnTo>
                  <a:lnTo>
                    <a:pt x="2861" y="6"/>
                  </a:lnTo>
                  <a:lnTo>
                    <a:pt x="2930" y="22"/>
                  </a:lnTo>
                  <a:lnTo>
                    <a:pt x="2993" y="47"/>
                  </a:lnTo>
                  <a:lnTo>
                    <a:pt x="3053" y="79"/>
                  </a:lnTo>
                  <a:lnTo>
                    <a:pt x="3106" y="120"/>
                  </a:lnTo>
                  <a:lnTo>
                    <a:pt x="3154" y="168"/>
                  </a:lnTo>
                  <a:lnTo>
                    <a:pt x="3195" y="221"/>
                  </a:lnTo>
                  <a:lnTo>
                    <a:pt x="3229" y="281"/>
                  </a:lnTo>
                  <a:lnTo>
                    <a:pt x="3252" y="346"/>
                  </a:lnTo>
                  <a:lnTo>
                    <a:pt x="3268" y="413"/>
                  </a:lnTo>
                  <a:lnTo>
                    <a:pt x="3273" y="484"/>
                  </a:lnTo>
                  <a:lnTo>
                    <a:pt x="3273" y="1946"/>
                  </a:lnTo>
                  <a:lnTo>
                    <a:pt x="3268" y="2017"/>
                  </a:lnTo>
                  <a:lnTo>
                    <a:pt x="3252" y="2086"/>
                  </a:lnTo>
                  <a:lnTo>
                    <a:pt x="3229" y="2150"/>
                  </a:lnTo>
                  <a:lnTo>
                    <a:pt x="3195" y="2209"/>
                  </a:lnTo>
                  <a:lnTo>
                    <a:pt x="3154" y="2263"/>
                  </a:lnTo>
                  <a:lnTo>
                    <a:pt x="3106" y="2311"/>
                  </a:lnTo>
                  <a:lnTo>
                    <a:pt x="3053" y="2353"/>
                  </a:lnTo>
                  <a:lnTo>
                    <a:pt x="2993" y="2386"/>
                  </a:lnTo>
                  <a:lnTo>
                    <a:pt x="2930" y="2411"/>
                  </a:lnTo>
                  <a:lnTo>
                    <a:pt x="2861" y="2426"/>
                  </a:lnTo>
                  <a:lnTo>
                    <a:pt x="2790" y="2430"/>
                  </a:lnTo>
                  <a:lnTo>
                    <a:pt x="2168" y="2430"/>
                  </a:lnTo>
                  <a:lnTo>
                    <a:pt x="2277" y="2789"/>
                  </a:lnTo>
                  <a:lnTo>
                    <a:pt x="2285" y="2826"/>
                  </a:lnTo>
                  <a:lnTo>
                    <a:pt x="2283" y="2862"/>
                  </a:lnTo>
                  <a:lnTo>
                    <a:pt x="2272" y="2897"/>
                  </a:lnTo>
                  <a:lnTo>
                    <a:pt x="2254" y="2929"/>
                  </a:lnTo>
                  <a:lnTo>
                    <a:pt x="2228" y="2956"/>
                  </a:lnTo>
                  <a:lnTo>
                    <a:pt x="2199" y="2977"/>
                  </a:lnTo>
                  <a:lnTo>
                    <a:pt x="2164" y="2989"/>
                  </a:lnTo>
                  <a:lnTo>
                    <a:pt x="2126" y="2995"/>
                  </a:lnTo>
                  <a:lnTo>
                    <a:pt x="1147" y="2995"/>
                  </a:lnTo>
                  <a:lnTo>
                    <a:pt x="1111" y="2989"/>
                  </a:lnTo>
                  <a:lnTo>
                    <a:pt x="1076" y="2977"/>
                  </a:lnTo>
                  <a:lnTo>
                    <a:pt x="1045" y="2956"/>
                  </a:lnTo>
                  <a:lnTo>
                    <a:pt x="1021" y="2929"/>
                  </a:lnTo>
                  <a:lnTo>
                    <a:pt x="1001" y="2897"/>
                  </a:lnTo>
                  <a:lnTo>
                    <a:pt x="992" y="2862"/>
                  </a:lnTo>
                  <a:lnTo>
                    <a:pt x="990" y="2826"/>
                  </a:lnTo>
                  <a:lnTo>
                    <a:pt x="996" y="2789"/>
                  </a:lnTo>
                  <a:lnTo>
                    <a:pt x="1107" y="2430"/>
                  </a:lnTo>
                  <a:lnTo>
                    <a:pt x="485" y="2430"/>
                  </a:lnTo>
                  <a:lnTo>
                    <a:pt x="412" y="2426"/>
                  </a:lnTo>
                  <a:lnTo>
                    <a:pt x="345" y="2411"/>
                  </a:lnTo>
                  <a:lnTo>
                    <a:pt x="280" y="2386"/>
                  </a:lnTo>
                  <a:lnTo>
                    <a:pt x="220" y="2353"/>
                  </a:lnTo>
                  <a:lnTo>
                    <a:pt x="167" y="2311"/>
                  </a:lnTo>
                  <a:lnTo>
                    <a:pt x="119" y="2263"/>
                  </a:lnTo>
                  <a:lnTo>
                    <a:pt x="78" y="2209"/>
                  </a:lnTo>
                  <a:lnTo>
                    <a:pt x="46" y="2150"/>
                  </a:lnTo>
                  <a:lnTo>
                    <a:pt x="21" y="2086"/>
                  </a:lnTo>
                  <a:lnTo>
                    <a:pt x="5" y="2017"/>
                  </a:lnTo>
                  <a:lnTo>
                    <a:pt x="0" y="1946"/>
                  </a:lnTo>
                  <a:lnTo>
                    <a:pt x="0" y="484"/>
                  </a:lnTo>
                  <a:lnTo>
                    <a:pt x="5" y="413"/>
                  </a:lnTo>
                  <a:lnTo>
                    <a:pt x="21" y="346"/>
                  </a:lnTo>
                  <a:lnTo>
                    <a:pt x="46" y="281"/>
                  </a:lnTo>
                  <a:lnTo>
                    <a:pt x="78" y="221"/>
                  </a:lnTo>
                  <a:lnTo>
                    <a:pt x="119" y="168"/>
                  </a:lnTo>
                  <a:lnTo>
                    <a:pt x="167" y="120"/>
                  </a:lnTo>
                  <a:lnTo>
                    <a:pt x="220" y="79"/>
                  </a:lnTo>
                  <a:lnTo>
                    <a:pt x="280" y="47"/>
                  </a:lnTo>
                  <a:lnTo>
                    <a:pt x="345" y="22"/>
                  </a:lnTo>
                  <a:lnTo>
                    <a:pt x="412" y="6"/>
                  </a:lnTo>
                  <a:lnTo>
                    <a:pt x="48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04" name="Freeform 30"/>
            <p:cNvSpPr>
              <a:spLocks/>
            </p:cNvSpPr>
            <p:nvPr/>
          </p:nvSpPr>
          <p:spPr bwMode="auto">
            <a:xfrm>
              <a:off x="3929" y="742"/>
              <a:ext cx="1254" cy="1255"/>
            </a:xfrm>
            <a:custGeom>
              <a:avLst/>
              <a:gdLst>
                <a:gd name="T0" fmla="*/ 212 w 2509"/>
                <a:gd name="T1" fmla="*/ 0 h 2510"/>
                <a:gd name="T2" fmla="*/ 2297 w 2509"/>
                <a:gd name="T3" fmla="*/ 0 h 2510"/>
                <a:gd name="T4" fmla="*/ 2345 w 2509"/>
                <a:gd name="T5" fmla="*/ 6 h 2510"/>
                <a:gd name="T6" fmla="*/ 2390 w 2509"/>
                <a:gd name="T7" fmla="*/ 23 h 2510"/>
                <a:gd name="T8" fmla="*/ 2430 w 2509"/>
                <a:gd name="T9" fmla="*/ 48 h 2510"/>
                <a:gd name="T10" fmla="*/ 2463 w 2509"/>
                <a:gd name="T11" fmla="*/ 81 h 2510"/>
                <a:gd name="T12" fmla="*/ 2487 w 2509"/>
                <a:gd name="T13" fmla="*/ 119 h 2510"/>
                <a:gd name="T14" fmla="*/ 2503 w 2509"/>
                <a:gd name="T15" fmla="*/ 164 h 2510"/>
                <a:gd name="T16" fmla="*/ 2509 w 2509"/>
                <a:gd name="T17" fmla="*/ 212 h 2510"/>
                <a:gd name="T18" fmla="*/ 2509 w 2509"/>
                <a:gd name="T19" fmla="*/ 2299 h 2510"/>
                <a:gd name="T20" fmla="*/ 2503 w 2509"/>
                <a:gd name="T21" fmla="*/ 2347 h 2510"/>
                <a:gd name="T22" fmla="*/ 2487 w 2509"/>
                <a:gd name="T23" fmla="*/ 2393 h 2510"/>
                <a:gd name="T24" fmla="*/ 2463 w 2509"/>
                <a:gd name="T25" fmla="*/ 2432 h 2510"/>
                <a:gd name="T26" fmla="*/ 2430 w 2509"/>
                <a:gd name="T27" fmla="*/ 2464 h 2510"/>
                <a:gd name="T28" fmla="*/ 2390 w 2509"/>
                <a:gd name="T29" fmla="*/ 2489 h 2510"/>
                <a:gd name="T30" fmla="*/ 2345 w 2509"/>
                <a:gd name="T31" fmla="*/ 2505 h 2510"/>
                <a:gd name="T32" fmla="*/ 2297 w 2509"/>
                <a:gd name="T33" fmla="*/ 2510 h 2510"/>
                <a:gd name="T34" fmla="*/ 2248 w 2509"/>
                <a:gd name="T35" fmla="*/ 2505 h 2510"/>
                <a:gd name="T36" fmla="*/ 2203 w 2509"/>
                <a:gd name="T37" fmla="*/ 2489 h 2510"/>
                <a:gd name="T38" fmla="*/ 2165 w 2509"/>
                <a:gd name="T39" fmla="*/ 2464 h 2510"/>
                <a:gd name="T40" fmla="*/ 2132 w 2509"/>
                <a:gd name="T41" fmla="*/ 2432 h 2510"/>
                <a:gd name="T42" fmla="*/ 2107 w 2509"/>
                <a:gd name="T43" fmla="*/ 2393 h 2510"/>
                <a:gd name="T44" fmla="*/ 2092 w 2509"/>
                <a:gd name="T45" fmla="*/ 2347 h 2510"/>
                <a:gd name="T46" fmla="*/ 2086 w 2509"/>
                <a:gd name="T47" fmla="*/ 2299 h 2510"/>
                <a:gd name="T48" fmla="*/ 2086 w 2509"/>
                <a:gd name="T49" fmla="*/ 423 h 2510"/>
                <a:gd name="T50" fmla="*/ 212 w 2509"/>
                <a:gd name="T51" fmla="*/ 423 h 2510"/>
                <a:gd name="T52" fmla="*/ 164 w 2509"/>
                <a:gd name="T53" fmla="*/ 417 h 2510"/>
                <a:gd name="T54" fmla="*/ 118 w 2509"/>
                <a:gd name="T55" fmla="*/ 402 h 2510"/>
                <a:gd name="T56" fmla="*/ 79 w 2509"/>
                <a:gd name="T57" fmla="*/ 377 h 2510"/>
                <a:gd name="T58" fmla="*/ 47 w 2509"/>
                <a:gd name="T59" fmla="*/ 344 h 2510"/>
                <a:gd name="T60" fmla="*/ 22 w 2509"/>
                <a:gd name="T61" fmla="*/ 306 h 2510"/>
                <a:gd name="T62" fmla="*/ 6 w 2509"/>
                <a:gd name="T63" fmla="*/ 261 h 2510"/>
                <a:gd name="T64" fmla="*/ 0 w 2509"/>
                <a:gd name="T65" fmla="*/ 212 h 2510"/>
                <a:gd name="T66" fmla="*/ 6 w 2509"/>
                <a:gd name="T67" fmla="*/ 164 h 2510"/>
                <a:gd name="T68" fmla="*/ 22 w 2509"/>
                <a:gd name="T69" fmla="*/ 119 h 2510"/>
                <a:gd name="T70" fmla="*/ 47 w 2509"/>
                <a:gd name="T71" fmla="*/ 81 h 2510"/>
                <a:gd name="T72" fmla="*/ 79 w 2509"/>
                <a:gd name="T73" fmla="*/ 48 h 2510"/>
                <a:gd name="T74" fmla="*/ 118 w 2509"/>
                <a:gd name="T75" fmla="*/ 23 h 2510"/>
                <a:gd name="T76" fmla="*/ 164 w 2509"/>
                <a:gd name="T77" fmla="*/ 6 h 2510"/>
                <a:gd name="T78" fmla="*/ 212 w 2509"/>
                <a:gd name="T79" fmla="*/ 0 h 2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09" h="2510">
                  <a:moveTo>
                    <a:pt x="212" y="0"/>
                  </a:moveTo>
                  <a:lnTo>
                    <a:pt x="2297" y="0"/>
                  </a:lnTo>
                  <a:lnTo>
                    <a:pt x="2345" y="6"/>
                  </a:lnTo>
                  <a:lnTo>
                    <a:pt x="2390" y="23"/>
                  </a:lnTo>
                  <a:lnTo>
                    <a:pt x="2430" y="48"/>
                  </a:lnTo>
                  <a:lnTo>
                    <a:pt x="2463" y="81"/>
                  </a:lnTo>
                  <a:lnTo>
                    <a:pt x="2487" y="119"/>
                  </a:lnTo>
                  <a:lnTo>
                    <a:pt x="2503" y="164"/>
                  </a:lnTo>
                  <a:lnTo>
                    <a:pt x="2509" y="212"/>
                  </a:lnTo>
                  <a:lnTo>
                    <a:pt x="2509" y="2299"/>
                  </a:lnTo>
                  <a:lnTo>
                    <a:pt x="2503" y="2347"/>
                  </a:lnTo>
                  <a:lnTo>
                    <a:pt x="2487" y="2393"/>
                  </a:lnTo>
                  <a:lnTo>
                    <a:pt x="2463" y="2432"/>
                  </a:lnTo>
                  <a:lnTo>
                    <a:pt x="2430" y="2464"/>
                  </a:lnTo>
                  <a:lnTo>
                    <a:pt x="2390" y="2489"/>
                  </a:lnTo>
                  <a:lnTo>
                    <a:pt x="2345" y="2505"/>
                  </a:lnTo>
                  <a:lnTo>
                    <a:pt x="2297" y="2510"/>
                  </a:lnTo>
                  <a:lnTo>
                    <a:pt x="2248" y="2505"/>
                  </a:lnTo>
                  <a:lnTo>
                    <a:pt x="2203" y="2489"/>
                  </a:lnTo>
                  <a:lnTo>
                    <a:pt x="2165" y="2464"/>
                  </a:lnTo>
                  <a:lnTo>
                    <a:pt x="2132" y="2432"/>
                  </a:lnTo>
                  <a:lnTo>
                    <a:pt x="2107" y="2393"/>
                  </a:lnTo>
                  <a:lnTo>
                    <a:pt x="2092" y="2347"/>
                  </a:lnTo>
                  <a:lnTo>
                    <a:pt x="2086" y="2299"/>
                  </a:lnTo>
                  <a:lnTo>
                    <a:pt x="2086" y="423"/>
                  </a:lnTo>
                  <a:lnTo>
                    <a:pt x="212" y="423"/>
                  </a:lnTo>
                  <a:lnTo>
                    <a:pt x="164" y="417"/>
                  </a:lnTo>
                  <a:lnTo>
                    <a:pt x="118" y="402"/>
                  </a:lnTo>
                  <a:lnTo>
                    <a:pt x="79" y="377"/>
                  </a:lnTo>
                  <a:lnTo>
                    <a:pt x="47" y="344"/>
                  </a:lnTo>
                  <a:lnTo>
                    <a:pt x="22" y="306"/>
                  </a:lnTo>
                  <a:lnTo>
                    <a:pt x="6" y="261"/>
                  </a:lnTo>
                  <a:lnTo>
                    <a:pt x="0" y="212"/>
                  </a:lnTo>
                  <a:lnTo>
                    <a:pt x="6" y="164"/>
                  </a:lnTo>
                  <a:lnTo>
                    <a:pt x="22" y="119"/>
                  </a:lnTo>
                  <a:lnTo>
                    <a:pt x="47" y="81"/>
                  </a:lnTo>
                  <a:lnTo>
                    <a:pt x="79" y="48"/>
                  </a:lnTo>
                  <a:lnTo>
                    <a:pt x="118" y="23"/>
                  </a:lnTo>
                  <a:lnTo>
                    <a:pt x="164" y="6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05" name="Freeform 31"/>
            <p:cNvSpPr>
              <a:spLocks/>
            </p:cNvSpPr>
            <p:nvPr/>
          </p:nvSpPr>
          <p:spPr bwMode="auto">
            <a:xfrm>
              <a:off x="2403" y="2291"/>
              <a:ext cx="1254" cy="1255"/>
            </a:xfrm>
            <a:custGeom>
              <a:avLst/>
              <a:gdLst>
                <a:gd name="T0" fmla="*/ 211 w 2508"/>
                <a:gd name="T1" fmla="*/ 0 h 2510"/>
                <a:gd name="T2" fmla="*/ 259 w 2508"/>
                <a:gd name="T3" fmla="*/ 6 h 2510"/>
                <a:gd name="T4" fmla="*/ 304 w 2508"/>
                <a:gd name="T5" fmla="*/ 21 h 2510"/>
                <a:gd name="T6" fmla="*/ 344 w 2508"/>
                <a:gd name="T7" fmla="*/ 46 h 2510"/>
                <a:gd name="T8" fmla="*/ 377 w 2508"/>
                <a:gd name="T9" fmla="*/ 79 h 2510"/>
                <a:gd name="T10" fmla="*/ 401 w 2508"/>
                <a:gd name="T11" fmla="*/ 119 h 2510"/>
                <a:gd name="T12" fmla="*/ 417 w 2508"/>
                <a:gd name="T13" fmla="*/ 163 h 2510"/>
                <a:gd name="T14" fmla="*/ 423 w 2508"/>
                <a:gd name="T15" fmla="*/ 211 h 2510"/>
                <a:gd name="T16" fmla="*/ 423 w 2508"/>
                <a:gd name="T17" fmla="*/ 2088 h 2510"/>
                <a:gd name="T18" fmla="*/ 2297 w 2508"/>
                <a:gd name="T19" fmla="*/ 2088 h 2510"/>
                <a:gd name="T20" fmla="*/ 2345 w 2508"/>
                <a:gd name="T21" fmla="*/ 2094 h 2510"/>
                <a:gd name="T22" fmla="*/ 2390 w 2508"/>
                <a:gd name="T23" fmla="*/ 2109 h 2510"/>
                <a:gd name="T24" fmla="*/ 2428 w 2508"/>
                <a:gd name="T25" fmla="*/ 2134 h 2510"/>
                <a:gd name="T26" fmla="*/ 2461 w 2508"/>
                <a:gd name="T27" fmla="*/ 2167 h 2510"/>
                <a:gd name="T28" fmla="*/ 2485 w 2508"/>
                <a:gd name="T29" fmla="*/ 2207 h 2510"/>
                <a:gd name="T30" fmla="*/ 2503 w 2508"/>
                <a:gd name="T31" fmla="*/ 2251 h 2510"/>
                <a:gd name="T32" fmla="*/ 2508 w 2508"/>
                <a:gd name="T33" fmla="*/ 2299 h 2510"/>
                <a:gd name="T34" fmla="*/ 2503 w 2508"/>
                <a:gd name="T35" fmla="*/ 2347 h 2510"/>
                <a:gd name="T36" fmla="*/ 2485 w 2508"/>
                <a:gd name="T37" fmla="*/ 2391 h 2510"/>
                <a:gd name="T38" fmla="*/ 2461 w 2508"/>
                <a:gd name="T39" fmla="*/ 2432 h 2510"/>
                <a:gd name="T40" fmla="*/ 2428 w 2508"/>
                <a:gd name="T41" fmla="*/ 2464 h 2510"/>
                <a:gd name="T42" fmla="*/ 2390 w 2508"/>
                <a:gd name="T43" fmla="*/ 2489 h 2510"/>
                <a:gd name="T44" fmla="*/ 2345 w 2508"/>
                <a:gd name="T45" fmla="*/ 2505 h 2510"/>
                <a:gd name="T46" fmla="*/ 2297 w 2508"/>
                <a:gd name="T47" fmla="*/ 2510 h 2510"/>
                <a:gd name="T48" fmla="*/ 211 w 2508"/>
                <a:gd name="T49" fmla="*/ 2510 h 2510"/>
                <a:gd name="T50" fmla="*/ 162 w 2508"/>
                <a:gd name="T51" fmla="*/ 2505 h 2510"/>
                <a:gd name="T52" fmla="*/ 117 w 2508"/>
                <a:gd name="T53" fmla="*/ 2489 h 2510"/>
                <a:gd name="T54" fmla="*/ 79 w 2508"/>
                <a:gd name="T55" fmla="*/ 2464 h 2510"/>
                <a:gd name="T56" fmla="*/ 46 w 2508"/>
                <a:gd name="T57" fmla="*/ 2432 h 2510"/>
                <a:gd name="T58" fmla="*/ 21 w 2508"/>
                <a:gd name="T59" fmla="*/ 2391 h 2510"/>
                <a:gd name="T60" fmla="*/ 6 w 2508"/>
                <a:gd name="T61" fmla="*/ 2347 h 2510"/>
                <a:gd name="T62" fmla="*/ 0 w 2508"/>
                <a:gd name="T63" fmla="*/ 2299 h 2510"/>
                <a:gd name="T64" fmla="*/ 0 w 2508"/>
                <a:gd name="T65" fmla="*/ 211 h 2510"/>
                <a:gd name="T66" fmla="*/ 6 w 2508"/>
                <a:gd name="T67" fmla="*/ 163 h 2510"/>
                <a:gd name="T68" fmla="*/ 21 w 2508"/>
                <a:gd name="T69" fmla="*/ 119 h 2510"/>
                <a:gd name="T70" fmla="*/ 46 w 2508"/>
                <a:gd name="T71" fmla="*/ 79 h 2510"/>
                <a:gd name="T72" fmla="*/ 79 w 2508"/>
                <a:gd name="T73" fmla="*/ 46 h 2510"/>
                <a:gd name="T74" fmla="*/ 117 w 2508"/>
                <a:gd name="T75" fmla="*/ 21 h 2510"/>
                <a:gd name="T76" fmla="*/ 162 w 2508"/>
                <a:gd name="T77" fmla="*/ 6 h 2510"/>
                <a:gd name="T78" fmla="*/ 211 w 2508"/>
                <a:gd name="T79" fmla="*/ 0 h 2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08" h="2510">
                  <a:moveTo>
                    <a:pt x="211" y="0"/>
                  </a:moveTo>
                  <a:lnTo>
                    <a:pt x="259" y="6"/>
                  </a:lnTo>
                  <a:lnTo>
                    <a:pt x="304" y="21"/>
                  </a:lnTo>
                  <a:lnTo>
                    <a:pt x="344" y="46"/>
                  </a:lnTo>
                  <a:lnTo>
                    <a:pt x="377" y="79"/>
                  </a:lnTo>
                  <a:lnTo>
                    <a:pt x="401" y="119"/>
                  </a:lnTo>
                  <a:lnTo>
                    <a:pt x="417" y="163"/>
                  </a:lnTo>
                  <a:lnTo>
                    <a:pt x="423" y="211"/>
                  </a:lnTo>
                  <a:lnTo>
                    <a:pt x="423" y="2088"/>
                  </a:lnTo>
                  <a:lnTo>
                    <a:pt x="2297" y="2088"/>
                  </a:lnTo>
                  <a:lnTo>
                    <a:pt x="2345" y="2094"/>
                  </a:lnTo>
                  <a:lnTo>
                    <a:pt x="2390" y="2109"/>
                  </a:lnTo>
                  <a:lnTo>
                    <a:pt x="2428" y="2134"/>
                  </a:lnTo>
                  <a:lnTo>
                    <a:pt x="2461" y="2167"/>
                  </a:lnTo>
                  <a:lnTo>
                    <a:pt x="2485" y="2207"/>
                  </a:lnTo>
                  <a:lnTo>
                    <a:pt x="2503" y="2251"/>
                  </a:lnTo>
                  <a:lnTo>
                    <a:pt x="2508" y="2299"/>
                  </a:lnTo>
                  <a:lnTo>
                    <a:pt x="2503" y="2347"/>
                  </a:lnTo>
                  <a:lnTo>
                    <a:pt x="2485" y="2391"/>
                  </a:lnTo>
                  <a:lnTo>
                    <a:pt x="2461" y="2432"/>
                  </a:lnTo>
                  <a:lnTo>
                    <a:pt x="2428" y="2464"/>
                  </a:lnTo>
                  <a:lnTo>
                    <a:pt x="2390" y="2489"/>
                  </a:lnTo>
                  <a:lnTo>
                    <a:pt x="2345" y="2505"/>
                  </a:lnTo>
                  <a:lnTo>
                    <a:pt x="2297" y="2510"/>
                  </a:lnTo>
                  <a:lnTo>
                    <a:pt x="211" y="2510"/>
                  </a:lnTo>
                  <a:lnTo>
                    <a:pt x="162" y="2505"/>
                  </a:lnTo>
                  <a:lnTo>
                    <a:pt x="117" y="2489"/>
                  </a:lnTo>
                  <a:lnTo>
                    <a:pt x="79" y="2464"/>
                  </a:lnTo>
                  <a:lnTo>
                    <a:pt x="46" y="2432"/>
                  </a:lnTo>
                  <a:lnTo>
                    <a:pt x="21" y="2391"/>
                  </a:lnTo>
                  <a:lnTo>
                    <a:pt x="6" y="2347"/>
                  </a:lnTo>
                  <a:lnTo>
                    <a:pt x="0" y="2299"/>
                  </a:lnTo>
                  <a:lnTo>
                    <a:pt x="0" y="211"/>
                  </a:lnTo>
                  <a:lnTo>
                    <a:pt x="6" y="163"/>
                  </a:lnTo>
                  <a:lnTo>
                    <a:pt x="21" y="119"/>
                  </a:lnTo>
                  <a:lnTo>
                    <a:pt x="46" y="79"/>
                  </a:lnTo>
                  <a:lnTo>
                    <a:pt x="79" y="46"/>
                  </a:lnTo>
                  <a:lnTo>
                    <a:pt x="117" y="21"/>
                  </a:lnTo>
                  <a:lnTo>
                    <a:pt x="162" y="6"/>
                  </a:lnTo>
                  <a:lnTo>
                    <a:pt x="2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109" name="Group 34"/>
          <p:cNvGrpSpPr>
            <a:grpSpLocks noChangeAspect="1"/>
          </p:cNvGrpSpPr>
          <p:nvPr/>
        </p:nvGrpSpPr>
        <p:grpSpPr bwMode="auto">
          <a:xfrm>
            <a:off x="10668120" y="1469742"/>
            <a:ext cx="822336" cy="406200"/>
            <a:chOff x="2433" y="2193"/>
            <a:chExt cx="2814" cy="1390"/>
          </a:xfrm>
          <a:solidFill>
            <a:schemeClr val="accent2"/>
          </a:solidFill>
        </p:grpSpPr>
        <p:sp>
          <p:nvSpPr>
            <p:cNvPr id="4114" name="Freeform 36"/>
            <p:cNvSpPr>
              <a:spLocks/>
            </p:cNvSpPr>
            <p:nvPr/>
          </p:nvSpPr>
          <p:spPr bwMode="auto">
            <a:xfrm>
              <a:off x="2433" y="2732"/>
              <a:ext cx="724" cy="492"/>
            </a:xfrm>
            <a:custGeom>
              <a:avLst/>
              <a:gdLst>
                <a:gd name="T0" fmla="*/ 659 w 1449"/>
                <a:gd name="T1" fmla="*/ 0 h 985"/>
                <a:gd name="T2" fmla="*/ 861 w 1449"/>
                <a:gd name="T3" fmla="*/ 201 h 985"/>
                <a:gd name="T4" fmla="*/ 885 w 1449"/>
                <a:gd name="T5" fmla="*/ 201 h 985"/>
                <a:gd name="T6" fmla="*/ 1086 w 1449"/>
                <a:gd name="T7" fmla="*/ 0 h 985"/>
                <a:gd name="T8" fmla="*/ 1211 w 1449"/>
                <a:gd name="T9" fmla="*/ 106 h 985"/>
                <a:gd name="T10" fmla="*/ 1246 w 1449"/>
                <a:gd name="T11" fmla="*/ 121 h 985"/>
                <a:gd name="T12" fmla="*/ 1251 w 1449"/>
                <a:gd name="T13" fmla="*/ 213 h 985"/>
                <a:gd name="T14" fmla="*/ 1263 w 1449"/>
                <a:gd name="T15" fmla="*/ 300 h 985"/>
                <a:gd name="T16" fmla="*/ 1282 w 1449"/>
                <a:gd name="T17" fmla="*/ 385 h 985"/>
                <a:gd name="T18" fmla="*/ 1306 w 1449"/>
                <a:gd name="T19" fmla="*/ 463 h 985"/>
                <a:gd name="T20" fmla="*/ 1339 w 1449"/>
                <a:gd name="T21" fmla="*/ 538 h 985"/>
                <a:gd name="T22" fmla="*/ 1378 w 1449"/>
                <a:gd name="T23" fmla="*/ 609 h 985"/>
                <a:gd name="T24" fmla="*/ 1421 w 1449"/>
                <a:gd name="T25" fmla="*/ 673 h 985"/>
                <a:gd name="T26" fmla="*/ 1449 w 1449"/>
                <a:gd name="T27" fmla="*/ 706 h 985"/>
                <a:gd name="T28" fmla="*/ 1435 w 1449"/>
                <a:gd name="T29" fmla="*/ 716 h 985"/>
                <a:gd name="T30" fmla="*/ 1192 w 1449"/>
                <a:gd name="T31" fmla="*/ 827 h 985"/>
                <a:gd name="T32" fmla="*/ 1149 w 1449"/>
                <a:gd name="T33" fmla="*/ 850 h 985"/>
                <a:gd name="T34" fmla="*/ 1110 w 1449"/>
                <a:gd name="T35" fmla="*/ 874 h 985"/>
                <a:gd name="T36" fmla="*/ 1079 w 1449"/>
                <a:gd name="T37" fmla="*/ 904 h 985"/>
                <a:gd name="T38" fmla="*/ 1051 w 1449"/>
                <a:gd name="T39" fmla="*/ 937 h 985"/>
                <a:gd name="T40" fmla="*/ 1031 w 1449"/>
                <a:gd name="T41" fmla="*/ 973 h 985"/>
                <a:gd name="T42" fmla="*/ 1029 w 1449"/>
                <a:gd name="T43" fmla="*/ 977 h 985"/>
                <a:gd name="T44" fmla="*/ 1029 w 1449"/>
                <a:gd name="T45" fmla="*/ 978 h 985"/>
                <a:gd name="T46" fmla="*/ 1027 w 1449"/>
                <a:gd name="T47" fmla="*/ 982 h 985"/>
                <a:gd name="T48" fmla="*/ 1025 w 1449"/>
                <a:gd name="T49" fmla="*/ 985 h 985"/>
                <a:gd name="T50" fmla="*/ 45 w 1449"/>
                <a:gd name="T51" fmla="*/ 985 h 985"/>
                <a:gd name="T52" fmla="*/ 26 w 1449"/>
                <a:gd name="T53" fmla="*/ 982 h 985"/>
                <a:gd name="T54" fmla="*/ 14 w 1449"/>
                <a:gd name="T55" fmla="*/ 970 h 985"/>
                <a:gd name="T56" fmla="*/ 5 w 1449"/>
                <a:gd name="T57" fmla="*/ 951 h 985"/>
                <a:gd name="T58" fmla="*/ 0 w 1449"/>
                <a:gd name="T59" fmla="*/ 926 h 985"/>
                <a:gd name="T60" fmla="*/ 0 w 1449"/>
                <a:gd name="T61" fmla="*/ 897 h 985"/>
                <a:gd name="T62" fmla="*/ 2 w 1449"/>
                <a:gd name="T63" fmla="*/ 862 h 985"/>
                <a:gd name="T64" fmla="*/ 9 w 1449"/>
                <a:gd name="T65" fmla="*/ 824 h 985"/>
                <a:gd name="T66" fmla="*/ 16 w 1449"/>
                <a:gd name="T67" fmla="*/ 782 h 985"/>
                <a:gd name="T68" fmla="*/ 26 w 1449"/>
                <a:gd name="T69" fmla="*/ 739 h 985"/>
                <a:gd name="T70" fmla="*/ 38 w 1449"/>
                <a:gd name="T71" fmla="*/ 694 h 985"/>
                <a:gd name="T72" fmla="*/ 52 w 1449"/>
                <a:gd name="T73" fmla="*/ 647 h 985"/>
                <a:gd name="T74" fmla="*/ 68 w 1449"/>
                <a:gd name="T75" fmla="*/ 600 h 985"/>
                <a:gd name="T76" fmla="*/ 82 w 1449"/>
                <a:gd name="T77" fmla="*/ 555 h 985"/>
                <a:gd name="T78" fmla="*/ 97 w 1449"/>
                <a:gd name="T79" fmla="*/ 512 h 985"/>
                <a:gd name="T80" fmla="*/ 113 w 1449"/>
                <a:gd name="T81" fmla="*/ 470 h 985"/>
                <a:gd name="T82" fmla="*/ 127 w 1449"/>
                <a:gd name="T83" fmla="*/ 432 h 985"/>
                <a:gd name="T84" fmla="*/ 141 w 1449"/>
                <a:gd name="T85" fmla="*/ 397 h 985"/>
                <a:gd name="T86" fmla="*/ 151 w 1449"/>
                <a:gd name="T87" fmla="*/ 368 h 985"/>
                <a:gd name="T88" fmla="*/ 161 w 1449"/>
                <a:gd name="T89" fmla="*/ 344 h 985"/>
                <a:gd name="T90" fmla="*/ 168 w 1449"/>
                <a:gd name="T91" fmla="*/ 324 h 985"/>
                <a:gd name="T92" fmla="*/ 173 w 1449"/>
                <a:gd name="T93" fmla="*/ 312 h 985"/>
                <a:gd name="T94" fmla="*/ 175 w 1449"/>
                <a:gd name="T95" fmla="*/ 309 h 985"/>
                <a:gd name="T96" fmla="*/ 193 w 1449"/>
                <a:gd name="T97" fmla="*/ 281 h 985"/>
                <a:gd name="T98" fmla="*/ 217 w 1449"/>
                <a:gd name="T99" fmla="*/ 259 h 985"/>
                <a:gd name="T100" fmla="*/ 243 w 1449"/>
                <a:gd name="T101" fmla="*/ 241 h 985"/>
                <a:gd name="T102" fmla="*/ 271 w 1449"/>
                <a:gd name="T103" fmla="*/ 227 h 985"/>
                <a:gd name="T104" fmla="*/ 533 w 1449"/>
                <a:gd name="T105" fmla="*/ 106 h 985"/>
                <a:gd name="T106" fmla="*/ 659 w 1449"/>
                <a:gd name="T107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9" h="985">
                  <a:moveTo>
                    <a:pt x="659" y="0"/>
                  </a:moveTo>
                  <a:lnTo>
                    <a:pt x="861" y="201"/>
                  </a:lnTo>
                  <a:lnTo>
                    <a:pt x="885" y="201"/>
                  </a:lnTo>
                  <a:lnTo>
                    <a:pt x="1086" y="0"/>
                  </a:lnTo>
                  <a:lnTo>
                    <a:pt x="1211" y="106"/>
                  </a:lnTo>
                  <a:lnTo>
                    <a:pt x="1246" y="121"/>
                  </a:lnTo>
                  <a:lnTo>
                    <a:pt x="1251" y="213"/>
                  </a:lnTo>
                  <a:lnTo>
                    <a:pt x="1263" y="300"/>
                  </a:lnTo>
                  <a:lnTo>
                    <a:pt x="1282" y="385"/>
                  </a:lnTo>
                  <a:lnTo>
                    <a:pt x="1306" y="463"/>
                  </a:lnTo>
                  <a:lnTo>
                    <a:pt x="1339" y="538"/>
                  </a:lnTo>
                  <a:lnTo>
                    <a:pt x="1378" y="609"/>
                  </a:lnTo>
                  <a:lnTo>
                    <a:pt x="1421" y="673"/>
                  </a:lnTo>
                  <a:lnTo>
                    <a:pt x="1449" y="706"/>
                  </a:lnTo>
                  <a:lnTo>
                    <a:pt x="1435" y="716"/>
                  </a:lnTo>
                  <a:lnTo>
                    <a:pt x="1192" y="827"/>
                  </a:lnTo>
                  <a:lnTo>
                    <a:pt x="1149" y="850"/>
                  </a:lnTo>
                  <a:lnTo>
                    <a:pt x="1110" y="874"/>
                  </a:lnTo>
                  <a:lnTo>
                    <a:pt x="1079" y="904"/>
                  </a:lnTo>
                  <a:lnTo>
                    <a:pt x="1051" y="937"/>
                  </a:lnTo>
                  <a:lnTo>
                    <a:pt x="1031" y="973"/>
                  </a:lnTo>
                  <a:lnTo>
                    <a:pt x="1029" y="977"/>
                  </a:lnTo>
                  <a:lnTo>
                    <a:pt x="1029" y="978"/>
                  </a:lnTo>
                  <a:lnTo>
                    <a:pt x="1027" y="982"/>
                  </a:lnTo>
                  <a:lnTo>
                    <a:pt x="1025" y="985"/>
                  </a:lnTo>
                  <a:lnTo>
                    <a:pt x="45" y="985"/>
                  </a:lnTo>
                  <a:lnTo>
                    <a:pt x="26" y="982"/>
                  </a:lnTo>
                  <a:lnTo>
                    <a:pt x="14" y="970"/>
                  </a:lnTo>
                  <a:lnTo>
                    <a:pt x="5" y="951"/>
                  </a:lnTo>
                  <a:lnTo>
                    <a:pt x="0" y="926"/>
                  </a:lnTo>
                  <a:lnTo>
                    <a:pt x="0" y="897"/>
                  </a:lnTo>
                  <a:lnTo>
                    <a:pt x="2" y="862"/>
                  </a:lnTo>
                  <a:lnTo>
                    <a:pt x="9" y="824"/>
                  </a:lnTo>
                  <a:lnTo>
                    <a:pt x="16" y="782"/>
                  </a:lnTo>
                  <a:lnTo>
                    <a:pt x="26" y="739"/>
                  </a:lnTo>
                  <a:lnTo>
                    <a:pt x="38" y="694"/>
                  </a:lnTo>
                  <a:lnTo>
                    <a:pt x="52" y="647"/>
                  </a:lnTo>
                  <a:lnTo>
                    <a:pt x="68" y="600"/>
                  </a:lnTo>
                  <a:lnTo>
                    <a:pt x="82" y="555"/>
                  </a:lnTo>
                  <a:lnTo>
                    <a:pt x="97" y="512"/>
                  </a:lnTo>
                  <a:lnTo>
                    <a:pt x="113" y="470"/>
                  </a:lnTo>
                  <a:lnTo>
                    <a:pt x="127" y="432"/>
                  </a:lnTo>
                  <a:lnTo>
                    <a:pt x="141" y="397"/>
                  </a:lnTo>
                  <a:lnTo>
                    <a:pt x="151" y="368"/>
                  </a:lnTo>
                  <a:lnTo>
                    <a:pt x="161" y="344"/>
                  </a:lnTo>
                  <a:lnTo>
                    <a:pt x="168" y="324"/>
                  </a:lnTo>
                  <a:lnTo>
                    <a:pt x="173" y="312"/>
                  </a:lnTo>
                  <a:lnTo>
                    <a:pt x="175" y="309"/>
                  </a:lnTo>
                  <a:lnTo>
                    <a:pt x="193" y="281"/>
                  </a:lnTo>
                  <a:lnTo>
                    <a:pt x="217" y="259"/>
                  </a:lnTo>
                  <a:lnTo>
                    <a:pt x="243" y="241"/>
                  </a:lnTo>
                  <a:lnTo>
                    <a:pt x="271" y="227"/>
                  </a:lnTo>
                  <a:lnTo>
                    <a:pt x="533" y="106"/>
                  </a:lnTo>
                  <a:lnTo>
                    <a:pt x="659" y="0"/>
                  </a:lnTo>
                  <a:close/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15" name="Freeform 37"/>
            <p:cNvSpPr>
              <a:spLocks/>
            </p:cNvSpPr>
            <p:nvPr/>
          </p:nvSpPr>
          <p:spPr bwMode="auto">
            <a:xfrm>
              <a:off x="2633" y="2193"/>
              <a:ext cx="472" cy="565"/>
            </a:xfrm>
            <a:custGeom>
              <a:avLst/>
              <a:gdLst>
                <a:gd name="T0" fmla="*/ 472 w 944"/>
                <a:gd name="T1" fmla="*/ 0 h 1131"/>
                <a:gd name="T2" fmla="*/ 545 w 944"/>
                <a:gd name="T3" fmla="*/ 3 h 1131"/>
                <a:gd name="T4" fmla="*/ 612 w 944"/>
                <a:gd name="T5" fmla="*/ 12 h 1131"/>
                <a:gd name="T6" fmla="*/ 673 w 944"/>
                <a:gd name="T7" fmla="*/ 28 h 1131"/>
                <a:gd name="T8" fmla="*/ 727 w 944"/>
                <a:gd name="T9" fmla="*/ 48 h 1131"/>
                <a:gd name="T10" fmla="*/ 775 w 944"/>
                <a:gd name="T11" fmla="*/ 74 h 1131"/>
                <a:gd name="T12" fmla="*/ 815 w 944"/>
                <a:gd name="T13" fmla="*/ 106 h 1131"/>
                <a:gd name="T14" fmla="*/ 852 w 944"/>
                <a:gd name="T15" fmla="*/ 142 h 1131"/>
                <a:gd name="T16" fmla="*/ 881 w 944"/>
                <a:gd name="T17" fmla="*/ 184 h 1131"/>
                <a:gd name="T18" fmla="*/ 904 w 944"/>
                <a:gd name="T19" fmla="*/ 231 h 1131"/>
                <a:gd name="T20" fmla="*/ 921 w 944"/>
                <a:gd name="T21" fmla="*/ 283 h 1131"/>
                <a:gd name="T22" fmla="*/ 935 w 944"/>
                <a:gd name="T23" fmla="*/ 338 h 1131"/>
                <a:gd name="T24" fmla="*/ 942 w 944"/>
                <a:gd name="T25" fmla="*/ 399 h 1131"/>
                <a:gd name="T26" fmla="*/ 944 w 944"/>
                <a:gd name="T27" fmla="*/ 465 h 1131"/>
                <a:gd name="T28" fmla="*/ 938 w 944"/>
                <a:gd name="T29" fmla="*/ 551 h 1131"/>
                <a:gd name="T30" fmla="*/ 926 w 944"/>
                <a:gd name="T31" fmla="*/ 633 h 1131"/>
                <a:gd name="T32" fmla="*/ 907 w 944"/>
                <a:gd name="T33" fmla="*/ 709 h 1131"/>
                <a:gd name="T34" fmla="*/ 883 w 944"/>
                <a:gd name="T35" fmla="*/ 779 h 1131"/>
                <a:gd name="T36" fmla="*/ 852 w 944"/>
                <a:gd name="T37" fmla="*/ 843 h 1131"/>
                <a:gd name="T38" fmla="*/ 819 w 944"/>
                <a:gd name="T39" fmla="*/ 902 h 1131"/>
                <a:gd name="T40" fmla="*/ 780 w 944"/>
                <a:gd name="T41" fmla="*/ 954 h 1131"/>
                <a:gd name="T42" fmla="*/ 739 w 944"/>
                <a:gd name="T43" fmla="*/ 1001 h 1131"/>
                <a:gd name="T44" fmla="*/ 695 w 944"/>
                <a:gd name="T45" fmla="*/ 1039 h 1131"/>
                <a:gd name="T46" fmla="*/ 650 w 944"/>
                <a:gd name="T47" fmla="*/ 1072 h 1131"/>
                <a:gd name="T48" fmla="*/ 605 w 944"/>
                <a:gd name="T49" fmla="*/ 1098 h 1131"/>
                <a:gd name="T50" fmla="*/ 560 w 944"/>
                <a:gd name="T51" fmla="*/ 1117 h 1131"/>
                <a:gd name="T52" fmla="*/ 515 w 944"/>
                <a:gd name="T53" fmla="*/ 1127 h 1131"/>
                <a:gd name="T54" fmla="*/ 472 w 944"/>
                <a:gd name="T55" fmla="*/ 1131 h 1131"/>
                <a:gd name="T56" fmla="*/ 421 w 944"/>
                <a:gd name="T57" fmla="*/ 1127 h 1131"/>
                <a:gd name="T58" fmla="*/ 371 w 944"/>
                <a:gd name="T59" fmla="*/ 1117 h 1131"/>
                <a:gd name="T60" fmla="*/ 324 w 944"/>
                <a:gd name="T61" fmla="*/ 1098 h 1131"/>
                <a:gd name="T62" fmla="*/ 276 w 944"/>
                <a:gd name="T63" fmla="*/ 1072 h 1131"/>
                <a:gd name="T64" fmla="*/ 232 w 944"/>
                <a:gd name="T65" fmla="*/ 1039 h 1131"/>
                <a:gd name="T66" fmla="*/ 189 w 944"/>
                <a:gd name="T67" fmla="*/ 1001 h 1131"/>
                <a:gd name="T68" fmla="*/ 149 w 944"/>
                <a:gd name="T69" fmla="*/ 954 h 1131"/>
                <a:gd name="T70" fmla="*/ 114 w 944"/>
                <a:gd name="T71" fmla="*/ 902 h 1131"/>
                <a:gd name="T72" fmla="*/ 81 w 944"/>
                <a:gd name="T73" fmla="*/ 843 h 1131"/>
                <a:gd name="T74" fmla="*/ 54 w 944"/>
                <a:gd name="T75" fmla="*/ 779 h 1131"/>
                <a:gd name="T76" fmla="*/ 31 w 944"/>
                <a:gd name="T77" fmla="*/ 709 h 1131"/>
                <a:gd name="T78" fmla="*/ 15 w 944"/>
                <a:gd name="T79" fmla="*/ 633 h 1131"/>
                <a:gd name="T80" fmla="*/ 3 w 944"/>
                <a:gd name="T81" fmla="*/ 551 h 1131"/>
                <a:gd name="T82" fmla="*/ 0 w 944"/>
                <a:gd name="T83" fmla="*/ 465 h 1131"/>
                <a:gd name="T84" fmla="*/ 1 w 944"/>
                <a:gd name="T85" fmla="*/ 399 h 1131"/>
                <a:gd name="T86" fmla="*/ 8 w 944"/>
                <a:gd name="T87" fmla="*/ 338 h 1131"/>
                <a:gd name="T88" fmla="*/ 21 w 944"/>
                <a:gd name="T89" fmla="*/ 283 h 1131"/>
                <a:gd name="T90" fmla="*/ 38 w 944"/>
                <a:gd name="T91" fmla="*/ 231 h 1131"/>
                <a:gd name="T92" fmla="*/ 62 w 944"/>
                <a:gd name="T93" fmla="*/ 184 h 1131"/>
                <a:gd name="T94" fmla="*/ 92 w 944"/>
                <a:gd name="T95" fmla="*/ 142 h 1131"/>
                <a:gd name="T96" fmla="*/ 126 w 944"/>
                <a:gd name="T97" fmla="*/ 106 h 1131"/>
                <a:gd name="T98" fmla="*/ 168 w 944"/>
                <a:gd name="T99" fmla="*/ 74 h 1131"/>
                <a:gd name="T100" fmla="*/ 215 w 944"/>
                <a:gd name="T101" fmla="*/ 48 h 1131"/>
                <a:gd name="T102" fmla="*/ 269 w 944"/>
                <a:gd name="T103" fmla="*/ 28 h 1131"/>
                <a:gd name="T104" fmla="*/ 329 w 944"/>
                <a:gd name="T105" fmla="*/ 12 h 1131"/>
                <a:gd name="T106" fmla="*/ 397 w 944"/>
                <a:gd name="T107" fmla="*/ 3 h 1131"/>
                <a:gd name="T108" fmla="*/ 472 w 944"/>
                <a:gd name="T109" fmla="*/ 0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44" h="1131">
                  <a:moveTo>
                    <a:pt x="472" y="0"/>
                  </a:moveTo>
                  <a:lnTo>
                    <a:pt x="545" y="3"/>
                  </a:lnTo>
                  <a:lnTo>
                    <a:pt x="612" y="12"/>
                  </a:lnTo>
                  <a:lnTo>
                    <a:pt x="673" y="28"/>
                  </a:lnTo>
                  <a:lnTo>
                    <a:pt x="727" y="48"/>
                  </a:lnTo>
                  <a:lnTo>
                    <a:pt x="775" y="74"/>
                  </a:lnTo>
                  <a:lnTo>
                    <a:pt x="815" y="106"/>
                  </a:lnTo>
                  <a:lnTo>
                    <a:pt x="852" y="142"/>
                  </a:lnTo>
                  <a:lnTo>
                    <a:pt x="881" y="184"/>
                  </a:lnTo>
                  <a:lnTo>
                    <a:pt x="904" y="231"/>
                  </a:lnTo>
                  <a:lnTo>
                    <a:pt x="921" y="283"/>
                  </a:lnTo>
                  <a:lnTo>
                    <a:pt x="935" y="338"/>
                  </a:lnTo>
                  <a:lnTo>
                    <a:pt x="942" y="399"/>
                  </a:lnTo>
                  <a:lnTo>
                    <a:pt x="944" y="465"/>
                  </a:lnTo>
                  <a:lnTo>
                    <a:pt x="938" y="551"/>
                  </a:lnTo>
                  <a:lnTo>
                    <a:pt x="926" y="633"/>
                  </a:lnTo>
                  <a:lnTo>
                    <a:pt x="907" y="709"/>
                  </a:lnTo>
                  <a:lnTo>
                    <a:pt x="883" y="779"/>
                  </a:lnTo>
                  <a:lnTo>
                    <a:pt x="852" y="843"/>
                  </a:lnTo>
                  <a:lnTo>
                    <a:pt x="819" y="902"/>
                  </a:lnTo>
                  <a:lnTo>
                    <a:pt x="780" y="954"/>
                  </a:lnTo>
                  <a:lnTo>
                    <a:pt x="739" y="1001"/>
                  </a:lnTo>
                  <a:lnTo>
                    <a:pt x="695" y="1039"/>
                  </a:lnTo>
                  <a:lnTo>
                    <a:pt x="650" y="1072"/>
                  </a:lnTo>
                  <a:lnTo>
                    <a:pt x="605" y="1098"/>
                  </a:lnTo>
                  <a:lnTo>
                    <a:pt x="560" y="1117"/>
                  </a:lnTo>
                  <a:lnTo>
                    <a:pt x="515" y="1127"/>
                  </a:lnTo>
                  <a:lnTo>
                    <a:pt x="472" y="1131"/>
                  </a:lnTo>
                  <a:lnTo>
                    <a:pt x="421" y="1127"/>
                  </a:lnTo>
                  <a:lnTo>
                    <a:pt x="371" y="1117"/>
                  </a:lnTo>
                  <a:lnTo>
                    <a:pt x="324" y="1098"/>
                  </a:lnTo>
                  <a:lnTo>
                    <a:pt x="276" y="1072"/>
                  </a:lnTo>
                  <a:lnTo>
                    <a:pt x="232" y="1039"/>
                  </a:lnTo>
                  <a:lnTo>
                    <a:pt x="189" y="1001"/>
                  </a:lnTo>
                  <a:lnTo>
                    <a:pt x="149" y="954"/>
                  </a:lnTo>
                  <a:lnTo>
                    <a:pt x="114" y="902"/>
                  </a:lnTo>
                  <a:lnTo>
                    <a:pt x="81" y="843"/>
                  </a:lnTo>
                  <a:lnTo>
                    <a:pt x="54" y="779"/>
                  </a:lnTo>
                  <a:lnTo>
                    <a:pt x="31" y="709"/>
                  </a:lnTo>
                  <a:lnTo>
                    <a:pt x="15" y="633"/>
                  </a:lnTo>
                  <a:lnTo>
                    <a:pt x="3" y="551"/>
                  </a:lnTo>
                  <a:lnTo>
                    <a:pt x="0" y="465"/>
                  </a:lnTo>
                  <a:lnTo>
                    <a:pt x="1" y="399"/>
                  </a:lnTo>
                  <a:lnTo>
                    <a:pt x="8" y="338"/>
                  </a:lnTo>
                  <a:lnTo>
                    <a:pt x="21" y="283"/>
                  </a:lnTo>
                  <a:lnTo>
                    <a:pt x="38" y="231"/>
                  </a:lnTo>
                  <a:lnTo>
                    <a:pt x="62" y="184"/>
                  </a:lnTo>
                  <a:lnTo>
                    <a:pt x="92" y="142"/>
                  </a:lnTo>
                  <a:lnTo>
                    <a:pt x="126" y="106"/>
                  </a:lnTo>
                  <a:lnTo>
                    <a:pt x="168" y="74"/>
                  </a:lnTo>
                  <a:lnTo>
                    <a:pt x="215" y="48"/>
                  </a:lnTo>
                  <a:lnTo>
                    <a:pt x="269" y="28"/>
                  </a:lnTo>
                  <a:lnTo>
                    <a:pt x="329" y="12"/>
                  </a:lnTo>
                  <a:lnTo>
                    <a:pt x="397" y="3"/>
                  </a:lnTo>
                  <a:lnTo>
                    <a:pt x="472" y="0"/>
                  </a:lnTo>
                  <a:close/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16" name="Freeform 38"/>
            <p:cNvSpPr>
              <a:spLocks/>
            </p:cNvSpPr>
            <p:nvPr/>
          </p:nvSpPr>
          <p:spPr bwMode="auto">
            <a:xfrm>
              <a:off x="3549" y="2732"/>
              <a:ext cx="579" cy="492"/>
            </a:xfrm>
            <a:custGeom>
              <a:avLst/>
              <a:gdLst>
                <a:gd name="T0" fmla="*/ 370 w 1159"/>
                <a:gd name="T1" fmla="*/ 0 h 985"/>
                <a:gd name="T2" fmla="*/ 571 w 1159"/>
                <a:gd name="T3" fmla="*/ 201 h 985"/>
                <a:gd name="T4" fmla="*/ 595 w 1159"/>
                <a:gd name="T5" fmla="*/ 201 h 985"/>
                <a:gd name="T6" fmla="*/ 796 w 1159"/>
                <a:gd name="T7" fmla="*/ 0 h 985"/>
                <a:gd name="T8" fmla="*/ 923 w 1159"/>
                <a:gd name="T9" fmla="*/ 106 h 985"/>
                <a:gd name="T10" fmla="*/ 956 w 1159"/>
                <a:gd name="T11" fmla="*/ 121 h 985"/>
                <a:gd name="T12" fmla="*/ 961 w 1159"/>
                <a:gd name="T13" fmla="*/ 213 h 985"/>
                <a:gd name="T14" fmla="*/ 973 w 1159"/>
                <a:gd name="T15" fmla="*/ 300 h 985"/>
                <a:gd name="T16" fmla="*/ 992 w 1159"/>
                <a:gd name="T17" fmla="*/ 385 h 985"/>
                <a:gd name="T18" fmla="*/ 1018 w 1159"/>
                <a:gd name="T19" fmla="*/ 463 h 985"/>
                <a:gd name="T20" fmla="*/ 1050 w 1159"/>
                <a:gd name="T21" fmla="*/ 538 h 985"/>
                <a:gd name="T22" fmla="*/ 1088 w 1159"/>
                <a:gd name="T23" fmla="*/ 609 h 985"/>
                <a:gd name="T24" fmla="*/ 1131 w 1159"/>
                <a:gd name="T25" fmla="*/ 673 h 985"/>
                <a:gd name="T26" fmla="*/ 1159 w 1159"/>
                <a:gd name="T27" fmla="*/ 706 h 985"/>
                <a:gd name="T28" fmla="*/ 1147 w 1159"/>
                <a:gd name="T29" fmla="*/ 716 h 985"/>
                <a:gd name="T30" fmla="*/ 902 w 1159"/>
                <a:gd name="T31" fmla="*/ 827 h 985"/>
                <a:gd name="T32" fmla="*/ 859 w 1159"/>
                <a:gd name="T33" fmla="*/ 850 h 985"/>
                <a:gd name="T34" fmla="*/ 821 w 1159"/>
                <a:gd name="T35" fmla="*/ 874 h 985"/>
                <a:gd name="T36" fmla="*/ 789 w 1159"/>
                <a:gd name="T37" fmla="*/ 904 h 985"/>
                <a:gd name="T38" fmla="*/ 763 w 1159"/>
                <a:gd name="T39" fmla="*/ 937 h 985"/>
                <a:gd name="T40" fmla="*/ 743 w 1159"/>
                <a:gd name="T41" fmla="*/ 973 h 985"/>
                <a:gd name="T42" fmla="*/ 741 w 1159"/>
                <a:gd name="T43" fmla="*/ 977 h 985"/>
                <a:gd name="T44" fmla="*/ 739 w 1159"/>
                <a:gd name="T45" fmla="*/ 978 h 985"/>
                <a:gd name="T46" fmla="*/ 739 w 1159"/>
                <a:gd name="T47" fmla="*/ 982 h 985"/>
                <a:gd name="T48" fmla="*/ 737 w 1159"/>
                <a:gd name="T49" fmla="*/ 985 h 985"/>
                <a:gd name="T50" fmla="*/ 429 w 1159"/>
                <a:gd name="T51" fmla="*/ 985 h 985"/>
                <a:gd name="T52" fmla="*/ 427 w 1159"/>
                <a:gd name="T53" fmla="*/ 982 h 985"/>
                <a:gd name="T54" fmla="*/ 427 w 1159"/>
                <a:gd name="T55" fmla="*/ 978 h 985"/>
                <a:gd name="T56" fmla="*/ 425 w 1159"/>
                <a:gd name="T57" fmla="*/ 978 h 985"/>
                <a:gd name="T58" fmla="*/ 406 w 1159"/>
                <a:gd name="T59" fmla="*/ 940 h 985"/>
                <a:gd name="T60" fmla="*/ 380 w 1159"/>
                <a:gd name="T61" fmla="*/ 907 h 985"/>
                <a:gd name="T62" fmla="*/ 347 w 1159"/>
                <a:gd name="T63" fmla="*/ 876 h 985"/>
                <a:gd name="T64" fmla="*/ 309 w 1159"/>
                <a:gd name="T65" fmla="*/ 850 h 985"/>
                <a:gd name="T66" fmla="*/ 264 w 1159"/>
                <a:gd name="T67" fmla="*/ 827 h 985"/>
                <a:gd name="T68" fmla="*/ 19 w 1159"/>
                <a:gd name="T69" fmla="*/ 716 h 985"/>
                <a:gd name="T70" fmla="*/ 0 w 1159"/>
                <a:gd name="T71" fmla="*/ 699 h 985"/>
                <a:gd name="T72" fmla="*/ 19 w 1159"/>
                <a:gd name="T73" fmla="*/ 675 h 985"/>
                <a:gd name="T74" fmla="*/ 68 w 1159"/>
                <a:gd name="T75" fmla="*/ 609 h 985"/>
                <a:gd name="T76" fmla="*/ 108 w 1159"/>
                <a:gd name="T77" fmla="*/ 538 h 985"/>
                <a:gd name="T78" fmla="*/ 142 w 1159"/>
                <a:gd name="T79" fmla="*/ 461 h 985"/>
                <a:gd name="T80" fmla="*/ 170 w 1159"/>
                <a:gd name="T81" fmla="*/ 382 h 985"/>
                <a:gd name="T82" fmla="*/ 191 w 1159"/>
                <a:gd name="T83" fmla="*/ 298 h 985"/>
                <a:gd name="T84" fmla="*/ 203 w 1159"/>
                <a:gd name="T85" fmla="*/ 212 h 985"/>
                <a:gd name="T86" fmla="*/ 210 w 1159"/>
                <a:gd name="T87" fmla="*/ 121 h 985"/>
                <a:gd name="T88" fmla="*/ 243 w 1159"/>
                <a:gd name="T89" fmla="*/ 106 h 985"/>
                <a:gd name="T90" fmla="*/ 370 w 1159"/>
                <a:gd name="T91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9" h="985">
                  <a:moveTo>
                    <a:pt x="370" y="0"/>
                  </a:moveTo>
                  <a:lnTo>
                    <a:pt x="571" y="201"/>
                  </a:lnTo>
                  <a:lnTo>
                    <a:pt x="595" y="201"/>
                  </a:lnTo>
                  <a:lnTo>
                    <a:pt x="796" y="0"/>
                  </a:lnTo>
                  <a:lnTo>
                    <a:pt x="923" y="106"/>
                  </a:lnTo>
                  <a:lnTo>
                    <a:pt x="956" y="121"/>
                  </a:lnTo>
                  <a:lnTo>
                    <a:pt x="961" y="213"/>
                  </a:lnTo>
                  <a:lnTo>
                    <a:pt x="973" y="300"/>
                  </a:lnTo>
                  <a:lnTo>
                    <a:pt x="992" y="385"/>
                  </a:lnTo>
                  <a:lnTo>
                    <a:pt x="1018" y="463"/>
                  </a:lnTo>
                  <a:lnTo>
                    <a:pt x="1050" y="538"/>
                  </a:lnTo>
                  <a:lnTo>
                    <a:pt x="1088" y="609"/>
                  </a:lnTo>
                  <a:lnTo>
                    <a:pt x="1131" y="673"/>
                  </a:lnTo>
                  <a:lnTo>
                    <a:pt x="1159" y="706"/>
                  </a:lnTo>
                  <a:lnTo>
                    <a:pt x="1147" y="716"/>
                  </a:lnTo>
                  <a:lnTo>
                    <a:pt x="902" y="827"/>
                  </a:lnTo>
                  <a:lnTo>
                    <a:pt x="859" y="850"/>
                  </a:lnTo>
                  <a:lnTo>
                    <a:pt x="821" y="874"/>
                  </a:lnTo>
                  <a:lnTo>
                    <a:pt x="789" y="904"/>
                  </a:lnTo>
                  <a:lnTo>
                    <a:pt x="763" y="937"/>
                  </a:lnTo>
                  <a:lnTo>
                    <a:pt x="743" y="973"/>
                  </a:lnTo>
                  <a:lnTo>
                    <a:pt x="741" y="977"/>
                  </a:lnTo>
                  <a:lnTo>
                    <a:pt x="739" y="978"/>
                  </a:lnTo>
                  <a:lnTo>
                    <a:pt x="739" y="982"/>
                  </a:lnTo>
                  <a:lnTo>
                    <a:pt x="737" y="985"/>
                  </a:lnTo>
                  <a:lnTo>
                    <a:pt x="429" y="985"/>
                  </a:lnTo>
                  <a:lnTo>
                    <a:pt x="427" y="982"/>
                  </a:lnTo>
                  <a:lnTo>
                    <a:pt x="427" y="978"/>
                  </a:lnTo>
                  <a:lnTo>
                    <a:pt x="425" y="978"/>
                  </a:lnTo>
                  <a:lnTo>
                    <a:pt x="406" y="940"/>
                  </a:lnTo>
                  <a:lnTo>
                    <a:pt x="380" y="907"/>
                  </a:lnTo>
                  <a:lnTo>
                    <a:pt x="347" y="876"/>
                  </a:lnTo>
                  <a:lnTo>
                    <a:pt x="309" y="850"/>
                  </a:lnTo>
                  <a:lnTo>
                    <a:pt x="264" y="827"/>
                  </a:lnTo>
                  <a:lnTo>
                    <a:pt x="19" y="716"/>
                  </a:lnTo>
                  <a:lnTo>
                    <a:pt x="0" y="699"/>
                  </a:lnTo>
                  <a:lnTo>
                    <a:pt x="19" y="675"/>
                  </a:lnTo>
                  <a:lnTo>
                    <a:pt x="68" y="609"/>
                  </a:lnTo>
                  <a:lnTo>
                    <a:pt x="108" y="538"/>
                  </a:lnTo>
                  <a:lnTo>
                    <a:pt x="142" y="461"/>
                  </a:lnTo>
                  <a:lnTo>
                    <a:pt x="170" y="382"/>
                  </a:lnTo>
                  <a:lnTo>
                    <a:pt x="191" y="298"/>
                  </a:lnTo>
                  <a:lnTo>
                    <a:pt x="203" y="212"/>
                  </a:lnTo>
                  <a:lnTo>
                    <a:pt x="210" y="121"/>
                  </a:lnTo>
                  <a:lnTo>
                    <a:pt x="243" y="106"/>
                  </a:lnTo>
                  <a:lnTo>
                    <a:pt x="370" y="0"/>
                  </a:lnTo>
                  <a:close/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17" name="Freeform 39"/>
            <p:cNvSpPr>
              <a:spLocks/>
            </p:cNvSpPr>
            <p:nvPr/>
          </p:nvSpPr>
          <p:spPr bwMode="auto">
            <a:xfrm>
              <a:off x="3604" y="2193"/>
              <a:ext cx="472" cy="565"/>
            </a:xfrm>
            <a:custGeom>
              <a:avLst/>
              <a:gdLst>
                <a:gd name="T0" fmla="*/ 472 w 944"/>
                <a:gd name="T1" fmla="*/ 0 h 1131"/>
                <a:gd name="T2" fmla="*/ 547 w 944"/>
                <a:gd name="T3" fmla="*/ 3 h 1131"/>
                <a:gd name="T4" fmla="*/ 613 w 944"/>
                <a:gd name="T5" fmla="*/ 12 h 1131"/>
                <a:gd name="T6" fmla="*/ 673 w 944"/>
                <a:gd name="T7" fmla="*/ 28 h 1131"/>
                <a:gd name="T8" fmla="*/ 727 w 944"/>
                <a:gd name="T9" fmla="*/ 48 h 1131"/>
                <a:gd name="T10" fmla="*/ 776 w 944"/>
                <a:gd name="T11" fmla="*/ 74 h 1131"/>
                <a:gd name="T12" fmla="*/ 817 w 944"/>
                <a:gd name="T13" fmla="*/ 106 h 1131"/>
                <a:gd name="T14" fmla="*/ 852 w 944"/>
                <a:gd name="T15" fmla="*/ 142 h 1131"/>
                <a:gd name="T16" fmla="*/ 881 w 944"/>
                <a:gd name="T17" fmla="*/ 184 h 1131"/>
                <a:gd name="T18" fmla="*/ 904 w 944"/>
                <a:gd name="T19" fmla="*/ 231 h 1131"/>
                <a:gd name="T20" fmla="*/ 923 w 944"/>
                <a:gd name="T21" fmla="*/ 283 h 1131"/>
                <a:gd name="T22" fmla="*/ 935 w 944"/>
                <a:gd name="T23" fmla="*/ 338 h 1131"/>
                <a:gd name="T24" fmla="*/ 942 w 944"/>
                <a:gd name="T25" fmla="*/ 399 h 1131"/>
                <a:gd name="T26" fmla="*/ 944 w 944"/>
                <a:gd name="T27" fmla="*/ 465 h 1131"/>
                <a:gd name="T28" fmla="*/ 939 w 944"/>
                <a:gd name="T29" fmla="*/ 551 h 1131"/>
                <a:gd name="T30" fmla="*/ 927 w 944"/>
                <a:gd name="T31" fmla="*/ 633 h 1131"/>
                <a:gd name="T32" fmla="*/ 907 w 944"/>
                <a:gd name="T33" fmla="*/ 709 h 1131"/>
                <a:gd name="T34" fmla="*/ 883 w 944"/>
                <a:gd name="T35" fmla="*/ 779 h 1131"/>
                <a:gd name="T36" fmla="*/ 854 w 944"/>
                <a:gd name="T37" fmla="*/ 843 h 1131"/>
                <a:gd name="T38" fmla="*/ 819 w 944"/>
                <a:gd name="T39" fmla="*/ 902 h 1131"/>
                <a:gd name="T40" fmla="*/ 781 w 944"/>
                <a:gd name="T41" fmla="*/ 954 h 1131"/>
                <a:gd name="T42" fmla="*/ 739 w 944"/>
                <a:gd name="T43" fmla="*/ 1001 h 1131"/>
                <a:gd name="T44" fmla="*/ 698 w 944"/>
                <a:gd name="T45" fmla="*/ 1039 h 1131"/>
                <a:gd name="T46" fmla="*/ 652 w 944"/>
                <a:gd name="T47" fmla="*/ 1072 h 1131"/>
                <a:gd name="T48" fmla="*/ 606 w 944"/>
                <a:gd name="T49" fmla="*/ 1098 h 1131"/>
                <a:gd name="T50" fmla="*/ 560 w 944"/>
                <a:gd name="T51" fmla="*/ 1117 h 1131"/>
                <a:gd name="T52" fmla="*/ 515 w 944"/>
                <a:gd name="T53" fmla="*/ 1127 h 1131"/>
                <a:gd name="T54" fmla="*/ 472 w 944"/>
                <a:gd name="T55" fmla="*/ 1131 h 1131"/>
                <a:gd name="T56" fmla="*/ 422 w 944"/>
                <a:gd name="T57" fmla="*/ 1127 h 1131"/>
                <a:gd name="T58" fmla="*/ 373 w 944"/>
                <a:gd name="T59" fmla="*/ 1117 h 1131"/>
                <a:gd name="T60" fmla="*/ 325 w 944"/>
                <a:gd name="T61" fmla="*/ 1098 h 1131"/>
                <a:gd name="T62" fmla="*/ 278 w 944"/>
                <a:gd name="T63" fmla="*/ 1072 h 1131"/>
                <a:gd name="T64" fmla="*/ 233 w 944"/>
                <a:gd name="T65" fmla="*/ 1039 h 1131"/>
                <a:gd name="T66" fmla="*/ 189 w 944"/>
                <a:gd name="T67" fmla="*/ 1001 h 1131"/>
                <a:gd name="T68" fmla="*/ 151 w 944"/>
                <a:gd name="T69" fmla="*/ 954 h 1131"/>
                <a:gd name="T70" fmla="*/ 115 w 944"/>
                <a:gd name="T71" fmla="*/ 902 h 1131"/>
                <a:gd name="T72" fmla="*/ 82 w 944"/>
                <a:gd name="T73" fmla="*/ 843 h 1131"/>
                <a:gd name="T74" fmla="*/ 56 w 944"/>
                <a:gd name="T75" fmla="*/ 779 h 1131"/>
                <a:gd name="T76" fmla="*/ 33 w 944"/>
                <a:gd name="T77" fmla="*/ 709 h 1131"/>
                <a:gd name="T78" fmla="*/ 16 w 944"/>
                <a:gd name="T79" fmla="*/ 633 h 1131"/>
                <a:gd name="T80" fmla="*/ 5 w 944"/>
                <a:gd name="T81" fmla="*/ 551 h 1131"/>
                <a:gd name="T82" fmla="*/ 0 w 944"/>
                <a:gd name="T83" fmla="*/ 465 h 1131"/>
                <a:gd name="T84" fmla="*/ 2 w 944"/>
                <a:gd name="T85" fmla="*/ 399 h 1131"/>
                <a:gd name="T86" fmla="*/ 9 w 944"/>
                <a:gd name="T87" fmla="*/ 338 h 1131"/>
                <a:gd name="T88" fmla="*/ 21 w 944"/>
                <a:gd name="T89" fmla="*/ 283 h 1131"/>
                <a:gd name="T90" fmla="*/ 40 w 944"/>
                <a:gd name="T91" fmla="*/ 231 h 1131"/>
                <a:gd name="T92" fmla="*/ 63 w 944"/>
                <a:gd name="T93" fmla="*/ 184 h 1131"/>
                <a:gd name="T94" fmla="*/ 92 w 944"/>
                <a:gd name="T95" fmla="*/ 142 h 1131"/>
                <a:gd name="T96" fmla="*/ 127 w 944"/>
                <a:gd name="T97" fmla="*/ 106 h 1131"/>
                <a:gd name="T98" fmla="*/ 168 w 944"/>
                <a:gd name="T99" fmla="*/ 74 h 1131"/>
                <a:gd name="T100" fmla="*/ 215 w 944"/>
                <a:gd name="T101" fmla="*/ 48 h 1131"/>
                <a:gd name="T102" fmla="*/ 271 w 944"/>
                <a:gd name="T103" fmla="*/ 28 h 1131"/>
                <a:gd name="T104" fmla="*/ 330 w 944"/>
                <a:gd name="T105" fmla="*/ 12 h 1131"/>
                <a:gd name="T106" fmla="*/ 397 w 944"/>
                <a:gd name="T107" fmla="*/ 3 h 1131"/>
                <a:gd name="T108" fmla="*/ 472 w 944"/>
                <a:gd name="T109" fmla="*/ 0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44" h="1131">
                  <a:moveTo>
                    <a:pt x="472" y="0"/>
                  </a:moveTo>
                  <a:lnTo>
                    <a:pt x="547" y="3"/>
                  </a:lnTo>
                  <a:lnTo>
                    <a:pt x="613" y="12"/>
                  </a:lnTo>
                  <a:lnTo>
                    <a:pt x="673" y="28"/>
                  </a:lnTo>
                  <a:lnTo>
                    <a:pt x="727" y="48"/>
                  </a:lnTo>
                  <a:lnTo>
                    <a:pt x="776" y="74"/>
                  </a:lnTo>
                  <a:lnTo>
                    <a:pt x="817" y="106"/>
                  </a:lnTo>
                  <a:lnTo>
                    <a:pt x="852" y="142"/>
                  </a:lnTo>
                  <a:lnTo>
                    <a:pt x="881" y="184"/>
                  </a:lnTo>
                  <a:lnTo>
                    <a:pt x="904" y="231"/>
                  </a:lnTo>
                  <a:lnTo>
                    <a:pt x="923" y="283"/>
                  </a:lnTo>
                  <a:lnTo>
                    <a:pt x="935" y="338"/>
                  </a:lnTo>
                  <a:lnTo>
                    <a:pt x="942" y="399"/>
                  </a:lnTo>
                  <a:lnTo>
                    <a:pt x="944" y="465"/>
                  </a:lnTo>
                  <a:lnTo>
                    <a:pt x="939" y="551"/>
                  </a:lnTo>
                  <a:lnTo>
                    <a:pt x="927" y="633"/>
                  </a:lnTo>
                  <a:lnTo>
                    <a:pt x="907" y="709"/>
                  </a:lnTo>
                  <a:lnTo>
                    <a:pt x="883" y="779"/>
                  </a:lnTo>
                  <a:lnTo>
                    <a:pt x="854" y="843"/>
                  </a:lnTo>
                  <a:lnTo>
                    <a:pt x="819" y="902"/>
                  </a:lnTo>
                  <a:lnTo>
                    <a:pt x="781" y="954"/>
                  </a:lnTo>
                  <a:lnTo>
                    <a:pt x="739" y="1001"/>
                  </a:lnTo>
                  <a:lnTo>
                    <a:pt x="698" y="1039"/>
                  </a:lnTo>
                  <a:lnTo>
                    <a:pt x="652" y="1072"/>
                  </a:lnTo>
                  <a:lnTo>
                    <a:pt x="606" y="1098"/>
                  </a:lnTo>
                  <a:lnTo>
                    <a:pt x="560" y="1117"/>
                  </a:lnTo>
                  <a:lnTo>
                    <a:pt x="515" y="1127"/>
                  </a:lnTo>
                  <a:lnTo>
                    <a:pt x="472" y="1131"/>
                  </a:lnTo>
                  <a:lnTo>
                    <a:pt x="422" y="1127"/>
                  </a:lnTo>
                  <a:lnTo>
                    <a:pt x="373" y="1117"/>
                  </a:lnTo>
                  <a:lnTo>
                    <a:pt x="325" y="1098"/>
                  </a:lnTo>
                  <a:lnTo>
                    <a:pt x="278" y="1072"/>
                  </a:lnTo>
                  <a:lnTo>
                    <a:pt x="233" y="1039"/>
                  </a:lnTo>
                  <a:lnTo>
                    <a:pt x="189" y="1001"/>
                  </a:lnTo>
                  <a:lnTo>
                    <a:pt x="151" y="954"/>
                  </a:lnTo>
                  <a:lnTo>
                    <a:pt x="115" y="902"/>
                  </a:lnTo>
                  <a:lnTo>
                    <a:pt x="82" y="843"/>
                  </a:lnTo>
                  <a:lnTo>
                    <a:pt x="56" y="779"/>
                  </a:lnTo>
                  <a:lnTo>
                    <a:pt x="33" y="709"/>
                  </a:lnTo>
                  <a:lnTo>
                    <a:pt x="16" y="633"/>
                  </a:lnTo>
                  <a:lnTo>
                    <a:pt x="5" y="551"/>
                  </a:lnTo>
                  <a:lnTo>
                    <a:pt x="0" y="465"/>
                  </a:lnTo>
                  <a:lnTo>
                    <a:pt x="2" y="399"/>
                  </a:lnTo>
                  <a:lnTo>
                    <a:pt x="9" y="338"/>
                  </a:lnTo>
                  <a:lnTo>
                    <a:pt x="21" y="283"/>
                  </a:lnTo>
                  <a:lnTo>
                    <a:pt x="40" y="231"/>
                  </a:lnTo>
                  <a:lnTo>
                    <a:pt x="63" y="184"/>
                  </a:lnTo>
                  <a:lnTo>
                    <a:pt x="92" y="142"/>
                  </a:lnTo>
                  <a:lnTo>
                    <a:pt x="127" y="106"/>
                  </a:lnTo>
                  <a:lnTo>
                    <a:pt x="168" y="74"/>
                  </a:lnTo>
                  <a:lnTo>
                    <a:pt x="215" y="48"/>
                  </a:lnTo>
                  <a:lnTo>
                    <a:pt x="271" y="28"/>
                  </a:lnTo>
                  <a:lnTo>
                    <a:pt x="330" y="12"/>
                  </a:lnTo>
                  <a:lnTo>
                    <a:pt x="397" y="3"/>
                  </a:lnTo>
                  <a:lnTo>
                    <a:pt x="472" y="0"/>
                  </a:lnTo>
                  <a:close/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18" name="Freeform 40"/>
            <p:cNvSpPr>
              <a:spLocks/>
            </p:cNvSpPr>
            <p:nvPr/>
          </p:nvSpPr>
          <p:spPr bwMode="auto">
            <a:xfrm>
              <a:off x="4519" y="2732"/>
              <a:ext cx="728" cy="492"/>
            </a:xfrm>
            <a:custGeom>
              <a:avLst/>
              <a:gdLst>
                <a:gd name="T0" fmla="*/ 370 w 1456"/>
                <a:gd name="T1" fmla="*/ 0 h 985"/>
                <a:gd name="T2" fmla="*/ 571 w 1456"/>
                <a:gd name="T3" fmla="*/ 201 h 985"/>
                <a:gd name="T4" fmla="*/ 595 w 1456"/>
                <a:gd name="T5" fmla="*/ 201 h 985"/>
                <a:gd name="T6" fmla="*/ 797 w 1456"/>
                <a:gd name="T7" fmla="*/ 0 h 985"/>
                <a:gd name="T8" fmla="*/ 923 w 1456"/>
                <a:gd name="T9" fmla="*/ 106 h 985"/>
                <a:gd name="T10" fmla="*/ 1185 w 1456"/>
                <a:gd name="T11" fmla="*/ 227 h 985"/>
                <a:gd name="T12" fmla="*/ 1208 w 1456"/>
                <a:gd name="T13" fmla="*/ 238 h 985"/>
                <a:gd name="T14" fmla="*/ 1230 w 1456"/>
                <a:gd name="T15" fmla="*/ 252 h 985"/>
                <a:gd name="T16" fmla="*/ 1251 w 1456"/>
                <a:gd name="T17" fmla="*/ 267 h 985"/>
                <a:gd name="T18" fmla="*/ 1269 w 1456"/>
                <a:gd name="T19" fmla="*/ 286 h 985"/>
                <a:gd name="T20" fmla="*/ 1281 w 1456"/>
                <a:gd name="T21" fmla="*/ 309 h 985"/>
                <a:gd name="T22" fmla="*/ 1283 w 1456"/>
                <a:gd name="T23" fmla="*/ 312 h 985"/>
                <a:gd name="T24" fmla="*/ 1288 w 1456"/>
                <a:gd name="T25" fmla="*/ 324 h 985"/>
                <a:gd name="T26" fmla="*/ 1295 w 1456"/>
                <a:gd name="T27" fmla="*/ 344 h 985"/>
                <a:gd name="T28" fmla="*/ 1305 w 1456"/>
                <a:gd name="T29" fmla="*/ 368 h 985"/>
                <a:gd name="T30" fmla="*/ 1315 w 1456"/>
                <a:gd name="T31" fmla="*/ 397 h 985"/>
                <a:gd name="T32" fmla="*/ 1329 w 1456"/>
                <a:gd name="T33" fmla="*/ 432 h 985"/>
                <a:gd name="T34" fmla="*/ 1343 w 1456"/>
                <a:gd name="T35" fmla="*/ 470 h 985"/>
                <a:gd name="T36" fmla="*/ 1359 w 1456"/>
                <a:gd name="T37" fmla="*/ 512 h 985"/>
                <a:gd name="T38" fmla="*/ 1374 w 1456"/>
                <a:gd name="T39" fmla="*/ 555 h 985"/>
                <a:gd name="T40" fmla="*/ 1388 w 1456"/>
                <a:gd name="T41" fmla="*/ 600 h 985"/>
                <a:gd name="T42" fmla="*/ 1404 w 1456"/>
                <a:gd name="T43" fmla="*/ 647 h 985"/>
                <a:gd name="T44" fmla="*/ 1418 w 1456"/>
                <a:gd name="T45" fmla="*/ 694 h 985"/>
                <a:gd name="T46" fmla="*/ 1430 w 1456"/>
                <a:gd name="T47" fmla="*/ 739 h 985"/>
                <a:gd name="T48" fmla="*/ 1440 w 1456"/>
                <a:gd name="T49" fmla="*/ 782 h 985"/>
                <a:gd name="T50" fmla="*/ 1447 w 1456"/>
                <a:gd name="T51" fmla="*/ 824 h 985"/>
                <a:gd name="T52" fmla="*/ 1454 w 1456"/>
                <a:gd name="T53" fmla="*/ 862 h 985"/>
                <a:gd name="T54" fmla="*/ 1456 w 1456"/>
                <a:gd name="T55" fmla="*/ 897 h 985"/>
                <a:gd name="T56" fmla="*/ 1456 w 1456"/>
                <a:gd name="T57" fmla="*/ 926 h 985"/>
                <a:gd name="T58" fmla="*/ 1451 w 1456"/>
                <a:gd name="T59" fmla="*/ 951 h 985"/>
                <a:gd name="T60" fmla="*/ 1442 w 1456"/>
                <a:gd name="T61" fmla="*/ 970 h 985"/>
                <a:gd name="T62" fmla="*/ 1430 w 1456"/>
                <a:gd name="T63" fmla="*/ 982 h 985"/>
                <a:gd name="T64" fmla="*/ 1411 w 1456"/>
                <a:gd name="T65" fmla="*/ 985 h 985"/>
                <a:gd name="T66" fmla="*/ 431 w 1456"/>
                <a:gd name="T67" fmla="*/ 985 h 985"/>
                <a:gd name="T68" fmla="*/ 429 w 1456"/>
                <a:gd name="T69" fmla="*/ 982 h 985"/>
                <a:gd name="T70" fmla="*/ 427 w 1456"/>
                <a:gd name="T71" fmla="*/ 978 h 985"/>
                <a:gd name="T72" fmla="*/ 427 w 1456"/>
                <a:gd name="T73" fmla="*/ 978 h 985"/>
                <a:gd name="T74" fmla="*/ 406 w 1456"/>
                <a:gd name="T75" fmla="*/ 940 h 985"/>
                <a:gd name="T76" fmla="*/ 380 w 1456"/>
                <a:gd name="T77" fmla="*/ 907 h 985"/>
                <a:gd name="T78" fmla="*/ 347 w 1456"/>
                <a:gd name="T79" fmla="*/ 876 h 985"/>
                <a:gd name="T80" fmla="*/ 309 w 1456"/>
                <a:gd name="T81" fmla="*/ 850 h 985"/>
                <a:gd name="T82" fmla="*/ 264 w 1456"/>
                <a:gd name="T83" fmla="*/ 827 h 985"/>
                <a:gd name="T84" fmla="*/ 21 w 1456"/>
                <a:gd name="T85" fmla="*/ 716 h 985"/>
                <a:gd name="T86" fmla="*/ 0 w 1456"/>
                <a:gd name="T87" fmla="*/ 699 h 985"/>
                <a:gd name="T88" fmla="*/ 20 w 1456"/>
                <a:gd name="T89" fmla="*/ 675 h 985"/>
                <a:gd name="T90" fmla="*/ 68 w 1456"/>
                <a:gd name="T91" fmla="*/ 609 h 985"/>
                <a:gd name="T92" fmla="*/ 108 w 1456"/>
                <a:gd name="T93" fmla="*/ 538 h 985"/>
                <a:gd name="T94" fmla="*/ 143 w 1456"/>
                <a:gd name="T95" fmla="*/ 461 h 985"/>
                <a:gd name="T96" fmla="*/ 170 w 1456"/>
                <a:gd name="T97" fmla="*/ 382 h 985"/>
                <a:gd name="T98" fmla="*/ 191 w 1456"/>
                <a:gd name="T99" fmla="*/ 298 h 985"/>
                <a:gd name="T100" fmla="*/ 205 w 1456"/>
                <a:gd name="T101" fmla="*/ 212 h 985"/>
                <a:gd name="T102" fmla="*/ 210 w 1456"/>
                <a:gd name="T103" fmla="*/ 121 h 985"/>
                <a:gd name="T104" fmla="*/ 245 w 1456"/>
                <a:gd name="T105" fmla="*/ 106 h 985"/>
                <a:gd name="T106" fmla="*/ 370 w 1456"/>
                <a:gd name="T107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56" h="985">
                  <a:moveTo>
                    <a:pt x="370" y="0"/>
                  </a:moveTo>
                  <a:lnTo>
                    <a:pt x="571" y="201"/>
                  </a:lnTo>
                  <a:lnTo>
                    <a:pt x="595" y="201"/>
                  </a:lnTo>
                  <a:lnTo>
                    <a:pt x="797" y="0"/>
                  </a:lnTo>
                  <a:lnTo>
                    <a:pt x="923" y="106"/>
                  </a:lnTo>
                  <a:lnTo>
                    <a:pt x="1185" y="227"/>
                  </a:lnTo>
                  <a:lnTo>
                    <a:pt x="1208" y="238"/>
                  </a:lnTo>
                  <a:lnTo>
                    <a:pt x="1230" y="252"/>
                  </a:lnTo>
                  <a:lnTo>
                    <a:pt x="1251" y="267"/>
                  </a:lnTo>
                  <a:lnTo>
                    <a:pt x="1269" y="286"/>
                  </a:lnTo>
                  <a:lnTo>
                    <a:pt x="1281" y="309"/>
                  </a:lnTo>
                  <a:lnTo>
                    <a:pt x="1283" y="312"/>
                  </a:lnTo>
                  <a:lnTo>
                    <a:pt x="1288" y="324"/>
                  </a:lnTo>
                  <a:lnTo>
                    <a:pt x="1295" y="344"/>
                  </a:lnTo>
                  <a:lnTo>
                    <a:pt x="1305" y="368"/>
                  </a:lnTo>
                  <a:lnTo>
                    <a:pt x="1315" y="397"/>
                  </a:lnTo>
                  <a:lnTo>
                    <a:pt x="1329" y="432"/>
                  </a:lnTo>
                  <a:lnTo>
                    <a:pt x="1343" y="470"/>
                  </a:lnTo>
                  <a:lnTo>
                    <a:pt x="1359" y="512"/>
                  </a:lnTo>
                  <a:lnTo>
                    <a:pt x="1374" y="555"/>
                  </a:lnTo>
                  <a:lnTo>
                    <a:pt x="1388" y="600"/>
                  </a:lnTo>
                  <a:lnTo>
                    <a:pt x="1404" y="647"/>
                  </a:lnTo>
                  <a:lnTo>
                    <a:pt x="1418" y="694"/>
                  </a:lnTo>
                  <a:lnTo>
                    <a:pt x="1430" y="739"/>
                  </a:lnTo>
                  <a:lnTo>
                    <a:pt x="1440" y="782"/>
                  </a:lnTo>
                  <a:lnTo>
                    <a:pt x="1447" y="824"/>
                  </a:lnTo>
                  <a:lnTo>
                    <a:pt x="1454" y="862"/>
                  </a:lnTo>
                  <a:lnTo>
                    <a:pt x="1456" y="897"/>
                  </a:lnTo>
                  <a:lnTo>
                    <a:pt x="1456" y="926"/>
                  </a:lnTo>
                  <a:lnTo>
                    <a:pt x="1451" y="951"/>
                  </a:lnTo>
                  <a:lnTo>
                    <a:pt x="1442" y="970"/>
                  </a:lnTo>
                  <a:lnTo>
                    <a:pt x="1430" y="982"/>
                  </a:lnTo>
                  <a:lnTo>
                    <a:pt x="1411" y="985"/>
                  </a:lnTo>
                  <a:lnTo>
                    <a:pt x="431" y="985"/>
                  </a:lnTo>
                  <a:lnTo>
                    <a:pt x="429" y="982"/>
                  </a:lnTo>
                  <a:lnTo>
                    <a:pt x="427" y="978"/>
                  </a:lnTo>
                  <a:lnTo>
                    <a:pt x="427" y="978"/>
                  </a:lnTo>
                  <a:lnTo>
                    <a:pt x="406" y="940"/>
                  </a:lnTo>
                  <a:lnTo>
                    <a:pt x="380" y="907"/>
                  </a:lnTo>
                  <a:lnTo>
                    <a:pt x="347" y="876"/>
                  </a:lnTo>
                  <a:lnTo>
                    <a:pt x="309" y="850"/>
                  </a:lnTo>
                  <a:lnTo>
                    <a:pt x="264" y="827"/>
                  </a:lnTo>
                  <a:lnTo>
                    <a:pt x="21" y="716"/>
                  </a:lnTo>
                  <a:lnTo>
                    <a:pt x="0" y="699"/>
                  </a:lnTo>
                  <a:lnTo>
                    <a:pt x="20" y="675"/>
                  </a:lnTo>
                  <a:lnTo>
                    <a:pt x="68" y="609"/>
                  </a:lnTo>
                  <a:lnTo>
                    <a:pt x="108" y="538"/>
                  </a:lnTo>
                  <a:lnTo>
                    <a:pt x="143" y="461"/>
                  </a:lnTo>
                  <a:lnTo>
                    <a:pt x="170" y="382"/>
                  </a:lnTo>
                  <a:lnTo>
                    <a:pt x="191" y="298"/>
                  </a:lnTo>
                  <a:lnTo>
                    <a:pt x="205" y="212"/>
                  </a:lnTo>
                  <a:lnTo>
                    <a:pt x="210" y="121"/>
                  </a:lnTo>
                  <a:lnTo>
                    <a:pt x="245" y="106"/>
                  </a:lnTo>
                  <a:lnTo>
                    <a:pt x="370" y="0"/>
                  </a:lnTo>
                  <a:close/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19" name="Freeform 41"/>
            <p:cNvSpPr>
              <a:spLocks/>
            </p:cNvSpPr>
            <p:nvPr/>
          </p:nvSpPr>
          <p:spPr bwMode="auto">
            <a:xfrm>
              <a:off x="4575" y="2193"/>
              <a:ext cx="472" cy="565"/>
            </a:xfrm>
            <a:custGeom>
              <a:avLst/>
              <a:gdLst>
                <a:gd name="T0" fmla="*/ 472 w 944"/>
                <a:gd name="T1" fmla="*/ 0 h 1131"/>
                <a:gd name="T2" fmla="*/ 547 w 944"/>
                <a:gd name="T3" fmla="*/ 3 h 1131"/>
                <a:gd name="T4" fmla="*/ 615 w 944"/>
                <a:gd name="T5" fmla="*/ 12 h 1131"/>
                <a:gd name="T6" fmla="*/ 675 w 944"/>
                <a:gd name="T7" fmla="*/ 28 h 1131"/>
                <a:gd name="T8" fmla="*/ 729 w 944"/>
                <a:gd name="T9" fmla="*/ 48 h 1131"/>
                <a:gd name="T10" fmla="*/ 776 w 944"/>
                <a:gd name="T11" fmla="*/ 74 h 1131"/>
                <a:gd name="T12" fmla="*/ 818 w 944"/>
                <a:gd name="T13" fmla="*/ 106 h 1131"/>
                <a:gd name="T14" fmla="*/ 852 w 944"/>
                <a:gd name="T15" fmla="*/ 142 h 1131"/>
                <a:gd name="T16" fmla="*/ 882 w 944"/>
                <a:gd name="T17" fmla="*/ 184 h 1131"/>
                <a:gd name="T18" fmla="*/ 906 w 944"/>
                <a:gd name="T19" fmla="*/ 231 h 1131"/>
                <a:gd name="T20" fmla="*/ 923 w 944"/>
                <a:gd name="T21" fmla="*/ 283 h 1131"/>
                <a:gd name="T22" fmla="*/ 936 w 944"/>
                <a:gd name="T23" fmla="*/ 338 h 1131"/>
                <a:gd name="T24" fmla="*/ 943 w 944"/>
                <a:gd name="T25" fmla="*/ 399 h 1131"/>
                <a:gd name="T26" fmla="*/ 944 w 944"/>
                <a:gd name="T27" fmla="*/ 465 h 1131"/>
                <a:gd name="T28" fmla="*/ 939 w 944"/>
                <a:gd name="T29" fmla="*/ 551 h 1131"/>
                <a:gd name="T30" fmla="*/ 927 w 944"/>
                <a:gd name="T31" fmla="*/ 633 h 1131"/>
                <a:gd name="T32" fmla="*/ 908 w 944"/>
                <a:gd name="T33" fmla="*/ 709 h 1131"/>
                <a:gd name="T34" fmla="*/ 884 w 944"/>
                <a:gd name="T35" fmla="*/ 779 h 1131"/>
                <a:gd name="T36" fmla="*/ 854 w 944"/>
                <a:gd name="T37" fmla="*/ 843 h 1131"/>
                <a:gd name="T38" fmla="*/ 819 w 944"/>
                <a:gd name="T39" fmla="*/ 902 h 1131"/>
                <a:gd name="T40" fmla="*/ 781 w 944"/>
                <a:gd name="T41" fmla="*/ 954 h 1131"/>
                <a:gd name="T42" fmla="*/ 741 w 944"/>
                <a:gd name="T43" fmla="*/ 1001 h 1131"/>
                <a:gd name="T44" fmla="*/ 698 w 944"/>
                <a:gd name="T45" fmla="*/ 1039 h 1131"/>
                <a:gd name="T46" fmla="*/ 653 w 944"/>
                <a:gd name="T47" fmla="*/ 1072 h 1131"/>
                <a:gd name="T48" fmla="*/ 608 w 944"/>
                <a:gd name="T49" fmla="*/ 1098 h 1131"/>
                <a:gd name="T50" fmla="*/ 561 w 944"/>
                <a:gd name="T51" fmla="*/ 1117 h 1131"/>
                <a:gd name="T52" fmla="*/ 516 w 944"/>
                <a:gd name="T53" fmla="*/ 1127 h 1131"/>
                <a:gd name="T54" fmla="*/ 472 w 944"/>
                <a:gd name="T55" fmla="*/ 1131 h 1131"/>
                <a:gd name="T56" fmla="*/ 422 w 944"/>
                <a:gd name="T57" fmla="*/ 1127 h 1131"/>
                <a:gd name="T58" fmla="*/ 373 w 944"/>
                <a:gd name="T59" fmla="*/ 1117 h 1131"/>
                <a:gd name="T60" fmla="*/ 325 w 944"/>
                <a:gd name="T61" fmla="*/ 1098 h 1131"/>
                <a:gd name="T62" fmla="*/ 278 w 944"/>
                <a:gd name="T63" fmla="*/ 1072 h 1131"/>
                <a:gd name="T64" fmla="*/ 233 w 944"/>
                <a:gd name="T65" fmla="*/ 1039 h 1131"/>
                <a:gd name="T66" fmla="*/ 191 w 944"/>
                <a:gd name="T67" fmla="*/ 1001 h 1131"/>
                <a:gd name="T68" fmla="*/ 151 w 944"/>
                <a:gd name="T69" fmla="*/ 954 h 1131"/>
                <a:gd name="T70" fmla="*/ 115 w 944"/>
                <a:gd name="T71" fmla="*/ 902 h 1131"/>
                <a:gd name="T72" fmla="*/ 84 w 944"/>
                <a:gd name="T73" fmla="*/ 843 h 1131"/>
                <a:gd name="T74" fmla="*/ 56 w 944"/>
                <a:gd name="T75" fmla="*/ 779 h 1131"/>
                <a:gd name="T76" fmla="*/ 33 w 944"/>
                <a:gd name="T77" fmla="*/ 709 h 1131"/>
                <a:gd name="T78" fmla="*/ 16 w 944"/>
                <a:gd name="T79" fmla="*/ 633 h 1131"/>
                <a:gd name="T80" fmla="*/ 6 w 944"/>
                <a:gd name="T81" fmla="*/ 551 h 1131"/>
                <a:gd name="T82" fmla="*/ 0 w 944"/>
                <a:gd name="T83" fmla="*/ 465 h 1131"/>
                <a:gd name="T84" fmla="*/ 2 w 944"/>
                <a:gd name="T85" fmla="*/ 399 h 1131"/>
                <a:gd name="T86" fmla="*/ 9 w 944"/>
                <a:gd name="T87" fmla="*/ 338 h 1131"/>
                <a:gd name="T88" fmla="*/ 23 w 944"/>
                <a:gd name="T89" fmla="*/ 283 h 1131"/>
                <a:gd name="T90" fmla="*/ 40 w 944"/>
                <a:gd name="T91" fmla="*/ 231 h 1131"/>
                <a:gd name="T92" fmla="*/ 63 w 944"/>
                <a:gd name="T93" fmla="*/ 184 h 1131"/>
                <a:gd name="T94" fmla="*/ 92 w 944"/>
                <a:gd name="T95" fmla="*/ 142 h 1131"/>
                <a:gd name="T96" fmla="*/ 129 w 944"/>
                <a:gd name="T97" fmla="*/ 106 h 1131"/>
                <a:gd name="T98" fmla="*/ 169 w 944"/>
                <a:gd name="T99" fmla="*/ 74 h 1131"/>
                <a:gd name="T100" fmla="*/ 217 w 944"/>
                <a:gd name="T101" fmla="*/ 48 h 1131"/>
                <a:gd name="T102" fmla="*/ 271 w 944"/>
                <a:gd name="T103" fmla="*/ 28 h 1131"/>
                <a:gd name="T104" fmla="*/ 332 w 944"/>
                <a:gd name="T105" fmla="*/ 12 h 1131"/>
                <a:gd name="T106" fmla="*/ 399 w 944"/>
                <a:gd name="T107" fmla="*/ 3 h 1131"/>
                <a:gd name="T108" fmla="*/ 472 w 944"/>
                <a:gd name="T109" fmla="*/ 0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44" h="1131">
                  <a:moveTo>
                    <a:pt x="472" y="0"/>
                  </a:moveTo>
                  <a:lnTo>
                    <a:pt x="547" y="3"/>
                  </a:lnTo>
                  <a:lnTo>
                    <a:pt x="615" y="12"/>
                  </a:lnTo>
                  <a:lnTo>
                    <a:pt x="675" y="28"/>
                  </a:lnTo>
                  <a:lnTo>
                    <a:pt x="729" y="48"/>
                  </a:lnTo>
                  <a:lnTo>
                    <a:pt x="776" y="74"/>
                  </a:lnTo>
                  <a:lnTo>
                    <a:pt x="818" y="106"/>
                  </a:lnTo>
                  <a:lnTo>
                    <a:pt x="852" y="142"/>
                  </a:lnTo>
                  <a:lnTo>
                    <a:pt x="882" y="184"/>
                  </a:lnTo>
                  <a:lnTo>
                    <a:pt x="906" y="231"/>
                  </a:lnTo>
                  <a:lnTo>
                    <a:pt x="923" y="283"/>
                  </a:lnTo>
                  <a:lnTo>
                    <a:pt x="936" y="338"/>
                  </a:lnTo>
                  <a:lnTo>
                    <a:pt x="943" y="399"/>
                  </a:lnTo>
                  <a:lnTo>
                    <a:pt x="944" y="465"/>
                  </a:lnTo>
                  <a:lnTo>
                    <a:pt x="939" y="551"/>
                  </a:lnTo>
                  <a:lnTo>
                    <a:pt x="927" y="633"/>
                  </a:lnTo>
                  <a:lnTo>
                    <a:pt x="908" y="709"/>
                  </a:lnTo>
                  <a:lnTo>
                    <a:pt x="884" y="779"/>
                  </a:lnTo>
                  <a:lnTo>
                    <a:pt x="854" y="843"/>
                  </a:lnTo>
                  <a:lnTo>
                    <a:pt x="819" y="902"/>
                  </a:lnTo>
                  <a:lnTo>
                    <a:pt x="781" y="954"/>
                  </a:lnTo>
                  <a:lnTo>
                    <a:pt x="741" y="1001"/>
                  </a:lnTo>
                  <a:lnTo>
                    <a:pt x="698" y="1039"/>
                  </a:lnTo>
                  <a:lnTo>
                    <a:pt x="653" y="1072"/>
                  </a:lnTo>
                  <a:lnTo>
                    <a:pt x="608" y="1098"/>
                  </a:lnTo>
                  <a:lnTo>
                    <a:pt x="561" y="1117"/>
                  </a:lnTo>
                  <a:lnTo>
                    <a:pt x="516" y="1127"/>
                  </a:lnTo>
                  <a:lnTo>
                    <a:pt x="472" y="1131"/>
                  </a:lnTo>
                  <a:lnTo>
                    <a:pt x="422" y="1127"/>
                  </a:lnTo>
                  <a:lnTo>
                    <a:pt x="373" y="1117"/>
                  </a:lnTo>
                  <a:lnTo>
                    <a:pt x="325" y="1098"/>
                  </a:lnTo>
                  <a:lnTo>
                    <a:pt x="278" y="1072"/>
                  </a:lnTo>
                  <a:lnTo>
                    <a:pt x="233" y="1039"/>
                  </a:lnTo>
                  <a:lnTo>
                    <a:pt x="191" y="1001"/>
                  </a:lnTo>
                  <a:lnTo>
                    <a:pt x="151" y="954"/>
                  </a:lnTo>
                  <a:lnTo>
                    <a:pt x="115" y="902"/>
                  </a:lnTo>
                  <a:lnTo>
                    <a:pt x="84" y="843"/>
                  </a:lnTo>
                  <a:lnTo>
                    <a:pt x="56" y="779"/>
                  </a:lnTo>
                  <a:lnTo>
                    <a:pt x="33" y="709"/>
                  </a:lnTo>
                  <a:lnTo>
                    <a:pt x="16" y="633"/>
                  </a:lnTo>
                  <a:lnTo>
                    <a:pt x="6" y="551"/>
                  </a:lnTo>
                  <a:lnTo>
                    <a:pt x="0" y="465"/>
                  </a:lnTo>
                  <a:lnTo>
                    <a:pt x="2" y="399"/>
                  </a:lnTo>
                  <a:lnTo>
                    <a:pt x="9" y="338"/>
                  </a:lnTo>
                  <a:lnTo>
                    <a:pt x="23" y="283"/>
                  </a:lnTo>
                  <a:lnTo>
                    <a:pt x="40" y="231"/>
                  </a:lnTo>
                  <a:lnTo>
                    <a:pt x="63" y="184"/>
                  </a:lnTo>
                  <a:lnTo>
                    <a:pt x="92" y="142"/>
                  </a:lnTo>
                  <a:lnTo>
                    <a:pt x="129" y="106"/>
                  </a:lnTo>
                  <a:lnTo>
                    <a:pt x="169" y="74"/>
                  </a:lnTo>
                  <a:lnTo>
                    <a:pt x="217" y="48"/>
                  </a:lnTo>
                  <a:lnTo>
                    <a:pt x="271" y="28"/>
                  </a:lnTo>
                  <a:lnTo>
                    <a:pt x="332" y="12"/>
                  </a:lnTo>
                  <a:lnTo>
                    <a:pt x="399" y="3"/>
                  </a:lnTo>
                  <a:lnTo>
                    <a:pt x="472" y="0"/>
                  </a:lnTo>
                  <a:close/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20" name="Freeform 42"/>
            <p:cNvSpPr>
              <a:spLocks/>
            </p:cNvSpPr>
            <p:nvPr/>
          </p:nvSpPr>
          <p:spPr bwMode="auto">
            <a:xfrm>
              <a:off x="2918" y="3091"/>
              <a:ext cx="873" cy="492"/>
            </a:xfrm>
            <a:custGeom>
              <a:avLst/>
              <a:gdLst>
                <a:gd name="T0" fmla="*/ 659 w 1745"/>
                <a:gd name="T1" fmla="*/ 0 h 985"/>
                <a:gd name="T2" fmla="*/ 862 w 1745"/>
                <a:gd name="T3" fmla="*/ 201 h 985"/>
                <a:gd name="T4" fmla="*/ 885 w 1745"/>
                <a:gd name="T5" fmla="*/ 201 h 985"/>
                <a:gd name="T6" fmla="*/ 1088 w 1745"/>
                <a:gd name="T7" fmla="*/ 0 h 985"/>
                <a:gd name="T8" fmla="*/ 1212 w 1745"/>
                <a:gd name="T9" fmla="*/ 106 h 985"/>
                <a:gd name="T10" fmla="*/ 1474 w 1745"/>
                <a:gd name="T11" fmla="*/ 226 h 985"/>
                <a:gd name="T12" fmla="*/ 1497 w 1745"/>
                <a:gd name="T13" fmla="*/ 238 h 985"/>
                <a:gd name="T14" fmla="*/ 1520 w 1745"/>
                <a:gd name="T15" fmla="*/ 250 h 985"/>
                <a:gd name="T16" fmla="*/ 1540 w 1745"/>
                <a:gd name="T17" fmla="*/ 267 h 985"/>
                <a:gd name="T18" fmla="*/ 1558 w 1745"/>
                <a:gd name="T19" fmla="*/ 286 h 985"/>
                <a:gd name="T20" fmla="*/ 1570 w 1745"/>
                <a:gd name="T21" fmla="*/ 309 h 985"/>
                <a:gd name="T22" fmla="*/ 1572 w 1745"/>
                <a:gd name="T23" fmla="*/ 312 h 985"/>
                <a:gd name="T24" fmla="*/ 1577 w 1745"/>
                <a:gd name="T25" fmla="*/ 325 h 985"/>
                <a:gd name="T26" fmla="*/ 1584 w 1745"/>
                <a:gd name="T27" fmla="*/ 342 h 985"/>
                <a:gd name="T28" fmla="*/ 1594 w 1745"/>
                <a:gd name="T29" fmla="*/ 368 h 985"/>
                <a:gd name="T30" fmla="*/ 1606 w 1745"/>
                <a:gd name="T31" fmla="*/ 397 h 985"/>
                <a:gd name="T32" fmla="*/ 1618 w 1745"/>
                <a:gd name="T33" fmla="*/ 432 h 985"/>
                <a:gd name="T34" fmla="*/ 1632 w 1745"/>
                <a:gd name="T35" fmla="*/ 470 h 985"/>
                <a:gd name="T36" fmla="*/ 1648 w 1745"/>
                <a:gd name="T37" fmla="*/ 512 h 985"/>
                <a:gd name="T38" fmla="*/ 1664 w 1745"/>
                <a:gd name="T39" fmla="*/ 555 h 985"/>
                <a:gd name="T40" fmla="*/ 1679 w 1745"/>
                <a:gd name="T41" fmla="*/ 600 h 985"/>
                <a:gd name="T42" fmla="*/ 1693 w 1745"/>
                <a:gd name="T43" fmla="*/ 647 h 985"/>
                <a:gd name="T44" fmla="*/ 1707 w 1745"/>
                <a:gd name="T45" fmla="*/ 692 h 985"/>
                <a:gd name="T46" fmla="*/ 1719 w 1745"/>
                <a:gd name="T47" fmla="*/ 737 h 985"/>
                <a:gd name="T48" fmla="*/ 1729 w 1745"/>
                <a:gd name="T49" fmla="*/ 782 h 985"/>
                <a:gd name="T50" fmla="*/ 1738 w 1745"/>
                <a:gd name="T51" fmla="*/ 822 h 985"/>
                <a:gd name="T52" fmla="*/ 1743 w 1745"/>
                <a:gd name="T53" fmla="*/ 862 h 985"/>
                <a:gd name="T54" fmla="*/ 1745 w 1745"/>
                <a:gd name="T55" fmla="*/ 895 h 985"/>
                <a:gd name="T56" fmla="*/ 1745 w 1745"/>
                <a:gd name="T57" fmla="*/ 926 h 985"/>
                <a:gd name="T58" fmla="*/ 1740 w 1745"/>
                <a:gd name="T59" fmla="*/ 951 h 985"/>
                <a:gd name="T60" fmla="*/ 1731 w 1745"/>
                <a:gd name="T61" fmla="*/ 970 h 985"/>
                <a:gd name="T62" fmla="*/ 1719 w 1745"/>
                <a:gd name="T63" fmla="*/ 980 h 985"/>
                <a:gd name="T64" fmla="*/ 1700 w 1745"/>
                <a:gd name="T65" fmla="*/ 985 h 985"/>
                <a:gd name="T66" fmla="*/ 47 w 1745"/>
                <a:gd name="T67" fmla="*/ 985 h 985"/>
                <a:gd name="T68" fmla="*/ 28 w 1745"/>
                <a:gd name="T69" fmla="*/ 980 h 985"/>
                <a:gd name="T70" fmla="*/ 14 w 1745"/>
                <a:gd name="T71" fmla="*/ 970 h 985"/>
                <a:gd name="T72" fmla="*/ 5 w 1745"/>
                <a:gd name="T73" fmla="*/ 951 h 985"/>
                <a:gd name="T74" fmla="*/ 2 w 1745"/>
                <a:gd name="T75" fmla="*/ 926 h 985"/>
                <a:gd name="T76" fmla="*/ 0 w 1745"/>
                <a:gd name="T77" fmla="*/ 895 h 985"/>
                <a:gd name="T78" fmla="*/ 3 w 1745"/>
                <a:gd name="T79" fmla="*/ 862 h 985"/>
                <a:gd name="T80" fmla="*/ 8 w 1745"/>
                <a:gd name="T81" fmla="*/ 822 h 985"/>
                <a:gd name="T82" fmla="*/ 17 w 1745"/>
                <a:gd name="T83" fmla="*/ 782 h 985"/>
                <a:gd name="T84" fmla="*/ 28 w 1745"/>
                <a:gd name="T85" fmla="*/ 737 h 985"/>
                <a:gd name="T86" fmla="*/ 40 w 1745"/>
                <a:gd name="T87" fmla="*/ 692 h 985"/>
                <a:gd name="T88" fmla="*/ 54 w 1745"/>
                <a:gd name="T89" fmla="*/ 647 h 985"/>
                <a:gd name="T90" fmla="*/ 67 w 1745"/>
                <a:gd name="T91" fmla="*/ 600 h 985"/>
                <a:gd name="T92" fmla="*/ 83 w 1745"/>
                <a:gd name="T93" fmla="*/ 555 h 985"/>
                <a:gd name="T94" fmla="*/ 99 w 1745"/>
                <a:gd name="T95" fmla="*/ 512 h 985"/>
                <a:gd name="T96" fmla="*/ 113 w 1745"/>
                <a:gd name="T97" fmla="*/ 470 h 985"/>
                <a:gd name="T98" fmla="*/ 128 w 1745"/>
                <a:gd name="T99" fmla="*/ 432 h 985"/>
                <a:gd name="T100" fmla="*/ 140 w 1745"/>
                <a:gd name="T101" fmla="*/ 397 h 985"/>
                <a:gd name="T102" fmla="*/ 152 w 1745"/>
                <a:gd name="T103" fmla="*/ 368 h 985"/>
                <a:gd name="T104" fmla="*/ 163 w 1745"/>
                <a:gd name="T105" fmla="*/ 342 h 985"/>
                <a:gd name="T106" fmla="*/ 170 w 1745"/>
                <a:gd name="T107" fmla="*/ 325 h 985"/>
                <a:gd name="T108" fmla="*/ 175 w 1745"/>
                <a:gd name="T109" fmla="*/ 312 h 985"/>
                <a:gd name="T110" fmla="*/ 177 w 1745"/>
                <a:gd name="T111" fmla="*/ 309 h 985"/>
                <a:gd name="T112" fmla="*/ 194 w 1745"/>
                <a:gd name="T113" fmla="*/ 279 h 985"/>
                <a:gd name="T114" fmla="*/ 217 w 1745"/>
                <a:gd name="T115" fmla="*/ 257 h 985"/>
                <a:gd name="T116" fmla="*/ 244 w 1745"/>
                <a:gd name="T117" fmla="*/ 240 h 985"/>
                <a:gd name="T118" fmla="*/ 272 w 1745"/>
                <a:gd name="T119" fmla="*/ 226 h 985"/>
                <a:gd name="T120" fmla="*/ 534 w 1745"/>
                <a:gd name="T121" fmla="*/ 106 h 985"/>
                <a:gd name="T122" fmla="*/ 659 w 1745"/>
                <a:gd name="T123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45" h="985">
                  <a:moveTo>
                    <a:pt x="659" y="0"/>
                  </a:moveTo>
                  <a:lnTo>
                    <a:pt x="862" y="201"/>
                  </a:lnTo>
                  <a:lnTo>
                    <a:pt x="885" y="201"/>
                  </a:lnTo>
                  <a:lnTo>
                    <a:pt x="1088" y="0"/>
                  </a:lnTo>
                  <a:lnTo>
                    <a:pt x="1212" y="106"/>
                  </a:lnTo>
                  <a:lnTo>
                    <a:pt x="1474" y="226"/>
                  </a:lnTo>
                  <a:lnTo>
                    <a:pt x="1497" y="238"/>
                  </a:lnTo>
                  <a:lnTo>
                    <a:pt x="1520" y="250"/>
                  </a:lnTo>
                  <a:lnTo>
                    <a:pt x="1540" y="267"/>
                  </a:lnTo>
                  <a:lnTo>
                    <a:pt x="1558" y="286"/>
                  </a:lnTo>
                  <a:lnTo>
                    <a:pt x="1570" y="309"/>
                  </a:lnTo>
                  <a:lnTo>
                    <a:pt x="1572" y="312"/>
                  </a:lnTo>
                  <a:lnTo>
                    <a:pt x="1577" y="325"/>
                  </a:lnTo>
                  <a:lnTo>
                    <a:pt x="1584" y="342"/>
                  </a:lnTo>
                  <a:lnTo>
                    <a:pt x="1594" y="368"/>
                  </a:lnTo>
                  <a:lnTo>
                    <a:pt x="1606" y="397"/>
                  </a:lnTo>
                  <a:lnTo>
                    <a:pt x="1618" y="432"/>
                  </a:lnTo>
                  <a:lnTo>
                    <a:pt x="1632" y="470"/>
                  </a:lnTo>
                  <a:lnTo>
                    <a:pt x="1648" y="512"/>
                  </a:lnTo>
                  <a:lnTo>
                    <a:pt x="1664" y="555"/>
                  </a:lnTo>
                  <a:lnTo>
                    <a:pt x="1679" y="600"/>
                  </a:lnTo>
                  <a:lnTo>
                    <a:pt x="1693" y="647"/>
                  </a:lnTo>
                  <a:lnTo>
                    <a:pt x="1707" y="692"/>
                  </a:lnTo>
                  <a:lnTo>
                    <a:pt x="1719" y="737"/>
                  </a:lnTo>
                  <a:lnTo>
                    <a:pt x="1729" y="782"/>
                  </a:lnTo>
                  <a:lnTo>
                    <a:pt x="1738" y="822"/>
                  </a:lnTo>
                  <a:lnTo>
                    <a:pt x="1743" y="862"/>
                  </a:lnTo>
                  <a:lnTo>
                    <a:pt x="1745" y="895"/>
                  </a:lnTo>
                  <a:lnTo>
                    <a:pt x="1745" y="926"/>
                  </a:lnTo>
                  <a:lnTo>
                    <a:pt x="1740" y="951"/>
                  </a:lnTo>
                  <a:lnTo>
                    <a:pt x="1731" y="970"/>
                  </a:lnTo>
                  <a:lnTo>
                    <a:pt x="1719" y="980"/>
                  </a:lnTo>
                  <a:lnTo>
                    <a:pt x="1700" y="985"/>
                  </a:lnTo>
                  <a:lnTo>
                    <a:pt x="47" y="985"/>
                  </a:lnTo>
                  <a:lnTo>
                    <a:pt x="28" y="980"/>
                  </a:lnTo>
                  <a:lnTo>
                    <a:pt x="14" y="970"/>
                  </a:lnTo>
                  <a:lnTo>
                    <a:pt x="5" y="951"/>
                  </a:lnTo>
                  <a:lnTo>
                    <a:pt x="2" y="926"/>
                  </a:lnTo>
                  <a:lnTo>
                    <a:pt x="0" y="895"/>
                  </a:lnTo>
                  <a:lnTo>
                    <a:pt x="3" y="862"/>
                  </a:lnTo>
                  <a:lnTo>
                    <a:pt x="8" y="822"/>
                  </a:lnTo>
                  <a:lnTo>
                    <a:pt x="17" y="782"/>
                  </a:lnTo>
                  <a:lnTo>
                    <a:pt x="28" y="737"/>
                  </a:lnTo>
                  <a:lnTo>
                    <a:pt x="40" y="692"/>
                  </a:lnTo>
                  <a:lnTo>
                    <a:pt x="54" y="647"/>
                  </a:lnTo>
                  <a:lnTo>
                    <a:pt x="67" y="600"/>
                  </a:lnTo>
                  <a:lnTo>
                    <a:pt x="83" y="555"/>
                  </a:lnTo>
                  <a:lnTo>
                    <a:pt x="99" y="512"/>
                  </a:lnTo>
                  <a:lnTo>
                    <a:pt x="113" y="470"/>
                  </a:lnTo>
                  <a:lnTo>
                    <a:pt x="128" y="432"/>
                  </a:lnTo>
                  <a:lnTo>
                    <a:pt x="140" y="397"/>
                  </a:lnTo>
                  <a:lnTo>
                    <a:pt x="152" y="368"/>
                  </a:lnTo>
                  <a:lnTo>
                    <a:pt x="163" y="342"/>
                  </a:lnTo>
                  <a:lnTo>
                    <a:pt x="170" y="325"/>
                  </a:lnTo>
                  <a:lnTo>
                    <a:pt x="175" y="312"/>
                  </a:lnTo>
                  <a:lnTo>
                    <a:pt x="177" y="309"/>
                  </a:lnTo>
                  <a:lnTo>
                    <a:pt x="194" y="279"/>
                  </a:lnTo>
                  <a:lnTo>
                    <a:pt x="217" y="257"/>
                  </a:lnTo>
                  <a:lnTo>
                    <a:pt x="244" y="240"/>
                  </a:lnTo>
                  <a:lnTo>
                    <a:pt x="272" y="226"/>
                  </a:lnTo>
                  <a:lnTo>
                    <a:pt x="534" y="106"/>
                  </a:lnTo>
                  <a:lnTo>
                    <a:pt x="6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21" name="Freeform 43"/>
            <p:cNvSpPr>
              <a:spLocks/>
            </p:cNvSpPr>
            <p:nvPr/>
          </p:nvSpPr>
          <p:spPr bwMode="auto">
            <a:xfrm>
              <a:off x="3119" y="2552"/>
              <a:ext cx="471" cy="565"/>
            </a:xfrm>
            <a:custGeom>
              <a:avLst/>
              <a:gdLst>
                <a:gd name="T0" fmla="*/ 470 w 942"/>
                <a:gd name="T1" fmla="*/ 0 h 1131"/>
                <a:gd name="T2" fmla="*/ 545 w 942"/>
                <a:gd name="T3" fmla="*/ 3 h 1131"/>
                <a:gd name="T4" fmla="*/ 613 w 942"/>
                <a:gd name="T5" fmla="*/ 12 h 1131"/>
                <a:gd name="T6" fmla="*/ 673 w 942"/>
                <a:gd name="T7" fmla="*/ 28 h 1131"/>
                <a:gd name="T8" fmla="*/ 727 w 942"/>
                <a:gd name="T9" fmla="*/ 49 h 1131"/>
                <a:gd name="T10" fmla="*/ 774 w 942"/>
                <a:gd name="T11" fmla="*/ 75 h 1131"/>
                <a:gd name="T12" fmla="*/ 816 w 942"/>
                <a:gd name="T13" fmla="*/ 106 h 1131"/>
                <a:gd name="T14" fmla="*/ 850 w 942"/>
                <a:gd name="T15" fmla="*/ 142 h 1131"/>
                <a:gd name="T16" fmla="*/ 880 w 942"/>
                <a:gd name="T17" fmla="*/ 184 h 1131"/>
                <a:gd name="T18" fmla="*/ 904 w 942"/>
                <a:gd name="T19" fmla="*/ 231 h 1131"/>
                <a:gd name="T20" fmla="*/ 922 w 942"/>
                <a:gd name="T21" fmla="*/ 283 h 1131"/>
                <a:gd name="T22" fmla="*/ 934 w 942"/>
                <a:gd name="T23" fmla="*/ 338 h 1131"/>
                <a:gd name="T24" fmla="*/ 941 w 942"/>
                <a:gd name="T25" fmla="*/ 399 h 1131"/>
                <a:gd name="T26" fmla="*/ 942 w 942"/>
                <a:gd name="T27" fmla="*/ 463 h 1131"/>
                <a:gd name="T28" fmla="*/ 937 w 942"/>
                <a:gd name="T29" fmla="*/ 550 h 1131"/>
                <a:gd name="T30" fmla="*/ 925 w 942"/>
                <a:gd name="T31" fmla="*/ 633 h 1131"/>
                <a:gd name="T32" fmla="*/ 908 w 942"/>
                <a:gd name="T33" fmla="*/ 708 h 1131"/>
                <a:gd name="T34" fmla="*/ 882 w 942"/>
                <a:gd name="T35" fmla="*/ 779 h 1131"/>
                <a:gd name="T36" fmla="*/ 852 w 942"/>
                <a:gd name="T37" fmla="*/ 843 h 1131"/>
                <a:gd name="T38" fmla="*/ 817 w 942"/>
                <a:gd name="T39" fmla="*/ 902 h 1131"/>
                <a:gd name="T40" fmla="*/ 779 w 942"/>
                <a:gd name="T41" fmla="*/ 954 h 1131"/>
                <a:gd name="T42" fmla="*/ 739 w 942"/>
                <a:gd name="T43" fmla="*/ 999 h 1131"/>
                <a:gd name="T44" fmla="*/ 696 w 942"/>
                <a:gd name="T45" fmla="*/ 1039 h 1131"/>
                <a:gd name="T46" fmla="*/ 651 w 942"/>
                <a:gd name="T47" fmla="*/ 1072 h 1131"/>
                <a:gd name="T48" fmla="*/ 606 w 942"/>
                <a:gd name="T49" fmla="*/ 1098 h 1131"/>
                <a:gd name="T50" fmla="*/ 559 w 942"/>
                <a:gd name="T51" fmla="*/ 1115 h 1131"/>
                <a:gd name="T52" fmla="*/ 516 w 942"/>
                <a:gd name="T53" fmla="*/ 1127 h 1131"/>
                <a:gd name="T54" fmla="*/ 470 w 942"/>
                <a:gd name="T55" fmla="*/ 1131 h 1131"/>
                <a:gd name="T56" fmla="*/ 422 w 942"/>
                <a:gd name="T57" fmla="*/ 1127 h 1131"/>
                <a:gd name="T58" fmla="*/ 372 w 942"/>
                <a:gd name="T59" fmla="*/ 1115 h 1131"/>
                <a:gd name="T60" fmla="*/ 323 w 942"/>
                <a:gd name="T61" fmla="*/ 1098 h 1131"/>
                <a:gd name="T62" fmla="*/ 276 w 942"/>
                <a:gd name="T63" fmla="*/ 1072 h 1131"/>
                <a:gd name="T64" fmla="*/ 231 w 942"/>
                <a:gd name="T65" fmla="*/ 1039 h 1131"/>
                <a:gd name="T66" fmla="*/ 189 w 942"/>
                <a:gd name="T67" fmla="*/ 999 h 1131"/>
                <a:gd name="T68" fmla="*/ 150 w 942"/>
                <a:gd name="T69" fmla="*/ 954 h 1131"/>
                <a:gd name="T70" fmla="*/ 113 w 942"/>
                <a:gd name="T71" fmla="*/ 902 h 1131"/>
                <a:gd name="T72" fmla="*/ 82 w 942"/>
                <a:gd name="T73" fmla="*/ 843 h 1131"/>
                <a:gd name="T74" fmla="*/ 54 w 942"/>
                <a:gd name="T75" fmla="*/ 779 h 1131"/>
                <a:gd name="T76" fmla="*/ 32 w 942"/>
                <a:gd name="T77" fmla="*/ 708 h 1131"/>
                <a:gd name="T78" fmla="*/ 14 w 942"/>
                <a:gd name="T79" fmla="*/ 633 h 1131"/>
                <a:gd name="T80" fmla="*/ 4 w 942"/>
                <a:gd name="T81" fmla="*/ 550 h 1131"/>
                <a:gd name="T82" fmla="*/ 0 w 942"/>
                <a:gd name="T83" fmla="*/ 463 h 1131"/>
                <a:gd name="T84" fmla="*/ 2 w 942"/>
                <a:gd name="T85" fmla="*/ 399 h 1131"/>
                <a:gd name="T86" fmla="*/ 9 w 942"/>
                <a:gd name="T87" fmla="*/ 338 h 1131"/>
                <a:gd name="T88" fmla="*/ 21 w 942"/>
                <a:gd name="T89" fmla="*/ 283 h 1131"/>
                <a:gd name="T90" fmla="*/ 38 w 942"/>
                <a:gd name="T91" fmla="*/ 231 h 1131"/>
                <a:gd name="T92" fmla="*/ 63 w 942"/>
                <a:gd name="T93" fmla="*/ 184 h 1131"/>
                <a:gd name="T94" fmla="*/ 91 w 942"/>
                <a:gd name="T95" fmla="*/ 142 h 1131"/>
                <a:gd name="T96" fmla="*/ 127 w 942"/>
                <a:gd name="T97" fmla="*/ 106 h 1131"/>
                <a:gd name="T98" fmla="*/ 167 w 942"/>
                <a:gd name="T99" fmla="*/ 75 h 1131"/>
                <a:gd name="T100" fmla="*/ 215 w 942"/>
                <a:gd name="T101" fmla="*/ 49 h 1131"/>
                <a:gd name="T102" fmla="*/ 269 w 942"/>
                <a:gd name="T103" fmla="*/ 28 h 1131"/>
                <a:gd name="T104" fmla="*/ 330 w 942"/>
                <a:gd name="T105" fmla="*/ 12 h 1131"/>
                <a:gd name="T106" fmla="*/ 398 w 942"/>
                <a:gd name="T107" fmla="*/ 3 h 1131"/>
                <a:gd name="T108" fmla="*/ 470 w 942"/>
                <a:gd name="T109" fmla="*/ 0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42" h="1131">
                  <a:moveTo>
                    <a:pt x="470" y="0"/>
                  </a:moveTo>
                  <a:lnTo>
                    <a:pt x="545" y="3"/>
                  </a:lnTo>
                  <a:lnTo>
                    <a:pt x="613" y="12"/>
                  </a:lnTo>
                  <a:lnTo>
                    <a:pt x="673" y="28"/>
                  </a:lnTo>
                  <a:lnTo>
                    <a:pt x="727" y="49"/>
                  </a:lnTo>
                  <a:lnTo>
                    <a:pt x="774" y="75"/>
                  </a:lnTo>
                  <a:lnTo>
                    <a:pt x="816" y="106"/>
                  </a:lnTo>
                  <a:lnTo>
                    <a:pt x="850" y="142"/>
                  </a:lnTo>
                  <a:lnTo>
                    <a:pt x="880" y="184"/>
                  </a:lnTo>
                  <a:lnTo>
                    <a:pt x="904" y="231"/>
                  </a:lnTo>
                  <a:lnTo>
                    <a:pt x="922" y="283"/>
                  </a:lnTo>
                  <a:lnTo>
                    <a:pt x="934" y="338"/>
                  </a:lnTo>
                  <a:lnTo>
                    <a:pt x="941" y="399"/>
                  </a:lnTo>
                  <a:lnTo>
                    <a:pt x="942" y="463"/>
                  </a:lnTo>
                  <a:lnTo>
                    <a:pt x="937" y="550"/>
                  </a:lnTo>
                  <a:lnTo>
                    <a:pt x="925" y="633"/>
                  </a:lnTo>
                  <a:lnTo>
                    <a:pt x="908" y="708"/>
                  </a:lnTo>
                  <a:lnTo>
                    <a:pt x="882" y="779"/>
                  </a:lnTo>
                  <a:lnTo>
                    <a:pt x="852" y="843"/>
                  </a:lnTo>
                  <a:lnTo>
                    <a:pt x="817" y="902"/>
                  </a:lnTo>
                  <a:lnTo>
                    <a:pt x="779" y="954"/>
                  </a:lnTo>
                  <a:lnTo>
                    <a:pt x="739" y="999"/>
                  </a:lnTo>
                  <a:lnTo>
                    <a:pt x="696" y="1039"/>
                  </a:lnTo>
                  <a:lnTo>
                    <a:pt x="651" y="1072"/>
                  </a:lnTo>
                  <a:lnTo>
                    <a:pt x="606" y="1098"/>
                  </a:lnTo>
                  <a:lnTo>
                    <a:pt x="559" y="1115"/>
                  </a:lnTo>
                  <a:lnTo>
                    <a:pt x="516" y="1127"/>
                  </a:lnTo>
                  <a:lnTo>
                    <a:pt x="470" y="1131"/>
                  </a:lnTo>
                  <a:lnTo>
                    <a:pt x="422" y="1127"/>
                  </a:lnTo>
                  <a:lnTo>
                    <a:pt x="372" y="1115"/>
                  </a:lnTo>
                  <a:lnTo>
                    <a:pt x="323" y="1098"/>
                  </a:lnTo>
                  <a:lnTo>
                    <a:pt x="276" y="1072"/>
                  </a:lnTo>
                  <a:lnTo>
                    <a:pt x="231" y="1039"/>
                  </a:lnTo>
                  <a:lnTo>
                    <a:pt x="189" y="999"/>
                  </a:lnTo>
                  <a:lnTo>
                    <a:pt x="150" y="954"/>
                  </a:lnTo>
                  <a:lnTo>
                    <a:pt x="113" y="902"/>
                  </a:lnTo>
                  <a:lnTo>
                    <a:pt x="82" y="843"/>
                  </a:lnTo>
                  <a:lnTo>
                    <a:pt x="54" y="779"/>
                  </a:lnTo>
                  <a:lnTo>
                    <a:pt x="32" y="708"/>
                  </a:lnTo>
                  <a:lnTo>
                    <a:pt x="14" y="633"/>
                  </a:lnTo>
                  <a:lnTo>
                    <a:pt x="4" y="550"/>
                  </a:lnTo>
                  <a:lnTo>
                    <a:pt x="0" y="463"/>
                  </a:lnTo>
                  <a:lnTo>
                    <a:pt x="2" y="399"/>
                  </a:lnTo>
                  <a:lnTo>
                    <a:pt x="9" y="338"/>
                  </a:lnTo>
                  <a:lnTo>
                    <a:pt x="21" y="283"/>
                  </a:lnTo>
                  <a:lnTo>
                    <a:pt x="38" y="231"/>
                  </a:lnTo>
                  <a:lnTo>
                    <a:pt x="63" y="184"/>
                  </a:lnTo>
                  <a:lnTo>
                    <a:pt x="91" y="142"/>
                  </a:lnTo>
                  <a:lnTo>
                    <a:pt x="127" y="106"/>
                  </a:lnTo>
                  <a:lnTo>
                    <a:pt x="167" y="75"/>
                  </a:lnTo>
                  <a:lnTo>
                    <a:pt x="215" y="49"/>
                  </a:lnTo>
                  <a:lnTo>
                    <a:pt x="269" y="28"/>
                  </a:lnTo>
                  <a:lnTo>
                    <a:pt x="330" y="12"/>
                  </a:lnTo>
                  <a:lnTo>
                    <a:pt x="398" y="3"/>
                  </a:lnTo>
                  <a:lnTo>
                    <a:pt x="4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22" name="Freeform 44"/>
            <p:cNvSpPr>
              <a:spLocks/>
            </p:cNvSpPr>
            <p:nvPr/>
          </p:nvSpPr>
          <p:spPr bwMode="auto">
            <a:xfrm>
              <a:off x="3889" y="3091"/>
              <a:ext cx="873" cy="492"/>
            </a:xfrm>
            <a:custGeom>
              <a:avLst/>
              <a:gdLst>
                <a:gd name="T0" fmla="*/ 657 w 1745"/>
                <a:gd name="T1" fmla="*/ 0 h 985"/>
                <a:gd name="T2" fmla="*/ 860 w 1745"/>
                <a:gd name="T3" fmla="*/ 201 h 985"/>
                <a:gd name="T4" fmla="*/ 883 w 1745"/>
                <a:gd name="T5" fmla="*/ 201 h 985"/>
                <a:gd name="T6" fmla="*/ 1086 w 1745"/>
                <a:gd name="T7" fmla="*/ 0 h 985"/>
                <a:gd name="T8" fmla="*/ 1211 w 1745"/>
                <a:gd name="T9" fmla="*/ 106 h 985"/>
                <a:gd name="T10" fmla="*/ 1473 w 1745"/>
                <a:gd name="T11" fmla="*/ 226 h 985"/>
                <a:gd name="T12" fmla="*/ 1495 w 1745"/>
                <a:gd name="T13" fmla="*/ 238 h 985"/>
                <a:gd name="T14" fmla="*/ 1518 w 1745"/>
                <a:gd name="T15" fmla="*/ 250 h 985"/>
                <a:gd name="T16" fmla="*/ 1539 w 1745"/>
                <a:gd name="T17" fmla="*/ 267 h 985"/>
                <a:gd name="T18" fmla="*/ 1556 w 1745"/>
                <a:gd name="T19" fmla="*/ 286 h 985"/>
                <a:gd name="T20" fmla="*/ 1568 w 1745"/>
                <a:gd name="T21" fmla="*/ 309 h 985"/>
                <a:gd name="T22" fmla="*/ 1570 w 1745"/>
                <a:gd name="T23" fmla="*/ 312 h 985"/>
                <a:gd name="T24" fmla="*/ 1575 w 1745"/>
                <a:gd name="T25" fmla="*/ 325 h 985"/>
                <a:gd name="T26" fmla="*/ 1582 w 1745"/>
                <a:gd name="T27" fmla="*/ 342 h 985"/>
                <a:gd name="T28" fmla="*/ 1593 w 1745"/>
                <a:gd name="T29" fmla="*/ 368 h 985"/>
                <a:gd name="T30" fmla="*/ 1605 w 1745"/>
                <a:gd name="T31" fmla="*/ 397 h 985"/>
                <a:gd name="T32" fmla="*/ 1617 w 1745"/>
                <a:gd name="T33" fmla="*/ 432 h 985"/>
                <a:gd name="T34" fmla="*/ 1632 w 1745"/>
                <a:gd name="T35" fmla="*/ 470 h 985"/>
                <a:gd name="T36" fmla="*/ 1646 w 1745"/>
                <a:gd name="T37" fmla="*/ 512 h 985"/>
                <a:gd name="T38" fmla="*/ 1662 w 1745"/>
                <a:gd name="T39" fmla="*/ 555 h 985"/>
                <a:gd name="T40" fmla="*/ 1678 w 1745"/>
                <a:gd name="T41" fmla="*/ 600 h 985"/>
                <a:gd name="T42" fmla="*/ 1691 w 1745"/>
                <a:gd name="T43" fmla="*/ 647 h 985"/>
                <a:gd name="T44" fmla="*/ 1705 w 1745"/>
                <a:gd name="T45" fmla="*/ 692 h 985"/>
                <a:gd name="T46" fmla="*/ 1717 w 1745"/>
                <a:gd name="T47" fmla="*/ 737 h 985"/>
                <a:gd name="T48" fmla="*/ 1728 w 1745"/>
                <a:gd name="T49" fmla="*/ 782 h 985"/>
                <a:gd name="T50" fmla="*/ 1737 w 1745"/>
                <a:gd name="T51" fmla="*/ 822 h 985"/>
                <a:gd name="T52" fmla="*/ 1742 w 1745"/>
                <a:gd name="T53" fmla="*/ 862 h 985"/>
                <a:gd name="T54" fmla="*/ 1745 w 1745"/>
                <a:gd name="T55" fmla="*/ 895 h 985"/>
                <a:gd name="T56" fmla="*/ 1743 w 1745"/>
                <a:gd name="T57" fmla="*/ 926 h 985"/>
                <a:gd name="T58" fmla="*/ 1740 w 1745"/>
                <a:gd name="T59" fmla="*/ 951 h 985"/>
                <a:gd name="T60" fmla="*/ 1731 w 1745"/>
                <a:gd name="T61" fmla="*/ 970 h 985"/>
                <a:gd name="T62" fmla="*/ 1717 w 1745"/>
                <a:gd name="T63" fmla="*/ 980 h 985"/>
                <a:gd name="T64" fmla="*/ 1698 w 1745"/>
                <a:gd name="T65" fmla="*/ 985 h 985"/>
                <a:gd name="T66" fmla="*/ 45 w 1745"/>
                <a:gd name="T67" fmla="*/ 985 h 985"/>
                <a:gd name="T68" fmla="*/ 26 w 1745"/>
                <a:gd name="T69" fmla="*/ 980 h 985"/>
                <a:gd name="T70" fmla="*/ 14 w 1745"/>
                <a:gd name="T71" fmla="*/ 970 h 985"/>
                <a:gd name="T72" fmla="*/ 5 w 1745"/>
                <a:gd name="T73" fmla="*/ 951 h 985"/>
                <a:gd name="T74" fmla="*/ 0 w 1745"/>
                <a:gd name="T75" fmla="*/ 926 h 985"/>
                <a:gd name="T76" fmla="*/ 0 w 1745"/>
                <a:gd name="T77" fmla="*/ 895 h 985"/>
                <a:gd name="T78" fmla="*/ 2 w 1745"/>
                <a:gd name="T79" fmla="*/ 862 h 985"/>
                <a:gd name="T80" fmla="*/ 7 w 1745"/>
                <a:gd name="T81" fmla="*/ 822 h 985"/>
                <a:gd name="T82" fmla="*/ 16 w 1745"/>
                <a:gd name="T83" fmla="*/ 782 h 985"/>
                <a:gd name="T84" fmla="*/ 26 w 1745"/>
                <a:gd name="T85" fmla="*/ 737 h 985"/>
                <a:gd name="T86" fmla="*/ 38 w 1745"/>
                <a:gd name="T87" fmla="*/ 692 h 985"/>
                <a:gd name="T88" fmla="*/ 52 w 1745"/>
                <a:gd name="T89" fmla="*/ 647 h 985"/>
                <a:gd name="T90" fmla="*/ 66 w 1745"/>
                <a:gd name="T91" fmla="*/ 600 h 985"/>
                <a:gd name="T92" fmla="*/ 81 w 1745"/>
                <a:gd name="T93" fmla="*/ 555 h 985"/>
                <a:gd name="T94" fmla="*/ 97 w 1745"/>
                <a:gd name="T95" fmla="*/ 512 h 985"/>
                <a:gd name="T96" fmla="*/ 113 w 1745"/>
                <a:gd name="T97" fmla="*/ 470 h 985"/>
                <a:gd name="T98" fmla="*/ 127 w 1745"/>
                <a:gd name="T99" fmla="*/ 432 h 985"/>
                <a:gd name="T100" fmla="*/ 139 w 1745"/>
                <a:gd name="T101" fmla="*/ 397 h 985"/>
                <a:gd name="T102" fmla="*/ 151 w 1745"/>
                <a:gd name="T103" fmla="*/ 368 h 985"/>
                <a:gd name="T104" fmla="*/ 161 w 1745"/>
                <a:gd name="T105" fmla="*/ 342 h 985"/>
                <a:gd name="T106" fmla="*/ 168 w 1745"/>
                <a:gd name="T107" fmla="*/ 325 h 985"/>
                <a:gd name="T108" fmla="*/ 173 w 1745"/>
                <a:gd name="T109" fmla="*/ 312 h 985"/>
                <a:gd name="T110" fmla="*/ 175 w 1745"/>
                <a:gd name="T111" fmla="*/ 309 h 985"/>
                <a:gd name="T112" fmla="*/ 192 w 1745"/>
                <a:gd name="T113" fmla="*/ 279 h 985"/>
                <a:gd name="T114" fmla="*/ 215 w 1745"/>
                <a:gd name="T115" fmla="*/ 257 h 985"/>
                <a:gd name="T116" fmla="*/ 243 w 1745"/>
                <a:gd name="T117" fmla="*/ 240 h 985"/>
                <a:gd name="T118" fmla="*/ 271 w 1745"/>
                <a:gd name="T119" fmla="*/ 226 h 985"/>
                <a:gd name="T120" fmla="*/ 533 w 1745"/>
                <a:gd name="T121" fmla="*/ 106 h 985"/>
                <a:gd name="T122" fmla="*/ 657 w 1745"/>
                <a:gd name="T123" fmla="*/ 0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45" h="985">
                  <a:moveTo>
                    <a:pt x="657" y="0"/>
                  </a:moveTo>
                  <a:lnTo>
                    <a:pt x="860" y="201"/>
                  </a:lnTo>
                  <a:lnTo>
                    <a:pt x="883" y="201"/>
                  </a:lnTo>
                  <a:lnTo>
                    <a:pt x="1086" y="0"/>
                  </a:lnTo>
                  <a:lnTo>
                    <a:pt x="1211" y="106"/>
                  </a:lnTo>
                  <a:lnTo>
                    <a:pt x="1473" y="226"/>
                  </a:lnTo>
                  <a:lnTo>
                    <a:pt x="1495" y="238"/>
                  </a:lnTo>
                  <a:lnTo>
                    <a:pt x="1518" y="250"/>
                  </a:lnTo>
                  <a:lnTo>
                    <a:pt x="1539" y="267"/>
                  </a:lnTo>
                  <a:lnTo>
                    <a:pt x="1556" y="286"/>
                  </a:lnTo>
                  <a:lnTo>
                    <a:pt x="1568" y="309"/>
                  </a:lnTo>
                  <a:lnTo>
                    <a:pt x="1570" y="312"/>
                  </a:lnTo>
                  <a:lnTo>
                    <a:pt x="1575" y="325"/>
                  </a:lnTo>
                  <a:lnTo>
                    <a:pt x="1582" y="342"/>
                  </a:lnTo>
                  <a:lnTo>
                    <a:pt x="1593" y="368"/>
                  </a:lnTo>
                  <a:lnTo>
                    <a:pt x="1605" y="397"/>
                  </a:lnTo>
                  <a:lnTo>
                    <a:pt x="1617" y="432"/>
                  </a:lnTo>
                  <a:lnTo>
                    <a:pt x="1632" y="470"/>
                  </a:lnTo>
                  <a:lnTo>
                    <a:pt x="1646" y="512"/>
                  </a:lnTo>
                  <a:lnTo>
                    <a:pt x="1662" y="555"/>
                  </a:lnTo>
                  <a:lnTo>
                    <a:pt x="1678" y="600"/>
                  </a:lnTo>
                  <a:lnTo>
                    <a:pt x="1691" y="647"/>
                  </a:lnTo>
                  <a:lnTo>
                    <a:pt x="1705" y="692"/>
                  </a:lnTo>
                  <a:lnTo>
                    <a:pt x="1717" y="737"/>
                  </a:lnTo>
                  <a:lnTo>
                    <a:pt x="1728" y="782"/>
                  </a:lnTo>
                  <a:lnTo>
                    <a:pt x="1737" y="822"/>
                  </a:lnTo>
                  <a:lnTo>
                    <a:pt x="1742" y="862"/>
                  </a:lnTo>
                  <a:lnTo>
                    <a:pt x="1745" y="895"/>
                  </a:lnTo>
                  <a:lnTo>
                    <a:pt x="1743" y="926"/>
                  </a:lnTo>
                  <a:lnTo>
                    <a:pt x="1740" y="951"/>
                  </a:lnTo>
                  <a:lnTo>
                    <a:pt x="1731" y="970"/>
                  </a:lnTo>
                  <a:lnTo>
                    <a:pt x="1717" y="980"/>
                  </a:lnTo>
                  <a:lnTo>
                    <a:pt x="1698" y="985"/>
                  </a:lnTo>
                  <a:lnTo>
                    <a:pt x="45" y="985"/>
                  </a:lnTo>
                  <a:lnTo>
                    <a:pt x="26" y="980"/>
                  </a:lnTo>
                  <a:lnTo>
                    <a:pt x="14" y="970"/>
                  </a:lnTo>
                  <a:lnTo>
                    <a:pt x="5" y="951"/>
                  </a:lnTo>
                  <a:lnTo>
                    <a:pt x="0" y="926"/>
                  </a:lnTo>
                  <a:lnTo>
                    <a:pt x="0" y="895"/>
                  </a:lnTo>
                  <a:lnTo>
                    <a:pt x="2" y="862"/>
                  </a:lnTo>
                  <a:lnTo>
                    <a:pt x="7" y="822"/>
                  </a:lnTo>
                  <a:lnTo>
                    <a:pt x="16" y="782"/>
                  </a:lnTo>
                  <a:lnTo>
                    <a:pt x="26" y="737"/>
                  </a:lnTo>
                  <a:lnTo>
                    <a:pt x="38" y="692"/>
                  </a:lnTo>
                  <a:lnTo>
                    <a:pt x="52" y="647"/>
                  </a:lnTo>
                  <a:lnTo>
                    <a:pt x="66" y="600"/>
                  </a:lnTo>
                  <a:lnTo>
                    <a:pt x="81" y="555"/>
                  </a:lnTo>
                  <a:lnTo>
                    <a:pt x="97" y="512"/>
                  </a:lnTo>
                  <a:lnTo>
                    <a:pt x="113" y="470"/>
                  </a:lnTo>
                  <a:lnTo>
                    <a:pt x="127" y="432"/>
                  </a:lnTo>
                  <a:lnTo>
                    <a:pt x="139" y="397"/>
                  </a:lnTo>
                  <a:lnTo>
                    <a:pt x="151" y="368"/>
                  </a:lnTo>
                  <a:lnTo>
                    <a:pt x="161" y="342"/>
                  </a:lnTo>
                  <a:lnTo>
                    <a:pt x="168" y="325"/>
                  </a:lnTo>
                  <a:lnTo>
                    <a:pt x="173" y="312"/>
                  </a:lnTo>
                  <a:lnTo>
                    <a:pt x="175" y="309"/>
                  </a:lnTo>
                  <a:lnTo>
                    <a:pt x="192" y="279"/>
                  </a:lnTo>
                  <a:lnTo>
                    <a:pt x="215" y="257"/>
                  </a:lnTo>
                  <a:lnTo>
                    <a:pt x="243" y="240"/>
                  </a:lnTo>
                  <a:lnTo>
                    <a:pt x="271" y="226"/>
                  </a:lnTo>
                  <a:lnTo>
                    <a:pt x="533" y="106"/>
                  </a:lnTo>
                  <a:lnTo>
                    <a:pt x="6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23" name="Freeform 45"/>
            <p:cNvSpPr>
              <a:spLocks/>
            </p:cNvSpPr>
            <p:nvPr/>
          </p:nvSpPr>
          <p:spPr bwMode="auto">
            <a:xfrm>
              <a:off x="4090" y="2552"/>
              <a:ext cx="471" cy="565"/>
            </a:xfrm>
            <a:custGeom>
              <a:avLst/>
              <a:gdLst>
                <a:gd name="T0" fmla="*/ 472 w 942"/>
                <a:gd name="T1" fmla="*/ 0 h 1131"/>
                <a:gd name="T2" fmla="*/ 544 w 942"/>
                <a:gd name="T3" fmla="*/ 3 h 1131"/>
                <a:gd name="T4" fmla="*/ 612 w 942"/>
                <a:gd name="T5" fmla="*/ 12 h 1131"/>
                <a:gd name="T6" fmla="*/ 673 w 942"/>
                <a:gd name="T7" fmla="*/ 28 h 1131"/>
                <a:gd name="T8" fmla="*/ 727 w 942"/>
                <a:gd name="T9" fmla="*/ 49 h 1131"/>
                <a:gd name="T10" fmla="*/ 775 w 942"/>
                <a:gd name="T11" fmla="*/ 75 h 1131"/>
                <a:gd name="T12" fmla="*/ 815 w 942"/>
                <a:gd name="T13" fmla="*/ 106 h 1131"/>
                <a:gd name="T14" fmla="*/ 851 w 942"/>
                <a:gd name="T15" fmla="*/ 142 h 1131"/>
                <a:gd name="T16" fmla="*/ 879 w 942"/>
                <a:gd name="T17" fmla="*/ 184 h 1131"/>
                <a:gd name="T18" fmla="*/ 904 w 942"/>
                <a:gd name="T19" fmla="*/ 231 h 1131"/>
                <a:gd name="T20" fmla="*/ 921 w 942"/>
                <a:gd name="T21" fmla="*/ 283 h 1131"/>
                <a:gd name="T22" fmla="*/ 933 w 942"/>
                <a:gd name="T23" fmla="*/ 338 h 1131"/>
                <a:gd name="T24" fmla="*/ 940 w 942"/>
                <a:gd name="T25" fmla="*/ 399 h 1131"/>
                <a:gd name="T26" fmla="*/ 942 w 942"/>
                <a:gd name="T27" fmla="*/ 463 h 1131"/>
                <a:gd name="T28" fmla="*/ 938 w 942"/>
                <a:gd name="T29" fmla="*/ 550 h 1131"/>
                <a:gd name="T30" fmla="*/ 926 w 942"/>
                <a:gd name="T31" fmla="*/ 633 h 1131"/>
                <a:gd name="T32" fmla="*/ 907 w 942"/>
                <a:gd name="T33" fmla="*/ 708 h 1131"/>
                <a:gd name="T34" fmla="*/ 883 w 942"/>
                <a:gd name="T35" fmla="*/ 779 h 1131"/>
                <a:gd name="T36" fmla="*/ 851 w 942"/>
                <a:gd name="T37" fmla="*/ 843 h 1131"/>
                <a:gd name="T38" fmla="*/ 819 w 942"/>
                <a:gd name="T39" fmla="*/ 902 h 1131"/>
                <a:gd name="T40" fmla="*/ 780 w 942"/>
                <a:gd name="T41" fmla="*/ 954 h 1131"/>
                <a:gd name="T42" fmla="*/ 739 w 942"/>
                <a:gd name="T43" fmla="*/ 999 h 1131"/>
                <a:gd name="T44" fmla="*/ 695 w 942"/>
                <a:gd name="T45" fmla="*/ 1039 h 1131"/>
                <a:gd name="T46" fmla="*/ 650 w 942"/>
                <a:gd name="T47" fmla="*/ 1072 h 1131"/>
                <a:gd name="T48" fmla="*/ 605 w 942"/>
                <a:gd name="T49" fmla="*/ 1098 h 1131"/>
                <a:gd name="T50" fmla="*/ 560 w 942"/>
                <a:gd name="T51" fmla="*/ 1115 h 1131"/>
                <a:gd name="T52" fmla="*/ 515 w 942"/>
                <a:gd name="T53" fmla="*/ 1127 h 1131"/>
                <a:gd name="T54" fmla="*/ 472 w 942"/>
                <a:gd name="T55" fmla="*/ 1131 h 1131"/>
                <a:gd name="T56" fmla="*/ 421 w 942"/>
                <a:gd name="T57" fmla="*/ 1127 h 1131"/>
                <a:gd name="T58" fmla="*/ 371 w 942"/>
                <a:gd name="T59" fmla="*/ 1115 h 1131"/>
                <a:gd name="T60" fmla="*/ 322 w 942"/>
                <a:gd name="T61" fmla="*/ 1098 h 1131"/>
                <a:gd name="T62" fmla="*/ 275 w 942"/>
                <a:gd name="T63" fmla="*/ 1072 h 1131"/>
                <a:gd name="T64" fmla="*/ 230 w 942"/>
                <a:gd name="T65" fmla="*/ 1039 h 1131"/>
                <a:gd name="T66" fmla="*/ 189 w 942"/>
                <a:gd name="T67" fmla="*/ 999 h 1131"/>
                <a:gd name="T68" fmla="*/ 149 w 942"/>
                <a:gd name="T69" fmla="*/ 954 h 1131"/>
                <a:gd name="T70" fmla="*/ 112 w 942"/>
                <a:gd name="T71" fmla="*/ 902 h 1131"/>
                <a:gd name="T72" fmla="*/ 81 w 942"/>
                <a:gd name="T73" fmla="*/ 843 h 1131"/>
                <a:gd name="T74" fmla="*/ 53 w 942"/>
                <a:gd name="T75" fmla="*/ 779 h 1131"/>
                <a:gd name="T76" fmla="*/ 31 w 942"/>
                <a:gd name="T77" fmla="*/ 708 h 1131"/>
                <a:gd name="T78" fmla="*/ 15 w 942"/>
                <a:gd name="T79" fmla="*/ 633 h 1131"/>
                <a:gd name="T80" fmla="*/ 3 w 942"/>
                <a:gd name="T81" fmla="*/ 550 h 1131"/>
                <a:gd name="T82" fmla="*/ 0 w 942"/>
                <a:gd name="T83" fmla="*/ 463 h 1131"/>
                <a:gd name="T84" fmla="*/ 1 w 942"/>
                <a:gd name="T85" fmla="*/ 399 h 1131"/>
                <a:gd name="T86" fmla="*/ 8 w 942"/>
                <a:gd name="T87" fmla="*/ 338 h 1131"/>
                <a:gd name="T88" fmla="*/ 20 w 942"/>
                <a:gd name="T89" fmla="*/ 283 h 1131"/>
                <a:gd name="T90" fmla="*/ 38 w 942"/>
                <a:gd name="T91" fmla="*/ 231 h 1131"/>
                <a:gd name="T92" fmla="*/ 62 w 942"/>
                <a:gd name="T93" fmla="*/ 184 h 1131"/>
                <a:gd name="T94" fmla="*/ 92 w 942"/>
                <a:gd name="T95" fmla="*/ 142 h 1131"/>
                <a:gd name="T96" fmla="*/ 126 w 942"/>
                <a:gd name="T97" fmla="*/ 106 h 1131"/>
                <a:gd name="T98" fmla="*/ 168 w 942"/>
                <a:gd name="T99" fmla="*/ 75 h 1131"/>
                <a:gd name="T100" fmla="*/ 215 w 942"/>
                <a:gd name="T101" fmla="*/ 49 h 1131"/>
                <a:gd name="T102" fmla="*/ 269 w 942"/>
                <a:gd name="T103" fmla="*/ 28 h 1131"/>
                <a:gd name="T104" fmla="*/ 329 w 942"/>
                <a:gd name="T105" fmla="*/ 12 h 1131"/>
                <a:gd name="T106" fmla="*/ 397 w 942"/>
                <a:gd name="T107" fmla="*/ 3 h 1131"/>
                <a:gd name="T108" fmla="*/ 472 w 942"/>
                <a:gd name="T109" fmla="*/ 0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42" h="1131">
                  <a:moveTo>
                    <a:pt x="472" y="0"/>
                  </a:moveTo>
                  <a:lnTo>
                    <a:pt x="544" y="3"/>
                  </a:lnTo>
                  <a:lnTo>
                    <a:pt x="612" y="12"/>
                  </a:lnTo>
                  <a:lnTo>
                    <a:pt x="673" y="28"/>
                  </a:lnTo>
                  <a:lnTo>
                    <a:pt x="727" y="49"/>
                  </a:lnTo>
                  <a:lnTo>
                    <a:pt x="775" y="75"/>
                  </a:lnTo>
                  <a:lnTo>
                    <a:pt x="815" y="106"/>
                  </a:lnTo>
                  <a:lnTo>
                    <a:pt x="851" y="142"/>
                  </a:lnTo>
                  <a:lnTo>
                    <a:pt x="879" y="184"/>
                  </a:lnTo>
                  <a:lnTo>
                    <a:pt x="904" y="231"/>
                  </a:lnTo>
                  <a:lnTo>
                    <a:pt x="921" y="283"/>
                  </a:lnTo>
                  <a:lnTo>
                    <a:pt x="933" y="338"/>
                  </a:lnTo>
                  <a:lnTo>
                    <a:pt x="940" y="399"/>
                  </a:lnTo>
                  <a:lnTo>
                    <a:pt x="942" y="463"/>
                  </a:lnTo>
                  <a:lnTo>
                    <a:pt x="938" y="550"/>
                  </a:lnTo>
                  <a:lnTo>
                    <a:pt x="926" y="633"/>
                  </a:lnTo>
                  <a:lnTo>
                    <a:pt x="907" y="708"/>
                  </a:lnTo>
                  <a:lnTo>
                    <a:pt x="883" y="779"/>
                  </a:lnTo>
                  <a:lnTo>
                    <a:pt x="851" y="843"/>
                  </a:lnTo>
                  <a:lnTo>
                    <a:pt x="819" y="902"/>
                  </a:lnTo>
                  <a:lnTo>
                    <a:pt x="780" y="954"/>
                  </a:lnTo>
                  <a:lnTo>
                    <a:pt x="739" y="999"/>
                  </a:lnTo>
                  <a:lnTo>
                    <a:pt x="695" y="1039"/>
                  </a:lnTo>
                  <a:lnTo>
                    <a:pt x="650" y="1072"/>
                  </a:lnTo>
                  <a:lnTo>
                    <a:pt x="605" y="1098"/>
                  </a:lnTo>
                  <a:lnTo>
                    <a:pt x="560" y="1115"/>
                  </a:lnTo>
                  <a:lnTo>
                    <a:pt x="515" y="1127"/>
                  </a:lnTo>
                  <a:lnTo>
                    <a:pt x="472" y="1131"/>
                  </a:lnTo>
                  <a:lnTo>
                    <a:pt x="421" y="1127"/>
                  </a:lnTo>
                  <a:lnTo>
                    <a:pt x="371" y="1115"/>
                  </a:lnTo>
                  <a:lnTo>
                    <a:pt x="322" y="1098"/>
                  </a:lnTo>
                  <a:lnTo>
                    <a:pt x="275" y="1072"/>
                  </a:lnTo>
                  <a:lnTo>
                    <a:pt x="230" y="1039"/>
                  </a:lnTo>
                  <a:lnTo>
                    <a:pt x="189" y="999"/>
                  </a:lnTo>
                  <a:lnTo>
                    <a:pt x="149" y="954"/>
                  </a:lnTo>
                  <a:lnTo>
                    <a:pt x="112" y="902"/>
                  </a:lnTo>
                  <a:lnTo>
                    <a:pt x="81" y="843"/>
                  </a:lnTo>
                  <a:lnTo>
                    <a:pt x="53" y="779"/>
                  </a:lnTo>
                  <a:lnTo>
                    <a:pt x="31" y="708"/>
                  </a:lnTo>
                  <a:lnTo>
                    <a:pt x="15" y="633"/>
                  </a:lnTo>
                  <a:lnTo>
                    <a:pt x="3" y="550"/>
                  </a:lnTo>
                  <a:lnTo>
                    <a:pt x="0" y="463"/>
                  </a:lnTo>
                  <a:lnTo>
                    <a:pt x="1" y="399"/>
                  </a:lnTo>
                  <a:lnTo>
                    <a:pt x="8" y="338"/>
                  </a:lnTo>
                  <a:lnTo>
                    <a:pt x="20" y="283"/>
                  </a:lnTo>
                  <a:lnTo>
                    <a:pt x="38" y="231"/>
                  </a:lnTo>
                  <a:lnTo>
                    <a:pt x="62" y="184"/>
                  </a:lnTo>
                  <a:lnTo>
                    <a:pt x="92" y="142"/>
                  </a:lnTo>
                  <a:lnTo>
                    <a:pt x="126" y="106"/>
                  </a:lnTo>
                  <a:lnTo>
                    <a:pt x="168" y="75"/>
                  </a:lnTo>
                  <a:lnTo>
                    <a:pt x="215" y="49"/>
                  </a:lnTo>
                  <a:lnTo>
                    <a:pt x="269" y="28"/>
                  </a:lnTo>
                  <a:lnTo>
                    <a:pt x="329" y="12"/>
                  </a:lnTo>
                  <a:lnTo>
                    <a:pt x="397" y="3"/>
                  </a:lnTo>
                  <a:lnTo>
                    <a:pt x="47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7" name="Group 156"/>
          <p:cNvGrpSpPr/>
          <p:nvPr/>
        </p:nvGrpSpPr>
        <p:grpSpPr>
          <a:xfrm>
            <a:off x="8520227" y="1210038"/>
            <a:ext cx="805075" cy="639865"/>
            <a:chOff x="9840808" y="1217258"/>
            <a:chExt cx="509452" cy="421003"/>
          </a:xfrm>
        </p:grpSpPr>
        <p:sp>
          <p:nvSpPr>
            <p:cNvPr id="158" name="Freeform 52"/>
            <p:cNvSpPr>
              <a:spLocks noEditPoints="1"/>
            </p:cNvSpPr>
            <p:nvPr/>
          </p:nvSpPr>
          <p:spPr bwMode="auto">
            <a:xfrm>
              <a:off x="9901408" y="1220168"/>
              <a:ext cx="412159" cy="418093"/>
            </a:xfrm>
            <a:custGeom>
              <a:avLst/>
              <a:gdLst>
                <a:gd name="T0" fmla="*/ 3794 w 4861"/>
                <a:gd name="T1" fmla="*/ 3813 h 4932"/>
                <a:gd name="T2" fmla="*/ 3714 w 4861"/>
                <a:gd name="T3" fmla="*/ 3932 h 4932"/>
                <a:gd name="T4" fmla="*/ 3742 w 4861"/>
                <a:gd name="T5" fmla="*/ 4079 h 4932"/>
                <a:gd name="T6" fmla="*/ 3863 w 4861"/>
                <a:gd name="T7" fmla="*/ 4159 h 4932"/>
                <a:gd name="T8" fmla="*/ 4009 w 4861"/>
                <a:gd name="T9" fmla="*/ 4131 h 4932"/>
                <a:gd name="T10" fmla="*/ 4090 w 4861"/>
                <a:gd name="T11" fmla="*/ 4010 h 4932"/>
                <a:gd name="T12" fmla="*/ 4060 w 4861"/>
                <a:gd name="T13" fmla="*/ 3863 h 4932"/>
                <a:gd name="T14" fmla="*/ 3940 w 4861"/>
                <a:gd name="T15" fmla="*/ 3783 h 4932"/>
                <a:gd name="T16" fmla="*/ 3827 w 4861"/>
                <a:gd name="T17" fmla="*/ 3025 h 4932"/>
                <a:gd name="T18" fmla="*/ 3724 w 4861"/>
                <a:gd name="T19" fmla="*/ 3128 h 4932"/>
                <a:gd name="T20" fmla="*/ 3724 w 4861"/>
                <a:gd name="T21" fmla="*/ 3278 h 4932"/>
                <a:gd name="T22" fmla="*/ 3827 w 4861"/>
                <a:gd name="T23" fmla="*/ 3379 h 4932"/>
                <a:gd name="T24" fmla="*/ 3976 w 4861"/>
                <a:gd name="T25" fmla="*/ 3379 h 4932"/>
                <a:gd name="T26" fmla="*/ 4078 w 4861"/>
                <a:gd name="T27" fmla="*/ 3278 h 4932"/>
                <a:gd name="T28" fmla="*/ 4078 w 4861"/>
                <a:gd name="T29" fmla="*/ 3128 h 4932"/>
                <a:gd name="T30" fmla="*/ 3976 w 4861"/>
                <a:gd name="T31" fmla="*/ 3025 h 4932"/>
                <a:gd name="T32" fmla="*/ 3863 w 4861"/>
                <a:gd name="T33" fmla="*/ 2246 h 4932"/>
                <a:gd name="T34" fmla="*/ 3742 w 4861"/>
                <a:gd name="T35" fmla="*/ 2327 h 4932"/>
                <a:gd name="T36" fmla="*/ 3714 w 4861"/>
                <a:gd name="T37" fmla="*/ 2472 h 4932"/>
                <a:gd name="T38" fmla="*/ 3794 w 4861"/>
                <a:gd name="T39" fmla="*/ 2593 h 4932"/>
                <a:gd name="T40" fmla="*/ 3940 w 4861"/>
                <a:gd name="T41" fmla="*/ 2623 h 4932"/>
                <a:gd name="T42" fmla="*/ 4060 w 4861"/>
                <a:gd name="T43" fmla="*/ 2541 h 4932"/>
                <a:gd name="T44" fmla="*/ 4090 w 4861"/>
                <a:gd name="T45" fmla="*/ 2396 h 4932"/>
                <a:gd name="T46" fmla="*/ 4009 w 4861"/>
                <a:gd name="T47" fmla="*/ 2275 h 4932"/>
                <a:gd name="T48" fmla="*/ 768 w 4861"/>
                <a:gd name="T49" fmla="*/ 2242 h 4932"/>
                <a:gd name="T50" fmla="*/ 768 w 4861"/>
                <a:gd name="T51" fmla="*/ 2242 h 4932"/>
                <a:gd name="T52" fmla="*/ 1313 w 4861"/>
                <a:gd name="T53" fmla="*/ 36 h 4932"/>
                <a:gd name="T54" fmla="*/ 1474 w 4861"/>
                <a:gd name="T55" fmla="*/ 175 h 4932"/>
                <a:gd name="T56" fmla="*/ 1535 w 4861"/>
                <a:gd name="T57" fmla="*/ 384 h 4932"/>
                <a:gd name="T58" fmla="*/ 1472 w 4861"/>
                <a:gd name="T59" fmla="*/ 595 h 4932"/>
                <a:gd name="T60" fmla="*/ 1501 w 4861"/>
                <a:gd name="T61" fmla="*/ 650 h 4932"/>
                <a:gd name="T62" fmla="*/ 1572 w 4861"/>
                <a:gd name="T63" fmla="*/ 792 h 4932"/>
                <a:gd name="T64" fmla="*/ 1666 w 4861"/>
                <a:gd name="T65" fmla="*/ 982 h 4932"/>
                <a:gd name="T66" fmla="*/ 1765 w 4861"/>
                <a:gd name="T67" fmla="*/ 1182 h 4932"/>
                <a:gd name="T68" fmla="*/ 1850 w 4861"/>
                <a:gd name="T69" fmla="*/ 1354 h 4932"/>
                <a:gd name="T70" fmla="*/ 1902 w 4861"/>
                <a:gd name="T71" fmla="*/ 1459 h 4932"/>
                <a:gd name="T72" fmla="*/ 2694 w 4861"/>
                <a:gd name="T73" fmla="*/ 1469 h 4932"/>
                <a:gd name="T74" fmla="*/ 2736 w 4861"/>
                <a:gd name="T75" fmla="*/ 1388 h 4932"/>
                <a:gd name="T76" fmla="*/ 2815 w 4861"/>
                <a:gd name="T77" fmla="*/ 1230 h 4932"/>
                <a:gd name="T78" fmla="*/ 2914 w 4861"/>
                <a:gd name="T79" fmla="*/ 1033 h 4932"/>
                <a:gd name="T80" fmla="*/ 3012 w 4861"/>
                <a:gd name="T81" fmla="*/ 837 h 4932"/>
                <a:gd name="T82" fmla="*/ 3090 w 4861"/>
                <a:gd name="T83" fmla="*/ 679 h 4932"/>
                <a:gd name="T84" fmla="*/ 3130 w 4861"/>
                <a:gd name="T85" fmla="*/ 598 h 4932"/>
                <a:gd name="T86" fmla="*/ 3073 w 4861"/>
                <a:gd name="T87" fmla="*/ 441 h 4932"/>
                <a:gd name="T88" fmla="*/ 3105 w 4861"/>
                <a:gd name="T89" fmla="*/ 223 h 4932"/>
                <a:gd name="T90" fmla="*/ 3245 w 4861"/>
                <a:gd name="T91" fmla="*/ 61 h 4932"/>
                <a:gd name="T92" fmla="*/ 3454 w 4861"/>
                <a:gd name="T93" fmla="*/ 0 h 4932"/>
                <a:gd name="T94" fmla="*/ 3663 w 4861"/>
                <a:gd name="T95" fmla="*/ 61 h 4932"/>
                <a:gd name="T96" fmla="*/ 3802 w 4861"/>
                <a:gd name="T97" fmla="*/ 223 h 4932"/>
                <a:gd name="T98" fmla="*/ 3833 w 4861"/>
                <a:gd name="T99" fmla="*/ 444 h 4932"/>
                <a:gd name="T100" fmla="*/ 3731 w 4861"/>
                <a:gd name="T101" fmla="*/ 649 h 4932"/>
                <a:gd name="T102" fmla="*/ 3534 w 4861"/>
                <a:gd name="T103" fmla="*/ 761 h 4932"/>
                <a:gd name="T104" fmla="*/ 3305 w 4861"/>
                <a:gd name="T105" fmla="*/ 1107 h 4932"/>
                <a:gd name="T106" fmla="*/ 4861 w 4861"/>
                <a:gd name="T107" fmla="*/ 1474 h 4932"/>
                <a:gd name="T108" fmla="*/ 1481 w 4861"/>
                <a:gd name="T109" fmla="*/ 1474 h 4932"/>
                <a:gd name="T110" fmla="*/ 1129 w 4861"/>
                <a:gd name="T111" fmla="*/ 768 h 4932"/>
                <a:gd name="T112" fmla="*/ 916 w 4861"/>
                <a:gd name="T113" fmla="*/ 687 h 4932"/>
                <a:gd name="T114" fmla="*/ 786 w 4861"/>
                <a:gd name="T115" fmla="*/ 502 h 4932"/>
                <a:gd name="T116" fmla="*/ 784 w 4861"/>
                <a:gd name="T117" fmla="*/ 274 h 4932"/>
                <a:gd name="T118" fmla="*/ 899 w 4861"/>
                <a:gd name="T119" fmla="*/ 94 h 4932"/>
                <a:gd name="T120" fmla="*/ 1095 w 4861"/>
                <a:gd name="T121" fmla="*/ 4 h 49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861" h="4932">
                  <a:moveTo>
                    <a:pt x="3902" y="3780"/>
                  </a:moveTo>
                  <a:lnTo>
                    <a:pt x="3863" y="3783"/>
                  </a:lnTo>
                  <a:lnTo>
                    <a:pt x="3827" y="3795"/>
                  </a:lnTo>
                  <a:lnTo>
                    <a:pt x="3794" y="3813"/>
                  </a:lnTo>
                  <a:lnTo>
                    <a:pt x="3766" y="3835"/>
                  </a:lnTo>
                  <a:lnTo>
                    <a:pt x="3742" y="3863"/>
                  </a:lnTo>
                  <a:lnTo>
                    <a:pt x="3724" y="3896"/>
                  </a:lnTo>
                  <a:lnTo>
                    <a:pt x="3714" y="3932"/>
                  </a:lnTo>
                  <a:lnTo>
                    <a:pt x="3709" y="3971"/>
                  </a:lnTo>
                  <a:lnTo>
                    <a:pt x="3714" y="4010"/>
                  </a:lnTo>
                  <a:lnTo>
                    <a:pt x="3724" y="4046"/>
                  </a:lnTo>
                  <a:lnTo>
                    <a:pt x="3742" y="4079"/>
                  </a:lnTo>
                  <a:lnTo>
                    <a:pt x="3766" y="4107"/>
                  </a:lnTo>
                  <a:lnTo>
                    <a:pt x="3794" y="4131"/>
                  </a:lnTo>
                  <a:lnTo>
                    <a:pt x="3827" y="4149"/>
                  </a:lnTo>
                  <a:lnTo>
                    <a:pt x="3863" y="4159"/>
                  </a:lnTo>
                  <a:lnTo>
                    <a:pt x="3902" y="4164"/>
                  </a:lnTo>
                  <a:lnTo>
                    <a:pt x="3940" y="4159"/>
                  </a:lnTo>
                  <a:lnTo>
                    <a:pt x="3976" y="4149"/>
                  </a:lnTo>
                  <a:lnTo>
                    <a:pt x="4009" y="4131"/>
                  </a:lnTo>
                  <a:lnTo>
                    <a:pt x="4037" y="4107"/>
                  </a:lnTo>
                  <a:lnTo>
                    <a:pt x="4060" y="4079"/>
                  </a:lnTo>
                  <a:lnTo>
                    <a:pt x="4078" y="4046"/>
                  </a:lnTo>
                  <a:lnTo>
                    <a:pt x="4090" y="4010"/>
                  </a:lnTo>
                  <a:lnTo>
                    <a:pt x="4093" y="3971"/>
                  </a:lnTo>
                  <a:lnTo>
                    <a:pt x="4090" y="3932"/>
                  </a:lnTo>
                  <a:lnTo>
                    <a:pt x="4078" y="3896"/>
                  </a:lnTo>
                  <a:lnTo>
                    <a:pt x="4060" y="3863"/>
                  </a:lnTo>
                  <a:lnTo>
                    <a:pt x="4037" y="3835"/>
                  </a:lnTo>
                  <a:lnTo>
                    <a:pt x="4009" y="3813"/>
                  </a:lnTo>
                  <a:lnTo>
                    <a:pt x="3976" y="3795"/>
                  </a:lnTo>
                  <a:lnTo>
                    <a:pt x="3940" y="3783"/>
                  </a:lnTo>
                  <a:lnTo>
                    <a:pt x="3902" y="3780"/>
                  </a:lnTo>
                  <a:close/>
                  <a:moveTo>
                    <a:pt x="3902" y="3010"/>
                  </a:moveTo>
                  <a:lnTo>
                    <a:pt x="3863" y="3014"/>
                  </a:lnTo>
                  <a:lnTo>
                    <a:pt x="3827" y="3025"/>
                  </a:lnTo>
                  <a:lnTo>
                    <a:pt x="3794" y="3043"/>
                  </a:lnTo>
                  <a:lnTo>
                    <a:pt x="3766" y="3067"/>
                  </a:lnTo>
                  <a:lnTo>
                    <a:pt x="3742" y="3095"/>
                  </a:lnTo>
                  <a:lnTo>
                    <a:pt x="3724" y="3128"/>
                  </a:lnTo>
                  <a:lnTo>
                    <a:pt x="3714" y="3164"/>
                  </a:lnTo>
                  <a:lnTo>
                    <a:pt x="3709" y="3203"/>
                  </a:lnTo>
                  <a:lnTo>
                    <a:pt x="3714" y="3242"/>
                  </a:lnTo>
                  <a:lnTo>
                    <a:pt x="3724" y="3278"/>
                  </a:lnTo>
                  <a:lnTo>
                    <a:pt x="3742" y="3310"/>
                  </a:lnTo>
                  <a:lnTo>
                    <a:pt x="3766" y="3339"/>
                  </a:lnTo>
                  <a:lnTo>
                    <a:pt x="3794" y="3361"/>
                  </a:lnTo>
                  <a:lnTo>
                    <a:pt x="3827" y="3379"/>
                  </a:lnTo>
                  <a:lnTo>
                    <a:pt x="3863" y="3391"/>
                  </a:lnTo>
                  <a:lnTo>
                    <a:pt x="3902" y="3394"/>
                  </a:lnTo>
                  <a:lnTo>
                    <a:pt x="3940" y="3391"/>
                  </a:lnTo>
                  <a:lnTo>
                    <a:pt x="3976" y="3379"/>
                  </a:lnTo>
                  <a:lnTo>
                    <a:pt x="4009" y="3361"/>
                  </a:lnTo>
                  <a:lnTo>
                    <a:pt x="4037" y="3339"/>
                  </a:lnTo>
                  <a:lnTo>
                    <a:pt x="4060" y="3310"/>
                  </a:lnTo>
                  <a:lnTo>
                    <a:pt x="4078" y="3278"/>
                  </a:lnTo>
                  <a:lnTo>
                    <a:pt x="4090" y="3242"/>
                  </a:lnTo>
                  <a:lnTo>
                    <a:pt x="4093" y="3203"/>
                  </a:lnTo>
                  <a:lnTo>
                    <a:pt x="4090" y="3164"/>
                  </a:lnTo>
                  <a:lnTo>
                    <a:pt x="4078" y="3128"/>
                  </a:lnTo>
                  <a:lnTo>
                    <a:pt x="4060" y="3095"/>
                  </a:lnTo>
                  <a:lnTo>
                    <a:pt x="4037" y="3067"/>
                  </a:lnTo>
                  <a:lnTo>
                    <a:pt x="4009" y="3043"/>
                  </a:lnTo>
                  <a:lnTo>
                    <a:pt x="3976" y="3025"/>
                  </a:lnTo>
                  <a:lnTo>
                    <a:pt x="3940" y="3014"/>
                  </a:lnTo>
                  <a:lnTo>
                    <a:pt x="3902" y="3010"/>
                  </a:lnTo>
                  <a:close/>
                  <a:moveTo>
                    <a:pt x="3902" y="2242"/>
                  </a:moveTo>
                  <a:lnTo>
                    <a:pt x="3863" y="2246"/>
                  </a:lnTo>
                  <a:lnTo>
                    <a:pt x="3827" y="2257"/>
                  </a:lnTo>
                  <a:lnTo>
                    <a:pt x="3794" y="2275"/>
                  </a:lnTo>
                  <a:lnTo>
                    <a:pt x="3766" y="2299"/>
                  </a:lnTo>
                  <a:lnTo>
                    <a:pt x="3742" y="2327"/>
                  </a:lnTo>
                  <a:lnTo>
                    <a:pt x="3724" y="2360"/>
                  </a:lnTo>
                  <a:lnTo>
                    <a:pt x="3714" y="2396"/>
                  </a:lnTo>
                  <a:lnTo>
                    <a:pt x="3709" y="2435"/>
                  </a:lnTo>
                  <a:lnTo>
                    <a:pt x="3714" y="2472"/>
                  </a:lnTo>
                  <a:lnTo>
                    <a:pt x="3724" y="2509"/>
                  </a:lnTo>
                  <a:lnTo>
                    <a:pt x="3742" y="2541"/>
                  </a:lnTo>
                  <a:lnTo>
                    <a:pt x="3766" y="2569"/>
                  </a:lnTo>
                  <a:lnTo>
                    <a:pt x="3794" y="2593"/>
                  </a:lnTo>
                  <a:lnTo>
                    <a:pt x="3827" y="2611"/>
                  </a:lnTo>
                  <a:lnTo>
                    <a:pt x="3863" y="2623"/>
                  </a:lnTo>
                  <a:lnTo>
                    <a:pt x="3902" y="2626"/>
                  </a:lnTo>
                  <a:lnTo>
                    <a:pt x="3940" y="2623"/>
                  </a:lnTo>
                  <a:lnTo>
                    <a:pt x="3976" y="2611"/>
                  </a:lnTo>
                  <a:lnTo>
                    <a:pt x="4009" y="2593"/>
                  </a:lnTo>
                  <a:lnTo>
                    <a:pt x="4037" y="2569"/>
                  </a:lnTo>
                  <a:lnTo>
                    <a:pt x="4060" y="2541"/>
                  </a:lnTo>
                  <a:lnTo>
                    <a:pt x="4078" y="2509"/>
                  </a:lnTo>
                  <a:lnTo>
                    <a:pt x="4090" y="2472"/>
                  </a:lnTo>
                  <a:lnTo>
                    <a:pt x="4093" y="2435"/>
                  </a:lnTo>
                  <a:lnTo>
                    <a:pt x="4090" y="2396"/>
                  </a:lnTo>
                  <a:lnTo>
                    <a:pt x="4078" y="2360"/>
                  </a:lnTo>
                  <a:lnTo>
                    <a:pt x="4060" y="2327"/>
                  </a:lnTo>
                  <a:lnTo>
                    <a:pt x="4037" y="2299"/>
                  </a:lnTo>
                  <a:lnTo>
                    <a:pt x="4009" y="2275"/>
                  </a:lnTo>
                  <a:lnTo>
                    <a:pt x="3976" y="2257"/>
                  </a:lnTo>
                  <a:lnTo>
                    <a:pt x="3940" y="2246"/>
                  </a:lnTo>
                  <a:lnTo>
                    <a:pt x="3902" y="2242"/>
                  </a:lnTo>
                  <a:close/>
                  <a:moveTo>
                    <a:pt x="768" y="2242"/>
                  </a:moveTo>
                  <a:lnTo>
                    <a:pt x="768" y="4164"/>
                  </a:lnTo>
                  <a:lnTo>
                    <a:pt x="3326" y="4164"/>
                  </a:lnTo>
                  <a:lnTo>
                    <a:pt x="3326" y="2242"/>
                  </a:lnTo>
                  <a:lnTo>
                    <a:pt x="768" y="2242"/>
                  </a:lnTo>
                  <a:close/>
                  <a:moveTo>
                    <a:pt x="1151" y="0"/>
                  </a:moveTo>
                  <a:lnTo>
                    <a:pt x="1208" y="4"/>
                  </a:lnTo>
                  <a:lnTo>
                    <a:pt x="1262" y="16"/>
                  </a:lnTo>
                  <a:lnTo>
                    <a:pt x="1313" y="36"/>
                  </a:lnTo>
                  <a:lnTo>
                    <a:pt x="1360" y="61"/>
                  </a:lnTo>
                  <a:lnTo>
                    <a:pt x="1404" y="94"/>
                  </a:lnTo>
                  <a:lnTo>
                    <a:pt x="1441" y="132"/>
                  </a:lnTo>
                  <a:lnTo>
                    <a:pt x="1474" y="175"/>
                  </a:lnTo>
                  <a:lnTo>
                    <a:pt x="1499" y="223"/>
                  </a:lnTo>
                  <a:lnTo>
                    <a:pt x="1519" y="274"/>
                  </a:lnTo>
                  <a:lnTo>
                    <a:pt x="1530" y="327"/>
                  </a:lnTo>
                  <a:lnTo>
                    <a:pt x="1535" y="384"/>
                  </a:lnTo>
                  <a:lnTo>
                    <a:pt x="1530" y="441"/>
                  </a:lnTo>
                  <a:lnTo>
                    <a:pt x="1519" y="496"/>
                  </a:lnTo>
                  <a:lnTo>
                    <a:pt x="1499" y="547"/>
                  </a:lnTo>
                  <a:lnTo>
                    <a:pt x="1472" y="595"/>
                  </a:lnTo>
                  <a:lnTo>
                    <a:pt x="1474" y="598"/>
                  </a:lnTo>
                  <a:lnTo>
                    <a:pt x="1480" y="610"/>
                  </a:lnTo>
                  <a:lnTo>
                    <a:pt x="1489" y="626"/>
                  </a:lnTo>
                  <a:lnTo>
                    <a:pt x="1501" y="650"/>
                  </a:lnTo>
                  <a:lnTo>
                    <a:pt x="1516" y="679"/>
                  </a:lnTo>
                  <a:lnTo>
                    <a:pt x="1532" y="713"/>
                  </a:lnTo>
                  <a:lnTo>
                    <a:pt x="1551" y="750"/>
                  </a:lnTo>
                  <a:lnTo>
                    <a:pt x="1572" y="792"/>
                  </a:lnTo>
                  <a:lnTo>
                    <a:pt x="1593" y="837"/>
                  </a:lnTo>
                  <a:lnTo>
                    <a:pt x="1617" y="883"/>
                  </a:lnTo>
                  <a:lnTo>
                    <a:pt x="1641" y="933"/>
                  </a:lnTo>
                  <a:lnTo>
                    <a:pt x="1666" y="982"/>
                  </a:lnTo>
                  <a:lnTo>
                    <a:pt x="1692" y="1033"/>
                  </a:lnTo>
                  <a:lnTo>
                    <a:pt x="1717" y="1084"/>
                  </a:lnTo>
                  <a:lnTo>
                    <a:pt x="1741" y="1134"/>
                  </a:lnTo>
                  <a:lnTo>
                    <a:pt x="1765" y="1182"/>
                  </a:lnTo>
                  <a:lnTo>
                    <a:pt x="1789" y="1230"/>
                  </a:lnTo>
                  <a:lnTo>
                    <a:pt x="1811" y="1275"/>
                  </a:lnTo>
                  <a:lnTo>
                    <a:pt x="1832" y="1317"/>
                  </a:lnTo>
                  <a:lnTo>
                    <a:pt x="1850" y="1354"/>
                  </a:lnTo>
                  <a:lnTo>
                    <a:pt x="1866" y="1388"/>
                  </a:lnTo>
                  <a:lnTo>
                    <a:pt x="1881" y="1417"/>
                  </a:lnTo>
                  <a:lnTo>
                    <a:pt x="1893" y="1441"/>
                  </a:lnTo>
                  <a:lnTo>
                    <a:pt x="1902" y="1459"/>
                  </a:lnTo>
                  <a:lnTo>
                    <a:pt x="1907" y="1469"/>
                  </a:lnTo>
                  <a:lnTo>
                    <a:pt x="1909" y="1474"/>
                  </a:lnTo>
                  <a:lnTo>
                    <a:pt x="2693" y="1474"/>
                  </a:lnTo>
                  <a:lnTo>
                    <a:pt x="2694" y="1469"/>
                  </a:lnTo>
                  <a:lnTo>
                    <a:pt x="2700" y="1459"/>
                  </a:lnTo>
                  <a:lnTo>
                    <a:pt x="2709" y="1441"/>
                  </a:lnTo>
                  <a:lnTo>
                    <a:pt x="2721" y="1417"/>
                  </a:lnTo>
                  <a:lnTo>
                    <a:pt x="2736" y="1388"/>
                  </a:lnTo>
                  <a:lnTo>
                    <a:pt x="2753" y="1354"/>
                  </a:lnTo>
                  <a:lnTo>
                    <a:pt x="2772" y="1317"/>
                  </a:lnTo>
                  <a:lnTo>
                    <a:pt x="2793" y="1275"/>
                  </a:lnTo>
                  <a:lnTo>
                    <a:pt x="2815" y="1230"/>
                  </a:lnTo>
                  <a:lnTo>
                    <a:pt x="2839" y="1182"/>
                  </a:lnTo>
                  <a:lnTo>
                    <a:pt x="2863" y="1134"/>
                  </a:lnTo>
                  <a:lnTo>
                    <a:pt x="2888" y="1084"/>
                  </a:lnTo>
                  <a:lnTo>
                    <a:pt x="2914" y="1033"/>
                  </a:lnTo>
                  <a:lnTo>
                    <a:pt x="2939" y="982"/>
                  </a:lnTo>
                  <a:lnTo>
                    <a:pt x="2963" y="933"/>
                  </a:lnTo>
                  <a:lnTo>
                    <a:pt x="2988" y="883"/>
                  </a:lnTo>
                  <a:lnTo>
                    <a:pt x="3012" y="837"/>
                  </a:lnTo>
                  <a:lnTo>
                    <a:pt x="3033" y="792"/>
                  </a:lnTo>
                  <a:lnTo>
                    <a:pt x="3054" y="750"/>
                  </a:lnTo>
                  <a:lnTo>
                    <a:pt x="3073" y="713"/>
                  </a:lnTo>
                  <a:lnTo>
                    <a:pt x="3090" y="679"/>
                  </a:lnTo>
                  <a:lnTo>
                    <a:pt x="3105" y="650"/>
                  </a:lnTo>
                  <a:lnTo>
                    <a:pt x="3117" y="626"/>
                  </a:lnTo>
                  <a:lnTo>
                    <a:pt x="3126" y="610"/>
                  </a:lnTo>
                  <a:lnTo>
                    <a:pt x="3130" y="598"/>
                  </a:lnTo>
                  <a:lnTo>
                    <a:pt x="3133" y="595"/>
                  </a:lnTo>
                  <a:lnTo>
                    <a:pt x="3106" y="547"/>
                  </a:lnTo>
                  <a:lnTo>
                    <a:pt x="3087" y="496"/>
                  </a:lnTo>
                  <a:lnTo>
                    <a:pt x="3073" y="441"/>
                  </a:lnTo>
                  <a:lnTo>
                    <a:pt x="3070" y="384"/>
                  </a:lnTo>
                  <a:lnTo>
                    <a:pt x="3073" y="327"/>
                  </a:lnTo>
                  <a:lnTo>
                    <a:pt x="3085" y="274"/>
                  </a:lnTo>
                  <a:lnTo>
                    <a:pt x="3105" y="223"/>
                  </a:lnTo>
                  <a:lnTo>
                    <a:pt x="3132" y="175"/>
                  </a:lnTo>
                  <a:lnTo>
                    <a:pt x="3164" y="132"/>
                  </a:lnTo>
                  <a:lnTo>
                    <a:pt x="3202" y="94"/>
                  </a:lnTo>
                  <a:lnTo>
                    <a:pt x="3245" y="61"/>
                  </a:lnTo>
                  <a:lnTo>
                    <a:pt x="3291" y="36"/>
                  </a:lnTo>
                  <a:lnTo>
                    <a:pt x="3342" y="16"/>
                  </a:lnTo>
                  <a:lnTo>
                    <a:pt x="3397" y="4"/>
                  </a:lnTo>
                  <a:lnTo>
                    <a:pt x="3454" y="0"/>
                  </a:lnTo>
                  <a:lnTo>
                    <a:pt x="3511" y="4"/>
                  </a:lnTo>
                  <a:lnTo>
                    <a:pt x="3564" y="16"/>
                  </a:lnTo>
                  <a:lnTo>
                    <a:pt x="3615" y="36"/>
                  </a:lnTo>
                  <a:lnTo>
                    <a:pt x="3663" y="61"/>
                  </a:lnTo>
                  <a:lnTo>
                    <a:pt x="3705" y="94"/>
                  </a:lnTo>
                  <a:lnTo>
                    <a:pt x="3743" y="132"/>
                  </a:lnTo>
                  <a:lnTo>
                    <a:pt x="3775" y="175"/>
                  </a:lnTo>
                  <a:lnTo>
                    <a:pt x="3802" y="223"/>
                  </a:lnTo>
                  <a:lnTo>
                    <a:pt x="3821" y="274"/>
                  </a:lnTo>
                  <a:lnTo>
                    <a:pt x="3833" y="327"/>
                  </a:lnTo>
                  <a:lnTo>
                    <a:pt x="3837" y="384"/>
                  </a:lnTo>
                  <a:lnTo>
                    <a:pt x="3833" y="444"/>
                  </a:lnTo>
                  <a:lnTo>
                    <a:pt x="3819" y="502"/>
                  </a:lnTo>
                  <a:lnTo>
                    <a:pt x="3797" y="556"/>
                  </a:lnTo>
                  <a:lnTo>
                    <a:pt x="3767" y="605"/>
                  </a:lnTo>
                  <a:lnTo>
                    <a:pt x="3731" y="649"/>
                  </a:lnTo>
                  <a:lnTo>
                    <a:pt x="3690" y="687"/>
                  </a:lnTo>
                  <a:lnTo>
                    <a:pt x="3642" y="719"/>
                  </a:lnTo>
                  <a:lnTo>
                    <a:pt x="3590" y="743"/>
                  </a:lnTo>
                  <a:lnTo>
                    <a:pt x="3534" y="761"/>
                  </a:lnTo>
                  <a:lnTo>
                    <a:pt x="3475" y="768"/>
                  </a:lnTo>
                  <a:lnTo>
                    <a:pt x="3420" y="877"/>
                  </a:lnTo>
                  <a:lnTo>
                    <a:pt x="3363" y="991"/>
                  </a:lnTo>
                  <a:lnTo>
                    <a:pt x="3305" y="1107"/>
                  </a:lnTo>
                  <a:lnTo>
                    <a:pt x="3245" y="1229"/>
                  </a:lnTo>
                  <a:lnTo>
                    <a:pt x="3184" y="1350"/>
                  </a:lnTo>
                  <a:lnTo>
                    <a:pt x="3123" y="1474"/>
                  </a:lnTo>
                  <a:lnTo>
                    <a:pt x="4861" y="1474"/>
                  </a:lnTo>
                  <a:lnTo>
                    <a:pt x="4861" y="4932"/>
                  </a:lnTo>
                  <a:lnTo>
                    <a:pt x="0" y="4932"/>
                  </a:lnTo>
                  <a:lnTo>
                    <a:pt x="0" y="1474"/>
                  </a:lnTo>
                  <a:lnTo>
                    <a:pt x="1481" y="1474"/>
                  </a:lnTo>
                  <a:lnTo>
                    <a:pt x="1392" y="1294"/>
                  </a:lnTo>
                  <a:lnTo>
                    <a:pt x="1304" y="1116"/>
                  </a:lnTo>
                  <a:lnTo>
                    <a:pt x="1216" y="940"/>
                  </a:lnTo>
                  <a:lnTo>
                    <a:pt x="1129" y="768"/>
                  </a:lnTo>
                  <a:lnTo>
                    <a:pt x="1071" y="761"/>
                  </a:lnTo>
                  <a:lnTo>
                    <a:pt x="1014" y="743"/>
                  </a:lnTo>
                  <a:lnTo>
                    <a:pt x="962" y="719"/>
                  </a:lnTo>
                  <a:lnTo>
                    <a:pt x="916" y="687"/>
                  </a:lnTo>
                  <a:lnTo>
                    <a:pt x="872" y="649"/>
                  </a:lnTo>
                  <a:lnTo>
                    <a:pt x="837" y="605"/>
                  </a:lnTo>
                  <a:lnTo>
                    <a:pt x="808" y="556"/>
                  </a:lnTo>
                  <a:lnTo>
                    <a:pt x="786" y="502"/>
                  </a:lnTo>
                  <a:lnTo>
                    <a:pt x="772" y="444"/>
                  </a:lnTo>
                  <a:lnTo>
                    <a:pt x="768" y="384"/>
                  </a:lnTo>
                  <a:lnTo>
                    <a:pt x="772" y="327"/>
                  </a:lnTo>
                  <a:lnTo>
                    <a:pt x="784" y="274"/>
                  </a:lnTo>
                  <a:lnTo>
                    <a:pt x="804" y="223"/>
                  </a:lnTo>
                  <a:lnTo>
                    <a:pt x="829" y="175"/>
                  </a:lnTo>
                  <a:lnTo>
                    <a:pt x="862" y="132"/>
                  </a:lnTo>
                  <a:lnTo>
                    <a:pt x="899" y="94"/>
                  </a:lnTo>
                  <a:lnTo>
                    <a:pt x="943" y="61"/>
                  </a:lnTo>
                  <a:lnTo>
                    <a:pt x="989" y="36"/>
                  </a:lnTo>
                  <a:lnTo>
                    <a:pt x="1041" y="16"/>
                  </a:lnTo>
                  <a:lnTo>
                    <a:pt x="1095" y="4"/>
                  </a:lnTo>
                  <a:lnTo>
                    <a:pt x="1151" y="0"/>
                  </a:lnTo>
                  <a:close/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9" name="Freeform 53"/>
            <p:cNvSpPr>
              <a:spLocks/>
            </p:cNvSpPr>
            <p:nvPr/>
          </p:nvSpPr>
          <p:spPr bwMode="auto">
            <a:xfrm>
              <a:off x="10039755" y="1438539"/>
              <a:ext cx="88501" cy="106303"/>
            </a:xfrm>
            <a:custGeom>
              <a:avLst/>
              <a:gdLst>
                <a:gd name="T0" fmla="*/ 0 w 1045"/>
                <a:gd name="T1" fmla="*/ 0 h 1256"/>
                <a:gd name="T2" fmla="*/ 1045 w 1045"/>
                <a:gd name="T3" fmla="*/ 628 h 1256"/>
                <a:gd name="T4" fmla="*/ 0 w 1045"/>
                <a:gd name="T5" fmla="*/ 1256 h 1256"/>
                <a:gd name="T6" fmla="*/ 0 w 1045"/>
                <a:gd name="T7" fmla="*/ 0 h 1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5" h="1256">
                  <a:moveTo>
                    <a:pt x="0" y="0"/>
                  </a:moveTo>
                  <a:lnTo>
                    <a:pt x="1045" y="628"/>
                  </a:lnTo>
                  <a:lnTo>
                    <a:pt x="0" y="12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9840808" y="1217258"/>
              <a:ext cx="509452" cy="1282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EDB92B0-60A0-48D3-94BB-15DD96137DDC}"/>
              </a:ext>
            </a:extLst>
          </p:cNvPr>
          <p:cNvGrpSpPr/>
          <p:nvPr/>
        </p:nvGrpSpPr>
        <p:grpSpPr>
          <a:xfrm>
            <a:off x="10883505" y="3621500"/>
            <a:ext cx="737540" cy="736111"/>
            <a:chOff x="10379341" y="3469824"/>
            <a:chExt cx="737540" cy="736111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CCBDA85B-CC5E-475C-90B6-E03FF1B5CF56}"/>
                </a:ext>
              </a:extLst>
            </p:cNvPr>
            <p:cNvSpPr/>
            <p:nvPr/>
          </p:nvSpPr>
          <p:spPr>
            <a:xfrm>
              <a:off x="10401450" y="3492467"/>
              <a:ext cx="694703" cy="6947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4" name="Freeform 23"/>
            <p:cNvSpPr>
              <a:spLocks noEditPoints="1"/>
            </p:cNvSpPr>
            <p:nvPr/>
          </p:nvSpPr>
          <p:spPr bwMode="auto">
            <a:xfrm>
              <a:off x="10379341" y="3469824"/>
              <a:ext cx="737540" cy="736111"/>
            </a:xfrm>
            <a:custGeom>
              <a:avLst/>
              <a:gdLst>
                <a:gd name="T0" fmla="*/ 1483 w 3610"/>
                <a:gd name="T1" fmla="*/ 373 h 3605"/>
                <a:gd name="T2" fmla="*/ 1725 w 3610"/>
                <a:gd name="T3" fmla="*/ 333 h 3605"/>
                <a:gd name="T4" fmla="*/ 1437 w 3610"/>
                <a:gd name="T5" fmla="*/ 606 h 3605"/>
                <a:gd name="T6" fmla="*/ 1450 w 3610"/>
                <a:gd name="T7" fmla="*/ 746 h 3605"/>
                <a:gd name="T8" fmla="*/ 1672 w 3610"/>
                <a:gd name="T9" fmla="*/ 685 h 3605"/>
                <a:gd name="T10" fmla="*/ 1915 w 3610"/>
                <a:gd name="T11" fmla="*/ 672 h 3605"/>
                <a:gd name="T12" fmla="*/ 2135 w 3610"/>
                <a:gd name="T13" fmla="*/ 773 h 3605"/>
                <a:gd name="T14" fmla="*/ 1926 w 3610"/>
                <a:gd name="T15" fmla="*/ 926 h 3605"/>
                <a:gd name="T16" fmla="*/ 1933 w 3610"/>
                <a:gd name="T17" fmla="*/ 974 h 3605"/>
                <a:gd name="T18" fmla="*/ 1885 w 3610"/>
                <a:gd name="T19" fmla="*/ 1053 h 3605"/>
                <a:gd name="T20" fmla="*/ 1862 w 3610"/>
                <a:gd name="T21" fmla="*/ 1166 h 3605"/>
                <a:gd name="T22" fmla="*/ 1755 w 3610"/>
                <a:gd name="T23" fmla="*/ 1561 h 3605"/>
                <a:gd name="T24" fmla="*/ 1753 w 3610"/>
                <a:gd name="T25" fmla="*/ 1759 h 3605"/>
                <a:gd name="T26" fmla="*/ 1368 w 3610"/>
                <a:gd name="T27" fmla="*/ 1363 h 3605"/>
                <a:gd name="T28" fmla="*/ 977 w 3610"/>
                <a:gd name="T29" fmla="*/ 1494 h 3605"/>
                <a:gd name="T30" fmla="*/ 1309 w 3610"/>
                <a:gd name="T31" fmla="*/ 1695 h 3605"/>
                <a:gd name="T32" fmla="*/ 1039 w 3610"/>
                <a:gd name="T33" fmla="*/ 1817 h 3605"/>
                <a:gd name="T34" fmla="*/ 1221 w 3610"/>
                <a:gd name="T35" fmla="*/ 1973 h 3605"/>
                <a:gd name="T36" fmla="*/ 1490 w 3610"/>
                <a:gd name="T37" fmla="*/ 1910 h 3605"/>
                <a:gd name="T38" fmla="*/ 1805 w 3610"/>
                <a:gd name="T39" fmla="*/ 1970 h 3605"/>
                <a:gd name="T40" fmla="*/ 2042 w 3610"/>
                <a:gd name="T41" fmla="*/ 2111 h 3605"/>
                <a:gd name="T42" fmla="*/ 1875 w 3610"/>
                <a:gd name="T43" fmla="*/ 2450 h 3605"/>
                <a:gd name="T44" fmla="*/ 1629 w 3610"/>
                <a:gd name="T45" fmla="*/ 2848 h 3605"/>
                <a:gd name="T46" fmla="*/ 1519 w 3610"/>
                <a:gd name="T47" fmla="*/ 3177 h 3605"/>
                <a:gd name="T48" fmla="*/ 1394 w 3610"/>
                <a:gd name="T49" fmla="*/ 3285 h 3605"/>
                <a:gd name="T50" fmla="*/ 1339 w 3610"/>
                <a:gd name="T51" fmla="*/ 3065 h 3605"/>
                <a:gd name="T52" fmla="*/ 1288 w 3610"/>
                <a:gd name="T53" fmla="*/ 2670 h 3605"/>
                <a:gd name="T54" fmla="*/ 1127 w 3610"/>
                <a:gd name="T55" fmla="*/ 2214 h 3605"/>
                <a:gd name="T56" fmla="*/ 1089 w 3610"/>
                <a:gd name="T57" fmla="*/ 2085 h 3605"/>
                <a:gd name="T58" fmla="*/ 948 w 3610"/>
                <a:gd name="T59" fmla="*/ 1789 h 3605"/>
                <a:gd name="T60" fmla="*/ 753 w 3610"/>
                <a:gd name="T61" fmla="*/ 1497 h 3605"/>
                <a:gd name="T62" fmla="*/ 675 w 3610"/>
                <a:gd name="T63" fmla="*/ 1695 h 3605"/>
                <a:gd name="T64" fmla="*/ 625 w 3610"/>
                <a:gd name="T65" fmla="*/ 1357 h 3605"/>
                <a:gd name="T66" fmla="*/ 338 w 3610"/>
                <a:gd name="T67" fmla="*/ 1362 h 3605"/>
                <a:gd name="T68" fmla="*/ 442 w 3610"/>
                <a:gd name="T69" fmla="*/ 2528 h 3605"/>
                <a:gd name="T70" fmla="*/ 1360 w 3610"/>
                <a:gd name="T71" fmla="*/ 3298 h 3605"/>
                <a:gd name="T72" fmla="*/ 2550 w 3610"/>
                <a:gd name="T73" fmla="*/ 3187 h 3605"/>
                <a:gd name="T74" fmla="*/ 2532 w 3610"/>
                <a:gd name="T75" fmla="*/ 2942 h 3605"/>
                <a:gd name="T76" fmla="*/ 2516 w 3610"/>
                <a:gd name="T77" fmla="*/ 2332 h 3605"/>
                <a:gd name="T78" fmla="*/ 2616 w 3610"/>
                <a:gd name="T79" fmla="*/ 2218 h 3605"/>
                <a:gd name="T80" fmla="*/ 2833 w 3610"/>
                <a:gd name="T81" fmla="*/ 2385 h 3605"/>
                <a:gd name="T82" fmla="*/ 2959 w 3610"/>
                <a:gd name="T83" fmla="*/ 2265 h 3605"/>
                <a:gd name="T84" fmla="*/ 3087 w 3610"/>
                <a:gd name="T85" fmla="*/ 2218 h 3605"/>
                <a:gd name="T86" fmla="*/ 3330 w 3610"/>
                <a:gd name="T87" fmla="*/ 1955 h 3605"/>
                <a:gd name="T88" fmla="*/ 3111 w 3610"/>
                <a:gd name="T89" fmla="*/ 1611 h 3605"/>
                <a:gd name="T90" fmla="*/ 2934 w 3610"/>
                <a:gd name="T91" fmla="*/ 1428 h 3605"/>
                <a:gd name="T92" fmla="*/ 3030 w 3610"/>
                <a:gd name="T93" fmla="*/ 997 h 3605"/>
                <a:gd name="T94" fmla="*/ 2877 w 3610"/>
                <a:gd name="T95" fmla="*/ 766 h 3605"/>
                <a:gd name="T96" fmla="*/ 2697 w 3610"/>
                <a:gd name="T97" fmla="*/ 798 h 3605"/>
                <a:gd name="T98" fmla="*/ 2574 w 3610"/>
                <a:gd name="T99" fmla="*/ 690 h 3605"/>
                <a:gd name="T100" fmla="*/ 2397 w 3610"/>
                <a:gd name="T101" fmla="*/ 581 h 3605"/>
                <a:gd name="T102" fmla="*/ 2235 w 3610"/>
                <a:gd name="T103" fmla="*/ 320 h 3605"/>
                <a:gd name="T104" fmla="*/ 1986 w 3610"/>
                <a:gd name="T105" fmla="*/ 413 h 3605"/>
                <a:gd name="T106" fmla="*/ 1810 w 3610"/>
                <a:gd name="T107" fmla="*/ 0 h 3605"/>
                <a:gd name="T108" fmla="*/ 2922 w 3610"/>
                <a:gd name="T109" fmla="*/ 389 h 3605"/>
                <a:gd name="T110" fmla="*/ 3583 w 3610"/>
                <a:gd name="T111" fmla="*/ 1480 h 3605"/>
                <a:gd name="T112" fmla="*/ 3330 w 3610"/>
                <a:gd name="T113" fmla="*/ 2772 h 3605"/>
                <a:gd name="T114" fmla="*/ 2288 w 3610"/>
                <a:gd name="T115" fmla="*/ 3542 h 3605"/>
                <a:gd name="T116" fmla="*/ 943 w 3610"/>
                <a:gd name="T117" fmla="*/ 3389 h 3605"/>
                <a:gd name="T118" fmla="*/ 98 w 3610"/>
                <a:gd name="T119" fmla="*/ 2389 h 3605"/>
                <a:gd name="T120" fmla="*/ 160 w 3610"/>
                <a:gd name="T121" fmla="*/ 1068 h 3605"/>
                <a:gd name="T122" fmla="*/ 1104 w 3610"/>
                <a:gd name="T123" fmla="*/ 146 h 3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10" h="3605">
                  <a:moveTo>
                    <a:pt x="1729" y="273"/>
                  </a:moveTo>
                  <a:lnTo>
                    <a:pt x="1610" y="288"/>
                  </a:lnTo>
                  <a:lnTo>
                    <a:pt x="1492" y="304"/>
                  </a:lnTo>
                  <a:lnTo>
                    <a:pt x="1484" y="307"/>
                  </a:lnTo>
                  <a:lnTo>
                    <a:pt x="1477" y="311"/>
                  </a:lnTo>
                  <a:lnTo>
                    <a:pt x="1469" y="318"/>
                  </a:lnTo>
                  <a:lnTo>
                    <a:pt x="1465" y="325"/>
                  </a:lnTo>
                  <a:lnTo>
                    <a:pt x="1463" y="330"/>
                  </a:lnTo>
                  <a:lnTo>
                    <a:pt x="1464" y="340"/>
                  </a:lnTo>
                  <a:lnTo>
                    <a:pt x="1467" y="351"/>
                  </a:lnTo>
                  <a:lnTo>
                    <a:pt x="1472" y="361"/>
                  </a:lnTo>
                  <a:lnTo>
                    <a:pt x="1477" y="369"/>
                  </a:lnTo>
                  <a:lnTo>
                    <a:pt x="1483" y="373"/>
                  </a:lnTo>
                  <a:lnTo>
                    <a:pt x="1502" y="375"/>
                  </a:lnTo>
                  <a:lnTo>
                    <a:pt x="1523" y="375"/>
                  </a:lnTo>
                  <a:lnTo>
                    <a:pt x="1543" y="373"/>
                  </a:lnTo>
                  <a:lnTo>
                    <a:pt x="1562" y="368"/>
                  </a:lnTo>
                  <a:lnTo>
                    <a:pt x="1585" y="357"/>
                  </a:lnTo>
                  <a:lnTo>
                    <a:pt x="1608" y="342"/>
                  </a:lnTo>
                  <a:lnTo>
                    <a:pt x="1630" y="328"/>
                  </a:lnTo>
                  <a:lnTo>
                    <a:pt x="1654" y="316"/>
                  </a:lnTo>
                  <a:lnTo>
                    <a:pt x="1672" y="309"/>
                  </a:lnTo>
                  <a:lnTo>
                    <a:pt x="1689" y="307"/>
                  </a:lnTo>
                  <a:lnTo>
                    <a:pt x="1703" y="311"/>
                  </a:lnTo>
                  <a:lnTo>
                    <a:pt x="1715" y="320"/>
                  </a:lnTo>
                  <a:lnTo>
                    <a:pt x="1725" y="333"/>
                  </a:lnTo>
                  <a:lnTo>
                    <a:pt x="1731" y="351"/>
                  </a:lnTo>
                  <a:lnTo>
                    <a:pt x="1735" y="375"/>
                  </a:lnTo>
                  <a:lnTo>
                    <a:pt x="1734" y="397"/>
                  </a:lnTo>
                  <a:lnTo>
                    <a:pt x="1728" y="419"/>
                  </a:lnTo>
                  <a:lnTo>
                    <a:pt x="1719" y="437"/>
                  </a:lnTo>
                  <a:lnTo>
                    <a:pt x="1704" y="453"/>
                  </a:lnTo>
                  <a:lnTo>
                    <a:pt x="1686" y="467"/>
                  </a:lnTo>
                  <a:lnTo>
                    <a:pt x="1645" y="491"/>
                  </a:lnTo>
                  <a:lnTo>
                    <a:pt x="1602" y="515"/>
                  </a:lnTo>
                  <a:lnTo>
                    <a:pt x="1558" y="537"/>
                  </a:lnTo>
                  <a:lnTo>
                    <a:pt x="1516" y="560"/>
                  </a:lnTo>
                  <a:lnTo>
                    <a:pt x="1476" y="582"/>
                  </a:lnTo>
                  <a:lnTo>
                    <a:pt x="1437" y="606"/>
                  </a:lnTo>
                  <a:lnTo>
                    <a:pt x="1400" y="631"/>
                  </a:lnTo>
                  <a:lnTo>
                    <a:pt x="1386" y="645"/>
                  </a:lnTo>
                  <a:lnTo>
                    <a:pt x="1376" y="658"/>
                  </a:lnTo>
                  <a:lnTo>
                    <a:pt x="1368" y="674"/>
                  </a:lnTo>
                  <a:lnTo>
                    <a:pt x="1365" y="691"/>
                  </a:lnTo>
                  <a:lnTo>
                    <a:pt x="1367" y="709"/>
                  </a:lnTo>
                  <a:lnTo>
                    <a:pt x="1375" y="727"/>
                  </a:lnTo>
                  <a:lnTo>
                    <a:pt x="1384" y="738"/>
                  </a:lnTo>
                  <a:lnTo>
                    <a:pt x="1396" y="746"/>
                  </a:lnTo>
                  <a:lnTo>
                    <a:pt x="1409" y="749"/>
                  </a:lnTo>
                  <a:lnTo>
                    <a:pt x="1422" y="750"/>
                  </a:lnTo>
                  <a:lnTo>
                    <a:pt x="1436" y="749"/>
                  </a:lnTo>
                  <a:lnTo>
                    <a:pt x="1450" y="746"/>
                  </a:lnTo>
                  <a:lnTo>
                    <a:pt x="1464" y="741"/>
                  </a:lnTo>
                  <a:lnTo>
                    <a:pt x="1494" y="728"/>
                  </a:lnTo>
                  <a:lnTo>
                    <a:pt x="1525" y="713"/>
                  </a:lnTo>
                  <a:lnTo>
                    <a:pt x="1554" y="697"/>
                  </a:lnTo>
                  <a:lnTo>
                    <a:pt x="1572" y="685"/>
                  </a:lnTo>
                  <a:lnTo>
                    <a:pt x="1588" y="673"/>
                  </a:lnTo>
                  <a:lnTo>
                    <a:pt x="1604" y="661"/>
                  </a:lnTo>
                  <a:lnTo>
                    <a:pt x="1621" y="653"/>
                  </a:lnTo>
                  <a:lnTo>
                    <a:pt x="1635" y="649"/>
                  </a:lnTo>
                  <a:lnTo>
                    <a:pt x="1646" y="650"/>
                  </a:lnTo>
                  <a:lnTo>
                    <a:pt x="1656" y="657"/>
                  </a:lnTo>
                  <a:lnTo>
                    <a:pt x="1664" y="668"/>
                  </a:lnTo>
                  <a:lnTo>
                    <a:pt x="1672" y="685"/>
                  </a:lnTo>
                  <a:lnTo>
                    <a:pt x="1682" y="709"/>
                  </a:lnTo>
                  <a:lnTo>
                    <a:pt x="1695" y="728"/>
                  </a:lnTo>
                  <a:lnTo>
                    <a:pt x="1711" y="739"/>
                  </a:lnTo>
                  <a:lnTo>
                    <a:pt x="1729" y="746"/>
                  </a:lnTo>
                  <a:lnTo>
                    <a:pt x="1748" y="746"/>
                  </a:lnTo>
                  <a:lnTo>
                    <a:pt x="1771" y="739"/>
                  </a:lnTo>
                  <a:lnTo>
                    <a:pt x="1794" y="727"/>
                  </a:lnTo>
                  <a:lnTo>
                    <a:pt x="1818" y="710"/>
                  </a:lnTo>
                  <a:lnTo>
                    <a:pt x="1843" y="692"/>
                  </a:lnTo>
                  <a:lnTo>
                    <a:pt x="1867" y="676"/>
                  </a:lnTo>
                  <a:lnTo>
                    <a:pt x="1883" y="669"/>
                  </a:lnTo>
                  <a:lnTo>
                    <a:pt x="1900" y="668"/>
                  </a:lnTo>
                  <a:lnTo>
                    <a:pt x="1915" y="672"/>
                  </a:lnTo>
                  <a:lnTo>
                    <a:pt x="1928" y="678"/>
                  </a:lnTo>
                  <a:lnTo>
                    <a:pt x="1938" y="689"/>
                  </a:lnTo>
                  <a:lnTo>
                    <a:pt x="1946" y="702"/>
                  </a:lnTo>
                  <a:lnTo>
                    <a:pt x="1950" y="718"/>
                  </a:lnTo>
                  <a:lnTo>
                    <a:pt x="1953" y="740"/>
                  </a:lnTo>
                  <a:lnTo>
                    <a:pt x="1957" y="757"/>
                  </a:lnTo>
                  <a:lnTo>
                    <a:pt x="1964" y="769"/>
                  </a:lnTo>
                  <a:lnTo>
                    <a:pt x="1974" y="777"/>
                  </a:lnTo>
                  <a:lnTo>
                    <a:pt x="1988" y="781"/>
                  </a:lnTo>
                  <a:lnTo>
                    <a:pt x="2005" y="783"/>
                  </a:lnTo>
                  <a:lnTo>
                    <a:pt x="2027" y="780"/>
                  </a:lnTo>
                  <a:lnTo>
                    <a:pt x="2131" y="767"/>
                  </a:lnTo>
                  <a:lnTo>
                    <a:pt x="2135" y="773"/>
                  </a:lnTo>
                  <a:lnTo>
                    <a:pt x="2140" y="777"/>
                  </a:lnTo>
                  <a:lnTo>
                    <a:pt x="2133" y="792"/>
                  </a:lnTo>
                  <a:lnTo>
                    <a:pt x="2126" y="806"/>
                  </a:lnTo>
                  <a:lnTo>
                    <a:pt x="2119" y="820"/>
                  </a:lnTo>
                  <a:lnTo>
                    <a:pt x="2111" y="833"/>
                  </a:lnTo>
                  <a:lnTo>
                    <a:pt x="2102" y="843"/>
                  </a:lnTo>
                  <a:lnTo>
                    <a:pt x="2072" y="863"/>
                  </a:lnTo>
                  <a:lnTo>
                    <a:pt x="2039" y="881"/>
                  </a:lnTo>
                  <a:lnTo>
                    <a:pt x="2006" y="896"/>
                  </a:lnTo>
                  <a:lnTo>
                    <a:pt x="1982" y="906"/>
                  </a:lnTo>
                  <a:lnTo>
                    <a:pt x="1961" y="914"/>
                  </a:lnTo>
                  <a:lnTo>
                    <a:pt x="1942" y="920"/>
                  </a:lnTo>
                  <a:lnTo>
                    <a:pt x="1926" y="926"/>
                  </a:lnTo>
                  <a:lnTo>
                    <a:pt x="1916" y="929"/>
                  </a:lnTo>
                  <a:lnTo>
                    <a:pt x="1911" y="932"/>
                  </a:lnTo>
                  <a:lnTo>
                    <a:pt x="1914" y="933"/>
                  </a:lnTo>
                  <a:lnTo>
                    <a:pt x="1918" y="935"/>
                  </a:lnTo>
                  <a:lnTo>
                    <a:pt x="1926" y="938"/>
                  </a:lnTo>
                  <a:lnTo>
                    <a:pt x="1934" y="943"/>
                  </a:lnTo>
                  <a:lnTo>
                    <a:pt x="1942" y="947"/>
                  </a:lnTo>
                  <a:lnTo>
                    <a:pt x="1948" y="952"/>
                  </a:lnTo>
                  <a:lnTo>
                    <a:pt x="1953" y="957"/>
                  </a:lnTo>
                  <a:lnTo>
                    <a:pt x="1954" y="962"/>
                  </a:lnTo>
                  <a:lnTo>
                    <a:pt x="1952" y="966"/>
                  </a:lnTo>
                  <a:lnTo>
                    <a:pt x="1944" y="970"/>
                  </a:lnTo>
                  <a:lnTo>
                    <a:pt x="1933" y="974"/>
                  </a:lnTo>
                  <a:lnTo>
                    <a:pt x="1920" y="980"/>
                  </a:lnTo>
                  <a:lnTo>
                    <a:pt x="1909" y="986"/>
                  </a:lnTo>
                  <a:lnTo>
                    <a:pt x="1898" y="994"/>
                  </a:lnTo>
                  <a:lnTo>
                    <a:pt x="1887" y="1002"/>
                  </a:lnTo>
                  <a:lnTo>
                    <a:pt x="1878" y="1011"/>
                  </a:lnTo>
                  <a:lnTo>
                    <a:pt x="1870" y="1019"/>
                  </a:lnTo>
                  <a:lnTo>
                    <a:pt x="1863" y="1028"/>
                  </a:lnTo>
                  <a:lnTo>
                    <a:pt x="1858" y="1036"/>
                  </a:lnTo>
                  <a:lnTo>
                    <a:pt x="1857" y="1041"/>
                  </a:lnTo>
                  <a:lnTo>
                    <a:pt x="1860" y="1047"/>
                  </a:lnTo>
                  <a:lnTo>
                    <a:pt x="1864" y="1050"/>
                  </a:lnTo>
                  <a:lnTo>
                    <a:pt x="1872" y="1053"/>
                  </a:lnTo>
                  <a:lnTo>
                    <a:pt x="1885" y="1053"/>
                  </a:lnTo>
                  <a:lnTo>
                    <a:pt x="1902" y="1049"/>
                  </a:lnTo>
                  <a:lnTo>
                    <a:pt x="1924" y="1044"/>
                  </a:lnTo>
                  <a:lnTo>
                    <a:pt x="1947" y="1036"/>
                  </a:lnTo>
                  <a:lnTo>
                    <a:pt x="1973" y="1029"/>
                  </a:lnTo>
                  <a:lnTo>
                    <a:pt x="2004" y="1021"/>
                  </a:lnTo>
                  <a:lnTo>
                    <a:pt x="1992" y="1050"/>
                  </a:lnTo>
                  <a:lnTo>
                    <a:pt x="1978" y="1074"/>
                  </a:lnTo>
                  <a:lnTo>
                    <a:pt x="1962" y="1095"/>
                  </a:lnTo>
                  <a:lnTo>
                    <a:pt x="1944" y="1113"/>
                  </a:lnTo>
                  <a:lnTo>
                    <a:pt x="1925" y="1128"/>
                  </a:lnTo>
                  <a:lnTo>
                    <a:pt x="1903" y="1142"/>
                  </a:lnTo>
                  <a:lnTo>
                    <a:pt x="1883" y="1154"/>
                  </a:lnTo>
                  <a:lnTo>
                    <a:pt x="1862" y="1166"/>
                  </a:lnTo>
                  <a:lnTo>
                    <a:pt x="1827" y="1187"/>
                  </a:lnTo>
                  <a:lnTo>
                    <a:pt x="1798" y="1212"/>
                  </a:lnTo>
                  <a:lnTo>
                    <a:pt x="1774" y="1240"/>
                  </a:lnTo>
                  <a:lnTo>
                    <a:pt x="1754" y="1269"/>
                  </a:lnTo>
                  <a:lnTo>
                    <a:pt x="1738" y="1301"/>
                  </a:lnTo>
                  <a:lnTo>
                    <a:pt x="1727" y="1334"/>
                  </a:lnTo>
                  <a:lnTo>
                    <a:pt x="1720" y="1368"/>
                  </a:lnTo>
                  <a:lnTo>
                    <a:pt x="1717" y="1402"/>
                  </a:lnTo>
                  <a:lnTo>
                    <a:pt x="1718" y="1437"/>
                  </a:lnTo>
                  <a:lnTo>
                    <a:pt x="1721" y="1470"/>
                  </a:lnTo>
                  <a:lnTo>
                    <a:pt x="1729" y="1503"/>
                  </a:lnTo>
                  <a:lnTo>
                    <a:pt x="1740" y="1533"/>
                  </a:lnTo>
                  <a:lnTo>
                    <a:pt x="1755" y="1561"/>
                  </a:lnTo>
                  <a:lnTo>
                    <a:pt x="1772" y="1587"/>
                  </a:lnTo>
                  <a:lnTo>
                    <a:pt x="1790" y="1611"/>
                  </a:lnTo>
                  <a:lnTo>
                    <a:pt x="1806" y="1638"/>
                  </a:lnTo>
                  <a:lnTo>
                    <a:pt x="1820" y="1666"/>
                  </a:lnTo>
                  <a:lnTo>
                    <a:pt x="1826" y="1682"/>
                  </a:lnTo>
                  <a:lnTo>
                    <a:pt x="1829" y="1699"/>
                  </a:lnTo>
                  <a:lnTo>
                    <a:pt x="1829" y="1716"/>
                  </a:lnTo>
                  <a:lnTo>
                    <a:pt x="1825" y="1730"/>
                  </a:lnTo>
                  <a:lnTo>
                    <a:pt x="1817" y="1742"/>
                  </a:lnTo>
                  <a:lnTo>
                    <a:pt x="1803" y="1753"/>
                  </a:lnTo>
                  <a:lnTo>
                    <a:pt x="1789" y="1758"/>
                  </a:lnTo>
                  <a:lnTo>
                    <a:pt x="1772" y="1760"/>
                  </a:lnTo>
                  <a:lnTo>
                    <a:pt x="1753" y="1759"/>
                  </a:lnTo>
                  <a:lnTo>
                    <a:pt x="1736" y="1755"/>
                  </a:lnTo>
                  <a:lnTo>
                    <a:pt x="1722" y="1748"/>
                  </a:lnTo>
                  <a:lnTo>
                    <a:pt x="1680" y="1711"/>
                  </a:lnTo>
                  <a:lnTo>
                    <a:pt x="1639" y="1671"/>
                  </a:lnTo>
                  <a:lnTo>
                    <a:pt x="1602" y="1627"/>
                  </a:lnTo>
                  <a:lnTo>
                    <a:pt x="1576" y="1592"/>
                  </a:lnTo>
                  <a:lnTo>
                    <a:pt x="1553" y="1557"/>
                  </a:lnTo>
                  <a:lnTo>
                    <a:pt x="1529" y="1520"/>
                  </a:lnTo>
                  <a:lnTo>
                    <a:pt x="1504" y="1485"/>
                  </a:lnTo>
                  <a:lnTo>
                    <a:pt x="1477" y="1451"/>
                  </a:lnTo>
                  <a:lnTo>
                    <a:pt x="1441" y="1414"/>
                  </a:lnTo>
                  <a:lnTo>
                    <a:pt x="1405" y="1385"/>
                  </a:lnTo>
                  <a:lnTo>
                    <a:pt x="1368" y="1363"/>
                  </a:lnTo>
                  <a:lnTo>
                    <a:pt x="1331" y="1347"/>
                  </a:lnTo>
                  <a:lnTo>
                    <a:pt x="1294" y="1338"/>
                  </a:lnTo>
                  <a:lnTo>
                    <a:pt x="1257" y="1335"/>
                  </a:lnTo>
                  <a:lnTo>
                    <a:pt x="1219" y="1336"/>
                  </a:lnTo>
                  <a:lnTo>
                    <a:pt x="1182" y="1344"/>
                  </a:lnTo>
                  <a:lnTo>
                    <a:pt x="1145" y="1356"/>
                  </a:lnTo>
                  <a:lnTo>
                    <a:pt x="1109" y="1372"/>
                  </a:lnTo>
                  <a:lnTo>
                    <a:pt x="1073" y="1393"/>
                  </a:lnTo>
                  <a:lnTo>
                    <a:pt x="1037" y="1418"/>
                  </a:lnTo>
                  <a:lnTo>
                    <a:pt x="1003" y="1446"/>
                  </a:lnTo>
                  <a:lnTo>
                    <a:pt x="987" y="1462"/>
                  </a:lnTo>
                  <a:lnTo>
                    <a:pt x="979" y="1478"/>
                  </a:lnTo>
                  <a:lnTo>
                    <a:pt x="977" y="1494"/>
                  </a:lnTo>
                  <a:lnTo>
                    <a:pt x="983" y="1508"/>
                  </a:lnTo>
                  <a:lnTo>
                    <a:pt x="994" y="1522"/>
                  </a:lnTo>
                  <a:lnTo>
                    <a:pt x="1011" y="1536"/>
                  </a:lnTo>
                  <a:lnTo>
                    <a:pt x="1034" y="1550"/>
                  </a:lnTo>
                  <a:lnTo>
                    <a:pt x="1058" y="1560"/>
                  </a:lnTo>
                  <a:lnTo>
                    <a:pt x="1158" y="1599"/>
                  </a:lnTo>
                  <a:lnTo>
                    <a:pt x="1257" y="1638"/>
                  </a:lnTo>
                  <a:lnTo>
                    <a:pt x="1276" y="1647"/>
                  </a:lnTo>
                  <a:lnTo>
                    <a:pt x="1295" y="1660"/>
                  </a:lnTo>
                  <a:lnTo>
                    <a:pt x="1304" y="1669"/>
                  </a:lnTo>
                  <a:lnTo>
                    <a:pt x="1311" y="1677"/>
                  </a:lnTo>
                  <a:lnTo>
                    <a:pt x="1312" y="1686"/>
                  </a:lnTo>
                  <a:lnTo>
                    <a:pt x="1309" y="1695"/>
                  </a:lnTo>
                  <a:lnTo>
                    <a:pt x="1302" y="1702"/>
                  </a:lnTo>
                  <a:lnTo>
                    <a:pt x="1290" y="1709"/>
                  </a:lnTo>
                  <a:lnTo>
                    <a:pt x="1256" y="1720"/>
                  </a:lnTo>
                  <a:lnTo>
                    <a:pt x="1221" y="1728"/>
                  </a:lnTo>
                  <a:lnTo>
                    <a:pt x="1188" y="1733"/>
                  </a:lnTo>
                  <a:lnTo>
                    <a:pt x="1156" y="1739"/>
                  </a:lnTo>
                  <a:lnTo>
                    <a:pt x="1123" y="1746"/>
                  </a:lnTo>
                  <a:lnTo>
                    <a:pt x="1092" y="1756"/>
                  </a:lnTo>
                  <a:lnTo>
                    <a:pt x="1078" y="1764"/>
                  </a:lnTo>
                  <a:lnTo>
                    <a:pt x="1064" y="1775"/>
                  </a:lnTo>
                  <a:lnTo>
                    <a:pt x="1052" y="1788"/>
                  </a:lnTo>
                  <a:lnTo>
                    <a:pt x="1043" y="1803"/>
                  </a:lnTo>
                  <a:lnTo>
                    <a:pt x="1039" y="1817"/>
                  </a:lnTo>
                  <a:lnTo>
                    <a:pt x="1040" y="1830"/>
                  </a:lnTo>
                  <a:lnTo>
                    <a:pt x="1047" y="1843"/>
                  </a:lnTo>
                  <a:lnTo>
                    <a:pt x="1057" y="1857"/>
                  </a:lnTo>
                  <a:lnTo>
                    <a:pt x="1069" y="1870"/>
                  </a:lnTo>
                  <a:lnTo>
                    <a:pt x="1082" y="1881"/>
                  </a:lnTo>
                  <a:lnTo>
                    <a:pt x="1093" y="1890"/>
                  </a:lnTo>
                  <a:lnTo>
                    <a:pt x="1107" y="1896"/>
                  </a:lnTo>
                  <a:lnTo>
                    <a:pt x="1122" y="1901"/>
                  </a:lnTo>
                  <a:lnTo>
                    <a:pt x="1137" y="1909"/>
                  </a:lnTo>
                  <a:lnTo>
                    <a:pt x="1160" y="1924"/>
                  </a:lnTo>
                  <a:lnTo>
                    <a:pt x="1185" y="1940"/>
                  </a:lnTo>
                  <a:lnTo>
                    <a:pt x="1205" y="1959"/>
                  </a:lnTo>
                  <a:lnTo>
                    <a:pt x="1221" y="1973"/>
                  </a:lnTo>
                  <a:lnTo>
                    <a:pt x="1236" y="1984"/>
                  </a:lnTo>
                  <a:lnTo>
                    <a:pt x="1250" y="1990"/>
                  </a:lnTo>
                  <a:lnTo>
                    <a:pt x="1266" y="1991"/>
                  </a:lnTo>
                  <a:lnTo>
                    <a:pt x="1283" y="1987"/>
                  </a:lnTo>
                  <a:lnTo>
                    <a:pt x="1302" y="1978"/>
                  </a:lnTo>
                  <a:lnTo>
                    <a:pt x="1360" y="1943"/>
                  </a:lnTo>
                  <a:lnTo>
                    <a:pt x="1419" y="1907"/>
                  </a:lnTo>
                  <a:lnTo>
                    <a:pt x="1437" y="1896"/>
                  </a:lnTo>
                  <a:lnTo>
                    <a:pt x="1450" y="1890"/>
                  </a:lnTo>
                  <a:lnTo>
                    <a:pt x="1462" y="1888"/>
                  </a:lnTo>
                  <a:lnTo>
                    <a:pt x="1472" y="1890"/>
                  </a:lnTo>
                  <a:lnTo>
                    <a:pt x="1480" y="1898"/>
                  </a:lnTo>
                  <a:lnTo>
                    <a:pt x="1490" y="1910"/>
                  </a:lnTo>
                  <a:lnTo>
                    <a:pt x="1500" y="1928"/>
                  </a:lnTo>
                  <a:lnTo>
                    <a:pt x="1512" y="1949"/>
                  </a:lnTo>
                  <a:lnTo>
                    <a:pt x="1527" y="1969"/>
                  </a:lnTo>
                  <a:lnTo>
                    <a:pt x="1543" y="1987"/>
                  </a:lnTo>
                  <a:lnTo>
                    <a:pt x="1561" y="2001"/>
                  </a:lnTo>
                  <a:lnTo>
                    <a:pt x="1580" y="2012"/>
                  </a:lnTo>
                  <a:lnTo>
                    <a:pt x="1601" y="2020"/>
                  </a:lnTo>
                  <a:lnTo>
                    <a:pt x="1625" y="2022"/>
                  </a:lnTo>
                  <a:lnTo>
                    <a:pt x="1652" y="2020"/>
                  </a:lnTo>
                  <a:lnTo>
                    <a:pt x="1690" y="2011"/>
                  </a:lnTo>
                  <a:lnTo>
                    <a:pt x="1728" y="1998"/>
                  </a:lnTo>
                  <a:lnTo>
                    <a:pt x="1766" y="1984"/>
                  </a:lnTo>
                  <a:lnTo>
                    <a:pt x="1805" y="1970"/>
                  </a:lnTo>
                  <a:lnTo>
                    <a:pt x="1830" y="1961"/>
                  </a:lnTo>
                  <a:lnTo>
                    <a:pt x="1856" y="1951"/>
                  </a:lnTo>
                  <a:lnTo>
                    <a:pt x="1882" y="1943"/>
                  </a:lnTo>
                  <a:lnTo>
                    <a:pt x="1909" y="1937"/>
                  </a:lnTo>
                  <a:lnTo>
                    <a:pt x="1935" y="1937"/>
                  </a:lnTo>
                  <a:lnTo>
                    <a:pt x="1960" y="1943"/>
                  </a:lnTo>
                  <a:lnTo>
                    <a:pt x="1982" y="1954"/>
                  </a:lnTo>
                  <a:lnTo>
                    <a:pt x="2001" y="1971"/>
                  </a:lnTo>
                  <a:lnTo>
                    <a:pt x="2017" y="1992"/>
                  </a:lnTo>
                  <a:lnTo>
                    <a:pt x="2029" y="2017"/>
                  </a:lnTo>
                  <a:lnTo>
                    <a:pt x="2038" y="2045"/>
                  </a:lnTo>
                  <a:lnTo>
                    <a:pt x="2042" y="2075"/>
                  </a:lnTo>
                  <a:lnTo>
                    <a:pt x="2042" y="2111"/>
                  </a:lnTo>
                  <a:lnTo>
                    <a:pt x="2035" y="2143"/>
                  </a:lnTo>
                  <a:lnTo>
                    <a:pt x="2025" y="2174"/>
                  </a:lnTo>
                  <a:lnTo>
                    <a:pt x="2010" y="2203"/>
                  </a:lnTo>
                  <a:lnTo>
                    <a:pt x="1992" y="2230"/>
                  </a:lnTo>
                  <a:lnTo>
                    <a:pt x="1971" y="2255"/>
                  </a:lnTo>
                  <a:lnTo>
                    <a:pt x="1946" y="2280"/>
                  </a:lnTo>
                  <a:lnTo>
                    <a:pt x="1925" y="2300"/>
                  </a:lnTo>
                  <a:lnTo>
                    <a:pt x="1908" y="2323"/>
                  </a:lnTo>
                  <a:lnTo>
                    <a:pt x="1893" y="2345"/>
                  </a:lnTo>
                  <a:lnTo>
                    <a:pt x="1882" y="2370"/>
                  </a:lnTo>
                  <a:lnTo>
                    <a:pt x="1875" y="2394"/>
                  </a:lnTo>
                  <a:lnTo>
                    <a:pt x="1872" y="2421"/>
                  </a:lnTo>
                  <a:lnTo>
                    <a:pt x="1875" y="2450"/>
                  </a:lnTo>
                  <a:lnTo>
                    <a:pt x="1882" y="2481"/>
                  </a:lnTo>
                  <a:lnTo>
                    <a:pt x="1891" y="2519"/>
                  </a:lnTo>
                  <a:lnTo>
                    <a:pt x="1893" y="2554"/>
                  </a:lnTo>
                  <a:lnTo>
                    <a:pt x="1889" y="2589"/>
                  </a:lnTo>
                  <a:lnTo>
                    <a:pt x="1878" y="2622"/>
                  </a:lnTo>
                  <a:lnTo>
                    <a:pt x="1861" y="2652"/>
                  </a:lnTo>
                  <a:lnTo>
                    <a:pt x="1838" y="2681"/>
                  </a:lnTo>
                  <a:lnTo>
                    <a:pt x="1811" y="2707"/>
                  </a:lnTo>
                  <a:lnTo>
                    <a:pt x="1762" y="2747"/>
                  </a:lnTo>
                  <a:lnTo>
                    <a:pt x="1710" y="2784"/>
                  </a:lnTo>
                  <a:lnTo>
                    <a:pt x="1658" y="2820"/>
                  </a:lnTo>
                  <a:lnTo>
                    <a:pt x="1644" y="2832"/>
                  </a:lnTo>
                  <a:lnTo>
                    <a:pt x="1629" y="2848"/>
                  </a:lnTo>
                  <a:lnTo>
                    <a:pt x="1615" y="2869"/>
                  </a:lnTo>
                  <a:lnTo>
                    <a:pt x="1599" y="2893"/>
                  </a:lnTo>
                  <a:lnTo>
                    <a:pt x="1584" y="2921"/>
                  </a:lnTo>
                  <a:lnTo>
                    <a:pt x="1570" y="2950"/>
                  </a:lnTo>
                  <a:lnTo>
                    <a:pt x="1555" y="2980"/>
                  </a:lnTo>
                  <a:lnTo>
                    <a:pt x="1543" y="3010"/>
                  </a:lnTo>
                  <a:lnTo>
                    <a:pt x="1532" y="3042"/>
                  </a:lnTo>
                  <a:lnTo>
                    <a:pt x="1523" y="3071"/>
                  </a:lnTo>
                  <a:lnTo>
                    <a:pt x="1517" y="3100"/>
                  </a:lnTo>
                  <a:lnTo>
                    <a:pt x="1513" y="3126"/>
                  </a:lnTo>
                  <a:lnTo>
                    <a:pt x="1513" y="3148"/>
                  </a:lnTo>
                  <a:lnTo>
                    <a:pt x="1516" y="3168"/>
                  </a:lnTo>
                  <a:lnTo>
                    <a:pt x="1519" y="3177"/>
                  </a:lnTo>
                  <a:lnTo>
                    <a:pt x="1520" y="3184"/>
                  </a:lnTo>
                  <a:lnTo>
                    <a:pt x="1521" y="3191"/>
                  </a:lnTo>
                  <a:lnTo>
                    <a:pt x="1520" y="3201"/>
                  </a:lnTo>
                  <a:lnTo>
                    <a:pt x="1518" y="3223"/>
                  </a:lnTo>
                  <a:lnTo>
                    <a:pt x="1512" y="3241"/>
                  </a:lnTo>
                  <a:lnTo>
                    <a:pt x="1505" y="3254"/>
                  </a:lnTo>
                  <a:lnTo>
                    <a:pt x="1495" y="3263"/>
                  </a:lnTo>
                  <a:lnTo>
                    <a:pt x="1484" y="3269"/>
                  </a:lnTo>
                  <a:lnTo>
                    <a:pt x="1471" y="3273"/>
                  </a:lnTo>
                  <a:lnTo>
                    <a:pt x="1454" y="3277"/>
                  </a:lnTo>
                  <a:lnTo>
                    <a:pt x="1436" y="3279"/>
                  </a:lnTo>
                  <a:lnTo>
                    <a:pt x="1417" y="3281"/>
                  </a:lnTo>
                  <a:lnTo>
                    <a:pt x="1394" y="3285"/>
                  </a:lnTo>
                  <a:lnTo>
                    <a:pt x="1383" y="3284"/>
                  </a:lnTo>
                  <a:lnTo>
                    <a:pt x="1374" y="3278"/>
                  </a:lnTo>
                  <a:lnTo>
                    <a:pt x="1367" y="3269"/>
                  </a:lnTo>
                  <a:lnTo>
                    <a:pt x="1362" y="3256"/>
                  </a:lnTo>
                  <a:lnTo>
                    <a:pt x="1358" y="3240"/>
                  </a:lnTo>
                  <a:lnTo>
                    <a:pt x="1355" y="3223"/>
                  </a:lnTo>
                  <a:lnTo>
                    <a:pt x="1353" y="3206"/>
                  </a:lnTo>
                  <a:lnTo>
                    <a:pt x="1350" y="3189"/>
                  </a:lnTo>
                  <a:lnTo>
                    <a:pt x="1348" y="3173"/>
                  </a:lnTo>
                  <a:lnTo>
                    <a:pt x="1346" y="3159"/>
                  </a:lnTo>
                  <a:lnTo>
                    <a:pt x="1340" y="3129"/>
                  </a:lnTo>
                  <a:lnTo>
                    <a:pt x="1338" y="3098"/>
                  </a:lnTo>
                  <a:lnTo>
                    <a:pt x="1339" y="3065"/>
                  </a:lnTo>
                  <a:lnTo>
                    <a:pt x="1342" y="3034"/>
                  </a:lnTo>
                  <a:lnTo>
                    <a:pt x="1349" y="3005"/>
                  </a:lnTo>
                  <a:lnTo>
                    <a:pt x="1359" y="2976"/>
                  </a:lnTo>
                  <a:lnTo>
                    <a:pt x="1371" y="2946"/>
                  </a:lnTo>
                  <a:lnTo>
                    <a:pt x="1382" y="2917"/>
                  </a:lnTo>
                  <a:lnTo>
                    <a:pt x="1391" y="2883"/>
                  </a:lnTo>
                  <a:lnTo>
                    <a:pt x="1394" y="2850"/>
                  </a:lnTo>
                  <a:lnTo>
                    <a:pt x="1392" y="2819"/>
                  </a:lnTo>
                  <a:lnTo>
                    <a:pt x="1384" y="2789"/>
                  </a:lnTo>
                  <a:lnTo>
                    <a:pt x="1371" y="2761"/>
                  </a:lnTo>
                  <a:lnTo>
                    <a:pt x="1353" y="2734"/>
                  </a:lnTo>
                  <a:lnTo>
                    <a:pt x="1329" y="2707"/>
                  </a:lnTo>
                  <a:lnTo>
                    <a:pt x="1288" y="2670"/>
                  </a:lnTo>
                  <a:lnTo>
                    <a:pt x="1247" y="2633"/>
                  </a:lnTo>
                  <a:lnTo>
                    <a:pt x="1213" y="2597"/>
                  </a:lnTo>
                  <a:lnTo>
                    <a:pt x="1183" y="2560"/>
                  </a:lnTo>
                  <a:lnTo>
                    <a:pt x="1158" y="2520"/>
                  </a:lnTo>
                  <a:lnTo>
                    <a:pt x="1137" y="2478"/>
                  </a:lnTo>
                  <a:lnTo>
                    <a:pt x="1121" y="2436"/>
                  </a:lnTo>
                  <a:lnTo>
                    <a:pt x="1109" y="2390"/>
                  </a:lnTo>
                  <a:lnTo>
                    <a:pt x="1101" y="2343"/>
                  </a:lnTo>
                  <a:lnTo>
                    <a:pt x="1096" y="2295"/>
                  </a:lnTo>
                  <a:lnTo>
                    <a:pt x="1097" y="2269"/>
                  </a:lnTo>
                  <a:lnTo>
                    <a:pt x="1103" y="2246"/>
                  </a:lnTo>
                  <a:lnTo>
                    <a:pt x="1112" y="2229"/>
                  </a:lnTo>
                  <a:lnTo>
                    <a:pt x="1127" y="2214"/>
                  </a:lnTo>
                  <a:lnTo>
                    <a:pt x="1145" y="2204"/>
                  </a:lnTo>
                  <a:lnTo>
                    <a:pt x="1166" y="2196"/>
                  </a:lnTo>
                  <a:lnTo>
                    <a:pt x="1193" y="2192"/>
                  </a:lnTo>
                  <a:lnTo>
                    <a:pt x="1233" y="2187"/>
                  </a:lnTo>
                  <a:lnTo>
                    <a:pt x="1229" y="2162"/>
                  </a:lnTo>
                  <a:lnTo>
                    <a:pt x="1221" y="2143"/>
                  </a:lnTo>
                  <a:lnTo>
                    <a:pt x="1210" y="2128"/>
                  </a:lnTo>
                  <a:lnTo>
                    <a:pt x="1195" y="2118"/>
                  </a:lnTo>
                  <a:lnTo>
                    <a:pt x="1176" y="2111"/>
                  </a:lnTo>
                  <a:lnTo>
                    <a:pt x="1151" y="2108"/>
                  </a:lnTo>
                  <a:lnTo>
                    <a:pt x="1128" y="2104"/>
                  </a:lnTo>
                  <a:lnTo>
                    <a:pt x="1107" y="2096"/>
                  </a:lnTo>
                  <a:lnTo>
                    <a:pt x="1089" y="2085"/>
                  </a:lnTo>
                  <a:lnTo>
                    <a:pt x="1075" y="2071"/>
                  </a:lnTo>
                  <a:lnTo>
                    <a:pt x="1061" y="2054"/>
                  </a:lnTo>
                  <a:lnTo>
                    <a:pt x="1051" y="2034"/>
                  </a:lnTo>
                  <a:lnTo>
                    <a:pt x="1043" y="2013"/>
                  </a:lnTo>
                  <a:lnTo>
                    <a:pt x="1038" y="1991"/>
                  </a:lnTo>
                  <a:lnTo>
                    <a:pt x="1032" y="1970"/>
                  </a:lnTo>
                  <a:lnTo>
                    <a:pt x="1021" y="1941"/>
                  </a:lnTo>
                  <a:lnTo>
                    <a:pt x="1011" y="1910"/>
                  </a:lnTo>
                  <a:lnTo>
                    <a:pt x="1000" y="1881"/>
                  </a:lnTo>
                  <a:lnTo>
                    <a:pt x="987" y="1852"/>
                  </a:lnTo>
                  <a:lnTo>
                    <a:pt x="971" y="1826"/>
                  </a:lnTo>
                  <a:lnTo>
                    <a:pt x="959" y="1807"/>
                  </a:lnTo>
                  <a:lnTo>
                    <a:pt x="948" y="1789"/>
                  </a:lnTo>
                  <a:lnTo>
                    <a:pt x="939" y="1770"/>
                  </a:lnTo>
                  <a:lnTo>
                    <a:pt x="931" y="1751"/>
                  </a:lnTo>
                  <a:lnTo>
                    <a:pt x="926" y="1730"/>
                  </a:lnTo>
                  <a:lnTo>
                    <a:pt x="925" y="1708"/>
                  </a:lnTo>
                  <a:lnTo>
                    <a:pt x="923" y="1690"/>
                  </a:lnTo>
                  <a:lnTo>
                    <a:pt x="915" y="1672"/>
                  </a:lnTo>
                  <a:lnTo>
                    <a:pt x="905" y="1655"/>
                  </a:lnTo>
                  <a:lnTo>
                    <a:pt x="894" y="1639"/>
                  </a:lnTo>
                  <a:lnTo>
                    <a:pt x="857" y="1598"/>
                  </a:lnTo>
                  <a:lnTo>
                    <a:pt x="818" y="1559"/>
                  </a:lnTo>
                  <a:lnTo>
                    <a:pt x="779" y="1520"/>
                  </a:lnTo>
                  <a:lnTo>
                    <a:pt x="767" y="1507"/>
                  </a:lnTo>
                  <a:lnTo>
                    <a:pt x="753" y="1497"/>
                  </a:lnTo>
                  <a:lnTo>
                    <a:pt x="738" y="1485"/>
                  </a:lnTo>
                  <a:lnTo>
                    <a:pt x="720" y="1470"/>
                  </a:lnTo>
                  <a:lnTo>
                    <a:pt x="718" y="1497"/>
                  </a:lnTo>
                  <a:lnTo>
                    <a:pt x="718" y="1520"/>
                  </a:lnTo>
                  <a:lnTo>
                    <a:pt x="717" y="1540"/>
                  </a:lnTo>
                  <a:lnTo>
                    <a:pt x="716" y="1559"/>
                  </a:lnTo>
                  <a:lnTo>
                    <a:pt x="713" y="1586"/>
                  </a:lnTo>
                  <a:lnTo>
                    <a:pt x="711" y="1613"/>
                  </a:lnTo>
                  <a:lnTo>
                    <a:pt x="707" y="1638"/>
                  </a:lnTo>
                  <a:lnTo>
                    <a:pt x="700" y="1663"/>
                  </a:lnTo>
                  <a:lnTo>
                    <a:pt x="695" y="1674"/>
                  </a:lnTo>
                  <a:lnTo>
                    <a:pt x="686" y="1685"/>
                  </a:lnTo>
                  <a:lnTo>
                    <a:pt x="675" y="1695"/>
                  </a:lnTo>
                  <a:lnTo>
                    <a:pt x="662" y="1702"/>
                  </a:lnTo>
                  <a:lnTo>
                    <a:pt x="652" y="1704"/>
                  </a:lnTo>
                  <a:lnTo>
                    <a:pt x="640" y="1701"/>
                  </a:lnTo>
                  <a:lnTo>
                    <a:pt x="626" y="1694"/>
                  </a:lnTo>
                  <a:lnTo>
                    <a:pt x="615" y="1684"/>
                  </a:lnTo>
                  <a:lnTo>
                    <a:pt x="605" y="1673"/>
                  </a:lnTo>
                  <a:lnTo>
                    <a:pt x="599" y="1662"/>
                  </a:lnTo>
                  <a:lnTo>
                    <a:pt x="594" y="1635"/>
                  </a:lnTo>
                  <a:lnTo>
                    <a:pt x="590" y="1608"/>
                  </a:lnTo>
                  <a:lnTo>
                    <a:pt x="591" y="1580"/>
                  </a:lnTo>
                  <a:lnTo>
                    <a:pt x="595" y="1553"/>
                  </a:lnTo>
                  <a:lnTo>
                    <a:pt x="613" y="1456"/>
                  </a:lnTo>
                  <a:lnTo>
                    <a:pt x="625" y="1357"/>
                  </a:lnTo>
                  <a:lnTo>
                    <a:pt x="632" y="1259"/>
                  </a:lnTo>
                  <a:lnTo>
                    <a:pt x="632" y="1160"/>
                  </a:lnTo>
                  <a:lnTo>
                    <a:pt x="624" y="1061"/>
                  </a:lnTo>
                  <a:lnTo>
                    <a:pt x="616" y="1000"/>
                  </a:lnTo>
                  <a:lnTo>
                    <a:pt x="608" y="938"/>
                  </a:lnTo>
                  <a:lnTo>
                    <a:pt x="600" y="872"/>
                  </a:lnTo>
                  <a:lnTo>
                    <a:pt x="553" y="930"/>
                  </a:lnTo>
                  <a:lnTo>
                    <a:pt x="509" y="993"/>
                  </a:lnTo>
                  <a:lnTo>
                    <a:pt x="469" y="1060"/>
                  </a:lnTo>
                  <a:lnTo>
                    <a:pt x="431" y="1131"/>
                  </a:lnTo>
                  <a:lnTo>
                    <a:pt x="397" y="1205"/>
                  </a:lnTo>
                  <a:lnTo>
                    <a:pt x="365" y="1281"/>
                  </a:lnTo>
                  <a:lnTo>
                    <a:pt x="338" y="1362"/>
                  </a:lnTo>
                  <a:lnTo>
                    <a:pt x="316" y="1443"/>
                  </a:lnTo>
                  <a:lnTo>
                    <a:pt x="297" y="1529"/>
                  </a:lnTo>
                  <a:lnTo>
                    <a:pt x="283" y="1615"/>
                  </a:lnTo>
                  <a:lnTo>
                    <a:pt x="274" y="1703"/>
                  </a:lnTo>
                  <a:lnTo>
                    <a:pt x="270" y="1793"/>
                  </a:lnTo>
                  <a:lnTo>
                    <a:pt x="271" y="1884"/>
                  </a:lnTo>
                  <a:lnTo>
                    <a:pt x="277" y="1975"/>
                  </a:lnTo>
                  <a:lnTo>
                    <a:pt x="289" y="2068"/>
                  </a:lnTo>
                  <a:lnTo>
                    <a:pt x="307" y="2160"/>
                  </a:lnTo>
                  <a:lnTo>
                    <a:pt x="331" y="2253"/>
                  </a:lnTo>
                  <a:lnTo>
                    <a:pt x="361" y="2345"/>
                  </a:lnTo>
                  <a:lnTo>
                    <a:pt x="398" y="2437"/>
                  </a:lnTo>
                  <a:lnTo>
                    <a:pt x="442" y="2528"/>
                  </a:lnTo>
                  <a:lnTo>
                    <a:pt x="490" y="2614"/>
                  </a:lnTo>
                  <a:lnTo>
                    <a:pt x="543" y="2696"/>
                  </a:lnTo>
                  <a:lnTo>
                    <a:pt x="600" y="2773"/>
                  </a:lnTo>
                  <a:lnTo>
                    <a:pt x="661" y="2847"/>
                  </a:lnTo>
                  <a:lnTo>
                    <a:pt x="726" y="2915"/>
                  </a:lnTo>
                  <a:lnTo>
                    <a:pt x="795" y="2980"/>
                  </a:lnTo>
                  <a:lnTo>
                    <a:pt x="868" y="3041"/>
                  </a:lnTo>
                  <a:lnTo>
                    <a:pt x="943" y="3095"/>
                  </a:lnTo>
                  <a:lnTo>
                    <a:pt x="1021" y="3146"/>
                  </a:lnTo>
                  <a:lnTo>
                    <a:pt x="1102" y="3192"/>
                  </a:lnTo>
                  <a:lnTo>
                    <a:pt x="1186" y="3232"/>
                  </a:lnTo>
                  <a:lnTo>
                    <a:pt x="1272" y="3268"/>
                  </a:lnTo>
                  <a:lnTo>
                    <a:pt x="1360" y="3298"/>
                  </a:lnTo>
                  <a:lnTo>
                    <a:pt x="1449" y="3323"/>
                  </a:lnTo>
                  <a:lnTo>
                    <a:pt x="1541" y="3342"/>
                  </a:lnTo>
                  <a:lnTo>
                    <a:pt x="1634" y="3356"/>
                  </a:lnTo>
                  <a:lnTo>
                    <a:pt x="1728" y="3364"/>
                  </a:lnTo>
                  <a:lnTo>
                    <a:pt x="1823" y="3368"/>
                  </a:lnTo>
                  <a:lnTo>
                    <a:pt x="1918" y="3364"/>
                  </a:lnTo>
                  <a:lnTo>
                    <a:pt x="2015" y="3355"/>
                  </a:lnTo>
                  <a:lnTo>
                    <a:pt x="2111" y="3340"/>
                  </a:lnTo>
                  <a:lnTo>
                    <a:pt x="2208" y="3318"/>
                  </a:lnTo>
                  <a:lnTo>
                    <a:pt x="2298" y="3293"/>
                  </a:lnTo>
                  <a:lnTo>
                    <a:pt x="2386" y="3262"/>
                  </a:lnTo>
                  <a:lnTo>
                    <a:pt x="2470" y="3226"/>
                  </a:lnTo>
                  <a:lnTo>
                    <a:pt x="2550" y="3187"/>
                  </a:lnTo>
                  <a:lnTo>
                    <a:pt x="2628" y="3144"/>
                  </a:lnTo>
                  <a:lnTo>
                    <a:pt x="2701" y="3097"/>
                  </a:lnTo>
                  <a:lnTo>
                    <a:pt x="2686" y="3092"/>
                  </a:lnTo>
                  <a:lnTo>
                    <a:pt x="2670" y="3086"/>
                  </a:lnTo>
                  <a:lnTo>
                    <a:pt x="2654" y="3080"/>
                  </a:lnTo>
                  <a:lnTo>
                    <a:pt x="2638" y="3072"/>
                  </a:lnTo>
                  <a:lnTo>
                    <a:pt x="2621" y="3062"/>
                  </a:lnTo>
                  <a:lnTo>
                    <a:pt x="2605" y="3049"/>
                  </a:lnTo>
                  <a:lnTo>
                    <a:pt x="2588" y="3034"/>
                  </a:lnTo>
                  <a:lnTo>
                    <a:pt x="2572" y="3016"/>
                  </a:lnTo>
                  <a:lnTo>
                    <a:pt x="2558" y="2995"/>
                  </a:lnTo>
                  <a:lnTo>
                    <a:pt x="2544" y="2970"/>
                  </a:lnTo>
                  <a:lnTo>
                    <a:pt x="2532" y="2942"/>
                  </a:lnTo>
                  <a:lnTo>
                    <a:pt x="2521" y="2908"/>
                  </a:lnTo>
                  <a:lnTo>
                    <a:pt x="2511" y="2871"/>
                  </a:lnTo>
                  <a:lnTo>
                    <a:pt x="2504" y="2829"/>
                  </a:lnTo>
                  <a:lnTo>
                    <a:pt x="2498" y="2782"/>
                  </a:lnTo>
                  <a:lnTo>
                    <a:pt x="2495" y="2728"/>
                  </a:lnTo>
                  <a:lnTo>
                    <a:pt x="2493" y="2659"/>
                  </a:lnTo>
                  <a:lnTo>
                    <a:pt x="2493" y="2594"/>
                  </a:lnTo>
                  <a:lnTo>
                    <a:pt x="2494" y="2537"/>
                  </a:lnTo>
                  <a:lnTo>
                    <a:pt x="2496" y="2485"/>
                  </a:lnTo>
                  <a:lnTo>
                    <a:pt x="2500" y="2439"/>
                  </a:lnTo>
                  <a:lnTo>
                    <a:pt x="2505" y="2398"/>
                  </a:lnTo>
                  <a:lnTo>
                    <a:pt x="2511" y="2363"/>
                  </a:lnTo>
                  <a:lnTo>
                    <a:pt x="2516" y="2332"/>
                  </a:lnTo>
                  <a:lnTo>
                    <a:pt x="2524" y="2305"/>
                  </a:lnTo>
                  <a:lnTo>
                    <a:pt x="2531" y="2283"/>
                  </a:lnTo>
                  <a:lnTo>
                    <a:pt x="2539" y="2264"/>
                  </a:lnTo>
                  <a:lnTo>
                    <a:pt x="2547" y="2250"/>
                  </a:lnTo>
                  <a:lnTo>
                    <a:pt x="2554" y="2239"/>
                  </a:lnTo>
                  <a:lnTo>
                    <a:pt x="2562" y="2231"/>
                  </a:lnTo>
                  <a:lnTo>
                    <a:pt x="2570" y="2225"/>
                  </a:lnTo>
                  <a:lnTo>
                    <a:pt x="2578" y="2222"/>
                  </a:lnTo>
                  <a:lnTo>
                    <a:pt x="2585" y="2221"/>
                  </a:lnTo>
                  <a:lnTo>
                    <a:pt x="2593" y="2221"/>
                  </a:lnTo>
                  <a:lnTo>
                    <a:pt x="2601" y="2220"/>
                  </a:lnTo>
                  <a:lnTo>
                    <a:pt x="2607" y="2218"/>
                  </a:lnTo>
                  <a:lnTo>
                    <a:pt x="2616" y="2218"/>
                  </a:lnTo>
                  <a:lnTo>
                    <a:pt x="2624" y="2218"/>
                  </a:lnTo>
                  <a:lnTo>
                    <a:pt x="2633" y="2220"/>
                  </a:lnTo>
                  <a:lnTo>
                    <a:pt x="2643" y="2223"/>
                  </a:lnTo>
                  <a:lnTo>
                    <a:pt x="2656" y="2227"/>
                  </a:lnTo>
                  <a:lnTo>
                    <a:pt x="2668" y="2235"/>
                  </a:lnTo>
                  <a:lnTo>
                    <a:pt x="2683" y="2245"/>
                  </a:lnTo>
                  <a:lnTo>
                    <a:pt x="2699" y="2260"/>
                  </a:lnTo>
                  <a:lnTo>
                    <a:pt x="2719" y="2277"/>
                  </a:lnTo>
                  <a:lnTo>
                    <a:pt x="2740" y="2299"/>
                  </a:lnTo>
                  <a:lnTo>
                    <a:pt x="2765" y="2325"/>
                  </a:lnTo>
                  <a:lnTo>
                    <a:pt x="2789" y="2351"/>
                  </a:lnTo>
                  <a:lnTo>
                    <a:pt x="2812" y="2371"/>
                  </a:lnTo>
                  <a:lnTo>
                    <a:pt x="2833" y="2385"/>
                  </a:lnTo>
                  <a:lnTo>
                    <a:pt x="2852" y="2395"/>
                  </a:lnTo>
                  <a:lnTo>
                    <a:pt x="2870" y="2400"/>
                  </a:lnTo>
                  <a:lnTo>
                    <a:pt x="2886" y="2401"/>
                  </a:lnTo>
                  <a:lnTo>
                    <a:pt x="2901" y="2398"/>
                  </a:lnTo>
                  <a:lnTo>
                    <a:pt x="2913" y="2392"/>
                  </a:lnTo>
                  <a:lnTo>
                    <a:pt x="2923" y="2382"/>
                  </a:lnTo>
                  <a:lnTo>
                    <a:pt x="2932" y="2370"/>
                  </a:lnTo>
                  <a:lnTo>
                    <a:pt x="2940" y="2355"/>
                  </a:lnTo>
                  <a:lnTo>
                    <a:pt x="2946" y="2339"/>
                  </a:lnTo>
                  <a:lnTo>
                    <a:pt x="2949" y="2321"/>
                  </a:lnTo>
                  <a:lnTo>
                    <a:pt x="2952" y="2302"/>
                  </a:lnTo>
                  <a:lnTo>
                    <a:pt x="2955" y="2285"/>
                  </a:lnTo>
                  <a:lnTo>
                    <a:pt x="2959" y="2265"/>
                  </a:lnTo>
                  <a:lnTo>
                    <a:pt x="2965" y="2246"/>
                  </a:lnTo>
                  <a:lnTo>
                    <a:pt x="2973" y="2227"/>
                  </a:lnTo>
                  <a:lnTo>
                    <a:pt x="2982" y="2211"/>
                  </a:lnTo>
                  <a:lnTo>
                    <a:pt x="2992" y="2195"/>
                  </a:lnTo>
                  <a:lnTo>
                    <a:pt x="3003" y="2181"/>
                  </a:lnTo>
                  <a:lnTo>
                    <a:pt x="3014" y="2170"/>
                  </a:lnTo>
                  <a:lnTo>
                    <a:pt x="3026" y="2162"/>
                  </a:lnTo>
                  <a:lnTo>
                    <a:pt x="3037" y="2159"/>
                  </a:lnTo>
                  <a:lnTo>
                    <a:pt x="3048" y="2160"/>
                  </a:lnTo>
                  <a:lnTo>
                    <a:pt x="3059" y="2166"/>
                  </a:lnTo>
                  <a:lnTo>
                    <a:pt x="3069" y="2177"/>
                  </a:lnTo>
                  <a:lnTo>
                    <a:pt x="3078" y="2194"/>
                  </a:lnTo>
                  <a:lnTo>
                    <a:pt x="3087" y="2218"/>
                  </a:lnTo>
                  <a:lnTo>
                    <a:pt x="3102" y="2267"/>
                  </a:lnTo>
                  <a:lnTo>
                    <a:pt x="3122" y="2316"/>
                  </a:lnTo>
                  <a:lnTo>
                    <a:pt x="3144" y="2366"/>
                  </a:lnTo>
                  <a:lnTo>
                    <a:pt x="3168" y="2414"/>
                  </a:lnTo>
                  <a:lnTo>
                    <a:pt x="3193" y="2460"/>
                  </a:lnTo>
                  <a:lnTo>
                    <a:pt x="3217" y="2503"/>
                  </a:lnTo>
                  <a:lnTo>
                    <a:pt x="3256" y="2414"/>
                  </a:lnTo>
                  <a:lnTo>
                    <a:pt x="3291" y="2326"/>
                  </a:lnTo>
                  <a:lnTo>
                    <a:pt x="3318" y="2236"/>
                  </a:lnTo>
                  <a:lnTo>
                    <a:pt x="3340" y="2147"/>
                  </a:lnTo>
                  <a:lnTo>
                    <a:pt x="3355" y="2057"/>
                  </a:lnTo>
                  <a:lnTo>
                    <a:pt x="3364" y="1969"/>
                  </a:lnTo>
                  <a:lnTo>
                    <a:pt x="3330" y="1955"/>
                  </a:lnTo>
                  <a:lnTo>
                    <a:pt x="3295" y="1940"/>
                  </a:lnTo>
                  <a:lnTo>
                    <a:pt x="3259" y="1919"/>
                  </a:lnTo>
                  <a:lnTo>
                    <a:pt x="3228" y="1897"/>
                  </a:lnTo>
                  <a:lnTo>
                    <a:pt x="3201" y="1871"/>
                  </a:lnTo>
                  <a:lnTo>
                    <a:pt x="3177" y="1842"/>
                  </a:lnTo>
                  <a:lnTo>
                    <a:pt x="3158" y="1811"/>
                  </a:lnTo>
                  <a:lnTo>
                    <a:pt x="3145" y="1775"/>
                  </a:lnTo>
                  <a:lnTo>
                    <a:pt x="3136" y="1738"/>
                  </a:lnTo>
                  <a:lnTo>
                    <a:pt x="3131" y="1697"/>
                  </a:lnTo>
                  <a:lnTo>
                    <a:pt x="3130" y="1667"/>
                  </a:lnTo>
                  <a:lnTo>
                    <a:pt x="3126" y="1645"/>
                  </a:lnTo>
                  <a:lnTo>
                    <a:pt x="3120" y="1626"/>
                  </a:lnTo>
                  <a:lnTo>
                    <a:pt x="3111" y="1611"/>
                  </a:lnTo>
                  <a:lnTo>
                    <a:pt x="3097" y="1600"/>
                  </a:lnTo>
                  <a:lnTo>
                    <a:pt x="3079" y="1591"/>
                  </a:lnTo>
                  <a:lnTo>
                    <a:pt x="3057" y="1583"/>
                  </a:lnTo>
                  <a:lnTo>
                    <a:pt x="3028" y="1577"/>
                  </a:lnTo>
                  <a:lnTo>
                    <a:pt x="3000" y="1569"/>
                  </a:lnTo>
                  <a:lnTo>
                    <a:pt x="2977" y="1560"/>
                  </a:lnTo>
                  <a:lnTo>
                    <a:pt x="2958" y="1549"/>
                  </a:lnTo>
                  <a:lnTo>
                    <a:pt x="2943" y="1535"/>
                  </a:lnTo>
                  <a:lnTo>
                    <a:pt x="2933" y="1520"/>
                  </a:lnTo>
                  <a:lnTo>
                    <a:pt x="2928" y="1502"/>
                  </a:lnTo>
                  <a:lnTo>
                    <a:pt x="2925" y="1480"/>
                  </a:lnTo>
                  <a:lnTo>
                    <a:pt x="2928" y="1456"/>
                  </a:lnTo>
                  <a:lnTo>
                    <a:pt x="2934" y="1428"/>
                  </a:lnTo>
                  <a:lnTo>
                    <a:pt x="2949" y="1384"/>
                  </a:lnTo>
                  <a:lnTo>
                    <a:pt x="2966" y="1341"/>
                  </a:lnTo>
                  <a:lnTo>
                    <a:pt x="2985" y="1299"/>
                  </a:lnTo>
                  <a:lnTo>
                    <a:pt x="3004" y="1256"/>
                  </a:lnTo>
                  <a:lnTo>
                    <a:pt x="3017" y="1227"/>
                  </a:lnTo>
                  <a:lnTo>
                    <a:pt x="3027" y="1198"/>
                  </a:lnTo>
                  <a:lnTo>
                    <a:pt x="3035" y="1168"/>
                  </a:lnTo>
                  <a:lnTo>
                    <a:pt x="3039" y="1138"/>
                  </a:lnTo>
                  <a:lnTo>
                    <a:pt x="3039" y="1105"/>
                  </a:lnTo>
                  <a:lnTo>
                    <a:pt x="3035" y="1073"/>
                  </a:lnTo>
                  <a:lnTo>
                    <a:pt x="3031" y="1047"/>
                  </a:lnTo>
                  <a:lnTo>
                    <a:pt x="3029" y="1021"/>
                  </a:lnTo>
                  <a:lnTo>
                    <a:pt x="3030" y="997"/>
                  </a:lnTo>
                  <a:lnTo>
                    <a:pt x="3036" y="971"/>
                  </a:lnTo>
                  <a:lnTo>
                    <a:pt x="3045" y="947"/>
                  </a:lnTo>
                  <a:lnTo>
                    <a:pt x="3059" y="924"/>
                  </a:lnTo>
                  <a:lnTo>
                    <a:pt x="3079" y="901"/>
                  </a:lnTo>
                  <a:lnTo>
                    <a:pt x="3005" y="815"/>
                  </a:lnTo>
                  <a:lnTo>
                    <a:pt x="2930" y="733"/>
                  </a:lnTo>
                  <a:lnTo>
                    <a:pt x="2919" y="723"/>
                  </a:lnTo>
                  <a:lnTo>
                    <a:pt x="2909" y="720"/>
                  </a:lnTo>
                  <a:lnTo>
                    <a:pt x="2898" y="721"/>
                  </a:lnTo>
                  <a:lnTo>
                    <a:pt x="2891" y="727"/>
                  </a:lnTo>
                  <a:lnTo>
                    <a:pt x="2884" y="738"/>
                  </a:lnTo>
                  <a:lnTo>
                    <a:pt x="2879" y="752"/>
                  </a:lnTo>
                  <a:lnTo>
                    <a:pt x="2877" y="766"/>
                  </a:lnTo>
                  <a:lnTo>
                    <a:pt x="2876" y="779"/>
                  </a:lnTo>
                  <a:lnTo>
                    <a:pt x="2867" y="806"/>
                  </a:lnTo>
                  <a:lnTo>
                    <a:pt x="2856" y="826"/>
                  </a:lnTo>
                  <a:lnTo>
                    <a:pt x="2842" y="842"/>
                  </a:lnTo>
                  <a:lnTo>
                    <a:pt x="2827" y="851"/>
                  </a:lnTo>
                  <a:lnTo>
                    <a:pt x="2810" y="854"/>
                  </a:lnTo>
                  <a:lnTo>
                    <a:pt x="2789" y="851"/>
                  </a:lnTo>
                  <a:lnTo>
                    <a:pt x="2768" y="842"/>
                  </a:lnTo>
                  <a:lnTo>
                    <a:pt x="2744" y="827"/>
                  </a:lnTo>
                  <a:lnTo>
                    <a:pt x="2734" y="818"/>
                  </a:lnTo>
                  <a:lnTo>
                    <a:pt x="2724" y="811"/>
                  </a:lnTo>
                  <a:lnTo>
                    <a:pt x="2713" y="804"/>
                  </a:lnTo>
                  <a:lnTo>
                    <a:pt x="2697" y="798"/>
                  </a:lnTo>
                  <a:lnTo>
                    <a:pt x="2681" y="794"/>
                  </a:lnTo>
                  <a:lnTo>
                    <a:pt x="2666" y="792"/>
                  </a:lnTo>
                  <a:lnTo>
                    <a:pt x="2650" y="792"/>
                  </a:lnTo>
                  <a:lnTo>
                    <a:pt x="2628" y="795"/>
                  </a:lnTo>
                  <a:lnTo>
                    <a:pt x="2610" y="796"/>
                  </a:lnTo>
                  <a:lnTo>
                    <a:pt x="2595" y="794"/>
                  </a:lnTo>
                  <a:lnTo>
                    <a:pt x="2586" y="789"/>
                  </a:lnTo>
                  <a:lnTo>
                    <a:pt x="2579" y="780"/>
                  </a:lnTo>
                  <a:lnTo>
                    <a:pt x="2576" y="767"/>
                  </a:lnTo>
                  <a:lnTo>
                    <a:pt x="2576" y="750"/>
                  </a:lnTo>
                  <a:lnTo>
                    <a:pt x="2577" y="728"/>
                  </a:lnTo>
                  <a:lnTo>
                    <a:pt x="2577" y="705"/>
                  </a:lnTo>
                  <a:lnTo>
                    <a:pt x="2574" y="690"/>
                  </a:lnTo>
                  <a:lnTo>
                    <a:pt x="2567" y="677"/>
                  </a:lnTo>
                  <a:lnTo>
                    <a:pt x="2554" y="668"/>
                  </a:lnTo>
                  <a:lnTo>
                    <a:pt x="2539" y="664"/>
                  </a:lnTo>
                  <a:lnTo>
                    <a:pt x="2517" y="664"/>
                  </a:lnTo>
                  <a:lnTo>
                    <a:pt x="2493" y="666"/>
                  </a:lnTo>
                  <a:lnTo>
                    <a:pt x="2468" y="668"/>
                  </a:lnTo>
                  <a:lnTo>
                    <a:pt x="2448" y="666"/>
                  </a:lnTo>
                  <a:lnTo>
                    <a:pt x="2430" y="659"/>
                  </a:lnTo>
                  <a:lnTo>
                    <a:pt x="2415" y="649"/>
                  </a:lnTo>
                  <a:lnTo>
                    <a:pt x="2404" y="636"/>
                  </a:lnTo>
                  <a:lnTo>
                    <a:pt x="2397" y="620"/>
                  </a:lnTo>
                  <a:lnTo>
                    <a:pt x="2395" y="601"/>
                  </a:lnTo>
                  <a:lnTo>
                    <a:pt x="2397" y="581"/>
                  </a:lnTo>
                  <a:lnTo>
                    <a:pt x="2406" y="556"/>
                  </a:lnTo>
                  <a:lnTo>
                    <a:pt x="2416" y="532"/>
                  </a:lnTo>
                  <a:lnTo>
                    <a:pt x="2424" y="506"/>
                  </a:lnTo>
                  <a:lnTo>
                    <a:pt x="2427" y="494"/>
                  </a:lnTo>
                  <a:lnTo>
                    <a:pt x="2430" y="480"/>
                  </a:lnTo>
                  <a:lnTo>
                    <a:pt x="2431" y="467"/>
                  </a:lnTo>
                  <a:lnTo>
                    <a:pt x="2430" y="457"/>
                  </a:lnTo>
                  <a:lnTo>
                    <a:pt x="2425" y="448"/>
                  </a:lnTo>
                  <a:lnTo>
                    <a:pt x="2385" y="411"/>
                  </a:lnTo>
                  <a:lnTo>
                    <a:pt x="2343" y="375"/>
                  </a:lnTo>
                  <a:lnTo>
                    <a:pt x="2298" y="344"/>
                  </a:lnTo>
                  <a:lnTo>
                    <a:pt x="2267" y="328"/>
                  </a:lnTo>
                  <a:lnTo>
                    <a:pt x="2235" y="320"/>
                  </a:lnTo>
                  <a:lnTo>
                    <a:pt x="2204" y="318"/>
                  </a:lnTo>
                  <a:lnTo>
                    <a:pt x="2172" y="320"/>
                  </a:lnTo>
                  <a:lnTo>
                    <a:pt x="2141" y="326"/>
                  </a:lnTo>
                  <a:lnTo>
                    <a:pt x="2109" y="333"/>
                  </a:lnTo>
                  <a:lnTo>
                    <a:pt x="2078" y="341"/>
                  </a:lnTo>
                  <a:lnTo>
                    <a:pt x="2047" y="349"/>
                  </a:lnTo>
                  <a:lnTo>
                    <a:pt x="2044" y="372"/>
                  </a:lnTo>
                  <a:lnTo>
                    <a:pt x="2039" y="389"/>
                  </a:lnTo>
                  <a:lnTo>
                    <a:pt x="2034" y="402"/>
                  </a:lnTo>
                  <a:lnTo>
                    <a:pt x="2026" y="411"/>
                  </a:lnTo>
                  <a:lnTo>
                    <a:pt x="2016" y="415"/>
                  </a:lnTo>
                  <a:lnTo>
                    <a:pt x="2004" y="415"/>
                  </a:lnTo>
                  <a:lnTo>
                    <a:pt x="1986" y="413"/>
                  </a:lnTo>
                  <a:lnTo>
                    <a:pt x="1964" y="406"/>
                  </a:lnTo>
                  <a:lnTo>
                    <a:pt x="1932" y="396"/>
                  </a:lnTo>
                  <a:lnTo>
                    <a:pt x="1900" y="384"/>
                  </a:lnTo>
                  <a:lnTo>
                    <a:pt x="1869" y="370"/>
                  </a:lnTo>
                  <a:lnTo>
                    <a:pt x="1839" y="354"/>
                  </a:lnTo>
                  <a:lnTo>
                    <a:pt x="1811" y="335"/>
                  </a:lnTo>
                  <a:lnTo>
                    <a:pt x="1785" y="312"/>
                  </a:lnTo>
                  <a:lnTo>
                    <a:pt x="1762" y="286"/>
                  </a:lnTo>
                  <a:lnTo>
                    <a:pt x="1753" y="279"/>
                  </a:lnTo>
                  <a:lnTo>
                    <a:pt x="1740" y="274"/>
                  </a:lnTo>
                  <a:lnTo>
                    <a:pt x="1729" y="273"/>
                  </a:lnTo>
                  <a:close/>
                  <a:moveTo>
                    <a:pt x="1790" y="0"/>
                  </a:moveTo>
                  <a:lnTo>
                    <a:pt x="1810" y="0"/>
                  </a:lnTo>
                  <a:lnTo>
                    <a:pt x="1883" y="6"/>
                  </a:lnTo>
                  <a:lnTo>
                    <a:pt x="1957" y="13"/>
                  </a:lnTo>
                  <a:lnTo>
                    <a:pt x="2030" y="21"/>
                  </a:lnTo>
                  <a:lnTo>
                    <a:pt x="2104" y="31"/>
                  </a:lnTo>
                  <a:lnTo>
                    <a:pt x="2207" y="52"/>
                  </a:lnTo>
                  <a:lnTo>
                    <a:pt x="2307" y="77"/>
                  </a:lnTo>
                  <a:lnTo>
                    <a:pt x="2404" y="107"/>
                  </a:lnTo>
                  <a:lnTo>
                    <a:pt x="2497" y="142"/>
                  </a:lnTo>
                  <a:lnTo>
                    <a:pt x="2588" y="182"/>
                  </a:lnTo>
                  <a:lnTo>
                    <a:pt x="2676" y="227"/>
                  </a:lnTo>
                  <a:lnTo>
                    <a:pt x="2761" y="276"/>
                  </a:lnTo>
                  <a:lnTo>
                    <a:pt x="2842" y="330"/>
                  </a:lnTo>
                  <a:lnTo>
                    <a:pt x="2922" y="389"/>
                  </a:lnTo>
                  <a:lnTo>
                    <a:pt x="2997" y="453"/>
                  </a:lnTo>
                  <a:lnTo>
                    <a:pt x="3070" y="522"/>
                  </a:lnTo>
                  <a:lnTo>
                    <a:pt x="3140" y="594"/>
                  </a:lnTo>
                  <a:lnTo>
                    <a:pt x="3208" y="673"/>
                  </a:lnTo>
                  <a:lnTo>
                    <a:pt x="3272" y="755"/>
                  </a:lnTo>
                  <a:lnTo>
                    <a:pt x="3329" y="839"/>
                  </a:lnTo>
                  <a:lnTo>
                    <a:pt x="3382" y="924"/>
                  </a:lnTo>
                  <a:lnTo>
                    <a:pt x="3429" y="1011"/>
                  </a:lnTo>
                  <a:lnTo>
                    <a:pt x="3471" y="1101"/>
                  </a:lnTo>
                  <a:lnTo>
                    <a:pt x="3507" y="1193"/>
                  </a:lnTo>
                  <a:lnTo>
                    <a:pt x="3538" y="1287"/>
                  </a:lnTo>
                  <a:lnTo>
                    <a:pt x="3563" y="1383"/>
                  </a:lnTo>
                  <a:lnTo>
                    <a:pt x="3583" y="1480"/>
                  </a:lnTo>
                  <a:lnTo>
                    <a:pt x="3597" y="1580"/>
                  </a:lnTo>
                  <a:lnTo>
                    <a:pt x="3607" y="1691"/>
                  </a:lnTo>
                  <a:lnTo>
                    <a:pt x="3610" y="1798"/>
                  </a:lnTo>
                  <a:lnTo>
                    <a:pt x="3608" y="1905"/>
                  </a:lnTo>
                  <a:lnTo>
                    <a:pt x="3600" y="2009"/>
                  </a:lnTo>
                  <a:lnTo>
                    <a:pt x="3587" y="2112"/>
                  </a:lnTo>
                  <a:lnTo>
                    <a:pt x="3567" y="2213"/>
                  </a:lnTo>
                  <a:lnTo>
                    <a:pt x="3543" y="2310"/>
                  </a:lnTo>
                  <a:lnTo>
                    <a:pt x="3511" y="2408"/>
                  </a:lnTo>
                  <a:lnTo>
                    <a:pt x="3475" y="2502"/>
                  </a:lnTo>
                  <a:lnTo>
                    <a:pt x="3433" y="2594"/>
                  </a:lnTo>
                  <a:lnTo>
                    <a:pt x="3384" y="2684"/>
                  </a:lnTo>
                  <a:lnTo>
                    <a:pt x="3330" y="2772"/>
                  </a:lnTo>
                  <a:lnTo>
                    <a:pt x="3269" y="2858"/>
                  </a:lnTo>
                  <a:lnTo>
                    <a:pt x="3204" y="2942"/>
                  </a:lnTo>
                  <a:lnTo>
                    <a:pt x="3132" y="3024"/>
                  </a:lnTo>
                  <a:lnTo>
                    <a:pt x="3055" y="3103"/>
                  </a:lnTo>
                  <a:lnTo>
                    <a:pt x="2979" y="3173"/>
                  </a:lnTo>
                  <a:lnTo>
                    <a:pt x="2902" y="3238"/>
                  </a:lnTo>
                  <a:lnTo>
                    <a:pt x="2822" y="3296"/>
                  </a:lnTo>
                  <a:lnTo>
                    <a:pt x="2739" y="3351"/>
                  </a:lnTo>
                  <a:lnTo>
                    <a:pt x="2653" y="3399"/>
                  </a:lnTo>
                  <a:lnTo>
                    <a:pt x="2566" y="3443"/>
                  </a:lnTo>
                  <a:lnTo>
                    <a:pt x="2476" y="3482"/>
                  </a:lnTo>
                  <a:lnTo>
                    <a:pt x="2382" y="3514"/>
                  </a:lnTo>
                  <a:lnTo>
                    <a:pt x="2288" y="3542"/>
                  </a:lnTo>
                  <a:lnTo>
                    <a:pt x="2191" y="3566"/>
                  </a:lnTo>
                  <a:lnTo>
                    <a:pt x="2091" y="3584"/>
                  </a:lnTo>
                  <a:lnTo>
                    <a:pt x="1990" y="3596"/>
                  </a:lnTo>
                  <a:lnTo>
                    <a:pt x="1876" y="3603"/>
                  </a:lnTo>
                  <a:lnTo>
                    <a:pt x="1764" y="3605"/>
                  </a:lnTo>
                  <a:lnTo>
                    <a:pt x="1655" y="3599"/>
                  </a:lnTo>
                  <a:lnTo>
                    <a:pt x="1547" y="3588"/>
                  </a:lnTo>
                  <a:lnTo>
                    <a:pt x="1441" y="3571"/>
                  </a:lnTo>
                  <a:lnTo>
                    <a:pt x="1337" y="3547"/>
                  </a:lnTo>
                  <a:lnTo>
                    <a:pt x="1236" y="3517"/>
                  </a:lnTo>
                  <a:lnTo>
                    <a:pt x="1137" y="3481"/>
                  </a:lnTo>
                  <a:lnTo>
                    <a:pt x="1039" y="3438"/>
                  </a:lnTo>
                  <a:lnTo>
                    <a:pt x="943" y="3389"/>
                  </a:lnTo>
                  <a:lnTo>
                    <a:pt x="851" y="3333"/>
                  </a:lnTo>
                  <a:lnTo>
                    <a:pt x="760" y="3271"/>
                  </a:lnTo>
                  <a:lnTo>
                    <a:pt x="671" y="3203"/>
                  </a:lnTo>
                  <a:lnTo>
                    <a:pt x="585" y="3129"/>
                  </a:lnTo>
                  <a:lnTo>
                    <a:pt x="510" y="3057"/>
                  </a:lnTo>
                  <a:lnTo>
                    <a:pt x="441" y="2982"/>
                  </a:lnTo>
                  <a:lnTo>
                    <a:pt x="377" y="2906"/>
                  </a:lnTo>
                  <a:lnTo>
                    <a:pt x="317" y="2825"/>
                  </a:lnTo>
                  <a:lnTo>
                    <a:pt x="263" y="2744"/>
                  </a:lnTo>
                  <a:lnTo>
                    <a:pt x="215" y="2659"/>
                  </a:lnTo>
                  <a:lnTo>
                    <a:pt x="171" y="2571"/>
                  </a:lnTo>
                  <a:lnTo>
                    <a:pt x="132" y="2482"/>
                  </a:lnTo>
                  <a:lnTo>
                    <a:pt x="98" y="2389"/>
                  </a:lnTo>
                  <a:lnTo>
                    <a:pt x="69" y="2293"/>
                  </a:lnTo>
                  <a:lnTo>
                    <a:pt x="45" y="2196"/>
                  </a:lnTo>
                  <a:lnTo>
                    <a:pt x="26" y="2096"/>
                  </a:lnTo>
                  <a:lnTo>
                    <a:pt x="11" y="1994"/>
                  </a:lnTo>
                  <a:lnTo>
                    <a:pt x="2" y="1886"/>
                  </a:lnTo>
                  <a:lnTo>
                    <a:pt x="0" y="1779"/>
                  </a:lnTo>
                  <a:lnTo>
                    <a:pt x="4" y="1673"/>
                  </a:lnTo>
                  <a:lnTo>
                    <a:pt x="16" y="1568"/>
                  </a:lnTo>
                  <a:lnTo>
                    <a:pt x="33" y="1464"/>
                  </a:lnTo>
                  <a:lnTo>
                    <a:pt x="56" y="1362"/>
                  </a:lnTo>
                  <a:lnTo>
                    <a:pt x="84" y="1262"/>
                  </a:lnTo>
                  <a:lnTo>
                    <a:pt x="119" y="1163"/>
                  </a:lnTo>
                  <a:lnTo>
                    <a:pt x="160" y="1068"/>
                  </a:lnTo>
                  <a:lnTo>
                    <a:pt x="206" y="975"/>
                  </a:lnTo>
                  <a:lnTo>
                    <a:pt x="256" y="885"/>
                  </a:lnTo>
                  <a:lnTo>
                    <a:pt x="313" y="798"/>
                  </a:lnTo>
                  <a:lnTo>
                    <a:pt x="372" y="714"/>
                  </a:lnTo>
                  <a:lnTo>
                    <a:pt x="437" y="634"/>
                  </a:lnTo>
                  <a:lnTo>
                    <a:pt x="507" y="557"/>
                  </a:lnTo>
                  <a:lnTo>
                    <a:pt x="581" y="485"/>
                  </a:lnTo>
                  <a:lnTo>
                    <a:pt x="659" y="416"/>
                  </a:lnTo>
                  <a:lnTo>
                    <a:pt x="741" y="353"/>
                  </a:lnTo>
                  <a:lnTo>
                    <a:pt x="826" y="293"/>
                  </a:lnTo>
                  <a:lnTo>
                    <a:pt x="916" y="239"/>
                  </a:lnTo>
                  <a:lnTo>
                    <a:pt x="1009" y="190"/>
                  </a:lnTo>
                  <a:lnTo>
                    <a:pt x="1104" y="146"/>
                  </a:lnTo>
                  <a:lnTo>
                    <a:pt x="1203" y="108"/>
                  </a:lnTo>
                  <a:lnTo>
                    <a:pt x="1304" y="77"/>
                  </a:lnTo>
                  <a:lnTo>
                    <a:pt x="1409" y="50"/>
                  </a:lnTo>
                  <a:lnTo>
                    <a:pt x="1516" y="31"/>
                  </a:lnTo>
                  <a:lnTo>
                    <a:pt x="1607" y="19"/>
                  </a:lnTo>
                  <a:lnTo>
                    <a:pt x="1699" y="10"/>
                  </a:lnTo>
                  <a:lnTo>
                    <a:pt x="179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7" name="Picture Placeholder 6"/>
          <p:cNvPicPr>
            <a:picLocks noGrp="1" noChangeAspect="1"/>
          </p:cNvPicPr>
          <p:nvPr>
            <p:ph type="pic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54" r="17854"/>
          <a:stretch>
            <a:fillRect/>
          </a:stretch>
        </p:blipFill>
        <p:spPr/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D702B84-D805-49E2-A29A-A576BAC56CB7}"/>
              </a:ext>
            </a:extLst>
          </p:cNvPr>
          <p:cNvSpPr/>
          <p:nvPr/>
        </p:nvSpPr>
        <p:spPr>
          <a:xfrm>
            <a:off x="9368372" y="3501008"/>
            <a:ext cx="1650516" cy="307777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marL="0" marR="0" lvl="0" indent="0" defTabSz="45718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ru-RU" sz="1400" b="1" i="0" u="none" strike="noStrike" cap="none" normalizeH="0" baseline="0" noProof="0" dirty="0">
                <a:ln>
                  <a:noFill/>
                </a:ln>
                <a:solidFill>
                  <a:schemeClr val="accent1"/>
                </a:solidFill>
                <a:uLnTx/>
                <a:uFillTx/>
              </a:rPr>
              <a:t>представляющие</a:t>
            </a:r>
          </a:p>
        </p:txBody>
      </p:sp>
    </p:spTree>
    <p:extLst>
      <p:ext uri="{BB962C8B-B14F-4D97-AF65-F5344CB8AC3E}">
        <p14:creationId xmlns:p14="http://schemas.microsoft.com/office/powerpoint/2010/main" val="2581016536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AB395326-55A7-4913-9578-001875DA13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272"/>
          <a:stretch/>
        </p:blipFill>
        <p:spPr>
          <a:xfrm>
            <a:off x="212359" y="1430775"/>
            <a:ext cx="7742107" cy="4431704"/>
          </a:xfrm>
          <a:prstGeom prst="rect">
            <a:avLst/>
          </a:prstGeom>
        </p:spPr>
      </p:pic>
      <p:sp>
        <p:nvSpPr>
          <p:cNvPr id="7" name="Titre 7"/>
          <p:cNvSpPr>
            <a:spLocks noGrp="1"/>
          </p:cNvSpPr>
          <p:nvPr>
            <p:ph type="title"/>
          </p:nvPr>
        </p:nvSpPr>
        <p:spPr>
          <a:xfrm>
            <a:off x="239998" y="198178"/>
            <a:ext cx="7964232" cy="523220"/>
          </a:xfrm>
        </p:spPr>
        <p:txBody>
          <a:bodyPr/>
          <a:lstStyle/>
          <a:p>
            <a:r>
              <a:rPr lang="ru-RU"/>
              <a:t>Гибкая, ведущая в мире группировка спутников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FA587B10-2621-48F4-9D0F-6032FB7AF91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/>
              <a:t>Диверсифицированные ресурсы</a:t>
            </a:r>
            <a:br>
              <a:rPr lang="ru-RU"/>
            </a:br>
            <a:r>
              <a:rPr lang="ru-RU"/>
              <a:t>в диапазонах C, Ku и Ka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432477" y="6698627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BA8E93E0-2274-4780-8C60-0648E4283D4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922" r="79507" b="11123"/>
          <a:stretch/>
        </p:blipFill>
        <p:spPr>
          <a:xfrm>
            <a:off x="7968208" y="2139172"/>
            <a:ext cx="1656184" cy="523221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BC8A817F-C02A-4BC3-AE4C-4046AD8528E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40" t="79923" r="66395" b="6956"/>
          <a:stretch/>
        </p:blipFill>
        <p:spPr>
          <a:xfrm>
            <a:off x="8544272" y="2662393"/>
            <a:ext cx="1080120" cy="766607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884AAD7-B5C2-4CA7-B84F-FAEDA745BE4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27" t="81733" r="40434" b="5146"/>
          <a:stretch/>
        </p:blipFill>
        <p:spPr>
          <a:xfrm>
            <a:off x="8616280" y="3563168"/>
            <a:ext cx="2088232" cy="766607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CFA2CF68-8BBF-4EE5-A8AA-B81420FB647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58" t="81733" r="13803" b="5146"/>
          <a:stretch/>
        </p:blipFill>
        <p:spPr>
          <a:xfrm>
            <a:off x="8648600" y="4450528"/>
            <a:ext cx="2088232" cy="766607"/>
          </a:xfrm>
          <a:prstGeom prst="rect">
            <a:avLst/>
          </a:prstGeom>
        </p:spPr>
      </p:pic>
      <p:sp>
        <p:nvSpPr>
          <p:cNvPr id="2" name="Text Box 7">
            <a:extLst>
              <a:ext uri="{FF2B5EF4-FFF2-40B4-BE49-F238E27FC236}">
                <a16:creationId xmlns:a16="http://schemas.microsoft.com/office/drawing/2014/main" id="{F86AEB74-2D8D-44C8-AB86-5BCDF33C96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92438" y="2892276"/>
            <a:ext cx="788670" cy="44627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fontAlgn="base">
              <a:spcBef>
                <a:spcPts val="310"/>
              </a:spcBef>
              <a:spcAft>
                <a:spcPts val="0"/>
              </a:spcAft>
            </a:pPr>
            <a:r>
              <a:rPr lang="ru-RU" sz="600" b="1" dirty="0">
                <a:solidFill>
                  <a:srgbClr val="1F4E79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  <a:cs typeface="Arial Unicode MS"/>
              </a:rPr>
              <a:t>стабильная орбита</a:t>
            </a:r>
            <a:endParaRPr lang="en-US" sz="140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Arial Unicode MS"/>
            </a:endParaRPr>
          </a:p>
          <a:p>
            <a:pPr marL="0" marR="0" fontAlgn="base">
              <a:spcBef>
                <a:spcPts val="310"/>
              </a:spcBef>
              <a:spcAft>
                <a:spcPts val="0"/>
              </a:spcAft>
            </a:pPr>
            <a:r>
              <a:rPr lang="ru-RU" sz="600" b="1" dirty="0">
                <a:solidFill>
                  <a:srgbClr val="1F4E79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  <a:cs typeface="Arial Unicode MS"/>
              </a:rPr>
              <a:t>орбита с наклоном</a:t>
            </a:r>
            <a:endParaRPr lang="en-US" sz="140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Arial Unicode MS"/>
            </a:endParaRPr>
          </a:p>
          <a:p>
            <a:pPr marL="0" marR="0" fontAlgn="base">
              <a:spcBef>
                <a:spcPts val="310"/>
              </a:spcBef>
              <a:spcAft>
                <a:spcPts val="0"/>
              </a:spcAft>
            </a:pPr>
            <a:r>
              <a:rPr lang="ru-RU" sz="600" b="1" dirty="0">
                <a:solidFill>
                  <a:srgbClr val="1F4E79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  <a:cs typeface="Arial Unicode MS"/>
              </a:rPr>
              <a:t>емкость на спутниках третьих сторон</a:t>
            </a:r>
            <a:endParaRPr lang="en-US" sz="140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Arial Unicode MS"/>
            </a:endParaRPr>
          </a:p>
        </p:txBody>
      </p:sp>
      <p:sp>
        <p:nvSpPr>
          <p:cNvPr id="3" name="Text Box 8">
            <a:extLst>
              <a:ext uri="{FF2B5EF4-FFF2-40B4-BE49-F238E27FC236}">
                <a16:creationId xmlns:a16="http://schemas.microsoft.com/office/drawing/2014/main" id="{1F8F10FE-CB4F-4523-8371-E6B0278BB9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11580" y="4568947"/>
            <a:ext cx="3161084" cy="42575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fontAlgn="base">
              <a:spcBef>
                <a:spcPts val="360"/>
              </a:spcBef>
              <a:spcAft>
                <a:spcPts val="0"/>
              </a:spcAft>
            </a:pPr>
            <a:r>
              <a:rPr lang="ru-RU" sz="700" b="1" dirty="0">
                <a:solidFill>
                  <a:srgbClr val="1F4E7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UTELSAT 36А </a:t>
            </a:r>
            <a:r>
              <a:rPr lang="en-US" sz="700" b="1" dirty="0">
                <a:solidFill>
                  <a:srgbClr val="1F4E7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ru-RU" sz="700" b="1" dirty="0">
                <a:solidFill>
                  <a:srgbClr val="1F4E7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700" b="1" dirty="0">
                <a:solidFill>
                  <a:srgbClr val="1F4E7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длежит </a:t>
            </a:r>
            <a:r>
              <a:rPr lang="ru-RU" sz="700" b="1" dirty="0" err="1">
                <a:solidFill>
                  <a:srgbClr val="1F4E7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ереразвертыванию</a:t>
            </a:r>
            <a:endParaRPr lang="en-US" sz="140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Arial Unicode MS"/>
            </a:endParaRPr>
          </a:p>
          <a:p>
            <a:pPr fontAlgn="base">
              <a:spcBef>
                <a:spcPts val="360"/>
              </a:spcBef>
            </a:pPr>
            <a:r>
              <a:rPr lang="ru-RU" sz="700" b="1" dirty="0">
                <a:solidFill>
                  <a:srgbClr val="1F4E7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UTELSAT 7А </a:t>
            </a:r>
            <a:r>
              <a:rPr lang="en-US" sz="700" b="1" dirty="0">
                <a:solidFill>
                  <a:srgbClr val="1F4E7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ru-RU" sz="700" b="1" dirty="0">
                <a:solidFill>
                  <a:srgbClr val="1F4E7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в настоящее время выполняется </a:t>
            </a:r>
            <a:r>
              <a:rPr lang="ru-RU" sz="700" b="1" dirty="0" err="1">
                <a:solidFill>
                  <a:srgbClr val="1F4E7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ереразвертывание</a:t>
            </a:r>
            <a:endParaRPr lang="en-US" sz="140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Arial Unicode MS"/>
            </a:endParaRPr>
          </a:p>
          <a:p>
            <a:pPr marL="0" marR="0" fontAlgn="base">
              <a:spcBef>
                <a:spcPts val="360"/>
              </a:spcBef>
              <a:spcAft>
                <a:spcPts val="0"/>
              </a:spcAft>
            </a:pPr>
            <a:r>
              <a:rPr lang="ru-RU" sz="700" b="1" dirty="0">
                <a:solidFill>
                  <a:srgbClr val="1F4E7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UTELSAT </a:t>
            </a:r>
            <a:r>
              <a:rPr lang="en-US" sz="700" b="1" dirty="0">
                <a:solidFill>
                  <a:srgbClr val="1F4E7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NNECT –</a:t>
            </a:r>
            <a:r>
              <a:rPr lang="ru-RU" sz="700" b="1" dirty="0">
                <a:solidFill>
                  <a:srgbClr val="1F4E7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выполняется подъем орбиты</a:t>
            </a:r>
            <a:endParaRPr lang="en-US" sz="140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Arial Unicode MS"/>
            </a:endParaRPr>
          </a:p>
        </p:txBody>
      </p:sp>
      <p:sp>
        <p:nvSpPr>
          <p:cNvPr id="4" name="Text Box 9">
            <a:extLst>
              <a:ext uri="{FF2B5EF4-FFF2-40B4-BE49-F238E27FC236}">
                <a16:creationId xmlns:a16="http://schemas.microsoft.com/office/drawing/2014/main" id="{A2473418-30C9-4929-9A06-E2C78359BD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98585" y="2118083"/>
            <a:ext cx="1935481" cy="612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0" marR="0" algn="r" fontAlgn="base">
              <a:spcBef>
                <a:spcPts val="625"/>
              </a:spcBef>
              <a:spcAft>
                <a:spcPts val="0"/>
              </a:spcAft>
            </a:pPr>
            <a:r>
              <a:rPr lang="ru-RU" sz="1000" b="1" dirty="0">
                <a:solidFill>
                  <a:srgbClr val="1F4E7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ПУТНИКОВАЯ ГРУППИРОВКА EUTELSAT </a:t>
            </a:r>
            <a:endParaRPr lang="en-US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Arial Unicode MS"/>
            </a:endParaRPr>
          </a:p>
          <a:p>
            <a:pPr marL="0" marR="0" algn="r" fontAlgn="base">
              <a:spcBef>
                <a:spcPts val="470"/>
              </a:spcBef>
              <a:spcAft>
                <a:spcPts val="0"/>
              </a:spcAft>
            </a:pPr>
            <a:r>
              <a:rPr lang="ru-RU" sz="600" dirty="0">
                <a:solidFill>
                  <a:srgbClr val="1F4E7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ЯНВАРЬ 2020 г.</a:t>
            </a: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Arial Unicode MS"/>
            </a:endParaRPr>
          </a:p>
        </p:txBody>
      </p:sp>
      <p:sp>
        <p:nvSpPr>
          <p:cNvPr id="8" name="Text Box 10">
            <a:extLst>
              <a:ext uri="{FF2B5EF4-FFF2-40B4-BE49-F238E27FC236}">
                <a16:creationId xmlns:a16="http://schemas.microsoft.com/office/drawing/2014/main" id="{CD8AAB18-B4A5-47EC-B9A8-404B0946B7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88288" y="3681426"/>
            <a:ext cx="862330" cy="12289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algn="r" fontAlgn="base">
              <a:spcBef>
                <a:spcPts val="360"/>
              </a:spcBef>
              <a:spcAft>
                <a:spcPts val="0"/>
              </a:spcAft>
            </a:pPr>
            <a:r>
              <a:rPr lang="ru-RU" sz="600" b="1" dirty="0">
                <a:solidFill>
                  <a:srgbClr val="1F4E79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УДУЩИЕ СПУТНИКИ:</a:t>
            </a:r>
            <a:endParaRPr lang="en-US" sz="105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Arial Unicode MS"/>
            </a:endParaRPr>
          </a:p>
        </p:txBody>
      </p:sp>
    </p:spTree>
    <p:extLst>
      <p:ext uri="{BB962C8B-B14F-4D97-AF65-F5344CB8AC3E}">
        <p14:creationId xmlns:p14="http://schemas.microsoft.com/office/powerpoint/2010/main" val="291050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flythrough hasBounce="1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" name="Group 108">
            <a:extLst>
              <a:ext uri="{FF2B5EF4-FFF2-40B4-BE49-F238E27FC236}">
                <a16:creationId xmlns:a16="http://schemas.microsoft.com/office/drawing/2014/main" id="{D46AA583-0761-4B37-B695-BAE820F7B4CD}"/>
              </a:ext>
            </a:extLst>
          </p:cNvPr>
          <p:cNvGrpSpPr/>
          <p:nvPr/>
        </p:nvGrpSpPr>
        <p:grpSpPr>
          <a:xfrm>
            <a:off x="4097113" y="1625082"/>
            <a:ext cx="3976163" cy="3976163"/>
            <a:chOff x="1149213" y="2116331"/>
            <a:chExt cx="3036296" cy="3036296"/>
          </a:xfrm>
        </p:grpSpPr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516C8D1F-DBDA-4BDE-A951-EE6E448FDFC4}"/>
                </a:ext>
              </a:extLst>
            </p:cNvPr>
            <p:cNvSpPr/>
            <p:nvPr/>
          </p:nvSpPr>
          <p:spPr>
            <a:xfrm>
              <a:off x="1396607" y="2314649"/>
              <a:ext cx="2674798" cy="2625335"/>
            </a:xfrm>
            <a:prstGeom prst="ellipse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 w="57150"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0" scaled="1"/>
                <a:tileRect/>
              </a:gradFill>
            </a:ln>
            <a:effectLst>
              <a:outerShdw blurRad="355600" dist="355600" dir="4200000" algn="t" rotWithShape="0">
                <a:prstClr val="black">
                  <a:alpha val="4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ts val="1800"/>
                </a:lnSpc>
              </a:pPr>
              <a:endParaRPr lang="en-US" sz="1050"/>
            </a:p>
          </p:txBody>
        </p:sp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5105D08B-E172-4967-A481-6472BDD8E376}"/>
                </a:ext>
              </a:extLst>
            </p:cNvPr>
            <p:cNvSpPr/>
            <p:nvPr/>
          </p:nvSpPr>
          <p:spPr>
            <a:xfrm>
              <a:off x="1149213" y="2116331"/>
              <a:ext cx="3036296" cy="3036296"/>
            </a:xfrm>
            <a:prstGeom prst="ellipse">
              <a:avLst/>
            </a:prstGeom>
            <a:solidFill>
              <a:schemeClr val="bg1">
                <a:lumMod val="95000"/>
                <a:alpha val="1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800"/>
                </a:lnSpc>
              </a:pPr>
              <a:endParaRPr lang="en-US" sz="1600"/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8512007" y="2522254"/>
            <a:ext cx="2043003" cy="391610"/>
          </a:xfrm>
          <a:prstGeom prst="roundRect">
            <a:avLst/>
          </a:prstGeom>
          <a:noFill/>
        </p:spPr>
        <p:txBody>
          <a:bodyPr vert="horz" wrap="none" lIns="0" tIns="45720" rIns="0" bIns="45720" rtlCol="0" anchor="ctr">
            <a:normAutofit fontScale="92500" lnSpcReduction="10000"/>
          </a:bodyPr>
          <a:lstStyle/>
          <a:p>
            <a:r>
              <a:rPr lang="ru-RU" sz="2000" b="1">
                <a:solidFill>
                  <a:schemeClr val="tx2"/>
                </a:solidFill>
              </a:rPr>
              <a:t>ДОСТУП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39998" y="4620116"/>
            <a:ext cx="2371430" cy="617162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cap="none" normalizeH="0" baseline="0" noProof="0" dirty="0">
                <a:ln>
                  <a:noFill/>
                </a:ln>
                <a:solidFill>
                  <a:schemeClr val="accent3"/>
                </a:solidFill>
                <a:uLnTx/>
                <a:uFillTx/>
              </a:rPr>
              <a:t>УСЛУГИ ДЛЯ ГОСУДАРСТВЕННЫХ ВЕДОМСТВ</a:t>
            </a:r>
          </a:p>
          <a:p>
            <a:pPr marR="0" lvl="0" algn="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400"/>
              </a:spcAft>
              <a:buClrTx/>
              <a:buSzTx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505928" y="4471046"/>
            <a:ext cx="2180577" cy="685419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cap="none" normalizeH="0" baseline="0" noProof="0">
                <a:ln>
                  <a:noFill/>
                </a:ln>
                <a:solidFill>
                  <a:schemeClr val="accent3"/>
                </a:solidFill>
                <a:uLnTx/>
                <a:uFillTx/>
              </a:rPr>
              <a:t>1</a:t>
            </a:r>
            <a:r>
              <a:rPr lang="ru-RU" sz="4400" b="1">
                <a:solidFill>
                  <a:schemeClr val="accent3"/>
                </a:solidFill>
              </a:rPr>
              <a:t>3</a:t>
            </a:r>
            <a:r>
              <a:rPr kumimoji="0" lang="ru-RU" sz="3200" b="0" i="0" u="none" strike="noStrike" cap="none" normalizeH="0" baseline="0" noProof="0">
                <a:ln>
                  <a:noFill/>
                </a:ln>
                <a:solidFill>
                  <a:schemeClr val="accent3"/>
                </a:solidFill>
                <a:uLnTx/>
                <a:uFillTx/>
              </a:rPr>
              <a:t>%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9998" y="198178"/>
            <a:ext cx="6591548" cy="523220"/>
          </a:xfrm>
        </p:spPr>
        <p:txBody>
          <a:bodyPr/>
          <a:lstStyle/>
          <a:p>
            <a:r>
              <a:rPr lang="ru-RU"/>
              <a:t>Услуги, обеспечивающие цифровой рост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4B26B8C-C509-4E8A-9E45-13033FEE78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47186" y="6372702"/>
            <a:ext cx="1566134" cy="169277"/>
          </a:xfrm>
        </p:spPr>
        <p:txBody>
          <a:bodyPr/>
          <a:lstStyle/>
          <a:p>
            <a:r>
              <a:rPr lang="ru-RU"/>
              <a:t>По состоянию на 30 июня 2020 г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67408" y="2144918"/>
            <a:ext cx="1844020" cy="37106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lvl="0" algn="r">
              <a:lnSpc>
                <a:spcPts val="1600"/>
              </a:lnSpc>
              <a:spcAft>
                <a:spcPts val="400"/>
              </a:spcAft>
              <a:defRPr/>
            </a:pPr>
            <a:r>
              <a:rPr kumimoji="0" lang="ru-RU" sz="1600" b="1" i="0" u="none" strike="noStrike" cap="none" normalizeH="0" baseline="0" noProof="0">
                <a:ln>
                  <a:noFill/>
                </a:ln>
                <a:solidFill>
                  <a:schemeClr val="bg2"/>
                </a:solidFill>
                <a:uLnTx/>
                <a:uFillTx/>
              </a:rPr>
              <a:t>ВЕЩАНИЕ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505928" y="1889338"/>
            <a:ext cx="2180577" cy="7212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cap="none" normalizeH="0" baseline="0" noProof="0">
                <a:ln>
                  <a:noFill/>
                </a:ln>
                <a:solidFill>
                  <a:schemeClr val="bg2"/>
                </a:solidFill>
                <a:uLnTx/>
                <a:uFillTx/>
              </a:rPr>
              <a:t>61</a:t>
            </a:r>
            <a:r>
              <a:rPr kumimoji="0" lang="ru-RU" sz="3200" b="0" i="0" u="none" strike="noStrike" cap="none" normalizeH="0" baseline="0" noProof="0">
                <a:ln>
                  <a:noFill/>
                </a:ln>
                <a:solidFill>
                  <a:schemeClr val="bg2"/>
                </a:solidFill>
                <a:uLnTx/>
                <a:uFillTx/>
              </a:rPr>
              <a:t>%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96688" y="3337037"/>
            <a:ext cx="2708117" cy="489793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lvl="0" algn="r" defTabSz="914400">
              <a:lnSpc>
                <a:spcPts val="1600"/>
              </a:lnSpc>
              <a:spcAft>
                <a:spcPts val="400"/>
              </a:spcAft>
              <a:defRPr/>
            </a:pPr>
            <a:r>
              <a:rPr kumimoji="0" lang="ru-RU" sz="1600" b="1" i="0" u="none" strike="noStrike" cap="none" normalizeH="0" baseline="0" noProof="0">
                <a:ln>
                  <a:noFill/>
                </a:ln>
                <a:solidFill>
                  <a:schemeClr val="accent6"/>
                </a:solidFill>
                <a:uLnTx/>
                <a:uFillTx/>
              </a:rPr>
              <a:t> ДАННЫЕ и</a:t>
            </a:r>
          </a:p>
          <a:p>
            <a:pPr lvl="0" algn="r" defTabSz="914400">
              <a:lnSpc>
                <a:spcPts val="1600"/>
              </a:lnSpc>
              <a:spcAft>
                <a:spcPts val="400"/>
              </a:spcAft>
              <a:defRPr/>
            </a:pPr>
            <a:r>
              <a:rPr kumimoji="0" lang="ru-RU" sz="1600" b="1" i="0" u="none" strike="noStrike" cap="none" normalizeH="0" baseline="0" noProof="0">
                <a:ln>
                  <a:noFill/>
                </a:ln>
                <a:solidFill>
                  <a:schemeClr val="accent6"/>
                </a:solidFill>
                <a:uLnTx/>
                <a:uFillTx/>
              </a:rPr>
              <a:t> ПРОФЕССИОНАЛЬНОЕ </a:t>
            </a:r>
            <a:r>
              <a:rPr kumimoji="0" lang="ru-RU" sz="1600" b="1" i="0" u="none" strike="noStrike" cap="none" normalizeH="0" noProof="0">
                <a:ln>
                  <a:noFill/>
                </a:ln>
                <a:solidFill>
                  <a:schemeClr val="accent6"/>
                </a:solidFill>
                <a:uLnTx/>
                <a:uFillTx/>
              </a:rPr>
              <a:t> ВИДЕО</a:t>
            </a:r>
          </a:p>
          <a:p>
            <a:pPr marR="0" lvl="0" algn="r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lang="fr-FR" sz="1600" kern="0" dirty="0">
              <a:solidFill>
                <a:schemeClr val="accent6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748098" y="3160194"/>
            <a:ext cx="1938407" cy="76201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cap="none" normalizeH="0" baseline="0" noProof="0">
                <a:ln>
                  <a:noFill/>
                </a:ln>
                <a:solidFill>
                  <a:schemeClr val="accent6"/>
                </a:solidFill>
                <a:uLnTx/>
                <a:uFillTx/>
              </a:rPr>
              <a:t>10</a:t>
            </a:r>
            <a:r>
              <a:rPr kumimoji="0" lang="ru-RU" sz="3200" b="0" i="0" u="none" strike="noStrike" cap="none" normalizeH="0" baseline="0" noProof="0">
                <a:ln>
                  <a:noFill/>
                </a:ln>
                <a:solidFill>
                  <a:schemeClr val="accent6"/>
                </a:solidFill>
                <a:uLnTx/>
                <a:uFillTx/>
              </a:rPr>
              <a:t>%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9984432" y="4255854"/>
            <a:ext cx="1866099" cy="657108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lvl="0">
              <a:lnSpc>
                <a:spcPts val="1600"/>
              </a:lnSpc>
              <a:spcAft>
                <a:spcPts val="400"/>
              </a:spcAft>
              <a:defRPr/>
            </a:pPr>
            <a:r>
              <a:rPr kumimoji="0" lang="ru-RU" sz="1600" b="1" i="0" u="none" strike="noStrike" cap="none" normalizeH="0" baseline="0" noProof="0">
                <a:ln>
                  <a:noFill/>
                </a:ln>
                <a:solidFill>
                  <a:schemeClr val="accent5"/>
                </a:solidFill>
                <a:uLnTx/>
                <a:uFillTx/>
              </a:rPr>
              <a:t>МОБИЛЬНЫЙ ДОСТУП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9192344" y="4035389"/>
            <a:ext cx="1024499" cy="7212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chemeClr val="accent5"/>
                </a:solidFill>
              </a:rPr>
              <a:t>6</a:t>
            </a:r>
            <a:r>
              <a:rPr kumimoji="0" lang="ru-RU" sz="3200" b="0" i="0" u="none" strike="noStrike" cap="none" normalizeH="0" baseline="0" noProof="0" dirty="0">
                <a:ln>
                  <a:noFill/>
                </a:ln>
                <a:solidFill>
                  <a:schemeClr val="accent5"/>
                </a:solidFill>
                <a:uLnTx/>
                <a:uFillTx/>
              </a:rPr>
              <a:t>% 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9984432" y="3137763"/>
            <a:ext cx="2362819" cy="540401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lvl="0">
              <a:lnSpc>
                <a:spcPts val="1600"/>
              </a:lnSpc>
              <a:spcAft>
                <a:spcPts val="400"/>
              </a:spcAft>
              <a:defRPr/>
            </a:pPr>
            <a:r>
              <a:rPr kumimoji="0" lang="ru-RU" sz="1600" b="1" i="0" u="none" strike="noStrike" cap="none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</a:rPr>
              <a:t>ФИКСИРОВАННЫЙ </a:t>
            </a:r>
            <a:br>
              <a:rPr kumimoji="0" lang="ru-RU" sz="1600" b="1" i="0" u="none" strike="noStrike" cap="none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</a:rPr>
            </a:br>
            <a:r>
              <a:rPr kumimoji="0" lang="ru-RU" sz="1600" b="1" i="0" u="none" strike="noStrike" cap="none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</a:rPr>
              <a:t>ШИРОКО-ПОЛОСНЫЙ</a:t>
            </a:r>
            <a:br>
              <a:rPr kumimoji="0" lang="ru-RU" sz="1600" b="1" i="0" u="none" strike="noStrike" cap="none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</a:rPr>
            </a:br>
            <a:r>
              <a:rPr kumimoji="0" lang="ru-RU" sz="1600" b="1" i="0" u="none" strike="noStrike" cap="none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</a:rPr>
              <a:t>ДОСТУП</a:t>
            </a:r>
          </a:p>
          <a:p>
            <a:pPr lvl="0">
              <a:lnSpc>
                <a:spcPts val="1600"/>
              </a:lnSpc>
              <a:spcAft>
                <a:spcPts val="400"/>
              </a:spcAft>
              <a:defRPr/>
            </a:pPr>
            <a:endParaRPr kumimoji="0" lang="en-US" sz="160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9192344" y="2974021"/>
            <a:ext cx="897943" cy="721256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noProof="0">
                <a:solidFill>
                  <a:schemeClr val="accent2"/>
                </a:solidFill>
              </a:rPr>
              <a:t>6</a:t>
            </a:r>
            <a:r>
              <a:rPr kumimoji="0" lang="ru-RU" sz="3200" b="0" i="0" u="none" strike="noStrike" cap="none" normalizeH="0" baseline="0" noProof="0">
                <a:ln>
                  <a:noFill/>
                </a:ln>
                <a:solidFill>
                  <a:schemeClr val="accent2"/>
                </a:solidFill>
                <a:uLnTx/>
                <a:uFillTx/>
              </a:rPr>
              <a:t>% 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8683931" y="712381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endParaRPr lang="en-US" dirty="0"/>
          </a:p>
        </p:txBody>
      </p:sp>
      <p:grpSp>
        <p:nvGrpSpPr>
          <p:cNvPr id="200" name="Group 199"/>
          <p:cNvGrpSpPr/>
          <p:nvPr/>
        </p:nvGrpSpPr>
        <p:grpSpPr>
          <a:xfrm>
            <a:off x="3641134" y="2123165"/>
            <a:ext cx="415276" cy="396774"/>
            <a:chOff x="6170239" y="1551793"/>
            <a:chExt cx="320675" cy="306388"/>
          </a:xfrm>
          <a:solidFill>
            <a:schemeClr val="accent1"/>
          </a:solidFill>
        </p:grpSpPr>
        <p:sp>
          <p:nvSpPr>
            <p:cNvPr id="78" name="Freeform 24"/>
            <p:cNvSpPr>
              <a:spLocks noEditPoints="1"/>
            </p:cNvSpPr>
            <p:nvPr/>
          </p:nvSpPr>
          <p:spPr bwMode="auto">
            <a:xfrm>
              <a:off x="6170239" y="1551793"/>
              <a:ext cx="320675" cy="249238"/>
            </a:xfrm>
            <a:custGeom>
              <a:avLst/>
              <a:gdLst>
                <a:gd name="T0" fmla="*/ 18 w 202"/>
                <a:gd name="T1" fmla="*/ 9 h 157"/>
                <a:gd name="T2" fmla="*/ 15 w 202"/>
                <a:gd name="T3" fmla="*/ 9 h 157"/>
                <a:gd name="T4" fmla="*/ 12 w 202"/>
                <a:gd name="T5" fmla="*/ 12 h 157"/>
                <a:gd name="T6" fmla="*/ 9 w 202"/>
                <a:gd name="T7" fmla="*/ 15 h 157"/>
                <a:gd name="T8" fmla="*/ 9 w 202"/>
                <a:gd name="T9" fmla="*/ 18 h 157"/>
                <a:gd name="T10" fmla="*/ 9 w 202"/>
                <a:gd name="T11" fmla="*/ 139 h 157"/>
                <a:gd name="T12" fmla="*/ 9 w 202"/>
                <a:gd name="T13" fmla="*/ 144 h 157"/>
                <a:gd name="T14" fmla="*/ 12 w 202"/>
                <a:gd name="T15" fmla="*/ 147 h 157"/>
                <a:gd name="T16" fmla="*/ 15 w 202"/>
                <a:gd name="T17" fmla="*/ 148 h 157"/>
                <a:gd name="T18" fmla="*/ 18 w 202"/>
                <a:gd name="T19" fmla="*/ 150 h 157"/>
                <a:gd name="T20" fmla="*/ 184 w 202"/>
                <a:gd name="T21" fmla="*/ 150 h 157"/>
                <a:gd name="T22" fmla="*/ 188 w 202"/>
                <a:gd name="T23" fmla="*/ 148 h 157"/>
                <a:gd name="T24" fmla="*/ 191 w 202"/>
                <a:gd name="T25" fmla="*/ 147 h 157"/>
                <a:gd name="T26" fmla="*/ 193 w 202"/>
                <a:gd name="T27" fmla="*/ 144 h 157"/>
                <a:gd name="T28" fmla="*/ 194 w 202"/>
                <a:gd name="T29" fmla="*/ 139 h 157"/>
                <a:gd name="T30" fmla="*/ 194 w 202"/>
                <a:gd name="T31" fmla="*/ 18 h 157"/>
                <a:gd name="T32" fmla="*/ 193 w 202"/>
                <a:gd name="T33" fmla="*/ 15 h 157"/>
                <a:gd name="T34" fmla="*/ 191 w 202"/>
                <a:gd name="T35" fmla="*/ 12 h 157"/>
                <a:gd name="T36" fmla="*/ 188 w 202"/>
                <a:gd name="T37" fmla="*/ 9 h 157"/>
                <a:gd name="T38" fmla="*/ 184 w 202"/>
                <a:gd name="T39" fmla="*/ 9 h 157"/>
                <a:gd name="T40" fmla="*/ 18 w 202"/>
                <a:gd name="T41" fmla="*/ 9 h 157"/>
                <a:gd name="T42" fmla="*/ 18 w 202"/>
                <a:gd name="T43" fmla="*/ 0 h 157"/>
                <a:gd name="T44" fmla="*/ 184 w 202"/>
                <a:gd name="T45" fmla="*/ 0 h 157"/>
                <a:gd name="T46" fmla="*/ 190 w 202"/>
                <a:gd name="T47" fmla="*/ 1 h 157"/>
                <a:gd name="T48" fmla="*/ 194 w 202"/>
                <a:gd name="T49" fmla="*/ 4 h 157"/>
                <a:gd name="T50" fmla="*/ 199 w 202"/>
                <a:gd name="T51" fmla="*/ 7 h 157"/>
                <a:gd name="T52" fmla="*/ 202 w 202"/>
                <a:gd name="T53" fmla="*/ 13 h 157"/>
                <a:gd name="T54" fmla="*/ 202 w 202"/>
                <a:gd name="T55" fmla="*/ 18 h 157"/>
                <a:gd name="T56" fmla="*/ 202 w 202"/>
                <a:gd name="T57" fmla="*/ 139 h 157"/>
                <a:gd name="T58" fmla="*/ 202 w 202"/>
                <a:gd name="T59" fmla="*/ 145 h 157"/>
                <a:gd name="T60" fmla="*/ 199 w 202"/>
                <a:gd name="T61" fmla="*/ 150 h 157"/>
                <a:gd name="T62" fmla="*/ 194 w 202"/>
                <a:gd name="T63" fmla="*/ 154 h 157"/>
                <a:gd name="T64" fmla="*/ 190 w 202"/>
                <a:gd name="T65" fmla="*/ 157 h 157"/>
                <a:gd name="T66" fmla="*/ 184 w 202"/>
                <a:gd name="T67" fmla="*/ 157 h 157"/>
                <a:gd name="T68" fmla="*/ 18 w 202"/>
                <a:gd name="T69" fmla="*/ 157 h 157"/>
                <a:gd name="T70" fmla="*/ 12 w 202"/>
                <a:gd name="T71" fmla="*/ 157 h 157"/>
                <a:gd name="T72" fmla="*/ 8 w 202"/>
                <a:gd name="T73" fmla="*/ 154 h 157"/>
                <a:gd name="T74" fmla="*/ 3 w 202"/>
                <a:gd name="T75" fmla="*/ 150 h 157"/>
                <a:gd name="T76" fmla="*/ 2 w 202"/>
                <a:gd name="T77" fmla="*/ 145 h 157"/>
                <a:gd name="T78" fmla="*/ 0 w 202"/>
                <a:gd name="T79" fmla="*/ 139 h 157"/>
                <a:gd name="T80" fmla="*/ 0 w 202"/>
                <a:gd name="T81" fmla="*/ 18 h 157"/>
                <a:gd name="T82" fmla="*/ 2 w 202"/>
                <a:gd name="T83" fmla="*/ 13 h 157"/>
                <a:gd name="T84" fmla="*/ 3 w 202"/>
                <a:gd name="T85" fmla="*/ 7 h 157"/>
                <a:gd name="T86" fmla="*/ 8 w 202"/>
                <a:gd name="T87" fmla="*/ 4 h 157"/>
                <a:gd name="T88" fmla="*/ 12 w 202"/>
                <a:gd name="T89" fmla="*/ 1 h 157"/>
                <a:gd name="T90" fmla="*/ 18 w 202"/>
                <a:gd name="T9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2" h="157">
                  <a:moveTo>
                    <a:pt x="18" y="9"/>
                  </a:moveTo>
                  <a:lnTo>
                    <a:pt x="15" y="9"/>
                  </a:lnTo>
                  <a:lnTo>
                    <a:pt x="12" y="12"/>
                  </a:lnTo>
                  <a:lnTo>
                    <a:pt x="9" y="15"/>
                  </a:lnTo>
                  <a:lnTo>
                    <a:pt x="9" y="18"/>
                  </a:lnTo>
                  <a:lnTo>
                    <a:pt x="9" y="139"/>
                  </a:lnTo>
                  <a:lnTo>
                    <a:pt x="9" y="144"/>
                  </a:lnTo>
                  <a:lnTo>
                    <a:pt x="12" y="147"/>
                  </a:lnTo>
                  <a:lnTo>
                    <a:pt x="15" y="148"/>
                  </a:lnTo>
                  <a:lnTo>
                    <a:pt x="18" y="150"/>
                  </a:lnTo>
                  <a:lnTo>
                    <a:pt x="184" y="150"/>
                  </a:lnTo>
                  <a:lnTo>
                    <a:pt x="188" y="148"/>
                  </a:lnTo>
                  <a:lnTo>
                    <a:pt x="191" y="147"/>
                  </a:lnTo>
                  <a:lnTo>
                    <a:pt x="193" y="144"/>
                  </a:lnTo>
                  <a:lnTo>
                    <a:pt x="194" y="139"/>
                  </a:lnTo>
                  <a:lnTo>
                    <a:pt x="194" y="18"/>
                  </a:lnTo>
                  <a:lnTo>
                    <a:pt x="193" y="15"/>
                  </a:lnTo>
                  <a:lnTo>
                    <a:pt x="191" y="12"/>
                  </a:lnTo>
                  <a:lnTo>
                    <a:pt x="188" y="9"/>
                  </a:lnTo>
                  <a:lnTo>
                    <a:pt x="184" y="9"/>
                  </a:lnTo>
                  <a:lnTo>
                    <a:pt x="18" y="9"/>
                  </a:lnTo>
                  <a:close/>
                  <a:moveTo>
                    <a:pt x="18" y="0"/>
                  </a:moveTo>
                  <a:lnTo>
                    <a:pt x="184" y="0"/>
                  </a:lnTo>
                  <a:lnTo>
                    <a:pt x="190" y="1"/>
                  </a:lnTo>
                  <a:lnTo>
                    <a:pt x="194" y="4"/>
                  </a:lnTo>
                  <a:lnTo>
                    <a:pt x="199" y="7"/>
                  </a:lnTo>
                  <a:lnTo>
                    <a:pt x="202" y="13"/>
                  </a:lnTo>
                  <a:lnTo>
                    <a:pt x="202" y="18"/>
                  </a:lnTo>
                  <a:lnTo>
                    <a:pt x="202" y="139"/>
                  </a:lnTo>
                  <a:lnTo>
                    <a:pt x="202" y="145"/>
                  </a:lnTo>
                  <a:lnTo>
                    <a:pt x="199" y="150"/>
                  </a:lnTo>
                  <a:lnTo>
                    <a:pt x="194" y="154"/>
                  </a:lnTo>
                  <a:lnTo>
                    <a:pt x="190" y="157"/>
                  </a:lnTo>
                  <a:lnTo>
                    <a:pt x="184" y="157"/>
                  </a:lnTo>
                  <a:lnTo>
                    <a:pt x="18" y="157"/>
                  </a:lnTo>
                  <a:lnTo>
                    <a:pt x="12" y="157"/>
                  </a:lnTo>
                  <a:lnTo>
                    <a:pt x="8" y="154"/>
                  </a:lnTo>
                  <a:lnTo>
                    <a:pt x="3" y="150"/>
                  </a:lnTo>
                  <a:lnTo>
                    <a:pt x="2" y="145"/>
                  </a:lnTo>
                  <a:lnTo>
                    <a:pt x="0" y="139"/>
                  </a:lnTo>
                  <a:lnTo>
                    <a:pt x="0" y="18"/>
                  </a:lnTo>
                  <a:lnTo>
                    <a:pt x="2" y="13"/>
                  </a:lnTo>
                  <a:lnTo>
                    <a:pt x="3" y="7"/>
                  </a:lnTo>
                  <a:lnTo>
                    <a:pt x="8" y="4"/>
                  </a:lnTo>
                  <a:lnTo>
                    <a:pt x="12" y="1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9" name="Freeform 25"/>
            <p:cNvSpPr>
              <a:spLocks noEditPoints="1"/>
            </p:cNvSpPr>
            <p:nvPr/>
          </p:nvSpPr>
          <p:spPr bwMode="auto">
            <a:xfrm>
              <a:off x="6200402" y="1581955"/>
              <a:ext cx="258763" cy="166688"/>
            </a:xfrm>
            <a:custGeom>
              <a:avLst/>
              <a:gdLst>
                <a:gd name="T0" fmla="*/ 9 w 163"/>
                <a:gd name="T1" fmla="*/ 9 h 105"/>
                <a:gd name="T2" fmla="*/ 9 w 163"/>
                <a:gd name="T3" fmla="*/ 96 h 105"/>
                <a:gd name="T4" fmla="*/ 156 w 163"/>
                <a:gd name="T5" fmla="*/ 96 h 105"/>
                <a:gd name="T6" fmla="*/ 156 w 163"/>
                <a:gd name="T7" fmla="*/ 9 h 105"/>
                <a:gd name="T8" fmla="*/ 9 w 163"/>
                <a:gd name="T9" fmla="*/ 9 h 105"/>
                <a:gd name="T10" fmla="*/ 6 w 163"/>
                <a:gd name="T11" fmla="*/ 0 h 105"/>
                <a:gd name="T12" fmla="*/ 157 w 163"/>
                <a:gd name="T13" fmla="*/ 0 h 105"/>
                <a:gd name="T14" fmla="*/ 160 w 163"/>
                <a:gd name="T15" fmla="*/ 2 h 105"/>
                <a:gd name="T16" fmla="*/ 163 w 163"/>
                <a:gd name="T17" fmla="*/ 3 h 105"/>
                <a:gd name="T18" fmla="*/ 163 w 163"/>
                <a:gd name="T19" fmla="*/ 8 h 105"/>
                <a:gd name="T20" fmla="*/ 163 w 163"/>
                <a:gd name="T21" fmla="*/ 99 h 105"/>
                <a:gd name="T22" fmla="*/ 163 w 163"/>
                <a:gd name="T23" fmla="*/ 102 h 105"/>
                <a:gd name="T24" fmla="*/ 160 w 163"/>
                <a:gd name="T25" fmla="*/ 104 h 105"/>
                <a:gd name="T26" fmla="*/ 157 w 163"/>
                <a:gd name="T27" fmla="*/ 105 h 105"/>
                <a:gd name="T28" fmla="*/ 6 w 163"/>
                <a:gd name="T29" fmla="*/ 105 h 105"/>
                <a:gd name="T30" fmla="*/ 3 w 163"/>
                <a:gd name="T31" fmla="*/ 104 h 105"/>
                <a:gd name="T32" fmla="*/ 2 w 163"/>
                <a:gd name="T33" fmla="*/ 102 h 105"/>
                <a:gd name="T34" fmla="*/ 0 w 163"/>
                <a:gd name="T35" fmla="*/ 99 h 105"/>
                <a:gd name="T36" fmla="*/ 0 w 163"/>
                <a:gd name="T37" fmla="*/ 8 h 105"/>
                <a:gd name="T38" fmla="*/ 2 w 163"/>
                <a:gd name="T39" fmla="*/ 3 h 105"/>
                <a:gd name="T40" fmla="*/ 3 w 163"/>
                <a:gd name="T41" fmla="*/ 2 h 105"/>
                <a:gd name="T42" fmla="*/ 6 w 163"/>
                <a:gd name="T4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3" h="105">
                  <a:moveTo>
                    <a:pt x="9" y="9"/>
                  </a:moveTo>
                  <a:lnTo>
                    <a:pt x="9" y="96"/>
                  </a:lnTo>
                  <a:lnTo>
                    <a:pt x="156" y="96"/>
                  </a:lnTo>
                  <a:lnTo>
                    <a:pt x="156" y="9"/>
                  </a:lnTo>
                  <a:lnTo>
                    <a:pt x="9" y="9"/>
                  </a:lnTo>
                  <a:close/>
                  <a:moveTo>
                    <a:pt x="6" y="0"/>
                  </a:moveTo>
                  <a:lnTo>
                    <a:pt x="157" y="0"/>
                  </a:lnTo>
                  <a:lnTo>
                    <a:pt x="160" y="2"/>
                  </a:lnTo>
                  <a:lnTo>
                    <a:pt x="163" y="3"/>
                  </a:lnTo>
                  <a:lnTo>
                    <a:pt x="163" y="8"/>
                  </a:lnTo>
                  <a:lnTo>
                    <a:pt x="163" y="99"/>
                  </a:lnTo>
                  <a:lnTo>
                    <a:pt x="163" y="102"/>
                  </a:lnTo>
                  <a:lnTo>
                    <a:pt x="160" y="104"/>
                  </a:lnTo>
                  <a:lnTo>
                    <a:pt x="157" y="105"/>
                  </a:lnTo>
                  <a:lnTo>
                    <a:pt x="6" y="105"/>
                  </a:lnTo>
                  <a:lnTo>
                    <a:pt x="3" y="104"/>
                  </a:lnTo>
                  <a:lnTo>
                    <a:pt x="2" y="102"/>
                  </a:lnTo>
                  <a:lnTo>
                    <a:pt x="0" y="99"/>
                  </a:lnTo>
                  <a:lnTo>
                    <a:pt x="0" y="8"/>
                  </a:lnTo>
                  <a:lnTo>
                    <a:pt x="2" y="3"/>
                  </a:lnTo>
                  <a:lnTo>
                    <a:pt x="3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0" name="Freeform 26"/>
            <p:cNvSpPr>
              <a:spLocks noEditPoints="1"/>
            </p:cNvSpPr>
            <p:nvPr/>
          </p:nvSpPr>
          <p:spPr bwMode="auto">
            <a:xfrm>
              <a:off x="6209927" y="1815318"/>
              <a:ext cx="238125" cy="42863"/>
            </a:xfrm>
            <a:custGeom>
              <a:avLst/>
              <a:gdLst>
                <a:gd name="T0" fmla="*/ 11 w 150"/>
                <a:gd name="T1" fmla="*/ 9 h 27"/>
                <a:gd name="T2" fmla="*/ 9 w 150"/>
                <a:gd name="T3" fmla="*/ 9 h 27"/>
                <a:gd name="T4" fmla="*/ 9 w 150"/>
                <a:gd name="T5" fmla="*/ 10 h 27"/>
                <a:gd name="T6" fmla="*/ 9 w 150"/>
                <a:gd name="T7" fmla="*/ 16 h 27"/>
                <a:gd name="T8" fmla="*/ 9 w 150"/>
                <a:gd name="T9" fmla="*/ 18 h 27"/>
                <a:gd name="T10" fmla="*/ 11 w 150"/>
                <a:gd name="T11" fmla="*/ 18 h 27"/>
                <a:gd name="T12" fmla="*/ 141 w 150"/>
                <a:gd name="T13" fmla="*/ 18 h 27"/>
                <a:gd name="T14" fmla="*/ 141 w 150"/>
                <a:gd name="T15" fmla="*/ 18 h 27"/>
                <a:gd name="T16" fmla="*/ 143 w 150"/>
                <a:gd name="T17" fmla="*/ 16 h 27"/>
                <a:gd name="T18" fmla="*/ 143 w 150"/>
                <a:gd name="T19" fmla="*/ 10 h 27"/>
                <a:gd name="T20" fmla="*/ 141 w 150"/>
                <a:gd name="T21" fmla="*/ 9 h 27"/>
                <a:gd name="T22" fmla="*/ 141 w 150"/>
                <a:gd name="T23" fmla="*/ 9 h 27"/>
                <a:gd name="T24" fmla="*/ 11 w 150"/>
                <a:gd name="T25" fmla="*/ 9 h 27"/>
                <a:gd name="T26" fmla="*/ 11 w 150"/>
                <a:gd name="T27" fmla="*/ 0 h 27"/>
                <a:gd name="T28" fmla="*/ 141 w 150"/>
                <a:gd name="T29" fmla="*/ 0 h 27"/>
                <a:gd name="T30" fmla="*/ 144 w 150"/>
                <a:gd name="T31" fmla="*/ 1 h 27"/>
                <a:gd name="T32" fmla="*/ 147 w 150"/>
                <a:gd name="T33" fmla="*/ 3 h 27"/>
                <a:gd name="T34" fmla="*/ 150 w 150"/>
                <a:gd name="T35" fmla="*/ 6 h 27"/>
                <a:gd name="T36" fmla="*/ 150 w 150"/>
                <a:gd name="T37" fmla="*/ 10 h 27"/>
                <a:gd name="T38" fmla="*/ 150 w 150"/>
                <a:gd name="T39" fmla="*/ 16 h 27"/>
                <a:gd name="T40" fmla="*/ 150 w 150"/>
                <a:gd name="T41" fmla="*/ 21 h 27"/>
                <a:gd name="T42" fmla="*/ 147 w 150"/>
                <a:gd name="T43" fmla="*/ 24 h 27"/>
                <a:gd name="T44" fmla="*/ 144 w 150"/>
                <a:gd name="T45" fmla="*/ 25 h 27"/>
                <a:gd name="T46" fmla="*/ 141 w 150"/>
                <a:gd name="T47" fmla="*/ 27 h 27"/>
                <a:gd name="T48" fmla="*/ 11 w 150"/>
                <a:gd name="T49" fmla="*/ 27 h 27"/>
                <a:gd name="T50" fmla="*/ 6 w 150"/>
                <a:gd name="T51" fmla="*/ 25 h 27"/>
                <a:gd name="T52" fmla="*/ 3 w 150"/>
                <a:gd name="T53" fmla="*/ 24 h 27"/>
                <a:gd name="T54" fmla="*/ 2 w 150"/>
                <a:gd name="T55" fmla="*/ 21 h 27"/>
                <a:gd name="T56" fmla="*/ 0 w 150"/>
                <a:gd name="T57" fmla="*/ 16 h 27"/>
                <a:gd name="T58" fmla="*/ 0 w 150"/>
                <a:gd name="T59" fmla="*/ 10 h 27"/>
                <a:gd name="T60" fmla="*/ 2 w 150"/>
                <a:gd name="T61" fmla="*/ 6 h 27"/>
                <a:gd name="T62" fmla="*/ 3 w 150"/>
                <a:gd name="T63" fmla="*/ 3 h 27"/>
                <a:gd name="T64" fmla="*/ 6 w 150"/>
                <a:gd name="T65" fmla="*/ 1 h 27"/>
                <a:gd name="T66" fmla="*/ 11 w 150"/>
                <a:gd name="T6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0" h="27">
                  <a:moveTo>
                    <a:pt x="11" y="9"/>
                  </a:moveTo>
                  <a:lnTo>
                    <a:pt x="9" y="9"/>
                  </a:lnTo>
                  <a:lnTo>
                    <a:pt x="9" y="10"/>
                  </a:lnTo>
                  <a:lnTo>
                    <a:pt x="9" y="16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3" y="16"/>
                  </a:lnTo>
                  <a:lnTo>
                    <a:pt x="143" y="10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1" y="9"/>
                  </a:lnTo>
                  <a:close/>
                  <a:moveTo>
                    <a:pt x="11" y="0"/>
                  </a:moveTo>
                  <a:lnTo>
                    <a:pt x="141" y="0"/>
                  </a:lnTo>
                  <a:lnTo>
                    <a:pt x="144" y="1"/>
                  </a:lnTo>
                  <a:lnTo>
                    <a:pt x="147" y="3"/>
                  </a:lnTo>
                  <a:lnTo>
                    <a:pt x="150" y="6"/>
                  </a:lnTo>
                  <a:lnTo>
                    <a:pt x="150" y="10"/>
                  </a:lnTo>
                  <a:lnTo>
                    <a:pt x="150" y="16"/>
                  </a:lnTo>
                  <a:lnTo>
                    <a:pt x="150" y="21"/>
                  </a:lnTo>
                  <a:lnTo>
                    <a:pt x="147" y="24"/>
                  </a:lnTo>
                  <a:lnTo>
                    <a:pt x="144" y="25"/>
                  </a:lnTo>
                  <a:lnTo>
                    <a:pt x="141" y="27"/>
                  </a:lnTo>
                  <a:lnTo>
                    <a:pt x="11" y="27"/>
                  </a:lnTo>
                  <a:lnTo>
                    <a:pt x="6" y="25"/>
                  </a:lnTo>
                  <a:lnTo>
                    <a:pt x="3" y="24"/>
                  </a:lnTo>
                  <a:lnTo>
                    <a:pt x="2" y="21"/>
                  </a:lnTo>
                  <a:lnTo>
                    <a:pt x="0" y="16"/>
                  </a:lnTo>
                  <a:lnTo>
                    <a:pt x="0" y="10"/>
                  </a:lnTo>
                  <a:lnTo>
                    <a:pt x="2" y="6"/>
                  </a:lnTo>
                  <a:lnTo>
                    <a:pt x="3" y="3"/>
                  </a:lnTo>
                  <a:lnTo>
                    <a:pt x="6" y="1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1" name="Freeform 27"/>
            <p:cNvSpPr>
              <a:spLocks/>
            </p:cNvSpPr>
            <p:nvPr/>
          </p:nvSpPr>
          <p:spPr bwMode="auto">
            <a:xfrm>
              <a:off x="6295652" y="1624818"/>
              <a:ext cx="84138" cy="84138"/>
            </a:xfrm>
            <a:custGeom>
              <a:avLst/>
              <a:gdLst>
                <a:gd name="T0" fmla="*/ 4 w 53"/>
                <a:gd name="T1" fmla="*/ 0 h 53"/>
                <a:gd name="T2" fmla="*/ 7 w 53"/>
                <a:gd name="T3" fmla="*/ 1 h 53"/>
                <a:gd name="T4" fmla="*/ 52 w 53"/>
                <a:gd name="T5" fmla="*/ 24 h 53"/>
                <a:gd name="T6" fmla="*/ 53 w 53"/>
                <a:gd name="T7" fmla="*/ 25 h 53"/>
                <a:gd name="T8" fmla="*/ 53 w 53"/>
                <a:gd name="T9" fmla="*/ 27 h 53"/>
                <a:gd name="T10" fmla="*/ 53 w 53"/>
                <a:gd name="T11" fmla="*/ 29 h 53"/>
                <a:gd name="T12" fmla="*/ 52 w 53"/>
                <a:gd name="T13" fmla="*/ 31 h 53"/>
                <a:gd name="T14" fmla="*/ 7 w 53"/>
                <a:gd name="T15" fmla="*/ 53 h 53"/>
                <a:gd name="T16" fmla="*/ 4 w 53"/>
                <a:gd name="T17" fmla="*/ 53 h 53"/>
                <a:gd name="T18" fmla="*/ 1 w 53"/>
                <a:gd name="T19" fmla="*/ 53 h 53"/>
                <a:gd name="T20" fmla="*/ 0 w 53"/>
                <a:gd name="T21" fmla="*/ 52 h 53"/>
                <a:gd name="T22" fmla="*/ 0 w 53"/>
                <a:gd name="T23" fmla="*/ 49 h 53"/>
                <a:gd name="T24" fmla="*/ 0 w 53"/>
                <a:gd name="T25" fmla="*/ 4 h 53"/>
                <a:gd name="T26" fmla="*/ 0 w 53"/>
                <a:gd name="T27" fmla="*/ 3 h 53"/>
                <a:gd name="T28" fmla="*/ 1 w 53"/>
                <a:gd name="T29" fmla="*/ 1 h 53"/>
                <a:gd name="T30" fmla="*/ 4 w 53"/>
                <a:gd name="T31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53">
                  <a:moveTo>
                    <a:pt x="4" y="0"/>
                  </a:moveTo>
                  <a:lnTo>
                    <a:pt x="7" y="1"/>
                  </a:lnTo>
                  <a:lnTo>
                    <a:pt x="52" y="24"/>
                  </a:lnTo>
                  <a:lnTo>
                    <a:pt x="53" y="25"/>
                  </a:lnTo>
                  <a:lnTo>
                    <a:pt x="53" y="27"/>
                  </a:lnTo>
                  <a:lnTo>
                    <a:pt x="53" y="29"/>
                  </a:lnTo>
                  <a:lnTo>
                    <a:pt x="52" y="31"/>
                  </a:lnTo>
                  <a:lnTo>
                    <a:pt x="7" y="53"/>
                  </a:lnTo>
                  <a:lnTo>
                    <a:pt x="4" y="53"/>
                  </a:lnTo>
                  <a:lnTo>
                    <a:pt x="1" y="53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2" name="Freeform 28"/>
            <p:cNvSpPr>
              <a:spLocks/>
            </p:cNvSpPr>
            <p:nvPr/>
          </p:nvSpPr>
          <p:spPr bwMode="auto">
            <a:xfrm>
              <a:off x="6395664" y="1756580"/>
              <a:ext cx="23813" cy="23813"/>
            </a:xfrm>
            <a:custGeom>
              <a:avLst/>
              <a:gdLst>
                <a:gd name="T0" fmla="*/ 8 w 15"/>
                <a:gd name="T1" fmla="*/ 0 h 15"/>
                <a:gd name="T2" fmla="*/ 11 w 15"/>
                <a:gd name="T3" fmla="*/ 1 h 15"/>
                <a:gd name="T4" fmla="*/ 14 w 15"/>
                <a:gd name="T5" fmla="*/ 4 h 15"/>
                <a:gd name="T6" fmla="*/ 15 w 15"/>
                <a:gd name="T7" fmla="*/ 7 h 15"/>
                <a:gd name="T8" fmla="*/ 14 w 15"/>
                <a:gd name="T9" fmla="*/ 12 h 15"/>
                <a:gd name="T10" fmla="*/ 11 w 15"/>
                <a:gd name="T11" fmla="*/ 15 h 15"/>
                <a:gd name="T12" fmla="*/ 8 w 15"/>
                <a:gd name="T13" fmla="*/ 15 h 15"/>
                <a:gd name="T14" fmla="*/ 3 w 15"/>
                <a:gd name="T15" fmla="*/ 15 h 15"/>
                <a:gd name="T16" fmla="*/ 0 w 15"/>
                <a:gd name="T17" fmla="*/ 12 h 15"/>
                <a:gd name="T18" fmla="*/ 0 w 15"/>
                <a:gd name="T19" fmla="*/ 7 h 15"/>
                <a:gd name="T20" fmla="*/ 0 w 15"/>
                <a:gd name="T21" fmla="*/ 4 h 15"/>
                <a:gd name="T22" fmla="*/ 3 w 15"/>
                <a:gd name="T23" fmla="*/ 1 h 15"/>
                <a:gd name="T24" fmla="*/ 8 w 15"/>
                <a:gd name="T2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15">
                  <a:moveTo>
                    <a:pt x="8" y="0"/>
                  </a:moveTo>
                  <a:lnTo>
                    <a:pt x="11" y="1"/>
                  </a:lnTo>
                  <a:lnTo>
                    <a:pt x="14" y="4"/>
                  </a:lnTo>
                  <a:lnTo>
                    <a:pt x="15" y="7"/>
                  </a:lnTo>
                  <a:lnTo>
                    <a:pt x="14" y="12"/>
                  </a:lnTo>
                  <a:lnTo>
                    <a:pt x="11" y="15"/>
                  </a:lnTo>
                  <a:lnTo>
                    <a:pt x="8" y="15"/>
                  </a:lnTo>
                  <a:lnTo>
                    <a:pt x="3" y="15"/>
                  </a:lnTo>
                  <a:lnTo>
                    <a:pt x="0" y="12"/>
                  </a:lnTo>
                  <a:lnTo>
                    <a:pt x="0" y="7"/>
                  </a:lnTo>
                  <a:lnTo>
                    <a:pt x="0" y="4"/>
                  </a:lnTo>
                  <a:lnTo>
                    <a:pt x="3" y="1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3" name="Freeform 29"/>
            <p:cNvSpPr>
              <a:spLocks/>
            </p:cNvSpPr>
            <p:nvPr/>
          </p:nvSpPr>
          <p:spPr bwMode="auto">
            <a:xfrm>
              <a:off x="6429002" y="1756580"/>
              <a:ext cx="20638" cy="23813"/>
            </a:xfrm>
            <a:custGeom>
              <a:avLst/>
              <a:gdLst>
                <a:gd name="T0" fmla="*/ 8 w 13"/>
                <a:gd name="T1" fmla="*/ 0 h 15"/>
                <a:gd name="T2" fmla="*/ 11 w 13"/>
                <a:gd name="T3" fmla="*/ 1 h 15"/>
                <a:gd name="T4" fmla="*/ 13 w 13"/>
                <a:gd name="T5" fmla="*/ 4 h 15"/>
                <a:gd name="T6" fmla="*/ 13 w 13"/>
                <a:gd name="T7" fmla="*/ 7 h 15"/>
                <a:gd name="T8" fmla="*/ 13 w 13"/>
                <a:gd name="T9" fmla="*/ 12 h 15"/>
                <a:gd name="T10" fmla="*/ 11 w 13"/>
                <a:gd name="T11" fmla="*/ 15 h 15"/>
                <a:gd name="T12" fmla="*/ 8 w 13"/>
                <a:gd name="T13" fmla="*/ 15 h 15"/>
                <a:gd name="T14" fmla="*/ 3 w 13"/>
                <a:gd name="T15" fmla="*/ 15 h 15"/>
                <a:gd name="T16" fmla="*/ 0 w 13"/>
                <a:gd name="T17" fmla="*/ 12 h 15"/>
                <a:gd name="T18" fmla="*/ 0 w 13"/>
                <a:gd name="T19" fmla="*/ 7 h 15"/>
                <a:gd name="T20" fmla="*/ 0 w 13"/>
                <a:gd name="T21" fmla="*/ 4 h 15"/>
                <a:gd name="T22" fmla="*/ 3 w 13"/>
                <a:gd name="T23" fmla="*/ 1 h 15"/>
                <a:gd name="T24" fmla="*/ 8 w 13"/>
                <a:gd name="T2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15">
                  <a:moveTo>
                    <a:pt x="8" y="0"/>
                  </a:moveTo>
                  <a:lnTo>
                    <a:pt x="11" y="1"/>
                  </a:lnTo>
                  <a:lnTo>
                    <a:pt x="13" y="4"/>
                  </a:lnTo>
                  <a:lnTo>
                    <a:pt x="13" y="7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15"/>
                  </a:lnTo>
                  <a:lnTo>
                    <a:pt x="3" y="15"/>
                  </a:lnTo>
                  <a:lnTo>
                    <a:pt x="0" y="12"/>
                  </a:lnTo>
                  <a:lnTo>
                    <a:pt x="0" y="7"/>
                  </a:lnTo>
                  <a:lnTo>
                    <a:pt x="0" y="4"/>
                  </a:lnTo>
                  <a:lnTo>
                    <a:pt x="3" y="1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201" name="Group 200"/>
          <p:cNvGrpSpPr/>
          <p:nvPr/>
        </p:nvGrpSpPr>
        <p:grpSpPr>
          <a:xfrm>
            <a:off x="3619806" y="4579566"/>
            <a:ext cx="454337" cy="485174"/>
            <a:chOff x="4481139" y="1489880"/>
            <a:chExt cx="350838" cy="374651"/>
          </a:xfrm>
          <a:solidFill>
            <a:schemeClr val="accent3"/>
          </a:solidFill>
        </p:grpSpPr>
        <p:sp>
          <p:nvSpPr>
            <p:cNvPr id="124" name="Freeform 70"/>
            <p:cNvSpPr>
              <a:spLocks noEditPoints="1"/>
            </p:cNvSpPr>
            <p:nvPr/>
          </p:nvSpPr>
          <p:spPr bwMode="auto">
            <a:xfrm>
              <a:off x="4481139" y="1489880"/>
              <a:ext cx="350838" cy="134938"/>
            </a:xfrm>
            <a:custGeom>
              <a:avLst/>
              <a:gdLst>
                <a:gd name="T0" fmla="*/ 111 w 221"/>
                <a:gd name="T1" fmla="*/ 9 h 85"/>
                <a:gd name="T2" fmla="*/ 108 w 221"/>
                <a:gd name="T3" fmla="*/ 9 h 85"/>
                <a:gd name="T4" fmla="*/ 105 w 221"/>
                <a:gd name="T5" fmla="*/ 11 h 85"/>
                <a:gd name="T6" fmla="*/ 105 w 221"/>
                <a:gd name="T7" fmla="*/ 11 h 85"/>
                <a:gd name="T8" fmla="*/ 9 w 221"/>
                <a:gd name="T9" fmla="*/ 76 h 85"/>
                <a:gd name="T10" fmla="*/ 9 w 221"/>
                <a:gd name="T11" fmla="*/ 76 h 85"/>
                <a:gd name="T12" fmla="*/ 8 w 221"/>
                <a:gd name="T13" fmla="*/ 76 h 85"/>
                <a:gd name="T14" fmla="*/ 8 w 221"/>
                <a:gd name="T15" fmla="*/ 77 h 85"/>
                <a:gd name="T16" fmla="*/ 9 w 221"/>
                <a:gd name="T17" fmla="*/ 77 h 85"/>
                <a:gd name="T18" fmla="*/ 212 w 221"/>
                <a:gd name="T19" fmla="*/ 77 h 85"/>
                <a:gd name="T20" fmla="*/ 116 w 221"/>
                <a:gd name="T21" fmla="*/ 11 h 85"/>
                <a:gd name="T22" fmla="*/ 116 w 221"/>
                <a:gd name="T23" fmla="*/ 11 h 85"/>
                <a:gd name="T24" fmla="*/ 114 w 221"/>
                <a:gd name="T25" fmla="*/ 9 h 85"/>
                <a:gd name="T26" fmla="*/ 111 w 221"/>
                <a:gd name="T27" fmla="*/ 9 h 85"/>
                <a:gd name="T28" fmla="*/ 110 w 221"/>
                <a:gd name="T29" fmla="*/ 0 h 85"/>
                <a:gd name="T30" fmla="*/ 114 w 221"/>
                <a:gd name="T31" fmla="*/ 2 h 85"/>
                <a:gd name="T32" fmla="*/ 117 w 221"/>
                <a:gd name="T33" fmla="*/ 2 h 85"/>
                <a:gd name="T34" fmla="*/ 120 w 221"/>
                <a:gd name="T35" fmla="*/ 5 h 85"/>
                <a:gd name="T36" fmla="*/ 217 w 221"/>
                <a:gd name="T37" fmla="*/ 70 h 85"/>
                <a:gd name="T38" fmla="*/ 217 w 221"/>
                <a:gd name="T39" fmla="*/ 70 h 85"/>
                <a:gd name="T40" fmla="*/ 220 w 221"/>
                <a:gd name="T41" fmla="*/ 73 h 85"/>
                <a:gd name="T42" fmla="*/ 221 w 221"/>
                <a:gd name="T43" fmla="*/ 74 h 85"/>
                <a:gd name="T44" fmla="*/ 221 w 221"/>
                <a:gd name="T45" fmla="*/ 77 h 85"/>
                <a:gd name="T46" fmla="*/ 220 w 221"/>
                <a:gd name="T47" fmla="*/ 80 h 85"/>
                <a:gd name="T48" fmla="*/ 218 w 221"/>
                <a:gd name="T49" fmla="*/ 83 h 85"/>
                <a:gd name="T50" fmla="*/ 217 w 221"/>
                <a:gd name="T51" fmla="*/ 85 h 85"/>
                <a:gd name="T52" fmla="*/ 214 w 221"/>
                <a:gd name="T53" fmla="*/ 85 h 85"/>
                <a:gd name="T54" fmla="*/ 9 w 221"/>
                <a:gd name="T55" fmla="*/ 85 h 85"/>
                <a:gd name="T56" fmla="*/ 6 w 221"/>
                <a:gd name="T57" fmla="*/ 85 h 85"/>
                <a:gd name="T58" fmla="*/ 3 w 221"/>
                <a:gd name="T59" fmla="*/ 83 h 85"/>
                <a:gd name="T60" fmla="*/ 2 w 221"/>
                <a:gd name="T61" fmla="*/ 82 h 85"/>
                <a:gd name="T62" fmla="*/ 0 w 221"/>
                <a:gd name="T63" fmla="*/ 80 h 85"/>
                <a:gd name="T64" fmla="*/ 0 w 221"/>
                <a:gd name="T65" fmla="*/ 79 h 85"/>
                <a:gd name="T66" fmla="*/ 0 w 221"/>
                <a:gd name="T67" fmla="*/ 74 h 85"/>
                <a:gd name="T68" fmla="*/ 2 w 221"/>
                <a:gd name="T69" fmla="*/ 73 h 85"/>
                <a:gd name="T70" fmla="*/ 3 w 221"/>
                <a:gd name="T71" fmla="*/ 70 h 85"/>
                <a:gd name="T72" fmla="*/ 6 w 221"/>
                <a:gd name="T73" fmla="*/ 69 h 85"/>
                <a:gd name="T74" fmla="*/ 101 w 221"/>
                <a:gd name="T75" fmla="*/ 5 h 85"/>
                <a:gd name="T76" fmla="*/ 105 w 221"/>
                <a:gd name="T77" fmla="*/ 2 h 85"/>
                <a:gd name="T78" fmla="*/ 110 w 221"/>
                <a:gd name="T7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1" h="85">
                  <a:moveTo>
                    <a:pt x="111" y="9"/>
                  </a:moveTo>
                  <a:lnTo>
                    <a:pt x="108" y="9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8" y="76"/>
                  </a:lnTo>
                  <a:lnTo>
                    <a:pt x="8" y="77"/>
                  </a:lnTo>
                  <a:lnTo>
                    <a:pt x="9" y="77"/>
                  </a:lnTo>
                  <a:lnTo>
                    <a:pt x="212" y="77"/>
                  </a:lnTo>
                  <a:lnTo>
                    <a:pt x="116" y="11"/>
                  </a:lnTo>
                  <a:lnTo>
                    <a:pt x="116" y="11"/>
                  </a:lnTo>
                  <a:lnTo>
                    <a:pt x="114" y="9"/>
                  </a:lnTo>
                  <a:lnTo>
                    <a:pt x="111" y="9"/>
                  </a:lnTo>
                  <a:close/>
                  <a:moveTo>
                    <a:pt x="110" y="0"/>
                  </a:moveTo>
                  <a:lnTo>
                    <a:pt x="114" y="2"/>
                  </a:lnTo>
                  <a:lnTo>
                    <a:pt x="117" y="2"/>
                  </a:lnTo>
                  <a:lnTo>
                    <a:pt x="120" y="5"/>
                  </a:lnTo>
                  <a:lnTo>
                    <a:pt x="217" y="70"/>
                  </a:lnTo>
                  <a:lnTo>
                    <a:pt x="217" y="70"/>
                  </a:lnTo>
                  <a:lnTo>
                    <a:pt x="220" y="73"/>
                  </a:lnTo>
                  <a:lnTo>
                    <a:pt x="221" y="74"/>
                  </a:lnTo>
                  <a:lnTo>
                    <a:pt x="221" y="77"/>
                  </a:lnTo>
                  <a:lnTo>
                    <a:pt x="220" y="80"/>
                  </a:lnTo>
                  <a:lnTo>
                    <a:pt x="218" y="83"/>
                  </a:lnTo>
                  <a:lnTo>
                    <a:pt x="217" y="85"/>
                  </a:lnTo>
                  <a:lnTo>
                    <a:pt x="214" y="85"/>
                  </a:lnTo>
                  <a:lnTo>
                    <a:pt x="9" y="85"/>
                  </a:lnTo>
                  <a:lnTo>
                    <a:pt x="6" y="85"/>
                  </a:lnTo>
                  <a:lnTo>
                    <a:pt x="3" y="83"/>
                  </a:lnTo>
                  <a:lnTo>
                    <a:pt x="2" y="82"/>
                  </a:lnTo>
                  <a:lnTo>
                    <a:pt x="0" y="80"/>
                  </a:lnTo>
                  <a:lnTo>
                    <a:pt x="0" y="79"/>
                  </a:lnTo>
                  <a:lnTo>
                    <a:pt x="0" y="74"/>
                  </a:lnTo>
                  <a:lnTo>
                    <a:pt x="2" y="73"/>
                  </a:lnTo>
                  <a:lnTo>
                    <a:pt x="3" y="70"/>
                  </a:lnTo>
                  <a:lnTo>
                    <a:pt x="6" y="69"/>
                  </a:lnTo>
                  <a:lnTo>
                    <a:pt x="101" y="5"/>
                  </a:lnTo>
                  <a:lnTo>
                    <a:pt x="105" y="2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5" name="Freeform 71"/>
            <p:cNvSpPr>
              <a:spLocks noEditPoints="1"/>
            </p:cNvSpPr>
            <p:nvPr/>
          </p:nvSpPr>
          <p:spPr bwMode="auto">
            <a:xfrm>
              <a:off x="4524002" y="1640693"/>
              <a:ext cx="58738" cy="155575"/>
            </a:xfrm>
            <a:custGeom>
              <a:avLst/>
              <a:gdLst>
                <a:gd name="T0" fmla="*/ 10 w 37"/>
                <a:gd name="T1" fmla="*/ 8 h 98"/>
                <a:gd name="T2" fmla="*/ 7 w 37"/>
                <a:gd name="T3" fmla="*/ 9 h 98"/>
                <a:gd name="T4" fmla="*/ 7 w 37"/>
                <a:gd name="T5" fmla="*/ 11 h 98"/>
                <a:gd name="T6" fmla="*/ 7 w 37"/>
                <a:gd name="T7" fmla="*/ 88 h 98"/>
                <a:gd name="T8" fmla="*/ 7 w 37"/>
                <a:gd name="T9" fmla="*/ 89 h 98"/>
                <a:gd name="T10" fmla="*/ 10 w 37"/>
                <a:gd name="T11" fmla="*/ 91 h 98"/>
                <a:gd name="T12" fmla="*/ 27 w 37"/>
                <a:gd name="T13" fmla="*/ 91 h 98"/>
                <a:gd name="T14" fmla="*/ 28 w 37"/>
                <a:gd name="T15" fmla="*/ 89 h 98"/>
                <a:gd name="T16" fmla="*/ 28 w 37"/>
                <a:gd name="T17" fmla="*/ 88 h 98"/>
                <a:gd name="T18" fmla="*/ 28 w 37"/>
                <a:gd name="T19" fmla="*/ 11 h 98"/>
                <a:gd name="T20" fmla="*/ 28 w 37"/>
                <a:gd name="T21" fmla="*/ 9 h 98"/>
                <a:gd name="T22" fmla="*/ 27 w 37"/>
                <a:gd name="T23" fmla="*/ 8 h 98"/>
                <a:gd name="T24" fmla="*/ 10 w 37"/>
                <a:gd name="T25" fmla="*/ 8 h 98"/>
                <a:gd name="T26" fmla="*/ 10 w 37"/>
                <a:gd name="T27" fmla="*/ 0 h 98"/>
                <a:gd name="T28" fmla="*/ 27 w 37"/>
                <a:gd name="T29" fmla="*/ 0 h 98"/>
                <a:gd name="T30" fmla="*/ 30 w 37"/>
                <a:gd name="T31" fmla="*/ 0 h 98"/>
                <a:gd name="T32" fmla="*/ 34 w 37"/>
                <a:gd name="T33" fmla="*/ 3 h 98"/>
                <a:gd name="T34" fmla="*/ 35 w 37"/>
                <a:gd name="T35" fmla="*/ 6 h 98"/>
                <a:gd name="T36" fmla="*/ 37 w 37"/>
                <a:gd name="T37" fmla="*/ 11 h 98"/>
                <a:gd name="T38" fmla="*/ 37 w 37"/>
                <a:gd name="T39" fmla="*/ 88 h 98"/>
                <a:gd name="T40" fmla="*/ 35 w 37"/>
                <a:gd name="T41" fmla="*/ 92 h 98"/>
                <a:gd name="T42" fmla="*/ 34 w 37"/>
                <a:gd name="T43" fmla="*/ 95 h 98"/>
                <a:gd name="T44" fmla="*/ 30 w 37"/>
                <a:gd name="T45" fmla="*/ 97 h 98"/>
                <a:gd name="T46" fmla="*/ 27 w 37"/>
                <a:gd name="T47" fmla="*/ 98 h 98"/>
                <a:gd name="T48" fmla="*/ 10 w 37"/>
                <a:gd name="T49" fmla="*/ 98 h 98"/>
                <a:gd name="T50" fmla="*/ 6 w 37"/>
                <a:gd name="T51" fmla="*/ 97 h 98"/>
                <a:gd name="T52" fmla="*/ 3 w 37"/>
                <a:gd name="T53" fmla="*/ 95 h 98"/>
                <a:gd name="T54" fmla="*/ 0 w 37"/>
                <a:gd name="T55" fmla="*/ 92 h 98"/>
                <a:gd name="T56" fmla="*/ 0 w 37"/>
                <a:gd name="T57" fmla="*/ 88 h 98"/>
                <a:gd name="T58" fmla="*/ 0 w 37"/>
                <a:gd name="T59" fmla="*/ 11 h 98"/>
                <a:gd name="T60" fmla="*/ 0 w 37"/>
                <a:gd name="T61" fmla="*/ 6 h 98"/>
                <a:gd name="T62" fmla="*/ 3 w 37"/>
                <a:gd name="T63" fmla="*/ 3 h 98"/>
                <a:gd name="T64" fmla="*/ 6 w 37"/>
                <a:gd name="T65" fmla="*/ 0 h 98"/>
                <a:gd name="T66" fmla="*/ 10 w 37"/>
                <a:gd name="T67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7" h="98">
                  <a:moveTo>
                    <a:pt x="10" y="8"/>
                  </a:moveTo>
                  <a:lnTo>
                    <a:pt x="7" y="9"/>
                  </a:lnTo>
                  <a:lnTo>
                    <a:pt x="7" y="11"/>
                  </a:lnTo>
                  <a:lnTo>
                    <a:pt x="7" y="88"/>
                  </a:lnTo>
                  <a:lnTo>
                    <a:pt x="7" y="89"/>
                  </a:lnTo>
                  <a:lnTo>
                    <a:pt x="10" y="91"/>
                  </a:lnTo>
                  <a:lnTo>
                    <a:pt x="27" y="91"/>
                  </a:lnTo>
                  <a:lnTo>
                    <a:pt x="28" y="89"/>
                  </a:lnTo>
                  <a:lnTo>
                    <a:pt x="28" y="88"/>
                  </a:lnTo>
                  <a:lnTo>
                    <a:pt x="28" y="11"/>
                  </a:lnTo>
                  <a:lnTo>
                    <a:pt x="28" y="9"/>
                  </a:lnTo>
                  <a:lnTo>
                    <a:pt x="27" y="8"/>
                  </a:lnTo>
                  <a:lnTo>
                    <a:pt x="10" y="8"/>
                  </a:lnTo>
                  <a:close/>
                  <a:moveTo>
                    <a:pt x="10" y="0"/>
                  </a:moveTo>
                  <a:lnTo>
                    <a:pt x="27" y="0"/>
                  </a:lnTo>
                  <a:lnTo>
                    <a:pt x="30" y="0"/>
                  </a:lnTo>
                  <a:lnTo>
                    <a:pt x="34" y="3"/>
                  </a:lnTo>
                  <a:lnTo>
                    <a:pt x="35" y="6"/>
                  </a:lnTo>
                  <a:lnTo>
                    <a:pt x="37" y="11"/>
                  </a:lnTo>
                  <a:lnTo>
                    <a:pt x="37" y="88"/>
                  </a:lnTo>
                  <a:lnTo>
                    <a:pt x="35" y="92"/>
                  </a:lnTo>
                  <a:lnTo>
                    <a:pt x="34" y="95"/>
                  </a:lnTo>
                  <a:lnTo>
                    <a:pt x="30" y="97"/>
                  </a:lnTo>
                  <a:lnTo>
                    <a:pt x="27" y="98"/>
                  </a:lnTo>
                  <a:lnTo>
                    <a:pt x="10" y="98"/>
                  </a:lnTo>
                  <a:lnTo>
                    <a:pt x="6" y="97"/>
                  </a:lnTo>
                  <a:lnTo>
                    <a:pt x="3" y="95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11"/>
                  </a:lnTo>
                  <a:lnTo>
                    <a:pt x="0" y="6"/>
                  </a:lnTo>
                  <a:lnTo>
                    <a:pt x="3" y="3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6" name="Freeform 72"/>
            <p:cNvSpPr>
              <a:spLocks noEditPoints="1"/>
            </p:cNvSpPr>
            <p:nvPr/>
          </p:nvSpPr>
          <p:spPr bwMode="auto">
            <a:xfrm>
              <a:off x="4627189" y="1640693"/>
              <a:ext cx="58738" cy="155575"/>
            </a:xfrm>
            <a:custGeom>
              <a:avLst/>
              <a:gdLst>
                <a:gd name="T0" fmla="*/ 10 w 37"/>
                <a:gd name="T1" fmla="*/ 8 h 98"/>
                <a:gd name="T2" fmla="*/ 9 w 37"/>
                <a:gd name="T3" fmla="*/ 9 h 98"/>
                <a:gd name="T4" fmla="*/ 7 w 37"/>
                <a:gd name="T5" fmla="*/ 11 h 98"/>
                <a:gd name="T6" fmla="*/ 7 w 37"/>
                <a:gd name="T7" fmla="*/ 88 h 98"/>
                <a:gd name="T8" fmla="*/ 9 w 37"/>
                <a:gd name="T9" fmla="*/ 89 h 98"/>
                <a:gd name="T10" fmla="*/ 10 w 37"/>
                <a:gd name="T11" fmla="*/ 91 h 98"/>
                <a:gd name="T12" fmla="*/ 27 w 37"/>
                <a:gd name="T13" fmla="*/ 91 h 98"/>
                <a:gd name="T14" fmla="*/ 28 w 37"/>
                <a:gd name="T15" fmla="*/ 89 h 98"/>
                <a:gd name="T16" fmla="*/ 28 w 37"/>
                <a:gd name="T17" fmla="*/ 88 h 98"/>
                <a:gd name="T18" fmla="*/ 28 w 37"/>
                <a:gd name="T19" fmla="*/ 11 h 98"/>
                <a:gd name="T20" fmla="*/ 28 w 37"/>
                <a:gd name="T21" fmla="*/ 9 h 98"/>
                <a:gd name="T22" fmla="*/ 27 w 37"/>
                <a:gd name="T23" fmla="*/ 8 h 98"/>
                <a:gd name="T24" fmla="*/ 10 w 37"/>
                <a:gd name="T25" fmla="*/ 8 h 98"/>
                <a:gd name="T26" fmla="*/ 10 w 37"/>
                <a:gd name="T27" fmla="*/ 0 h 98"/>
                <a:gd name="T28" fmla="*/ 27 w 37"/>
                <a:gd name="T29" fmla="*/ 0 h 98"/>
                <a:gd name="T30" fmla="*/ 31 w 37"/>
                <a:gd name="T31" fmla="*/ 0 h 98"/>
                <a:gd name="T32" fmla="*/ 34 w 37"/>
                <a:gd name="T33" fmla="*/ 3 h 98"/>
                <a:gd name="T34" fmla="*/ 36 w 37"/>
                <a:gd name="T35" fmla="*/ 6 h 98"/>
                <a:gd name="T36" fmla="*/ 37 w 37"/>
                <a:gd name="T37" fmla="*/ 11 h 98"/>
                <a:gd name="T38" fmla="*/ 37 w 37"/>
                <a:gd name="T39" fmla="*/ 88 h 98"/>
                <a:gd name="T40" fmla="*/ 36 w 37"/>
                <a:gd name="T41" fmla="*/ 92 h 98"/>
                <a:gd name="T42" fmla="*/ 34 w 37"/>
                <a:gd name="T43" fmla="*/ 95 h 98"/>
                <a:gd name="T44" fmla="*/ 31 w 37"/>
                <a:gd name="T45" fmla="*/ 97 h 98"/>
                <a:gd name="T46" fmla="*/ 27 w 37"/>
                <a:gd name="T47" fmla="*/ 98 h 98"/>
                <a:gd name="T48" fmla="*/ 10 w 37"/>
                <a:gd name="T49" fmla="*/ 98 h 98"/>
                <a:gd name="T50" fmla="*/ 6 w 37"/>
                <a:gd name="T51" fmla="*/ 97 h 98"/>
                <a:gd name="T52" fmla="*/ 3 w 37"/>
                <a:gd name="T53" fmla="*/ 95 h 98"/>
                <a:gd name="T54" fmla="*/ 0 w 37"/>
                <a:gd name="T55" fmla="*/ 92 h 98"/>
                <a:gd name="T56" fmla="*/ 0 w 37"/>
                <a:gd name="T57" fmla="*/ 88 h 98"/>
                <a:gd name="T58" fmla="*/ 0 w 37"/>
                <a:gd name="T59" fmla="*/ 11 h 98"/>
                <a:gd name="T60" fmla="*/ 0 w 37"/>
                <a:gd name="T61" fmla="*/ 6 h 98"/>
                <a:gd name="T62" fmla="*/ 3 w 37"/>
                <a:gd name="T63" fmla="*/ 3 h 98"/>
                <a:gd name="T64" fmla="*/ 6 w 37"/>
                <a:gd name="T65" fmla="*/ 0 h 98"/>
                <a:gd name="T66" fmla="*/ 10 w 37"/>
                <a:gd name="T67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7" h="98">
                  <a:moveTo>
                    <a:pt x="10" y="8"/>
                  </a:moveTo>
                  <a:lnTo>
                    <a:pt x="9" y="9"/>
                  </a:lnTo>
                  <a:lnTo>
                    <a:pt x="7" y="11"/>
                  </a:lnTo>
                  <a:lnTo>
                    <a:pt x="7" y="88"/>
                  </a:lnTo>
                  <a:lnTo>
                    <a:pt x="9" y="89"/>
                  </a:lnTo>
                  <a:lnTo>
                    <a:pt x="10" y="91"/>
                  </a:lnTo>
                  <a:lnTo>
                    <a:pt x="27" y="91"/>
                  </a:lnTo>
                  <a:lnTo>
                    <a:pt x="28" y="89"/>
                  </a:lnTo>
                  <a:lnTo>
                    <a:pt x="28" y="88"/>
                  </a:lnTo>
                  <a:lnTo>
                    <a:pt x="28" y="11"/>
                  </a:lnTo>
                  <a:lnTo>
                    <a:pt x="28" y="9"/>
                  </a:lnTo>
                  <a:lnTo>
                    <a:pt x="27" y="8"/>
                  </a:lnTo>
                  <a:lnTo>
                    <a:pt x="10" y="8"/>
                  </a:lnTo>
                  <a:close/>
                  <a:moveTo>
                    <a:pt x="10" y="0"/>
                  </a:moveTo>
                  <a:lnTo>
                    <a:pt x="27" y="0"/>
                  </a:lnTo>
                  <a:lnTo>
                    <a:pt x="31" y="0"/>
                  </a:lnTo>
                  <a:lnTo>
                    <a:pt x="34" y="3"/>
                  </a:lnTo>
                  <a:lnTo>
                    <a:pt x="36" y="6"/>
                  </a:lnTo>
                  <a:lnTo>
                    <a:pt x="37" y="11"/>
                  </a:lnTo>
                  <a:lnTo>
                    <a:pt x="37" y="88"/>
                  </a:lnTo>
                  <a:lnTo>
                    <a:pt x="36" y="92"/>
                  </a:lnTo>
                  <a:lnTo>
                    <a:pt x="34" y="95"/>
                  </a:lnTo>
                  <a:lnTo>
                    <a:pt x="31" y="97"/>
                  </a:lnTo>
                  <a:lnTo>
                    <a:pt x="27" y="98"/>
                  </a:lnTo>
                  <a:lnTo>
                    <a:pt x="10" y="98"/>
                  </a:lnTo>
                  <a:lnTo>
                    <a:pt x="6" y="97"/>
                  </a:lnTo>
                  <a:lnTo>
                    <a:pt x="3" y="95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11"/>
                  </a:lnTo>
                  <a:lnTo>
                    <a:pt x="0" y="6"/>
                  </a:lnTo>
                  <a:lnTo>
                    <a:pt x="3" y="3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7" name="Freeform 73"/>
            <p:cNvSpPr>
              <a:spLocks noEditPoints="1"/>
            </p:cNvSpPr>
            <p:nvPr/>
          </p:nvSpPr>
          <p:spPr bwMode="auto">
            <a:xfrm>
              <a:off x="4730377" y="1640693"/>
              <a:ext cx="58738" cy="155575"/>
            </a:xfrm>
            <a:custGeom>
              <a:avLst/>
              <a:gdLst>
                <a:gd name="T0" fmla="*/ 11 w 37"/>
                <a:gd name="T1" fmla="*/ 8 h 98"/>
                <a:gd name="T2" fmla="*/ 9 w 37"/>
                <a:gd name="T3" fmla="*/ 9 h 98"/>
                <a:gd name="T4" fmla="*/ 8 w 37"/>
                <a:gd name="T5" fmla="*/ 11 h 98"/>
                <a:gd name="T6" fmla="*/ 8 w 37"/>
                <a:gd name="T7" fmla="*/ 88 h 98"/>
                <a:gd name="T8" fmla="*/ 9 w 37"/>
                <a:gd name="T9" fmla="*/ 89 h 98"/>
                <a:gd name="T10" fmla="*/ 11 w 37"/>
                <a:gd name="T11" fmla="*/ 91 h 98"/>
                <a:gd name="T12" fmla="*/ 27 w 37"/>
                <a:gd name="T13" fmla="*/ 91 h 98"/>
                <a:gd name="T14" fmla="*/ 28 w 37"/>
                <a:gd name="T15" fmla="*/ 89 h 98"/>
                <a:gd name="T16" fmla="*/ 30 w 37"/>
                <a:gd name="T17" fmla="*/ 88 h 98"/>
                <a:gd name="T18" fmla="*/ 30 w 37"/>
                <a:gd name="T19" fmla="*/ 11 h 98"/>
                <a:gd name="T20" fmla="*/ 28 w 37"/>
                <a:gd name="T21" fmla="*/ 9 h 98"/>
                <a:gd name="T22" fmla="*/ 27 w 37"/>
                <a:gd name="T23" fmla="*/ 8 h 98"/>
                <a:gd name="T24" fmla="*/ 11 w 37"/>
                <a:gd name="T25" fmla="*/ 8 h 98"/>
                <a:gd name="T26" fmla="*/ 11 w 37"/>
                <a:gd name="T27" fmla="*/ 0 h 98"/>
                <a:gd name="T28" fmla="*/ 27 w 37"/>
                <a:gd name="T29" fmla="*/ 0 h 98"/>
                <a:gd name="T30" fmla="*/ 31 w 37"/>
                <a:gd name="T31" fmla="*/ 0 h 98"/>
                <a:gd name="T32" fmla="*/ 34 w 37"/>
                <a:gd name="T33" fmla="*/ 3 h 98"/>
                <a:gd name="T34" fmla="*/ 37 w 37"/>
                <a:gd name="T35" fmla="*/ 6 h 98"/>
                <a:gd name="T36" fmla="*/ 37 w 37"/>
                <a:gd name="T37" fmla="*/ 11 h 98"/>
                <a:gd name="T38" fmla="*/ 37 w 37"/>
                <a:gd name="T39" fmla="*/ 88 h 98"/>
                <a:gd name="T40" fmla="*/ 37 w 37"/>
                <a:gd name="T41" fmla="*/ 92 h 98"/>
                <a:gd name="T42" fmla="*/ 34 w 37"/>
                <a:gd name="T43" fmla="*/ 95 h 98"/>
                <a:gd name="T44" fmla="*/ 31 w 37"/>
                <a:gd name="T45" fmla="*/ 97 h 98"/>
                <a:gd name="T46" fmla="*/ 27 w 37"/>
                <a:gd name="T47" fmla="*/ 98 h 98"/>
                <a:gd name="T48" fmla="*/ 11 w 37"/>
                <a:gd name="T49" fmla="*/ 98 h 98"/>
                <a:gd name="T50" fmla="*/ 6 w 37"/>
                <a:gd name="T51" fmla="*/ 97 h 98"/>
                <a:gd name="T52" fmla="*/ 3 w 37"/>
                <a:gd name="T53" fmla="*/ 95 h 98"/>
                <a:gd name="T54" fmla="*/ 2 w 37"/>
                <a:gd name="T55" fmla="*/ 92 h 98"/>
                <a:gd name="T56" fmla="*/ 0 w 37"/>
                <a:gd name="T57" fmla="*/ 88 h 98"/>
                <a:gd name="T58" fmla="*/ 0 w 37"/>
                <a:gd name="T59" fmla="*/ 11 h 98"/>
                <a:gd name="T60" fmla="*/ 2 w 37"/>
                <a:gd name="T61" fmla="*/ 6 h 98"/>
                <a:gd name="T62" fmla="*/ 3 w 37"/>
                <a:gd name="T63" fmla="*/ 3 h 98"/>
                <a:gd name="T64" fmla="*/ 6 w 37"/>
                <a:gd name="T65" fmla="*/ 0 h 98"/>
                <a:gd name="T66" fmla="*/ 11 w 37"/>
                <a:gd name="T67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7" h="98">
                  <a:moveTo>
                    <a:pt x="11" y="8"/>
                  </a:moveTo>
                  <a:lnTo>
                    <a:pt x="9" y="9"/>
                  </a:lnTo>
                  <a:lnTo>
                    <a:pt x="8" y="11"/>
                  </a:lnTo>
                  <a:lnTo>
                    <a:pt x="8" y="88"/>
                  </a:lnTo>
                  <a:lnTo>
                    <a:pt x="9" y="89"/>
                  </a:lnTo>
                  <a:lnTo>
                    <a:pt x="11" y="91"/>
                  </a:lnTo>
                  <a:lnTo>
                    <a:pt x="27" y="91"/>
                  </a:lnTo>
                  <a:lnTo>
                    <a:pt x="28" y="89"/>
                  </a:lnTo>
                  <a:lnTo>
                    <a:pt x="30" y="88"/>
                  </a:lnTo>
                  <a:lnTo>
                    <a:pt x="30" y="11"/>
                  </a:lnTo>
                  <a:lnTo>
                    <a:pt x="28" y="9"/>
                  </a:lnTo>
                  <a:lnTo>
                    <a:pt x="27" y="8"/>
                  </a:lnTo>
                  <a:lnTo>
                    <a:pt x="11" y="8"/>
                  </a:lnTo>
                  <a:close/>
                  <a:moveTo>
                    <a:pt x="11" y="0"/>
                  </a:moveTo>
                  <a:lnTo>
                    <a:pt x="27" y="0"/>
                  </a:lnTo>
                  <a:lnTo>
                    <a:pt x="31" y="0"/>
                  </a:lnTo>
                  <a:lnTo>
                    <a:pt x="34" y="3"/>
                  </a:lnTo>
                  <a:lnTo>
                    <a:pt x="37" y="6"/>
                  </a:lnTo>
                  <a:lnTo>
                    <a:pt x="37" y="11"/>
                  </a:lnTo>
                  <a:lnTo>
                    <a:pt x="37" y="88"/>
                  </a:lnTo>
                  <a:lnTo>
                    <a:pt x="37" y="92"/>
                  </a:lnTo>
                  <a:lnTo>
                    <a:pt x="34" y="95"/>
                  </a:lnTo>
                  <a:lnTo>
                    <a:pt x="31" y="97"/>
                  </a:lnTo>
                  <a:lnTo>
                    <a:pt x="27" y="98"/>
                  </a:lnTo>
                  <a:lnTo>
                    <a:pt x="11" y="98"/>
                  </a:lnTo>
                  <a:lnTo>
                    <a:pt x="6" y="97"/>
                  </a:lnTo>
                  <a:lnTo>
                    <a:pt x="3" y="95"/>
                  </a:lnTo>
                  <a:lnTo>
                    <a:pt x="2" y="92"/>
                  </a:lnTo>
                  <a:lnTo>
                    <a:pt x="0" y="88"/>
                  </a:lnTo>
                  <a:lnTo>
                    <a:pt x="0" y="11"/>
                  </a:lnTo>
                  <a:lnTo>
                    <a:pt x="2" y="6"/>
                  </a:lnTo>
                  <a:lnTo>
                    <a:pt x="3" y="3"/>
                  </a:lnTo>
                  <a:lnTo>
                    <a:pt x="6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8" name="Freeform 74"/>
            <p:cNvSpPr>
              <a:spLocks noEditPoints="1"/>
            </p:cNvSpPr>
            <p:nvPr/>
          </p:nvSpPr>
          <p:spPr bwMode="auto">
            <a:xfrm>
              <a:off x="4485902" y="1812143"/>
              <a:ext cx="341313" cy="52388"/>
            </a:xfrm>
            <a:custGeom>
              <a:avLst/>
              <a:gdLst>
                <a:gd name="T0" fmla="*/ 9 w 215"/>
                <a:gd name="T1" fmla="*/ 9 h 33"/>
                <a:gd name="T2" fmla="*/ 9 w 215"/>
                <a:gd name="T3" fmla="*/ 9 h 33"/>
                <a:gd name="T4" fmla="*/ 8 w 215"/>
                <a:gd name="T5" fmla="*/ 11 h 33"/>
                <a:gd name="T6" fmla="*/ 8 w 215"/>
                <a:gd name="T7" fmla="*/ 24 h 33"/>
                <a:gd name="T8" fmla="*/ 9 w 215"/>
                <a:gd name="T9" fmla="*/ 26 h 33"/>
                <a:gd name="T10" fmla="*/ 9 w 215"/>
                <a:gd name="T11" fmla="*/ 26 h 33"/>
                <a:gd name="T12" fmla="*/ 205 w 215"/>
                <a:gd name="T13" fmla="*/ 26 h 33"/>
                <a:gd name="T14" fmla="*/ 206 w 215"/>
                <a:gd name="T15" fmla="*/ 26 h 33"/>
                <a:gd name="T16" fmla="*/ 206 w 215"/>
                <a:gd name="T17" fmla="*/ 23 h 33"/>
                <a:gd name="T18" fmla="*/ 206 w 215"/>
                <a:gd name="T19" fmla="*/ 11 h 33"/>
                <a:gd name="T20" fmla="*/ 206 w 215"/>
                <a:gd name="T21" fmla="*/ 9 h 33"/>
                <a:gd name="T22" fmla="*/ 205 w 215"/>
                <a:gd name="T23" fmla="*/ 9 h 33"/>
                <a:gd name="T24" fmla="*/ 9 w 215"/>
                <a:gd name="T25" fmla="*/ 9 h 33"/>
                <a:gd name="T26" fmla="*/ 9 w 215"/>
                <a:gd name="T27" fmla="*/ 0 h 33"/>
                <a:gd name="T28" fmla="*/ 205 w 215"/>
                <a:gd name="T29" fmla="*/ 0 h 33"/>
                <a:gd name="T30" fmla="*/ 209 w 215"/>
                <a:gd name="T31" fmla="*/ 2 h 33"/>
                <a:gd name="T32" fmla="*/ 212 w 215"/>
                <a:gd name="T33" fmla="*/ 3 h 33"/>
                <a:gd name="T34" fmla="*/ 214 w 215"/>
                <a:gd name="T35" fmla="*/ 8 h 33"/>
                <a:gd name="T36" fmla="*/ 215 w 215"/>
                <a:gd name="T37" fmla="*/ 11 h 33"/>
                <a:gd name="T38" fmla="*/ 215 w 215"/>
                <a:gd name="T39" fmla="*/ 23 h 33"/>
                <a:gd name="T40" fmla="*/ 214 w 215"/>
                <a:gd name="T41" fmla="*/ 27 h 33"/>
                <a:gd name="T42" fmla="*/ 212 w 215"/>
                <a:gd name="T43" fmla="*/ 30 h 33"/>
                <a:gd name="T44" fmla="*/ 209 w 215"/>
                <a:gd name="T45" fmla="*/ 33 h 33"/>
                <a:gd name="T46" fmla="*/ 205 w 215"/>
                <a:gd name="T47" fmla="*/ 33 h 33"/>
                <a:gd name="T48" fmla="*/ 9 w 215"/>
                <a:gd name="T49" fmla="*/ 33 h 33"/>
                <a:gd name="T50" fmla="*/ 6 w 215"/>
                <a:gd name="T51" fmla="*/ 33 h 33"/>
                <a:gd name="T52" fmla="*/ 3 w 215"/>
                <a:gd name="T53" fmla="*/ 32 h 33"/>
                <a:gd name="T54" fmla="*/ 0 w 215"/>
                <a:gd name="T55" fmla="*/ 29 h 33"/>
                <a:gd name="T56" fmla="*/ 0 w 215"/>
                <a:gd name="T57" fmla="*/ 24 h 33"/>
                <a:gd name="T58" fmla="*/ 0 w 215"/>
                <a:gd name="T59" fmla="*/ 11 h 33"/>
                <a:gd name="T60" fmla="*/ 0 w 215"/>
                <a:gd name="T61" fmla="*/ 6 h 33"/>
                <a:gd name="T62" fmla="*/ 3 w 215"/>
                <a:gd name="T63" fmla="*/ 3 h 33"/>
                <a:gd name="T64" fmla="*/ 6 w 215"/>
                <a:gd name="T65" fmla="*/ 2 h 33"/>
                <a:gd name="T66" fmla="*/ 9 w 215"/>
                <a:gd name="T6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5" h="33">
                  <a:moveTo>
                    <a:pt x="9" y="9"/>
                  </a:moveTo>
                  <a:lnTo>
                    <a:pt x="9" y="9"/>
                  </a:lnTo>
                  <a:lnTo>
                    <a:pt x="8" y="11"/>
                  </a:lnTo>
                  <a:lnTo>
                    <a:pt x="8" y="24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205" y="26"/>
                  </a:lnTo>
                  <a:lnTo>
                    <a:pt x="206" y="26"/>
                  </a:lnTo>
                  <a:lnTo>
                    <a:pt x="206" y="23"/>
                  </a:lnTo>
                  <a:lnTo>
                    <a:pt x="206" y="11"/>
                  </a:lnTo>
                  <a:lnTo>
                    <a:pt x="206" y="9"/>
                  </a:lnTo>
                  <a:lnTo>
                    <a:pt x="205" y="9"/>
                  </a:lnTo>
                  <a:lnTo>
                    <a:pt x="9" y="9"/>
                  </a:lnTo>
                  <a:close/>
                  <a:moveTo>
                    <a:pt x="9" y="0"/>
                  </a:moveTo>
                  <a:lnTo>
                    <a:pt x="205" y="0"/>
                  </a:lnTo>
                  <a:lnTo>
                    <a:pt x="209" y="2"/>
                  </a:lnTo>
                  <a:lnTo>
                    <a:pt x="212" y="3"/>
                  </a:lnTo>
                  <a:lnTo>
                    <a:pt x="214" y="8"/>
                  </a:lnTo>
                  <a:lnTo>
                    <a:pt x="215" y="11"/>
                  </a:lnTo>
                  <a:lnTo>
                    <a:pt x="215" y="23"/>
                  </a:lnTo>
                  <a:lnTo>
                    <a:pt x="214" y="27"/>
                  </a:lnTo>
                  <a:lnTo>
                    <a:pt x="212" y="30"/>
                  </a:lnTo>
                  <a:lnTo>
                    <a:pt x="209" y="33"/>
                  </a:lnTo>
                  <a:lnTo>
                    <a:pt x="205" y="33"/>
                  </a:lnTo>
                  <a:lnTo>
                    <a:pt x="9" y="33"/>
                  </a:lnTo>
                  <a:lnTo>
                    <a:pt x="6" y="33"/>
                  </a:lnTo>
                  <a:lnTo>
                    <a:pt x="3" y="32"/>
                  </a:lnTo>
                  <a:lnTo>
                    <a:pt x="0" y="29"/>
                  </a:lnTo>
                  <a:lnTo>
                    <a:pt x="0" y="24"/>
                  </a:lnTo>
                  <a:lnTo>
                    <a:pt x="0" y="11"/>
                  </a:lnTo>
                  <a:lnTo>
                    <a:pt x="0" y="6"/>
                  </a:lnTo>
                  <a:lnTo>
                    <a:pt x="3" y="3"/>
                  </a:lnTo>
                  <a:lnTo>
                    <a:pt x="6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197" name="Group 196"/>
          <p:cNvGrpSpPr/>
          <p:nvPr/>
        </p:nvGrpSpPr>
        <p:grpSpPr>
          <a:xfrm>
            <a:off x="3636642" y="3350891"/>
            <a:ext cx="423501" cy="435835"/>
            <a:chOff x="11164514" y="1527980"/>
            <a:chExt cx="327026" cy="336550"/>
          </a:xfrm>
          <a:solidFill>
            <a:schemeClr val="accent6"/>
          </a:solidFill>
        </p:grpSpPr>
        <p:sp>
          <p:nvSpPr>
            <p:cNvPr id="129" name="Line 75"/>
            <p:cNvSpPr>
              <a:spLocks noChangeShapeType="1"/>
            </p:cNvSpPr>
            <p:nvPr/>
          </p:nvSpPr>
          <p:spPr bwMode="auto">
            <a:xfrm flipH="1" flipV="1">
              <a:off x="11258177" y="1794680"/>
              <a:ext cx="31750" cy="26988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0" name="Line 76"/>
            <p:cNvSpPr>
              <a:spLocks noChangeShapeType="1"/>
            </p:cNvSpPr>
            <p:nvPr/>
          </p:nvSpPr>
          <p:spPr bwMode="auto">
            <a:xfrm flipH="1" flipV="1">
              <a:off x="11235952" y="1758168"/>
              <a:ext cx="22225" cy="36513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1" name="Line 77"/>
            <p:cNvSpPr>
              <a:spLocks noChangeShapeType="1"/>
            </p:cNvSpPr>
            <p:nvPr/>
          </p:nvSpPr>
          <p:spPr bwMode="auto">
            <a:xfrm flipH="1" flipV="1">
              <a:off x="11218489" y="1721655"/>
              <a:ext cx="17463" cy="36513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2" name="Line 78"/>
            <p:cNvSpPr>
              <a:spLocks noChangeShapeType="1"/>
            </p:cNvSpPr>
            <p:nvPr/>
          </p:nvSpPr>
          <p:spPr bwMode="auto">
            <a:xfrm flipH="1" flipV="1">
              <a:off x="11208964" y="1680380"/>
              <a:ext cx="9525" cy="41275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3" name="Line 79"/>
            <p:cNvSpPr>
              <a:spLocks noChangeShapeType="1"/>
            </p:cNvSpPr>
            <p:nvPr/>
          </p:nvSpPr>
          <p:spPr bwMode="auto">
            <a:xfrm flipH="1" flipV="1">
              <a:off x="11204202" y="1635930"/>
              <a:ext cx="4763" cy="44450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4" name="Line 80"/>
            <p:cNvSpPr>
              <a:spLocks noChangeShapeType="1"/>
            </p:cNvSpPr>
            <p:nvPr/>
          </p:nvSpPr>
          <p:spPr bwMode="auto">
            <a:xfrm flipV="1">
              <a:off x="11204202" y="1594655"/>
              <a:ext cx="4763" cy="41275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5" name="Line 81"/>
            <p:cNvSpPr>
              <a:spLocks noChangeShapeType="1"/>
            </p:cNvSpPr>
            <p:nvPr/>
          </p:nvSpPr>
          <p:spPr bwMode="auto">
            <a:xfrm flipH="1">
              <a:off x="11418514" y="1624818"/>
              <a:ext cx="49213" cy="15875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6" name="Line 82"/>
            <p:cNvSpPr>
              <a:spLocks noChangeShapeType="1"/>
            </p:cNvSpPr>
            <p:nvPr/>
          </p:nvSpPr>
          <p:spPr bwMode="auto">
            <a:xfrm flipH="1">
              <a:off x="11366127" y="1640693"/>
              <a:ext cx="52388" cy="4763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7" name="Line 83"/>
            <p:cNvSpPr>
              <a:spLocks noChangeShapeType="1"/>
            </p:cNvSpPr>
            <p:nvPr/>
          </p:nvSpPr>
          <p:spPr bwMode="auto">
            <a:xfrm flipH="1" flipV="1">
              <a:off x="11312152" y="1639105"/>
              <a:ext cx="53975" cy="6350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8" name="Line 84"/>
            <p:cNvSpPr>
              <a:spLocks noChangeShapeType="1"/>
            </p:cNvSpPr>
            <p:nvPr/>
          </p:nvSpPr>
          <p:spPr bwMode="auto">
            <a:xfrm flipH="1" flipV="1">
              <a:off x="11261352" y="1620055"/>
              <a:ext cx="50800" cy="19050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9" name="Line 85"/>
            <p:cNvSpPr>
              <a:spLocks noChangeShapeType="1"/>
            </p:cNvSpPr>
            <p:nvPr/>
          </p:nvSpPr>
          <p:spPr bwMode="auto">
            <a:xfrm flipH="1" flipV="1">
              <a:off x="11242302" y="1610530"/>
              <a:ext cx="19050" cy="9525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0" name="Line 86"/>
            <p:cNvSpPr>
              <a:spLocks noChangeShapeType="1"/>
            </p:cNvSpPr>
            <p:nvPr/>
          </p:nvSpPr>
          <p:spPr bwMode="auto">
            <a:xfrm flipH="1" flipV="1">
              <a:off x="11226427" y="1596243"/>
              <a:ext cx="15875" cy="14288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1" name="Line 87"/>
            <p:cNvSpPr>
              <a:spLocks noChangeShapeType="1"/>
            </p:cNvSpPr>
            <p:nvPr/>
          </p:nvSpPr>
          <p:spPr bwMode="auto">
            <a:xfrm flipH="1">
              <a:off x="11437564" y="1643868"/>
              <a:ext cx="15875" cy="49213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2" name="Line 88"/>
            <p:cNvSpPr>
              <a:spLocks noChangeShapeType="1"/>
            </p:cNvSpPr>
            <p:nvPr/>
          </p:nvSpPr>
          <p:spPr bwMode="auto">
            <a:xfrm flipH="1">
              <a:off x="11408989" y="1693080"/>
              <a:ext cx="28575" cy="44450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3" name="Line 89"/>
            <p:cNvSpPr>
              <a:spLocks noChangeShapeType="1"/>
            </p:cNvSpPr>
            <p:nvPr/>
          </p:nvSpPr>
          <p:spPr bwMode="auto">
            <a:xfrm flipH="1">
              <a:off x="11374064" y="1737530"/>
              <a:ext cx="34925" cy="38100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4" name="Line 90"/>
            <p:cNvSpPr>
              <a:spLocks noChangeShapeType="1"/>
            </p:cNvSpPr>
            <p:nvPr/>
          </p:nvSpPr>
          <p:spPr bwMode="auto">
            <a:xfrm flipH="1">
              <a:off x="11331202" y="1775630"/>
              <a:ext cx="42863" cy="30163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5" name="Line 91"/>
            <p:cNvSpPr>
              <a:spLocks noChangeShapeType="1"/>
            </p:cNvSpPr>
            <p:nvPr/>
          </p:nvSpPr>
          <p:spPr bwMode="auto">
            <a:xfrm flipH="1">
              <a:off x="11285164" y="1805793"/>
              <a:ext cx="46038" cy="20638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6" name="Line 92"/>
            <p:cNvSpPr>
              <a:spLocks noChangeShapeType="1"/>
            </p:cNvSpPr>
            <p:nvPr/>
          </p:nvSpPr>
          <p:spPr bwMode="auto">
            <a:xfrm flipH="1">
              <a:off x="11470902" y="1683555"/>
              <a:ext cx="6350" cy="42863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7" name="Line 93"/>
            <p:cNvSpPr>
              <a:spLocks noChangeShapeType="1"/>
            </p:cNvSpPr>
            <p:nvPr/>
          </p:nvSpPr>
          <p:spPr bwMode="auto">
            <a:xfrm flipH="1">
              <a:off x="11456614" y="1726418"/>
              <a:ext cx="14288" cy="36513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8" name="Line 94"/>
            <p:cNvSpPr>
              <a:spLocks noChangeShapeType="1"/>
            </p:cNvSpPr>
            <p:nvPr/>
          </p:nvSpPr>
          <p:spPr bwMode="auto">
            <a:xfrm flipH="1">
              <a:off x="11429627" y="1762930"/>
              <a:ext cx="26988" cy="31750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9" name="Line 95"/>
            <p:cNvSpPr>
              <a:spLocks noChangeShapeType="1"/>
            </p:cNvSpPr>
            <p:nvPr/>
          </p:nvSpPr>
          <p:spPr bwMode="auto">
            <a:xfrm flipH="1">
              <a:off x="11399464" y="1794680"/>
              <a:ext cx="30163" cy="25400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0" name="Line 96"/>
            <p:cNvSpPr>
              <a:spLocks noChangeShapeType="1"/>
            </p:cNvSpPr>
            <p:nvPr/>
          </p:nvSpPr>
          <p:spPr bwMode="auto">
            <a:xfrm flipH="1">
              <a:off x="11362952" y="1820080"/>
              <a:ext cx="36513" cy="14288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1" name="Line 97"/>
            <p:cNvSpPr>
              <a:spLocks noChangeShapeType="1"/>
            </p:cNvSpPr>
            <p:nvPr/>
          </p:nvSpPr>
          <p:spPr bwMode="auto">
            <a:xfrm flipH="1">
              <a:off x="11320089" y="1834368"/>
              <a:ext cx="42863" cy="6350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2" name="Line 98"/>
            <p:cNvSpPr>
              <a:spLocks noChangeShapeType="1"/>
            </p:cNvSpPr>
            <p:nvPr/>
          </p:nvSpPr>
          <p:spPr bwMode="auto">
            <a:xfrm flipH="1" flipV="1">
              <a:off x="11280402" y="1834368"/>
              <a:ext cx="39688" cy="6350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3" name="Line 99"/>
            <p:cNvSpPr>
              <a:spLocks noChangeShapeType="1"/>
            </p:cNvSpPr>
            <p:nvPr/>
          </p:nvSpPr>
          <p:spPr bwMode="auto">
            <a:xfrm flipH="1" flipV="1">
              <a:off x="11242302" y="1820080"/>
              <a:ext cx="38100" cy="14288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4" name="Line 100"/>
            <p:cNvSpPr>
              <a:spLocks noChangeShapeType="1"/>
            </p:cNvSpPr>
            <p:nvPr/>
          </p:nvSpPr>
          <p:spPr bwMode="auto">
            <a:xfrm flipH="1" flipV="1">
              <a:off x="11208964" y="1794680"/>
              <a:ext cx="33338" cy="25400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5" name="Line 101"/>
            <p:cNvSpPr>
              <a:spLocks noChangeShapeType="1"/>
            </p:cNvSpPr>
            <p:nvPr/>
          </p:nvSpPr>
          <p:spPr bwMode="auto">
            <a:xfrm flipH="1" flipV="1">
              <a:off x="11185152" y="1762930"/>
              <a:ext cx="23813" cy="31750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6" name="Line 102"/>
            <p:cNvSpPr>
              <a:spLocks noChangeShapeType="1"/>
            </p:cNvSpPr>
            <p:nvPr/>
          </p:nvSpPr>
          <p:spPr bwMode="auto">
            <a:xfrm flipH="1" flipV="1">
              <a:off x="11169277" y="1726418"/>
              <a:ext cx="15875" cy="36513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7" name="Line 103"/>
            <p:cNvSpPr>
              <a:spLocks noChangeShapeType="1"/>
            </p:cNvSpPr>
            <p:nvPr/>
          </p:nvSpPr>
          <p:spPr bwMode="auto">
            <a:xfrm flipH="1" flipV="1">
              <a:off x="11164514" y="1683555"/>
              <a:ext cx="4763" cy="42863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8" name="Line 104"/>
            <p:cNvSpPr>
              <a:spLocks noChangeShapeType="1"/>
            </p:cNvSpPr>
            <p:nvPr/>
          </p:nvSpPr>
          <p:spPr bwMode="auto">
            <a:xfrm flipV="1">
              <a:off x="11164514" y="1643868"/>
              <a:ext cx="4763" cy="39688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9" name="Line 105"/>
            <p:cNvSpPr>
              <a:spLocks noChangeShapeType="1"/>
            </p:cNvSpPr>
            <p:nvPr/>
          </p:nvSpPr>
          <p:spPr bwMode="auto">
            <a:xfrm flipV="1">
              <a:off x="11169277" y="1605768"/>
              <a:ext cx="15875" cy="38100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0" name="Line 106"/>
            <p:cNvSpPr>
              <a:spLocks noChangeShapeType="1"/>
            </p:cNvSpPr>
            <p:nvPr/>
          </p:nvSpPr>
          <p:spPr bwMode="auto">
            <a:xfrm flipV="1">
              <a:off x="11185152" y="1572430"/>
              <a:ext cx="23813" cy="33338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1" name="Line 107"/>
            <p:cNvSpPr>
              <a:spLocks noChangeShapeType="1"/>
            </p:cNvSpPr>
            <p:nvPr/>
          </p:nvSpPr>
          <p:spPr bwMode="auto">
            <a:xfrm flipV="1">
              <a:off x="11208964" y="1548618"/>
              <a:ext cx="33338" cy="23813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2" name="Line 108"/>
            <p:cNvSpPr>
              <a:spLocks noChangeShapeType="1"/>
            </p:cNvSpPr>
            <p:nvPr/>
          </p:nvSpPr>
          <p:spPr bwMode="auto">
            <a:xfrm flipV="1">
              <a:off x="11242302" y="1532743"/>
              <a:ext cx="38100" cy="15875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3" name="Line 109"/>
            <p:cNvSpPr>
              <a:spLocks noChangeShapeType="1"/>
            </p:cNvSpPr>
            <p:nvPr/>
          </p:nvSpPr>
          <p:spPr bwMode="auto">
            <a:xfrm flipV="1">
              <a:off x="11280402" y="1527980"/>
              <a:ext cx="39688" cy="4763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4" name="Line 110"/>
            <p:cNvSpPr>
              <a:spLocks noChangeShapeType="1"/>
            </p:cNvSpPr>
            <p:nvPr/>
          </p:nvSpPr>
          <p:spPr bwMode="auto">
            <a:xfrm>
              <a:off x="11320089" y="1527980"/>
              <a:ext cx="42863" cy="4763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5" name="Line 111"/>
            <p:cNvSpPr>
              <a:spLocks noChangeShapeType="1"/>
            </p:cNvSpPr>
            <p:nvPr/>
          </p:nvSpPr>
          <p:spPr bwMode="auto">
            <a:xfrm>
              <a:off x="11362952" y="1532743"/>
              <a:ext cx="36513" cy="15875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6" name="Line 112"/>
            <p:cNvSpPr>
              <a:spLocks noChangeShapeType="1"/>
            </p:cNvSpPr>
            <p:nvPr/>
          </p:nvSpPr>
          <p:spPr bwMode="auto">
            <a:xfrm>
              <a:off x="11399464" y="1548618"/>
              <a:ext cx="30163" cy="23813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7" name="Line 113"/>
            <p:cNvSpPr>
              <a:spLocks noChangeShapeType="1"/>
            </p:cNvSpPr>
            <p:nvPr/>
          </p:nvSpPr>
          <p:spPr bwMode="auto">
            <a:xfrm>
              <a:off x="11429627" y="1572430"/>
              <a:ext cx="26988" cy="33338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8" name="Line 114"/>
            <p:cNvSpPr>
              <a:spLocks noChangeShapeType="1"/>
            </p:cNvSpPr>
            <p:nvPr/>
          </p:nvSpPr>
          <p:spPr bwMode="auto">
            <a:xfrm>
              <a:off x="11456614" y="1605768"/>
              <a:ext cx="14288" cy="38100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9" name="Line 115"/>
            <p:cNvSpPr>
              <a:spLocks noChangeShapeType="1"/>
            </p:cNvSpPr>
            <p:nvPr/>
          </p:nvSpPr>
          <p:spPr bwMode="auto">
            <a:xfrm>
              <a:off x="11470902" y="1643868"/>
              <a:ext cx="6350" cy="39688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0" name="Freeform 116"/>
            <p:cNvSpPr>
              <a:spLocks/>
            </p:cNvSpPr>
            <p:nvPr/>
          </p:nvSpPr>
          <p:spPr bwMode="auto">
            <a:xfrm>
              <a:off x="11178802" y="1556555"/>
              <a:ext cx="57150" cy="55563"/>
            </a:xfrm>
            <a:custGeom>
              <a:avLst/>
              <a:gdLst>
                <a:gd name="T0" fmla="*/ 19 w 36"/>
                <a:gd name="T1" fmla="*/ 0 h 35"/>
                <a:gd name="T2" fmla="*/ 24 w 36"/>
                <a:gd name="T3" fmla="*/ 1 h 35"/>
                <a:gd name="T4" fmla="*/ 28 w 36"/>
                <a:gd name="T5" fmla="*/ 4 h 35"/>
                <a:gd name="T6" fmla="*/ 33 w 36"/>
                <a:gd name="T7" fmla="*/ 7 h 35"/>
                <a:gd name="T8" fmla="*/ 36 w 36"/>
                <a:gd name="T9" fmla="*/ 13 h 35"/>
                <a:gd name="T10" fmla="*/ 36 w 36"/>
                <a:gd name="T11" fmla="*/ 19 h 35"/>
                <a:gd name="T12" fmla="*/ 34 w 36"/>
                <a:gd name="T13" fmla="*/ 24 h 35"/>
                <a:gd name="T14" fmla="*/ 31 w 36"/>
                <a:gd name="T15" fmla="*/ 28 h 35"/>
                <a:gd name="T16" fmla="*/ 28 w 36"/>
                <a:gd name="T17" fmla="*/ 32 h 35"/>
                <a:gd name="T18" fmla="*/ 22 w 36"/>
                <a:gd name="T19" fmla="*/ 35 h 35"/>
                <a:gd name="T20" fmla="*/ 16 w 36"/>
                <a:gd name="T21" fmla="*/ 35 h 35"/>
                <a:gd name="T22" fmla="*/ 12 w 36"/>
                <a:gd name="T23" fmla="*/ 34 h 35"/>
                <a:gd name="T24" fmla="*/ 7 w 36"/>
                <a:gd name="T25" fmla="*/ 31 h 35"/>
                <a:gd name="T26" fmla="*/ 3 w 36"/>
                <a:gd name="T27" fmla="*/ 28 h 35"/>
                <a:gd name="T28" fmla="*/ 0 w 36"/>
                <a:gd name="T29" fmla="*/ 22 h 35"/>
                <a:gd name="T30" fmla="*/ 0 w 36"/>
                <a:gd name="T31" fmla="*/ 16 h 35"/>
                <a:gd name="T32" fmla="*/ 1 w 36"/>
                <a:gd name="T33" fmla="*/ 12 h 35"/>
                <a:gd name="T34" fmla="*/ 3 w 36"/>
                <a:gd name="T35" fmla="*/ 7 h 35"/>
                <a:gd name="T36" fmla="*/ 7 w 36"/>
                <a:gd name="T37" fmla="*/ 3 h 35"/>
                <a:gd name="T38" fmla="*/ 13 w 36"/>
                <a:gd name="T39" fmla="*/ 0 h 35"/>
                <a:gd name="T40" fmla="*/ 19 w 36"/>
                <a:gd name="T4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35">
                  <a:moveTo>
                    <a:pt x="19" y="0"/>
                  </a:moveTo>
                  <a:lnTo>
                    <a:pt x="24" y="1"/>
                  </a:lnTo>
                  <a:lnTo>
                    <a:pt x="28" y="4"/>
                  </a:lnTo>
                  <a:lnTo>
                    <a:pt x="33" y="7"/>
                  </a:lnTo>
                  <a:lnTo>
                    <a:pt x="36" y="13"/>
                  </a:lnTo>
                  <a:lnTo>
                    <a:pt x="36" y="19"/>
                  </a:lnTo>
                  <a:lnTo>
                    <a:pt x="34" y="24"/>
                  </a:lnTo>
                  <a:lnTo>
                    <a:pt x="31" y="28"/>
                  </a:lnTo>
                  <a:lnTo>
                    <a:pt x="28" y="32"/>
                  </a:lnTo>
                  <a:lnTo>
                    <a:pt x="22" y="35"/>
                  </a:lnTo>
                  <a:lnTo>
                    <a:pt x="16" y="35"/>
                  </a:lnTo>
                  <a:lnTo>
                    <a:pt x="12" y="34"/>
                  </a:lnTo>
                  <a:lnTo>
                    <a:pt x="7" y="31"/>
                  </a:lnTo>
                  <a:lnTo>
                    <a:pt x="3" y="28"/>
                  </a:lnTo>
                  <a:lnTo>
                    <a:pt x="0" y="22"/>
                  </a:lnTo>
                  <a:lnTo>
                    <a:pt x="0" y="16"/>
                  </a:lnTo>
                  <a:lnTo>
                    <a:pt x="1" y="12"/>
                  </a:lnTo>
                  <a:lnTo>
                    <a:pt x="3" y="7"/>
                  </a:lnTo>
                  <a:lnTo>
                    <a:pt x="7" y="3"/>
                  </a:lnTo>
                  <a:lnTo>
                    <a:pt x="13" y="0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0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1" name="Freeform 117"/>
            <p:cNvSpPr>
              <a:spLocks/>
            </p:cNvSpPr>
            <p:nvPr/>
          </p:nvSpPr>
          <p:spPr bwMode="auto">
            <a:xfrm>
              <a:off x="11261352" y="1807380"/>
              <a:ext cx="55563" cy="57150"/>
            </a:xfrm>
            <a:custGeom>
              <a:avLst/>
              <a:gdLst>
                <a:gd name="T0" fmla="*/ 18 w 35"/>
                <a:gd name="T1" fmla="*/ 0 h 36"/>
                <a:gd name="T2" fmla="*/ 24 w 35"/>
                <a:gd name="T3" fmla="*/ 0 h 36"/>
                <a:gd name="T4" fmla="*/ 28 w 35"/>
                <a:gd name="T5" fmla="*/ 3 h 36"/>
                <a:gd name="T6" fmla="*/ 32 w 35"/>
                <a:gd name="T7" fmla="*/ 8 h 36"/>
                <a:gd name="T8" fmla="*/ 34 w 35"/>
                <a:gd name="T9" fmla="*/ 12 h 36"/>
                <a:gd name="T10" fmla="*/ 35 w 35"/>
                <a:gd name="T11" fmla="*/ 18 h 36"/>
                <a:gd name="T12" fmla="*/ 34 w 35"/>
                <a:gd name="T13" fmla="*/ 24 h 36"/>
                <a:gd name="T14" fmla="*/ 31 w 35"/>
                <a:gd name="T15" fmla="*/ 29 h 36"/>
                <a:gd name="T16" fmla="*/ 26 w 35"/>
                <a:gd name="T17" fmla="*/ 33 h 36"/>
                <a:gd name="T18" fmla="*/ 22 w 35"/>
                <a:gd name="T19" fmla="*/ 35 h 36"/>
                <a:gd name="T20" fmla="*/ 16 w 35"/>
                <a:gd name="T21" fmla="*/ 36 h 36"/>
                <a:gd name="T22" fmla="*/ 10 w 35"/>
                <a:gd name="T23" fmla="*/ 35 h 36"/>
                <a:gd name="T24" fmla="*/ 6 w 35"/>
                <a:gd name="T25" fmla="*/ 32 h 36"/>
                <a:gd name="T26" fmla="*/ 3 w 35"/>
                <a:gd name="T27" fmla="*/ 27 h 36"/>
                <a:gd name="T28" fmla="*/ 0 w 35"/>
                <a:gd name="T29" fmla="*/ 23 h 36"/>
                <a:gd name="T30" fmla="*/ 0 w 35"/>
                <a:gd name="T31" fmla="*/ 17 h 36"/>
                <a:gd name="T32" fmla="*/ 0 w 35"/>
                <a:gd name="T33" fmla="*/ 11 h 36"/>
                <a:gd name="T34" fmla="*/ 3 w 35"/>
                <a:gd name="T35" fmla="*/ 6 h 36"/>
                <a:gd name="T36" fmla="*/ 7 w 35"/>
                <a:gd name="T37" fmla="*/ 3 h 36"/>
                <a:gd name="T38" fmla="*/ 12 w 35"/>
                <a:gd name="T39" fmla="*/ 0 h 36"/>
                <a:gd name="T40" fmla="*/ 18 w 35"/>
                <a:gd name="T4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5" h="36">
                  <a:moveTo>
                    <a:pt x="18" y="0"/>
                  </a:moveTo>
                  <a:lnTo>
                    <a:pt x="24" y="0"/>
                  </a:lnTo>
                  <a:lnTo>
                    <a:pt x="28" y="3"/>
                  </a:lnTo>
                  <a:lnTo>
                    <a:pt x="32" y="8"/>
                  </a:lnTo>
                  <a:lnTo>
                    <a:pt x="34" y="12"/>
                  </a:lnTo>
                  <a:lnTo>
                    <a:pt x="35" y="18"/>
                  </a:lnTo>
                  <a:lnTo>
                    <a:pt x="34" y="24"/>
                  </a:lnTo>
                  <a:lnTo>
                    <a:pt x="31" y="29"/>
                  </a:lnTo>
                  <a:lnTo>
                    <a:pt x="26" y="33"/>
                  </a:lnTo>
                  <a:lnTo>
                    <a:pt x="22" y="35"/>
                  </a:lnTo>
                  <a:lnTo>
                    <a:pt x="16" y="36"/>
                  </a:lnTo>
                  <a:lnTo>
                    <a:pt x="10" y="35"/>
                  </a:lnTo>
                  <a:lnTo>
                    <a:pt x="6" y="32"/>
                  </a:lnTo>
                  <a:lnTo>
                    <a:pt x="3" y="27"/>
                  </a:lnTo>
                  <a:lnTo>
                    <a:pt x="0" y="23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3" y="6"/>
                  </a:lnTo>
                  <a:lnTo>
                    <a:pt x="7" y="3"/>
                  </a:lnTo>
                  <a:lnTo>
                    <a:pt x="12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0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2" name="Freeform 118"/>
            <p:cNvSpPr>
              <a:spLocks/>
            </p:cNvSpPr>
            <p:nvPr/>
          </p:nvSpPr>
          <p:spPr bwMode="auto">
            <a:xfrm>
              <a:off x="11432802" y="1596243"/>
              <a:ext cx="58738" cy="57150"/>
            </a:xfrm>
            <a:custGeom>
              <a:avLst/>
              <a:gdLst>
                <a:gd name="T0" fmla="*/ 19 w 37"/>
                <a:gd name="T1" fmla="*/ 0 h 36"/>
                <a:gd name="T2" fmla="*/ 25 w 37"/>
                <a:gd name="T3" fmla="*/ 2 h 36"/>
                <a:gd name="T4" fmla="*/ 30 w 37"/>
                <a:gd name="T5" fmla="*/ 4 h 36"/>
                <a:gd name="T6" fmla="*/ 33 w 37"/>
                <a:gd name="T7" fmla="*/ 9 h 36"/>
                <a:gd name="T8" fmla="*/ 36 w 37"/>
                <a:gd name="T9" fmla="*/ 13 h 36"/>
                <a:gd name="T10" fmla="*/ 37 w 37"/>
                <a:gd name="T11" fmla="*/ 19 h 36"/>
                <a:gd name="T12" fmla="*/ 36 w 37"/>
                <a:gd name="T13" fmla="*/ 25 h 36"/>
                <a:gd name="T14" fmla="*/ 33 w 37"/>
                <a:gd name="T15" fmla="*/ 30 h 36"/>
                <a:gd name="T16" fmla="*/ 28 w 37"/>
                <a:gd name="T17" fmla="*/ 33 h 36"/>
                <a:gd name="T18" fmla="*/ 24 w 37"/>
                <a:gd name="T19" fmla="*/ 36 h 36"/>
                <a:gd name="T20" fmla="*/ 18 w 37"/>
                <a:gd name="T21" fmla="*/ 36 h 36"/>
                <a:gd name="T22" fmla="*/ 12 w 37"/>
                <a:gd name="T23" fmla="*/ 36 h 36"/>
                <a:gd name="T24" fmla="*/ 7 w 37"/>
                <a:gd name="T25" fmla="*/ 33 h 36"/>
                <a:gd name="T26" fmla="*/ 4 w 37"/>
                <a:gd name="T27" fmla="*/ 28 h 36"/>
                <a:gd name="T28" fmla="*/ 1 w 37"/>
                <a:gd name="T29" fmla="*/ 24 h 36"/>
                <a:gd name="T30" fmla="*/ 0 w 37"/>
                <a:gd name="T31" fmla="*/ 18 h 36"/>
                <a:gd name="T32" fmla="*/ 1 w 37"/>
                <a:gd name="T33" fmla="*/ 12 h 36"/>
                <a:gd name="T34" fmla="*/ 4 w 37"/>
                <a:gd name="T35" fmla="*/ 7 h 36"/>
                <a:gd name="T36" fmla="*/ 9 w 37"/>
                <a:gd name="T37" fmla="*/ 3 h 36"/>
                <a:gd name="T38" fmla="*/ 13 w 37"/>
                <a:gd name="T39" fmla="*/ 2 h 36"/>
                <a:gd name="T40" fmla="*/ 19 w 37"/>
                <a:gd name="T4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7" h="36">
                  <a:moveTo>
                    <a:pt x="19" y="0"/>
                  </a:moveTo>
                  <a:lnTo>
                    <a:pt x="25" y="2"/>
                  </a:lnTo>
                  <a:lnTo>
                    <a:pt x="30" y="4"/>
                  </a:lnTo>
                  <a:lnTo>
                    <a:pt x="33" y="9"/>
                  </a:lnTo>
                  <a:lnTo>
                    <a:pt x="36" y="13"/>
                  </a:lnTo>
                  <a:lnTo>
                    <a:pt x="37" y="19"/>
                  </a:lnTo>
                  <a:lnTo>
                    <a:pt x="36" y="25"/>
                  </a:lnTo>
                  <a:lnTo>
                    <a:pt x="33" y="30"/>
                  </a:lnTo>
                  <a:lnTo>
                    <a:pt x="28" y="33"/>
                  </a:lnTo>
                  <a:lnTo>
                    <a:pt x="24" y="36"/>
                  </a:lnTo>
                  <a:lnTo>
                    <a:pt x="18" y="36"/>
                  </a:lnTo>
                  <a:lnTo>
                    <a:pt x="12" y="36"/>
                  </a:lnTo>
                  <a:lnTo>
                    <a:pt x="7" y="33"/>
                  </a:lnTo>
                  <a:lnTo>
                    <a:pt x="4" y="28"/>
                  </a:lnTo>
                  <a:lnTo>
                    <a:pt x="1" y="24"/>
                  </a:lnTo>
                  <a:lnTo>
                    <a:pt x="0" y="18"/>
                  </a:lnTo>
                  <a:lnTo>
                    <a:pt x="1" y="12"/>
                  </a:lnTo>
                  <a:lnTo>
                    <a:pt x="4" y="7"/>
                  </a:lnTo>
                  <a:lnTo>
                    <a:pt x="9" y="3"/>
                  </a:lnTo>
                  <a:lnTo>
                    <a:pt x="13" y="2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0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3" name="Line 119"/>
            <p:cNvSpPr>
              <a:spLocks noChangeShapeType="1"/>
            </p:cNvSpPr>
            <p:nvPr/>
          </p:nvSpPr>
          <p:spPr bwMode="auto">
            <a:xfrm flipH="1" flipV="1">
              <a:off x="11385177" y="1766105"/>
              <a:ext cx="49213" cy="28575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4" name="Line 120"/>
            <p:cNvSpPr>
              <a:spLocks noChangeShapeType="1"/>
            </p:cNvSpPr>
            <p:nvPr/>
          </p:nvSpPr>
          <p:spPr bwMode="auto">
            <a:xfrm flipH="1" flipV="1">
              <a:off x="11343902" y="1726418"/>
              <a:ext cx="41275" cy="39688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5" name="Line 121"/>
            <p:cNvSpPr>
              <a:spLocks noChangeShapeType="1"/>
            </p:cNvSpPr>
            <p:nvPr/>
          </p:nvSpPr>
          <p:spPr bwMode="auto">
            <a:xfrm flipH="1" flipV="1">
              <a:off x="11310564" y="1675618"/>
              <a:ext cx="33338" cy="50800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6" name="Line 122"/>
            <p:cNvSpPr>
              <a:spLocks noChangeShapeType="1"/>
            </p:cNvSpPr>
            <p:nvPr/>
          </p:nvSpPr>
          <p:spPr bwMode="auto">
            <a:xfrm flipH="1" flipV="1">
              <a:off x="11291514" y="1621643"/>
              <a:ext cx="19050" cy="53975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7" name="Line 123"/>
            <p:cNvSpPr>
              <a:spLocks noChangeShapeType="1"/>
            </p:cNvSpPr>
            <p:nvPr/>
          </p:nvSpPr>
          <p:spPr bwMode="auto">
            <a:xfrm flipH="1" flipV="1">
              <a:off x="11285164" y="1561318"/>
              <a:ext cx="6350" cy="60325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8" name="Line 124"/>
            <p:cNvSpPr>
              <a:spLocks noChangeShapeType="1"/>
            </p:cNvSpPr>
            <p:nvPr/>
          </p:nvSpPr>
          <p:spPr bwMode="auto">
            <a:xfrm flipV="1">
              <a:off x="11285164" y="1532743"/>
              <a:ext cx="0" cy="28575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9" name="Line 125"/>
            <p:cNvSpPr>
              <a:spLocks noChangeShapeType="1"/>
            </p:cNvSpPr>
            <p:nvPr/>
          </p:nvSpPr>
          <p:spPr bwMode="auto">
            <a:xfrm flipH="1">
              <a:off x="11394702" y="1551793"/>
              <a:ext cx="9525" cy="47625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0" name="Line 126"/>
            <p:cNvSpPr>
              <a:spLocks noChangeShapeType="1"/>
            </p:cNvSpPr>
            <p:nvPr/>
          </p:nvSpPr>
          <p:spPr bwMode="auto">
            <a:xfrm flipH="1">
              <a:off x="11378827" y="1599418"/>
              <a:ext cx="15875" cy="44450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1" name="Line 127"/>
            <p:cNvSpPr>
              <a:spLocks noChangeShapeType="1"/>
            </p:cNvSpPr>
            <p:nvPr/>
          </p:nvSpPr>
          <p:spPr bwMode="auto">
            <a:xfrm flipH="1">
              <a:off x="11353427" y="1643868"/>
              <a:ext cx="25400" cy="36513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2" name="Line 128"/>
            <p:cNvSpPr>
              <a:spLocks noChangeShapeType="1"/>
            </p:cNvSpPr>
            <p:nvPr/>
          </p:nvSpPr>
          <p:spPr bwMode="auto">
            <a:xfrm flipH="1">
              <a:off x="11320089" y="1680380"/>
              <a:ext cx="33338" cy="33338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3" name="Line 129"/>
            <p:cNvSpPr>
              <a:spLocks noChangeShapeType="1"/>
            </p:cNvSpPr>
            <p:nvPr/>
          </p:nvSpPr>
          <p:spPr bwMode="auto">
            <a:xfrm flipH="1">
              <a:off x="11280402" y="1713718"/>
              <a:ext cx="39688" cy="23813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4" name="Line 130"/>
            <p:cNvSpPr>
              <a:spLocks noChangeShapeType="1"/>
            </p:cNvSpPr>
            <p:nvPr/>
          </p:nvSpPr>
          <p:spPr bwMode="auto">
            <a:xfrm flipH="1">
              <a:off x="11235952" y="1737530"/>
              <a:ext cx="44450" cy="15875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5" name="Line 131"/>
            <p:cNvSpPr>
              <a:spLocks noChangeShapeType="1"/>
            </p:cNvSpPr>
            <p:nvPr/>
          </p:nvSpPr>
          <p:spPr bwMode="auto">
            <a:xfrm flipH="1">
              <a:off x="11188327" y="1753405"/>
              <a:ext cx="47625" cy="4763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6" name="Line 132"/>
            <p:cNvSpPr>
              <a:spLocks noChangeShapeType="1"/>
            </p:cNvSpPr>
            <p:nvPr/>
          </p:nvSpPr>
          <p:spPr bwMode="auto">
            <a:xfrm flipH="1">
              <a:off x="11180389" y="1758168"/>
              <a:ext cx="7938" cy="0"/>
            </a:xfrm>
            <a:prstGeom prst="line">
              <a:avLst/>
            </a:prstGeom>
            <a:grpFill/>
            <a:ln w="11113">
              <a:solidFill>
                <a:schemeClr val="accent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199" name="Group 198"/>
          <p:cNvGrpSpPr/>
          <p:nvPr/>
        </p:nvGrpSpPr>
        <p:grpSpPr>
          <a:xfrm>
            <a:off x="8537449" y="3137126"/>
            <a:ext cx="675703" cy="439992"/>
            <a:chOff x="7772027" y="1518455"/>
            <a:chExt cx="477838" cy="311150"/>
          </a:xfrm>
          <a:solidFill>
            <a:schemeClr val="accent2"/>
          </a:solidFill>
        </p:grpSpPr>
        <p:sp>
          <p:nvSpPr>
            <p:cNvPr id="188" name="Freeform 134"/>
            <p:cNvSpPr>
              <a:spLocks/>
            </p:cNvSpPr>
            <p:nvPr/>
          </p:nvSpPr>
          <p:spPr bwMode="auto">
            <a:xfrm>
              <a:off x="7979989" y="1658155"/>
              <a:ext cx="63500" cy="20638"/>
            </a:xfrm>
            <a:custGeom>
              <a:avLst/>
              <a:gdLst>
                <a:gd name="T0" fmla="*/ 26 w 40"/>
                <a:gd name="T1" fmla="*/ 0 h 13"/>
                <a:gd name="T2" fmla="*/ 38 w 40"/>
                <a:gd name="T3" fmla="*/ 7 h 13"/>
                <a:gd name="T4" fmla="*/ 40 w 40"/>
                <a:gd name="T5" fmla="*/ 8 h 13"/>
                <a:gd name="T6" fmla="*/ 40 w 40"/>
                <a:gd name="T7" fmla="*/ 10 h 13"/>
                <a:gd name="T8" fmla="*/ 38 w 40"/>
                <a:gd name="T9" fmla="*/ 13 h 13"/>
                <a:gd name="T10" fmla="*/ 38 w 40"/>
                <a:gd name="T11" fmla="*/ 13 h 13"/>
                <a:gd name="T12" fmla="*/ 37 w 40"/>
                <a:gd name="T13" fmla="*/ 13 h 13"/>
                <a:gd name="T14" fmla="*/ 35 w 40"/>
                <a:gd name="T15" fmla="*/ 13 h 13"/>
                <a:gd name="T16" fmla="*/ 34 w 40"/>
                <a:gd name="T17" fmla="*/ 13 h 13"/>
                <a:gd name="T18" fmla="*/ 25 w 40"/>
                <a:gd name="T19" fmla="*/ 7 h 13"/>
                <a:gd name="T20" fmla="*/ 14 w 40"/>
                <a:gd name="T21" fmla="*/ 7 h 13"/>
                <a:gd name="T22" fmla="*/ 7 w 40"/>
                <a:gd name="T23" fmla="*/ 13 h 13"/>
                <a:gd name="T24" fmla="*/ 4 w 40"/>
                <a:gd name="T25" fmla="*/ 13 h 13"/>
                <a:gd name="T26" fmla="*/ 3 w 40"/>
                <a:gd name="T27" fmla="*/ 13 h 13"/>
                <a:gd name="T28" fmla="*/ 1 w 40"/>
                <a:gd name="T29" fmla="*/ 13 h 13"/>
                <a:gd name="T30" fmla="*/ 0 w 40"/>
                <a:gd name="T31" fmla="*/ 10 h 13"/>
                <a:gd name="T32" fmla="*/ 0 w 40"/>
                <a:gd name="T33" fmla="*/ 8 h 13"/>
                <a:gd name="T34" fmla="*/ 1 w 40"/>
                <a:gd name="T35" fmla="*/ 7 h 13"/>
                <a:gd name="T36" fmla="*/ 12 w 40"/>
                <a:gd name="T37" fmla="*/ 0 h 13"/>
                <a:gd name="T38" fmla="*/ 26 w 40"/>
                <a:gd name="T3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" h="13">
                  <a:moveTo>
                    <a:pt x="26" y="0"/>
                  </a:moveTo>
                  <a:lnTo>
                    <a:pt x="38" y="7"/>
                  </a:lnTo>
                  <a:lnTo>
                    <a:pt x="40" y="8"/>
                  </a:lnTo>
                  <a:lnTo>
                    <a:pt x="40" y="10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7" y="13"/>
                  </a:lnTo>
                  <a:lnTo>
                    <a:pt x="35" y="13"/>
                  </a:lnTo>
                  <a:lnTo>
                    <a:pt x="34" y="13"/>
                  </a:lnTo>
                  <a:lnTo>
                    <a:pt x="25" y="7"/>
                  </a:lnTo>
                  <a:lnTo>
                    <a:pt x="14" y="7"/>
                  </a:lnTo>
                  <a:lnTo>
                    <a:pt x="7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1" y="13"/>
                  </a:lnTo>
                  <a:lnTo>
                    <a:pt x="0" y="10"/>
                  </a:lnTo>
                  <a:lnTo>
                    <a:pt x="0" y="8"/>
                  </a:lnTo>
                  <a:lnTo>
                    <a:pt x="1" y="7"/>
                  </a:lnTo>
                  <a:lnTo>
                    <a:pt x="12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9" name="Freeform 135"/>
            <p:cNvSpPr>
              <a:spLocks/>
            </p:cNvSpPr>
            <p:nvPr/>
          </p:nvSpPr>
          <p:spPr bwMode="auto">
            <a:xfrm>
              <a:off x="7962527" y="1631168"/>
              <a:ext cx="96838" cy="31750"/>
            </a:xfrm>
            <a:custGeom>
              <a:avLst/>
              <a:gdLst>
                <a:gd name="T0" fmla="*/ 31 w 61"/>
                <a:gd name="T1" fmla="*/ 0 h 20"/>
                <a:gd name="T2" fmla="*/ 46 w 61"/>
                <a:gd name="T3" fmla="*/ 3 h 20"/>
                <a:gd name="T4" fmla="*/ 61 w 61"/>
                <a:gd name="T5" fmla="*/ 12 h 20"/>
                <a:gd name="T6" fmla="*/ 61 w 61"/>
                <a:gd name="T7" fmla="*/ 15 h 20"/>
                <a:gd name="T8" fmla="*/ 61 w 61"/>
                <a:gd name="T9" fmla="*/ 17 h 20"/>
                <a:gd name="T10" fmla="*/ 61 w 61"/>
                <a:gd name="T11" fmla="*/ 18 h 20"/>
                <a:gd name="T12" fmla="*/ 60 w 61"/>
                <a:gd name="T13" fmla="*/ 20 h 20"/>
                <a:gd name="T14" fmla="*/ 58 w 61"/>
                <a:gd name="T15" fmla="*/ 20 h 20"/>
                <a:gd name="T16" fmla="*/ 57 w 61"/>
                <a:gd name="T17" fmla="*/ 20 h 20"/>
                <a:gd name="T18" fmla="*/ 55 w 61"/>
                <a:gd name="T19" fmla="*/ 18 h 20"/>
                <a:gd name="T20" fmla="*/ 43 w 61"/>
                <a:gd name="T21" fmla="*/ 11 h 20"/>
                <a:gd name="T22" fmla="*/ 31 w 61"/>
                <a:gd name="T23" fmla="*/ 8 h 20"/>
                <a:gd name="T24" fmla="*/ 18 w 61"/>
                <a:gd name="T25" fmla="*/ 11 h 20"/>
                <a:gd name="T26" fmla="*/ 6 w 61"/>
                <a:gd name="T27" fmla="*/ 18 h 20"/>
                <a:gd name="T28" fmla="*/ 5 w 61"/>
                <a:gd name="T29" fmla="*/ 20 h 20"/>
                <a:gd name="T30" fmla="*/ 3 w 61"/>
                <a:gd name="T31" fmla="*/ 20 h 20"/>
                <a:gd name="T32" fmla="*/ 0 w 61"/>
                <a:gd name="T33" fmla="*/ 18 h 20"/>
                <a:gd name="T34" fmla="*/ 0 w 61"/>
                <a:gd name="T35" fmla="*/ 17 h 20"/>
                <a:gd name="T36" fmla="*/ 0 w 61"/>
                <a:gd name="T37" fmla="*/ 15 h 20"/>
                <a:gd name="T38" fmla="*/ 0 w 61"/>
                <a:gd name="T39" fmla="*/ 12 h 20"/>
                <a:gd name="T40" fmla="*/ 15 w 61"/>
                <a:gd name="T41" fmla="*/ 3 h 20"/>
                <a:gd name="T42" fmla="*/ 31 w 61"/>
                <a:gd name="T4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1" h="20">
                  <a:moveTo>
                    <a:pt x="31" y="0"/>
                  </a:moveTo>
                  <a:lnTo>
                    <a:pt x="46" y="3"/>
                  </a:lnTo>
                  <a:lnTo>
                    <a:pt x="61" y="12"/>
                  </a:lnTo>
                  <a:lnTo>
                    <a:pt x="61" y="15"/>
                  </a:lnTo>
                  <a:lnTo>
                    <a:pt x="61" y="17"/>
                  </a:lnTo>
                  <a:lnTo>
                    <a:pt x="61" y="18"/>
                  </a:lnTo>
                  <a:lnTo>
                    <a:pt x="60" y="20"/>
                  </a:lnTo>
                  <a:lnTo>
                    <a:pt x="58" y="20"/>
                  </a:lnTo>
                  <a:lnTo>
                    <a:pt x="57" y="20"/>
                  </a:lnTo>
                  <a:lnTo>
                    <a:pt x="55" y="18"/>
                  </a:lnTo>
                  <a:lnTo>
                    <a:pt x="43" y="11"/>
                  </a:lnTo>
                  <a:lnTo>
                    <a:pt x="31" y="8"/>
                  </a:lnTo>
                  <a:lnTo>
                    <a:pt x="18" y="11"/>
                  </a:lnTo>
                  <a:lnTo>
                    <a:pt x="6" y="18"/>
                  </a:lnTo>
                  <a:lnTo>
                    <a:pt x="5" y="20"/>
                  </a:lnTo>
                  <a:lnTo>
                    <a:pt x="3" y="20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5" y="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0" name="Freeform 136"/>
            <p:cNvSpPr>
              <a:spLocks/>
            </p:cNvSpPr>
            <p:nvPr/>
          </p:nvSpPr>
          <p:spPr bwMode="auto">
            <a:xfrm>
              <a:off x="7943477" y="1607355"/>
              <a:ext cx="134938" cy="38100"/>
            </a:xfrm>
            <a:custGeom>
              <a:avLst/>
              <a:gdLst>
                <a:gd name="T0" fmla="*/ 35 w 85"/>
                <a:gd name="T1" fmla="*/ 0 h 24"/>
                <a:gd name="T2" fmla="*/ 52 w 85"/>
                <a:gd name="T3" fmla="*/ 0 h 24"/>
                <a:gd name="T4" fmla="*/ 69 w 85"/>
                <a:gd name="T5" fmla="*/ 6 h 24"/>
                <a:gd name="T6" fmla="*/ 83 w 85"/>
                <a:gd name="T7" fmla="*/ 17 h 24"/>
                <a:gd name="T8" fmla="*/ 85 w 85"/>
                <a:gd name="T9" fmla="*/ 18 h 24"/>
                <a:gd name="T10" fmla="*/ 85 w 85"/>
                <a:gd name="T11" fmla="*/ 21 h 24"/>
                <a:gd name="T12" fmla="*/ 83 w 85"/>
                <a:gd name="T13" fmla="*/ 23 h 24"/>
                <a:gd name="T14" fmla="*/ 82 w 85"/>
                <a:gd name="T15" fmla="*/ 24 h 24"/>
                <a:gd name="T16" fmla="*/ 80 w 85"/>
                <a:gd name="T17" fmla="*/ 24 h 24"/>
                <a:gd name="T18" fmla="*/ 79 w 85"/>
                <a:gd name="T19" fmla="*/ 24 h 24"/>
                <a:gd name="T20" fmla="*/ 77 w 85"/>
                <a:gd name="T21" fmla="*/ 23 h 24"/>
                <a:gd name="T22" fmla="*/ 61 w 85"/>
                <a:gd name="T23" fmla="*/ 12 h 24"/>
                <a:gd name="T24" fmla="*/ 43 w 85"/>
                <a:gd name="T25" fmla="*/ 8 h 24"/>
                <a:gd name="T26" fmla="*/ 24 w 85"/>
                <a:gd name="T27" fmla="*/ 12 h 24"/>
                <a:gd name="T28" fmla="*/ 8 w 85"/>
                <a:gd name="T29" fmla="*/ 23 h 24"/>
                <a:gd name="T30" fmla="*/ 6 w 85"/>
                <a:gd name="T31" fmla="*/ 24 h 24"/>
                <a:gd name="T32" fmla="*/ 3 w 85"/>
                <a:gd name="T33" fmla="*/ 24 h 24"/>
                <a:gd name="T34" fmla="*/ 2 w 85"/>
                <a:gd name="T35" fmla="*/ 23 h 24"/>
                <a:gd name="T36" fmla="*/ 0 w 85"/>
                <a:gd name="T37" fmla="*/ 21 h 24"/>
                <a:gd name="T38" fmla="*/ 0 w 85"/>
                <a:gd name="T39" fmla="*/ 18 h 24"/>
                <a:gd name="T40" fmla="*/ 2 w 85"/>
                <a:gd name="T41" fmla="*/ 17 h 24"/>
                <a:gd name="T42" fmla="*/ 17 w 85"/>
                <a:gd name="T43" fmla="*/ 6 h 24"/>
                <a:gd name="T44" fmla="*/ 35 w 85"/>
                <a:gd name="T4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24">
                  <a:moveTo>
                    <a:pt x="35" y="0"/>
                  </a:moveTo>
                  <a:lnTo>
                    <a:pt x="52" y="0"/>
                  </a:lnTo>
                  <a:lnTo>
                    <a:pt x="69" y="6"/>
                  </a:lnTo>
                  <a:lnTo>
                    <a:pt x="83" y="17"/>
                  </a:lnTo>
                  <a:lnTo>
                    <a:pt x="85" y="18"/>
                  </a:lnTo>
                  <a:lnTo>
                    <a:pt x="85" y="21"/>
                  </a:lnTo>
                  <a:lnTo>
                    <a:pt x="83" y="23"/>
                  </a:lnTo>
                  <a:lnTo>
                    <a:pt x="82" y="24"/>
                  </a:lnTo>
                  <a:lnTo>
                    <a:pt x="80" y="24"/>
                  </a:lnTo>
                  <a:lnTo>
                    <a:pt x="79" y="24"/>
                  </a:lnTo>
                  <a:lnTo>
                    <a:pt x="77" y="23"/>
                  </a:lnTo>
                  <a:lnTo>
                    <a:pt x="61" y="12"/>
                  </a:lnTo>
                  <a:lnTo>
                    <a:pt x="43" y="8"/>
                  </a:lnTo>
                  <a:lnTo>
                    <a:pt x="24" y="12"/>
                  </a:lnTo>
                  <a:lnTo>
                    <a:pt x="8" y="23"/>
                  </a:lnTo>
                  <a:lnTo>
                    <a:pt x="6" y="24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8"/>
                  </a:lnTo>
                  <a:lnTo>
                    <a:pt x="2" y="17"/>
                  </a:lnTo>
                  <a:lnTo>
                    <a:pt x="17" y="6"/>
                  </a:lnTo>
                  <a:lnTo>
                    <a:pt x="3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1" name="Freeform 137"/>
            <p:cNvSpPr>
              <a:spLocks/>
            </p:cNvSpPr>
            <p:nvPr/>
          </p:nvSpPr>
          <p:spPr bwMode="auto">
            <a:xfrm>
              <a:off x="7999039" y="1683555"/>
              <a:ext cx="26988" cy="28575"/>
            </a:xfrm>
            <a:custGeom>
              <a:avLst/>
              <a:gdLst>
                <a:gd name="T0" fmla="*/ 8 w 17"/>
                <a:gd name="T1" fmla="*/ 0 h 18"/>
                <a:gd name="T2" fmla="*/ 11 w 17"/>
                <a:gd name="T3" fmla="*/ 1 h 18"/>
                <a:gd name="T4" fmla="*/ 14 w 17"/>
                <a:gd name="T5" fmla="*/ 3 h 18"/>
                <a:gd name="T6" fmla="*/ 16 w 17"/>
                <a:gd name="T7" fmla="*/ 6 h 18"/>
                <a:gd name="T8" fmla="*/ 17 w 17"/>
                <a:gd name="T9" fmla="*/ 9 h 18"/>
                <a:gd name="T10" fmla="*/ 16 w 17"/>
                <a:gd name="T11" fmla="*/ 12 h 18"/>
                <a:gd name="T12" fmla="*/ 14 w 17"/>
                <a:gd name="T13" fmla="*/ 15 h 18"/>
                <a:gd name="T14" fmla="*/ 11 w 17"/>
                <a:gd name="T15" fmla="*/ 18 h 18"/>
                <a:gd name="T16" fmla="*/ 8 w 17"/>
                <a:gd name="T17" fmla="*/ 18 h 18"/>
                <a:gd name="T18" fmla="*/ 4 w 17"/>
                <a:gd name="T19" fmla="*/ 18 h 18"/>
                <a:gd name="T20" fmla="*/ 1 w 17"/>
                <a:gd name="T21" fmla="*/ 15 h 18"/>
                <a:gd name="T22" fmla="*/ 0 w 17"/>
                <a:gd name="T23" fmla="*/ 12 h 18"/>
                <a:gd name="T24" fmla="*/ 0 w 17"/>
                <a:gd name="T25" fmla="*/ 9 h 18"/>
                <a:gd name="T26" fmla="*/ 0 w 17"/>
                <a:gd name="T27" fmla="*/ 6 h 18"/>
                <a:gd name="T28" fmla="*/ 1 w 17"/>
                <a:gd name="T29" fmla="*/ 3 h 18"/>
                <a:gd name="T30" fmla="*/ 4 w 17"/>
                <a:gd name="T31" fmla="*/ 1 h 18"/>
                <a:gd name="T32" fmla="*/ 8 w 17"/>
                <a:gd name="T3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" h="18">
                  <a:moveTo>
                    <a:pt x="8" y="0"/>
                  </a:moveTo>
                  <a:lnTo>
                    <a:pt x="11" y="1"/>
                  </a:lnTo>
                  <a:lnTo>
                    <a:pt x="14" y="3"/>
                  </a:lnTo>
                  <a:lnTo>
                    <a:pt x="16" y="6"/>
                  </a:lnTo>
                  <a:lnTo>
                    <a:pt x="17" y="9"/>
                  </a:lnTo>
                  <a:lnTo>
                    <a:pt x="16" y="12"/>
                  </a:lnTo>
                  <a:lnTo>
                    <a:pt x="14" y="15"/>
                  </a:lnTo>
                  <a:lnTo>
                    <a:pt x="11" y="18"/>
                  </a:lnTo>
                  <a:lnTo>
                    <a:pt x="8" y="18"/>
                  </a:lnTo>
                  <a:lnTo>
                    <a:pt x="4" y="18"/>
                  </a:lnTo>
                  <a:lnTo>
                    <a:pt x="1" y="15"/>
                  </a:lnTo>
                  <a:lnTo>
                    <a:pt x="0" y="12"/>
                  </a:lnTo>
                  <a:lnTo>
                    <a:pt x="0" y="9"/>
                  </a:lnTo>
                  <a:lnTo>
                    <a:pt x="0" y="6"/>
                  </a:lnTo>
                  <a:lnTo>
                    <a:pt x="1" y="3"/>
                  </a:lnTo>
                  <a:lnTo>
                    <a:pt x="4" y="1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2" name="Freeform 138"/>
            <p:cNvSpPr>
              <a:spLocks noEditPoints="1"/>
            </p:cNvSpPr>
            <p:nvPr/>
          </p:nvSpPr>
          <p:spPr bwMode="auto">
            <a:xfrm>
              <a:off x="7857752" y="1547030"/>
              <a:ext cx="307975" cy="214313"/>
            </a:xfrm>
            <a:custGeom>
              <a:avLst/>
              <a:gdLst>
                <a:gd name="T0" fmla="*/ 9 w 194"/>
                <a:gd name="T1" fmla="*/ 7 h 135"/>
                <a:gd name="T2" fmla="*/ 7 w 194"/>
                <a:gd name="T3" fmla="*/ 9 h 135"/>
                <a:gd name="T4" fmla="*/ 7 w 194"/>
                <a:gd name="T5" fmla="*/ 10 h 135"/>
                <a:gd name="T6" fmla="*/ 7 w 194"/>
                <a:gd name="T7" fmla="*/ 126 h 135"/>
                <a:gd name="T8" fmla="*/ 7 w 194"/>
                <a:gd name="T9" fmla="*/ 127 h 135"/>
                <a:gd name="T10" fmla="*/ 9 w 194"/>
                <a:gd name="T11" fmla="*/ 127 h 135"/>
                <a:gd name="T12" fmla="*/ 185 w 194"/>
                <a:gd name="T13" fmla="*/ 127 h 135"/>
                <a:gd name="T14" fmla="*/ 186 w 194"/>
                <a:gd name="T15" fmla="*/ 127 h 135"/>
                <a:gd name="T16" fmla="*/ 186 w 194"/>
                <a:gd name="T17" fmla="*/ 126 h 135"/>
                <a:gd name="T18" fmla="*/ 186 w 194"/>
                <a:gd name="T19" fmla="*/ 10 h 135"/>
                <a:gd name="T20" fmla="*/ 186 w 194"/>
                <a:gd name="T21" fmla="*/ 9 h 135"/>
                <a:gd name="T22" fmla="*/ 185 w 194"/>
                <a:gd name="T23" fmla="*/ 7 h 135"/>
                <a:gd name="T24" fmla="*/ 9 w 194"/>
                <a:gd name="T25" fmla="*/ 7 h 135"/>
                <a:gd name="T26" fmla="*/ 9 w 194"/>
                <a:gd name="T27" fmla="*/ 0 h 135"/>
                <a:gd name="T28" fmla="*/ 185 w 194"/>
                <a:gd name="T29" fmla="*/ 0 h 135"/>
                <a:gd name="T30" fmla="*/ 188 w 194"/>
                <a:gd name="T31" fmla="*/ 1 h 135"/>
                <a:gd name="T32" fmla="*/ 191 w 194"/>
                <a:gd name="T33" fmla="*/ 3 h 135"/>
                <a:gd name="T34" fmla="*/ 194 w 194"/>
                <a:gd name="T35" fmla="*/ 6 h 135"/>
                <a:gd name="T36" fmla="*/ 194 w 194"/>
                <a:gd name="T37" fmla="*/ 10 h 135"/>
                <a:gd name="T38" fmla="*/ 194 w 194"/>
                <a:gd name="T39" fmla="*/ 126 h 135"/>
                <a:gd name="T40" fmla="*/ 194 w 194"/>
                <a:gd name="T41" fmla="*/ 129 h 135"/>
                <a:gd name="T42" fmla="*/ 191 w 194"/>
                <a:gd name="T43" fmla="*/ 132 h 135"/>
                <a:gd name="T44" fmla="*/ 188 w 194"/>
                <a:gd name="T45" fmla="*/ 135 h 135"/>
                <a:gd name="T46" fmla="*/ 185 w 194"/>
                <a:gd name="T47" fmla="*/ 135 h 135"/>
                <a:gd name="T48" fmla="*/ 9 w 194"/>
                <a:gd name="T49" fmla="*/ 135 h 135"/>
                <a:gd name="T50" fmla="*/ 6 w 194"/>
                <a:gd name="T51" fmla="*/ 135 h 135"/>
                <a:gd name="T52" fmla="*/ 3 w 194"/>
                <a:gd name="T53" fmla="*/ 132 h 135"/>
                <a:gd name="T54" fmla="*/ 0 w 194"/>
                <a:gd name="T55" fmla="*/ 129 h 135"/>
                <a:gd name="T56" fmla="*/ 0 w 194"/>
                <a:gd name="T57" fmla="*/ 126 h 135"/>
                <a:gd name="T58" fmla="*/ 0 w 194"/>
                <a:gd name="T59" fmla="*/ 10 h 135"/>
                <a:gd name="T60" fmla="*/ 0 w 194"/>
                <a:gd name="T61" fmla="*/ 6 h 135"/>
                <a:gd name="T62" fmla="*/ 3 w 194"/>
                <a:gd name="T63" fmla="*/ 3 h 135"/>
                <a:gd name="T64" fmla="*/ 6 w 194"/>
                <a:gd name="T65" fmla="*/ 1 h 135"/>
                <a:gd name="T66" fmla="*/ 9 w 194"/>
                <a:gd name="T67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4" h="135">
                  <a:moveTo>
                    <a:pt x="9" y="7"/>
                  </a:moveTo>
                  <a:lnTo>
                    <a:pt x="7" y="9"/>
                  </a:lnTo>
                  <a:lnTo>
                    <a:pt x="7" y="10"/>
                  </a:lnTo>
                  <a:lnTo>
                    <a:pt x="7" y="126"/>
                  </a:lnTo>
                  <a:lnTo>
                    <a:pt x="7" y="127"/>
                  </a:lnTo>
                  <a:lnTo>
                    <a:pt x="9" y="127"/>
                  </a:lnTo>
                  <a:lnTo>
                    <a:pt x="185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6" y="10"/>
                  </a:lnTo>
                  <a:lnTo>
                    <a:pt x="186" y="9"/>
                  </a:lnTo>
                  <a:lnTo>
                    <a:pt x="185" y="7"/>
                  </a:lnTo>
                  <a:lnTo>
                    <a:pt x="9" y="7"/>
                  </a:lnTo>
                  <a:close/>
                  <a:moveTo>
                    <a:pt x="9" y="0"/>
                  </a:moveTo>
                  <a:lnTo>
                    <a:pt x="185" y="0"/>
                  </a:lnTo>
                  <a:lnTo>
                    <a:pt x="188" y="1"/>
                  </a:lnTo>
                  <a:lnTo>
                    <a:pt x="191" y="3"/>
                  </a:lnTo>
                  <a:lnTo>
                    <a:pt x="194" y="6"/>
                  </a:lnTo>
                  <a:lnTo>
                    <a:pt x="194" y="10"/>
                  </a:lnTo>
                  <a:lnTo>
                    <a:pt x="194" y="126"/>
                  </a:lnTo>
                  <a:lnTo>
                    <a:pt x="194" y="129"/>
                  </a:lnTo>
                  <a:lnTo>
                    <a:pt x="191" y="132"/>
                  </a:lnTo>
                  <a:lnTo>
                    <a:pt x="188" y="135"/>
                  </a:lnTo>
                  <a:lnTo>
                    <a:pt x="185" y="135"/>
                  </a:lnTo>
                  <a:lnTo>
                    <a:pt x="9" y="135"/>
                  </a:lnTo>
                  <a:lnTo>
                    <a:pt x="6" y="135"/>
                  </a:lnTo>
                  <a:lnTo>
                    <a:pt x="3" y="132"/>
                  </a:lnTo>
                  <a:lnTo>
                    <a:pt x="0" y="129"/>
                  </a:lnTo>
                  <a:lnTo>
                    <a:pt x="0" y="126"/>
                  </a:lnTo>
                  <a:lnTo>
                    <a:pt x="0" y="10"/>
                  </a:lnTo>
                  <a:lnTo>
                    <a:pt x="0" y="6"/>
                  </a:lnTo>
                  <a:lnTo>
                    <a:pt x="3" y="3"/>
                  </a:lnTo>
                  <a:lnTo>
                    <a:pt x="6" y="1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3" name="Freeform 139"/>
            <p:cNvSpPr>
              <a:spLocks noEditPoints="1"/>
            </p:cNvSpPr>
            <p:nvPr/>
          </p:nvSpPr>
          <p:spPr bwMode="auto">
            <a:xfrm>
              <a:off x="7772027" y="1518455"/>
              <a:ext cx="477838" cy="311150"/>
            </a:xfrm>
            <a:custGeom>
              <a:avLst/>
              <a:gdLst>
                <a:gd name="T0" fmla="*/ 8 w 301"/>
                <a:gd name="T1" fmla="*/ 172 h 196"/>
                <a:gd name="T2" fmla="*/ 8 w 301"/>
                <a:gd name="T3" fmla="*/ 187 h 196"/>
                <a:gd name="T4" fmla="*/ 9 w 301"/>
                <a:gd name="T5" fmla="*/ 188 h 196"/>
                <a:gd name="T6" fmla="*/ 294 w 301"/>
                <a:gd name="T7" fmla="*/ 188 h 196"/>
                <a:gd name="T8" fmla="*/ 294 w 301"/>
                <a:gd name="T9" fmla="*/ 174 h 196"/>
                <a:gd name="T10" fmla="*/ 292 w 301"/>
                <a:gd name="T11" fmla="*/ 171 h 196"/>
                <a:gd name="T12" fmla="*/ 60 w 301"/>
                <a:gd name="T13" fmla="*/ 8 h 196"/>
                <a:gd name="T14" fmla="*/ 49 w 301"/>
                <a:gd name="T15" fmla="*/ 10 h 196"/>
                <a:gd name="T16" fmla="*/ 43 w 301"/>
                <a:gd name="T17" fmla="*/ 19 h 196"/>
                <a:gd name="T18" fmla="*/ 43 w 301"/>
                <a:gd name="T19" fmla="*/ 147 h 196"/>
                <a:gd name="T20" fmla="*/ 46 w 301"/>
                <a:gd name="T21" fmla="*/ 157 h 196"/>
                <a:gd name="T22" fmla="*/ 54 w 301"/>
                <a:gd name="T23" fmla="*/ 162 h 196"/>
                <a:gd name="T24" fmla="*/ 243 w 301"/>
                <a:gd name="T25" fmla="*/ 163 h 196"/>
                <a:gd name="T26" fmla="*/ 252 w 301"/>
                <a:gd name="T27" fmla="*/ 160 h 196"/>
                <a:gd name="T28" fmla="*/ 258 w 301"/>
                <a:gd name="T29" fmla="*/ 153 h 196"/>
                <a:gd name="T30" fmla="*/ 258 w 301"/>
                <a:gd name="T31" fmla="*/ 24 h 196"/>
                <a:gd name="T32" fmla="*/ 255 w 301"/>
                <a:gd name="T33" fmla="*/ 15 h 196"/>
                <a:gd name="T34" fmla="*/ 248 w 301"/>
                <a:gd name="T35" fmla="*/ 9 h 196"/>
                <a:gd name="T36" fmla="*/ 60 w 301"/>
                <a:gd name="T37" fmla="*/ 8 h 196"/>
                <a:gd name="T38" fmla="*/ 243 w 301"/>
                <a:gd name="T39" fmla="*/ 0 h 196"/>
                <a:gd name="T40" fmla="*/ 264 w 301"/>
                <a:gd name="T41" fmla="*/ 12 h 196"/>
                <a:gd name="T42" fmla="*/ 267 w 301"/>
                <a:gd name="T43" fmla="*/ 147 h 196"/>
                <a:gd name="T44" fmla="*/ 264 w 301"/>
                <a:gd name="T45" fmla="*/ 159 h 196"/>
                <a:gd name="T46" fmla="*/ 292 w 301"/>
                <a:gd name="T47" fmla="*/ 163 h 196"/>
                <a:gd name="T48" fmla="*/ 298 w 301"/>
                <a:gd name="T49" fmla="*/ 166 h 196"/>
                <a:gd name="T50" fmla="*/ 301 w 301"/>
                <a:gd name="T51" fmla="*/ 174 h 196"/>
                <a:gd name="T52" fmla="*/ 301 w 301"/>
                <a:gd name="T53" fmla="*/ 190 h 196"/>
                <a:gd name="T54" fmla="*/ 295 w 301"/>
                <a:gd name="T55" fmla="*/ 196 h 196"/>
                <a:gd name="T56" fmla="*/ 9 w 301"/>
                <a:gd name="T57" fmla="*/ 196 h 196"/>
                <a:gd name="T58" fmla="*/ 3 w 301"/>
                <a:gd name="T59" fmla="*/ 193 h 196"/>
                <a:gd name="T60" fmla="*/ 0 w 301"/>
                <a:gd name="T61" fmla="*/ 187 h 196"/>
                <a:gd name="T62" fmla="*/ 0 w 301"/>
                <a:gd name="T63" fmla="*/ 169 h 196"/>
                <a:gd name="T64" fmla="*/ 6 w 301"/>
                <a:gd name="T65" fmla="*/ 165 h 196"/>
                <a:gd name="T66" fmla="*/ 42 w 301"/>
                <a:gd name="T67" fmla="*/ 163 h 196"/>
                <a:gd name="T68" fmla="*/ 36 w 301"/>
                <a:gd name="T69" fmla="*/ 153 h 196"/>
                <a:gd name="T70" fmla="*/ 34 w 301"/>
                <a:gd name="T71" fmla="*/ 24 h 196"/>
                <a:gd name="T72" fmla="*/ 46 w 301"/>
                <a:gd name="T73" fmla="*/ 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01" h="196">
                  <a:moveTo>
                    <a:pt x="9" y="171"/>
                  </a:moveTo>
                  <a:lnTo>
                    <a:pt x="8" y="172"/>
                  </a:lnTo>
                  <a:lnTo>
                    <a:pt x="8" y="174"/>
                  </a:lnTo>
                  <a:lnTo>
                    <a:pt x="8" y="187"/>
                  </a:lnTo>
                  <a:lnTo>
                    <a:pt x="8" y="188"/>
                  </a:lnTo>
                  <a:lnTo>
                    <a:pt x="9" y="188"/>
                  </a:lnTo>
                  <a:lnTo>
                    <a:pt x="292" y="188"/>
                  </a:lnTo>
                  <a:lnTo>
                    <a:pt x="294" y="188"/>
                  </a:lnTo>
                  <a:lnTo>
                    <a:pt x="294" y="187"/>
                  </a:lnTo>
                  <a:lnTo>
                    <a:pt x="294" y="174"/>
                  </a:lnTo>
                  <a:lnTo>
                    <a:pt x="294" y="172"/>
                  </a:lnTo>
                  <a:lnTo>
                    <a:pt x="292" y="171"/>
                  </a:lnTo>
                  <a:lnTo>
                    <a:pt x="9" y="171"/>
                  </a:lnTo>
                  <a:close/>
                  <a:moveTo>
                    <a:pt x="60" y="8"/>
                  </a:moveTo>
                  <a:lnTo>
                    <a:pt x="54" y="9"/>
                  </a:lnTo>
                  <a:lnTo>
                    <a:pt x="49" y="10"/>
                  </a:lnTo>
                  <a:lnTo>
                    <a:pt x="46" y="15"/>
                  </a:lnTo>
                  <a:lnTo>
                    <a:pt x="43" y="19"/>
                  </a:lnTo>
                  <a:lnTo>
                    <a:pt x="43" y="24"/>
                  </a:lnTo>
                  <a:lnTo>
                    <a:pt x="43" y="147"/>
                  </a:lnTo>
                  <a:lnTo>
                    <a:pt x="43" y="153"/>
                  </a:lnTo>
                  <a:lnTo>
                    <a:pt x="46" y="157"/>
                  </a:lnTo>
                  <a:lnTo>
                    <a:pt x="49" y="160"/>
                  </a:lnTo>
                  <a:lnTo>
                    <a:pt x="54" y="162"/>
                  </a:lnTo>
                  <a:lnTo>
                    <a:pt x="60" y="163"/>
                  </a:lnTo>
                  <a:lnTo>
                    <a:pt x="243" y="163"/>
                  </a:lnTo>
                  <a:lnTo>
                    <a:pt x="248" y="162"/>
                  </a:lnTo>
                  <a:lnTo>
                    <a:pt x="252" y="160"/>
                  </a:lnTo>
                  <a:lnTo>
                    <a:pt x="255" y="157"/>
                  </a:lnTo>
                  <a:lnTo>
                    <a:pt x="258" y="153"/>
                  </a:lnTo>
                  <a:lnTo>
                    <a:pt x="258" y="147"/>
                  </a:lnTo>
                  <a:lnTo>
                    <a:pt x="258" y="24"/>
                  </a:lnTo>
                  <a:lnTo>
                    <a:pt x="258" y="19"/>
                  </a:lnTo>
                  <a:lnTo>
                    <a:pt x="255" y="15"/>
                  </a:lnTo>
                  <a:lnTo>
                    <a:pt x="252" y="10"/>
                  </a:lnTo>
                  <a:lnTo>
                    <a:pt x="248" y="9"/>
                  </a:lnTo>
                  <a:lnTo>
                    <a:pt x="243" y="8"/>
                  </a:lnTo>
                  <a:lnTo>
                    <a:pt x="60" y="8"/>
                  </a:lnTo>
                  <a:close/>
                  <a:moveTo>
                    <a:pt x="60" y="0"/>
                  </a:moveTo>
                  <a:lnTo>
                    <a:pt x="243" y="0"/>
                  </a:lnTo>
                  <a:lnTo>
                    <a:pt x="255" y="3"/>
                  </a:lnTo>
                  <a:lnTo>
                    <a:pt x="264" y="12"/>
                  </a:lnTo>
                  <a:lnTo>
                    <a:pt x="267" y="24"/>
                  </a:lnTo>
                  <a:lnTo>
                    <a:pt x="267" y="147"/>
                  </a:lnTo>
                  <a:lnTo>
                    <a:pt x="266" y="153"/>
                  </a:lnTo>
                  <a:lnTo>
                    <a:pt x="264" y="159"/>
                  </a:lnTo>
                  <a:lnTo>
                    <a:pt x="260" y="163"/>
                  </a:lnTo>
                  <a:lnTo>
                    <a:pt x="292" y="163"/>
                  </a:lnTo>
                  <a:lnTo>
                    <a:pt x="295" y="165"/>
                  </a:lnTo>
                  <a:lnTo>
                    <a:pt x="298" y="166"/>
                  </a:lnTo>
                  <a:lnTo>
                    <a:pt x="301" y="169"/>
                  </a:lnTo>
                  <a:lnTo>
                    <a:pt x="301" y="174"/>
                  </a:lnTo>
                  <a:lnTo>
                    <a:pt x="301" y="187"/>
                  </a:lnTo>
                  <a:lnTo>
                    <a:pt x="301" y="190"/>
                  </a:lnTo>
                  <a:lnTo>
                    <a:pt x="298" y="193"/>
                  </a:lnTo>
                  <a:lnTo>
                    <a:pt x="295" y="196"/>
                  </a:lnTo>
                  <a:lnTo>
                    <a:pt x="292" y="196"/>
                  </a:lnTo>
                  <a:lnTo>
                    <a:pt x="9" y="196"/>
                  </a:lnTo>
                  <a:lnTo>
                    <a:pt x="6" y="196"/>
                  </a:lnTo>
                  <a:lnTo>
                    <a:pt x="3" y="193"/>
                  </a:lnTo>
                  <a:lnTo>
                    <a:pt x="0" y="190"/>
                  </a:lnTo>
                  <a:lnTo>
                    <a:pt x="0" y="187"/>
                  </a:lnTo>
                  <a:lnTo>
                    <a:pt x="0" y="174"/>
                  </a:lnTo>
                  <a:lnTo>
                    <a:pt x="0" y="169"/>
                  </a:lnTo>
                  <a:lnTo>
                    <a:pt x="3" y="166"/>
                  </a:lnTo>
                  <a:lnTo>
                    <a:pt x="6" y="165"/>
                  </a:lnTo>
                  <a:lnTo>
                    <a:pt x="9" y="163"/>
                  </a:lnTo>
                  <a:lnTo>
                    <a:pt x="42" y="163"/>
                  </a:lnTo>
                  <a:lnTo>
                    <a:pt x="37" y="159"/>
                  </a:lnTo>
                  <a:lnTo>
                    <a:pt x="36" y="153"/>
                  </a:lnTo>
                  <a:lnTo>
                    <a:pt x="34" y="147"/>
                  </a:lnTo>
                  <a:lnTo>
                    <a:pt x="34" y="24"/>
                  </a:lnTo>
                  <a:lnTo>
                    <a:pt x="39" y="12"/>
                  </a:lnTo>
                  <a:lnTo>
                    <a:pt x="46" y="3"/>
                  </a:lnTo>
                  <a:lnTo>
                    <a:pt x="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198" name="Group 197"/>
          <p:cNvGrpSpPr/>
          <p:nvPr/>
        </p:nvGrpSpPr>
        <p:grpSpPr>
          <a:xfrm>
            <a:off x="8447226" y="4305925"/>
            <a:ext cx="781273" cy="312509"/>
            <a:chOff x="9337302" y="1556555"/>
            <a:chExt cx="635000" cy="254000"/>
          </a:xfrm>
          <a:solidFill>
            <a:schemeClr val="accent5"/>
          </a:solidFill>
        </p:grpSpPr>
        <p:sp>
          <p:nvSpPr>
            <p:cNvPr id="194" name="Freeform 140"/>
            <p:cNvSpPr>
              <a:spLocks/>
            </p:cNvSpPr>
            <p:nvPr/>
          </p:nvSpPr>
          <p:spPr bwMode="auto">
            <a:xfrm>
              <a:off x="9889752" y="1697843"/>
              <a:ext cx="42863" cy="20638"/>
            </a:xfrm>
            <a:custGeom>
              <a:avLst/>
              <a:gdLst>
                <a:gd name="T0" fmla="*/ 1 w 27"/>
                <a:gd name="T1" fmla="*/ 0 h 13"/>
                <a:gd name="T2" fmla="*/ 12 w 27"/>
                <a:gd name="T3" fmla="*/ 3 h 13"/>
                <a:gd name="T4" fmla="*/ 19 w 27"/>
                <a:gd name="T5" fmla="*/ 6 h 13"/>
                <a:gd name="T6" fmla="*/ 25 w 27"/>
                <a:gd name="T7" fmla="*/ 10 h 13"/>
                <a:gd name="T8" fmla="*/ 27 w 27"/>
                <a:gd name="T9" fmla="*/ 12 h 13"/>
                <a:gd name="T10" fmla="*/ 27 w 27"/>
                <a:gd name="T11" fmla="*/ 13 h 13"/>
                <a:gd name="T12" fmla="*/ 27 w 27"/>
                <a:gd name="T13" fmla="*/ 13 h 13"/>
                <a:gd name="T14" fmla="*/ 25 w 27"/>
                <a:gd name="T15" fmla="*/ 13 h 13"/>
                <a:gd name="T16" fmla="*/ 4 w 27"/>
                <a:gd name="T17" fmla="*/ 13 h 13"/>
                <a:gd name="T18" fmla="*/ 3 w 27"/>
                <a:gd name="T19" fmla="*/ 13 h 13"/>
                <a:gd name="T20" fmla="*/ 3 w 27"/>
                <a:gd name="T21" fmla="*/ 12 h 13"/>
                <a:gd name="T22" fmla="*/ 0 w 27"/>
                <a:gd name="T23" fmla="*/ 1 h 13"/>
                <a:gd name="T24" fmla="*/ 0 w 27"/>
                <a:gd name="T25" fmla="*/ 0 h 13"/>
                <a:gd name="T26" fmla="*/ 1 w 27"/>
                <a:gd name="T2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13">
                  <a:moveTo>
                    <a:pt x="1" y="0"/>
                  </a:moveTo>
                  <a:lnTo>
                    <a:pt x="12" y="3"/>
                  </a:lnTo>
                  <a:lnTo>
                    <a:pt x="19" y="6"/>
                  </a:lnTo>
                  <a:lnTo>
                    <a:pt x="25" y="10"/>
                  </a:lnTo>
                  <a:lnTo>
                    <a:pt x="27" y="12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5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5" name="Freeform 141"/>
            <p:cNvSpPr>
              <a:spLocks noEditPoints="1"/>
            </p:cNvSpPr>
            <p:nvPr/>
          </p:nvSpPr>
          <p:spPr bwMode="auto">
            <a:xfrm>
              <a:off x="9337302" y="1556555"/>
              <a:ext cx="635000" cy="254000"/>
            </a:xfrm>
            <a:custGeom>
              <a:avLst/>
              <a:gdLst>
                <a:gd name="T0" fmla="*/ 198 w 400"/>
                <a:gd name="T1" fmla="*/ 148 h 160"/>
                <a:gd name="T2" fmla="*/ 232 w 400"/>
                <a:gd name="T3" fmla="*/ 151 h 160"/>
                <a:gd name="T4" fmla="*/ 235 w 400"/>
                <a:gd name="T5" fmla="*/ 138 h 160"/>
                <a:gd name="T6" fmla="*/ 228 w 400"/>
                <a:gd name="T7" fmla="*/ 135 h 160"/>
                <a:gd name="T8" fmla="*/ 111 w 400"/>
                <a:gd name="T9" fmla="*/ 153 h 160"/>
                <a:gd name="T10" fmla="*/ 140 w 400"/>
                <a:gd name="T11" fmla="*/ 153 h 160"/>
                <a:gd name="T12" fmla="*/ 180 w 400"/>
                <a:gd name="T13" fmla="*/ 145 h 160"/>
                <a:gd name="T14" fmla="*/ 12 w 400"/>
                <a:gd name="T15" fmla="*/ 9 h 160"/>
                <a:gd name="T16" fmla="*/ 7 w 400"/>
                <a:gd name="T17" fmla="*/ 10 h 160"/>
                <a:gd name="T18" fmla="*/ 28 w 400"/>
                <a:gd name="T19" fmla="*/ 74 h 160"/>
                <a:gd name="T20" fmla="*/ 28 w 400"/>
                <a:gd name="T21" fmla="*/ 83 h 160"/>
                <a:gd name="T22" fmla="*/ 22 w 400"/>
                <a:gd name="T23" fmla="*/ 93 h 160"/>
                <a:gd name="T24" fmla="*/ 12 w 400"/>
                <a:gd name="T25" fmla="*/ 99 h 160"/>
                <a:gd name="T26" fmla="*/ 16 w 400"/>
                <a:gd name="T27" fmla="*/ 110 h 160"/>
                <a:gd name="T28" fmla="*/ 72 w 400"/>
                <a:gd name="T29" fmla="*/ 124 h 160"/>
                <a:gd name="T30" fmla="*/ 151 w 400"/>
                <a:gd name="T31" fmla="*/ 111 h 160"/>
                <a:gd name="T32" fmla="*/ 269 w 400"/>
                <a:gd name="T33" fmla="*/ 110 h 160"/>
                <a:gd name="T34" fmla="*/ 271 w 400"/>
                <a:gd name="T35" fmla="*/ 115 h 160"/>
                <a:gd name="T36" fmla="*/ 243 w 400"/>
                <a:gd name="T37" fmla="*/ 132 h 160"/>
                <a:gd name="T38" fmla="*/ 378 w 400"/>
                <a:gd name="T39" fmla="*/ 127 h 160"/>
                <a:gd name="T40" fmla="*/ 388 w 400"/>
                <a:gd name="T41" fmla="*/ 105 h 160"/>
                <a:gd name="T42" fmla="*/ 354 w 400"/>
                <a:gd name="T43" fmla="*/ 84 h 160"/>
                <a:gd name="T44" fmla="*/ 90 w 400"/>
                <a:gd name="T45" fmla="*/ 77 h 160"/>
                <a:gd name="T46" fmla="*/ 75 w 400"/>
                <a:gd name="T47" fmla="*/ 65 h 160"/>
                <a:gd name="T48" fmla="*/ 35 w 400"/>
                <a:gd name="T49" fmla="*/ 18 h 160"/>
                <a:gd name="T50" fmla="*/ 23 w 400"/>
                <a:gd name="T51" fmla="*/ 9 h 160"/>
                <a:gd name="T52" fmla="*/ 12 w 400"/>
                <a:gd name="T53" fmla="*/ 0 h 160"/>
                <a:gd name="T54" fmla="*/ 37 w 400"/>
                <a:gd name="T55" fmla="*/ 9 h 160"/>
                <a:gd name="T56" fmla="*/ 81 w 400"/>
                <a:gd name="T57" fmla="*/ 61 h 160"/>
                <a:gd name="T58" fmla="*/ 102 w 400"/>
                <a:gd name="T59" fmla="*/ 74 h 160"/>
                <a:gd name="T60" fmla="*/ 366 w 400"/>
                <a:gd name="T61" fmla="*/ 78 h 160"/>
                <a:gd name="T62" fmla="*/ 397 w 400"/>
                <a:gd name="T63" fmla="*/ 104 h 160"/>
                <a:gd name="T64" fmla="*/ 388 w 400"/>
                <a:gd name="T65" fmla="*/ 132 h 160"/>
                <a:gd name="T66" fmla="*/ 354 w 400"/>
                <a:gd name="T67" fmla="*/ 141 h 160"/>
                <a:gd name="T68" fmla="*/ 243 w 400"/>
                <a:gd name="T69" fmla="*/ 153 h 160"/>
                <a:gd name="T70" fmla="*/ 232 w 400"/>
                <a:gd name="T71" fmla="*/ 158 h 160"/>
                <a:gd name="T72" fmla="*/ 194 w 400"/>
                <a:gd name="T73" fmla="*/ 157 h 160"/>
                <a:gd name="T74" fmla="*/ 186 w 400"/>
                <a:gd name="T75" fmla="*/ 153 h 160"/>
                <a:gd name="T76" fmla="*/ 160 w 400"/>
                <a:gd name="T77" fmla="*/ 158 h 160"/>
                <a:gd name="T78" fmla="*/ 114 w 400"/>
                <a:gd name="T79" fmla="*/ 160 h 160"/>
                <a:gd name="T80" fmla="*/ 102 w 400"/>
                <a:gd name="T81" fmla="*/ 158 h 160"/>
                <a:gd name="T82" fmla="*/ 99 w 400"/>
                <a:gd name="T83" fmla="*/ 153 h 160"/>
                <a:gd name="T84" fmla="*/ 117 w 400"/>
                <a:gd name="T85" fmla="*/ 138 h 160"/>
                <a:gd name="T86" fmla="*/ 43 w 400"/>
                <a:gd name="T87" fmla="*/ 127 h 160"/>
                <a:gd name="T88" fmla="*/ 3 w 400"/>
                <a:gd name="T89" fmla="*/ 107 h 160"/>
                <a:gd name="T90" fmla="*/ 3 w 400"/>
                <a:gd name="T91" fmla="*/ 99 h 160"/>
                <a:gd name="T92" fmla="*/ 10 w 400"/>
                <a:gd name="T93" fmla="*/ 89 h 160"/>
                <a:gd name="T94" fmla="*/ 20 w 400"/>
                <a:gd name="T95" fmla="*/ 84 h 160"/>
                <a:gd name="T96" fmla="*/ 20 w 400"/>
                <a:gd name="T97" fmla="*/ 77 h 160"/>
                <a:gd name="T98" fmla="*/ 0 w 400"/>
                <a:gd name="T99" fmla="*/ 12 h 160"/>
                <a:gd name="T100" fmla="*/ 1 w 400"/>
                <a:gd name="T101" fmla="*/ 4 h 160"/>
                <a:gd name="T102" fmla="*/ 12 w 400"/>
                <a:gd name="T103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0" h="160">
                  <a:moveTo>
                    <a:pt x="228" y="135"/>
                  </a:moveTo>
                  <a:lnTo>
                    <a:pt x="198" y="147"/>
                  </a:lnTo>
                  <a:lnTo>
                    <a:pt x="198" y="148"/>
                  </a:lnTo>
                  <a:lnTo>
                    <a:pt x="200" y="151"/>
                  </a:lnTo>
                  <a:lnTo>
                    <a:pt x="201" y="151"/>
                  </a:lnTo>
                  <a:lnTo>
                    <a:pt x="232" y="151"/>
                  </a:lnTo>
                  <a:lnTo>
                    <a:pt x="235" y="151"/>
                  </a:lnTo>
                  <a:lnTo>
                    <a:pt x="235" y="148"/>
                  </a:lnTo>
                  <a:lnTo>
                    <a:pt x="235" y="138"/>
                  </a:lnTo>
                  <a:lnTo>
                    <a:pt x="235" y="135"/>
                  </a:lnTo>
                  <a:lnTo>
                    <a:pt x="232" y="135"/>
                  </a:lnTo>
                  <a:lnTo>
                    <a:pt x="228" y="135"/>
                  </a:lnTo>
                  <a:close/>
                  <a:moveTo>
                    <a:pt x="249" y="117"/>
                  </a:moveTo>
                  <a:lnTo>
                    <a:pt x="155" y="118"/>
                  </a:lnTo>
                  <a:lnTo>
                    <a:pt x="111" y="153"/>
                  </a:lnTo>
                  <a:lnTo>
                    <a:pt x="115" y="153"/>
                  </a:lnTo>
                  <a:lnTo>
                    <a:pt x="121" y="153"/>
                  </a:lnTo>
                  <a:lnTo>
                    <a:pt x="140" y="153"/>
                  </a:lnTo>
                  <a:lnTo>
                    <a:pt x="158" y="151"/>
                  </a:lnTo>
                  <a:lnTo>
                    <a:pt x="172" y="148"/>
                  </a:lnTo>
                  <a:lnTo>
                    <a:pt x="180" y="145"/>
                  </a:lnTo>
                  <a:lnTo>
                    <a:pt x="183" y="145"/>
                  </a:lnTo>
                  <a:lnTo>
                    <a:pt x="249" y="117"/>
                  </a:lnTo>
                  <a:close/>
                  <a:moveTo>
                    <a:pt x="12" y="9"/>
                  </a:moveTo>
                  <a:lnTo>
                    <a:pt x="9" y="9"/>
                  </a:lnTo>
                  <a:lnTo>
                    <a:pt x="9" y="9"/>
                  </a:lnTo>
                  <a:lnTo>
                    <a:pt x="7" y="10"/>
                  </a:lnTo>
                  <a:lnTo>
                    <a:pt x="7" y="12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8" y="77"/>
                  </a:lnTo>
                  <a:lnTo>
                    <a:pt x="28" y="80"/>
                  </a:lnTo>
                  <a:lnTo>
                    <a:pt x="28" y="83"/>
                  </a:lnTo>
                  <a:lnTo>
                    <a:pt x="26" y="87"/>
                  </a:lnTo>
                  <a:lnTo>
                    <a:pt x="25" y="90"/>
                  </a:lnTo>
                  <a:lnTo>
                    <a:pt x="22" y="93"/>
                  </a:lnTo>
                  <a:lnTo>
                    <a:pt x="17" y="95"/>
                  </a:lnTo>
                  <a:lnTo>
                    <a:pt x="14" y="96"/>
                  </a:lnTo>
                  <a:lnTo>
                    <a:pt x="12" y="99"/>
                  </a:lnTo>
                  <a:lnTo>
                    <a:pt x="10" y="101"/>
                  </a:lnTo>
                  <a:lnTo>
                    <a:pt x="10" y="104"/>
                  </a:lnTo>
                  <a:lnTo>
                    <a:pt x="16" y="110"/>
                  </a:lnTo>
                  <a:lnTo>
                    <a:pt x="29" y="115"/>
                  </a:lnTo>
                  <a:lnTo>
                    <a:pt x="49" y="120"/>
                  </a:lnTo>
                  <a:lnTo>
                    <a:pt x="72" y="124"/>
                  </a:lnTo>
                  <a:lnTo>
                    <a:pt x="97" y="127"/>
                  </a:lnTo>
                  <a:lnTo>
                    <a:pt x="126" y="130"/>
                  </a:lnTo>
                  <a:lnTo>
                    <a:pt x="151" y="111"/>
                  </a:lnTo>
                  <a:lnTo>
                    <a:pt x="154" y="110"/>
                  </a:lnTo>
                  <a:lnTo>
                    <a:pt x="268" y="110"/>
                  </a:lnTo>
                  <a:lnTo>
                    <a:pt x="269" y="110"/>
                  </a:lnTo>
                  <a:lnTo>
                    <a:pt x="271" y="111"/>
                  </a:lnTo>
                  <a:lnTo>
                    <a:pt x="272" y="112"/>
                  </a:lnTo>
                  <a:lnTo>
                    <a:pt x="271" y="115"/>
                  </a:lnTo>
                  <a:lnTo>
                    <a:pt x="269" y="117"/>
                  </a:lnTo>
                  <a:lnTo>
                    <a:pt x="240" y="129"/>
                  </a:lnTo>
                  <a:lnTo>
                    <a:pt x="243" y="132"/>
                  </a:lnTo>
                  <a:lnTo>
                    <a:pt x="354" y="132"/>
                  </a:lnTo>
                  <a:lnTo>
                    <a:pt x="366" y="132"/>
                  </a:lnTo>
                  <a:lnTo>
                    <a:pt x="378" y="127"/>
                  </a:lnTo>
                  <a:lnTo>
                    <a:pt x="388" y="123"/>
                  </a:lnTo>
                  <a:lnTo>
                    <a:pt x="391" y="115"/>
                  </a:lnTo>
                  <a:lnTo>
                    <a:pt x="388" y="105"/>
                  </a:lnTo>
                  <a:lnTo>
                    <a:pt x="378" y="95"/>
                  </a:lnTo>
                  <a:lnTo>
                    <a:pt x="366" y="87"/>
                  </a:lnTo>
                  <a:lnTo>
                    <a:pt x="354" y="84"/>
                  </a:lnTo>
                  <a:lnTo>
                    <a:pt x="118" y="84"/>
                  </a:lnTo>
                  <a:lnTo>
                    <a:pt x="102" y="81"/>
                  </a:lnTo>
                  <a:lnTo>
                    <a:pt x="90" y="77"/>
                  </a:lnTo>
                  <a:lnTo>
                    <a:pt x="81" y="72"/>
                  </a:lnTo>
                  <a:lnTo>
                    <a:pt x="77" y="68"/>
                  </a:lnTo>
                  <a:lnTo>
                    <a:pt x="75" y="65"/>
                  </a:lnTo>
                  <a:lnTo>
                    <a:pt x="40" y="24"/>
                  </a:lnTo>
                  <a:lnTo>
                    <a:pt x="38" y="21"/>
                  </a:lnTo>
                  <a:lnTo>
                    <a:pt x="35" y="18"/>
                  </a:lnTo>
                  <a:lnTo>
                    <a:pt x="31" y="15"/>
                  </a:lnTo>
                  <a:lnTo>
                    <a:pt x="28" y="12"/>
                  </a:lnTo>
                  <a:lnTo>
                    <a:pt x="23" y="9"/>
                  </a:lnTo>
                  <a:lnTo>
                    <a:pt x="20" y="9"/>
                  </a:lnTo>
                  <a:lnTo>
                    <a:pt x="12" y="9"/>
                  </a:lnTo>
                  <a:close/>
                  <a:moveTo>
                    <a:pt x="12" y="0"/>
                  </a:moveTo>
                  <a:lnTo>
                    <a:pt x="20" y="0"/>
                  </a:lnTo>
                  <a:lnTo>
                    <a:pt x="29" y="3"/>
                  </a:lnTo>
                  <a:lnTo>
                    <a:pt x="37" y="9"/>
                  </a:lnTo>
                  <a:lnTo>
                    <a:pt x="43" y="15"/>
                  </a:lnTo>
                  <a:lnTo>
                    <a:pt x="46" y="19"/>
                  </a:lnTo>
                  <a:lnTo>
                    <a:pt x="81" y="61"/>
                  </a:lnTo>
                  <a:lnTo>
                    <a:pt x="84" y="64"/>
                  </a:lnTo>
                  <a:lnTo>
                    <a:pt x="90" y="68"/>
                  </a:lnTo>
                  <a:lnTo>
                    <a:pt x="102" y="74"/>
                  </a:lnTo>
                  <a:lnTo>
                    <a:pt x="118" y="75"/>
                  </a:lnTo>
                  <a:lnTo>
                    <a:pt x="354" y="75"/>
                  </a:lnTo>
                  <a:lnTo>
                    <a:pt x="366" y="78"/>
                  </a:lnTo>
                  <a:lnTo>
                    <a:pt x="378" y="84"/>
                  </a:lnTo>
                  <a:lnTo>
                    <a:pt x="388" y="93"/>
                  </a:lnTo>
                  <a:lnTo>
                    <a:pt x="397" y="104"/>
                  </a:lnTo>
                  <a:lnTo>
                    <a:pt x="400" y="115"/>
                  </a:lnTo>
                  <a:lnTo>
                    <a:pt x="397" y="124"/>
                  </a:lnTo>
                  <a:lnTo>
                    <a:pt x="388" y="132"/>
                  </a:lnTo>
                  <a:lnTo>
                    <a:pt x="378" y="136"/>
                  </a:lnTo>
                  <a:lnTo>
                    <a:pt x="366" y="139"/>
                  </a:lnTo>
                  <a:lnTo>
                    <a:pt x="354" y="141"/>
                  </a:lnTo>
                  <a:lnTo>
                    <a:pt x="244" y="141"/>
                  </a:lnTo>
                  <a:lnTo>
                    <a:pt x="244" y="148"/>
                  </a:lnTo>
                  <a:lnTo>
                    <a:pt x="243" y="153"/>
                  </a:lnTo>
                  <a:lnTo>
                    <a:pt x="241" y="155"/>
                  </a:lnTo>
                  <a:lnTo>
                    <a:pt x="237" y="158"/>
                  </a:lnTo>
                  <a:lnTo>
                    <a:pt x="232" y="158"/>
                  </a:lnTo>
                  <a:lnTo>
                    <a:pt x="201" y="158"/>
                  </a:lnTo>
                  <a:lnTo>
                    <a:pt x="198" y="158"/>
                  </a:lnTo>
                  <a:lnTo>
                    <a:pt x="194" y="157"/>
                  </a:lnTo>
                  <a:lnTo>
                    <a:pt x="192" y="154"/>
                  </a:lnTo>
                  <a:lnTo>
                    <a:pt x="191" y="150"/>
                  </a:lnTo>
                  <a:lnTo>
                    <a:pt x="186" y="153"/>
                  </a:lnTo>
                  <a:lnTo>
                    <a:pt x="182" y="154"/>
                  </a:lnTo>
                  <a:lnTo>
                    <a:pt x="173" y="155"/>
                  </a:lnTo>
                  <a:lnTo>
                    <a:pt x="160" y="158"/>
                  </a:lnTo>
                  <a:lnTo>
                    <a:pt x="140" y="160"/>
                  </a:lnTo>
                  <a:lnTo>
                    <a:pt x="121" y="160"/>
                  </a:lnTo>
                  <a:lnTo>
                    <a:pt x="114" y="160"/>
                  </a:lnTo>
                  <a:lnTo>
                    <a:pt x="108" y="160"/>
                  </a:lnTo>
                  <a:lnTo>
                    <a:pt x="103" y="158"/>
                  </a:lnTo>
                  <a:lnTo>
                    <a:pt x="102" y="158"/>
                  </a:lnTo>
                  <a:lnTo>
                    <a:pt x="99" y="157"/>
                  </a:lnTo>
                  <a:lnTo>
                    <a:pt x="99" y="155"/>
                  </a:lnTo>
                  <a:lnTo>
                    <a:pt x="99" y="153"/>
                  </a:lnTo>
                  <a:lnTo>
                    <a:pt x="99" y="151"/>
                  </a:lnTo>
                  <a:lnTo>
                    <a:pt x="100" y="150"/>
                  </a:lnTo>
                  <a:lnTo>
                    <a:pt x="117" y="138"/>
                  </a:lnTo>
                  <a:lnTo>
                    <a:pt x="92" y="135"/>
                  </a:lnTo>
                  <a:lnTo>
                    <a:pt x="66" y="132"/>
                  </a:lnTo>
                  <a:lnTo>
                    <a:pt x="43" y="127"/>
                  </a:lnTo>
                  <a:lnTo>
                    <a:pt x="23" y="121"/>
                  </a:lnTo>
                  <a:lnTo>
                    <a:pt x="10" y="114"/>
                  </a:lnTo>
                  <a:lnTo>
                    <a:pt x="3" y="107"/>
                  </a:lnTo>
                  <a:lnTo>
                    <a:pt x="3" y="105"/>
                  </a:lnTo>
                  <a:lnTo>
                    <a:pt x="3" y="102"/>
                  </a:lnTo>
                  <a:lnTo>
                    <a:pt x="3" y="99"/>
                  </a:lnTo>
                  <a:lnTo>
                    <a:pt x="4" y="96"/>
                  </a:lnTo>
                  <a:lnTo>
                    <a:pt x="6" y="93"/>
                  </a:lnTo>
                  <a:lnTo>
                    <a:pt x="10" y="89"/>
                  </a:lnTo>
                  <a:lnTo>
                    <a:pt x="14" y="87"/>
                  </a:lnTo>
                  <a:lnTo>
                    <a:pt x="17" y="86"/>
                  </a:lnTo>
                  <a:lnTo>
                    <a:pt x="20" y="84"/>
                  </a:lnTo>
                  <a:lnTo>
                    <a:pt x="20" y="81"/>
                  </a:lnTo>
                  <a:lnTo>
                    <a:pt x="20" y="78"/>
                  </a:lnTo>
                  <a:lnTo>
                    <a:pt x="20" y="77"/>
                  </a:lnTo>
                  <a:lnTo>
                    <a:pt x="20" y="75"/>
                  </a:lnTo>
                  <a:lnTo>
                    <a:pt x="0" y="13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7"/>
                  </a:lnTo>
                  <a:lnTo>
                    <a:pt x="1" y="4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6" name="Freeform 142"/>
            <p:cNvSpPr>
              <a:spLocks noEditPoints="1"/>
            </p:cNvSpPr>
            <p:nvPr/>
          </p:nvSpPr>
          <p:spPr bwMode="auto">
            <a:xfrm>
              <a:off x="9386514" y="1704193"/>
              <a:ext cx="119063" cy="33338"/>
            </a:xfrm>
            <a:custGeom>
              <a:avLst/>
              <a:gdLst>
                <a:gd name="T0" fmla="*/ 10 w 75"/>
                <a:gd name="T1" fmla="*/ 8 h 21"/>
                <a:gd name="T2" fmla="*/ 7 w 75"/>
                <a:gd name="T3" fmla="*/ 9 h 21"/>
                <a:gd name="T4" fmla="*/ 7 w 75"/>
                <a:gd name="T5" fmla="*/ 11 h 21"/>
                <a:gd name="T6" fmla="*/ 7 w 75"/>
                <a:gd name="T7" fmla="*/ 12 h 21"/>
                <a:gd name="T8" fmla="*/ 10 w 75"/>
                <a:gd name="T9" fmla="*/ 12 h 21"/>
                <a:gd name="T10" fmla="*/ 65 w 75"/>
                <a:gd name="T11" fmla="*/ 12 h 21"/>
                <a:gd name="T12" fmla="*/ 66 w 75"/>
                <a:gd name="T13" fmla="*/ 12 h 21"/>
                <a:gd name="T14" fmla="*/ 66 w 75"/>
                <a:gd name="T15" fmla="*/ 11 h 21"/>
                <a:gd name="T16" fmla="*/ 66 w 75"/>
                <a:gd name="T17" fmla="*/ 9 h 21"/>
                <a:gd name="T18" fmla="*/ 65 w 75"/>
                <a:gd name="T19" fmla="*/ 8 h 21"/>
                <a:gd name="T20" fmla="*/ 10 w 75"/>
                <a:gd name="T21" fmla="*/ 8 h 21"/>
                <a:gd name="T22" fmla="*/ 10 w 75"/>
                <a:gd name="T23" fmla="*/ 0 h 21"/>
                <a:gd name="T24" fmla="*/ 65 w 75"/>
                <a:gd name="T25" fmla="*/ 0 h 21"/>
                <a:gd name="T26" fmla="*/ 69 w 75"/>
                <a:gd name="T27" fmla="*/ 0 h 21"/>
                <a:gd name="T28" fmla="*/ 72 w 75"/>
                <a:gd name="T29" fmla="*/ 3 h 21"/>
                <a:gd name="T30" fmla="*/ 74 w 75"/>
                <a:gd name="T31" fmla="*/ 6 h 21"/>
                <a:gd name="T32" fmla="*/ 75 w 75"/>
                <a:gd name="T33" fmla="*/ 11 h 21"/>
                <a:gd name="T34" fmla="*/ 74 w 75"/>
                <a:gd name="T35" fmla="*/ 15 h 21"/>
                <a:gd name="T36" fmla="*/ 72 w 75"/>
                <a:gd name="T37" fmla="*/ 18 h 21"/>
                <a:gd name="T38" fmla="*/ 69 w 75"/>
                <a:gd name="T39" fmla="*/ 19 h 21"/>
                <a:gd name="T40" fmla="*/ 65 w 75"/>
                <a:gd name="T41" fmla="*/ 21 h 21"/>
                <a:gd name="T42" fmla="*/ 10 w 75"/>
                <a:gd name="T43" fmla="*/ 21 h 21"/>
                <a:gd name="T44" fmla="*/ 6 w 75"/>
                <a:gd name="T45" fmla="*/ 19 h 21"/>
                <a:gd name="T46" fmla="*/ 3 w 75"/>
                <a:gd name="T47" fmla="*/ 18 h 21"/>
                <a:gd name="T48" fmla="*/ 0 w 75"/>
                <a:gd name="T49" fmla="*/ 15 h 21"/>
                <a:gd name="T50" fmla="*/ 0 w 75"/>
                <a:gd name="T51" fmla="*/ 11 h 21"/>
                <a:gd name="T52" fmla="*/ 0 w 75"/>
                <a:gd name="T53" fmla="*/ 6 h 21"/>
                <a:gd name="T54" fmla="*/ 3 w 75"/>
                <a:gd name="T55" fmla="*/ 3 h 21"/>
                <a:gd name="T56" fmla="*/ 6 w 75"/>
                <a:gd name="T57" fmla="*/ 0 h 21"/>
                <a:gd name="T58" fmla="*/ 10 w 75"/>
                <a:gd name="T5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75" h="21">
                  <a:moveTo>
                    <a:pt x="10" y="8"/>
                  </a:moveTo>
                  <a:lnTo>
                    <a:pt x="7" y="9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10" y="12"/>
                  </a:lnTo>
                  <a:lnTo>
                    <a:pt x="65" y="12"/>
                  </a:lnTo>
                  <a:lnTo>
                    <a:pt x="66" y="12"/>
                  </a:lnTo>
                  <a:lnTo>
                    <a:pt x="66" y="11"/>
                  </a:lnTo>
                  <a:lnTo>
                    <a:pt x="66" y="9"/>
                  </a:lnTo>
                  <a:lnTo>
                    <a:pt x="65" y="8"/>
                  </a:lnTo>
                  <a:lnTo>
                    <a:pt x="10" y="8"/>
                  </a:lnTo>
                  <a:close/>
                  <a:moveTo>
                    <a:pt x="10" y="0"/>
                  </a:moveTo>
                  <a:lnTo>
                    <a:pt x="65" y="0"/>
                  </a:lnTo>
                  <a:lnTo>
                    <a:pt x="69" y="0"/>
                  </a:lnTo>
                  <a:lnTo>
                    <a:pt x="72" y="3"/>
                  </a:lnTo>
                  <a:lnTo>
                    <a:pt x="74" y="6"/>
                  </a:lnTo>
                  <a:lnTo>
                    <a:pt x="75" y="11"/>
                  </a:lnTo>
                  <a:lnTo>
                    <a:pt x="74" y="15"/>
                  </a:lnTo>
                  <a:lnTo>
                    <a:pt x="72" y="18"/>
                  </a:lnTo>
                  <a:lnTo>
                    <a:pt x="69" y="19"/>
                  </a:lnTo>
                  <a:lnTo>
                    <a:pt x="65" y="21"/>
                  </a:lnTo>
                  <a:lnTo>
                    <a:pt x="10" y="21"/>
                  </a:lnTo>
                  <a:lnTo>
                    <a:pt x="6" y="19"/>
                  </a:lnTo>
                  <a:lnTo>
                    <a:pt x="3" y="18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0" y="6"/>
                  </a:lnTo>
                  <a:lnTo>
                    <a:pt x="3" y="3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7F1C4AB-C730-4CB6-BAB0-439AB6C8B78D}"/>
              </a:ext>
            </a:extLst>
          </p:cNvPr>
          <p:cNvCxnSpPr>
            <a:cxnSpLocks/>
          </p:cNvCxnSpPr>
          <p:nvPr/>
        </p:nvCxnSpPr>
        <p:spPr>
          <a:xfrm>
            <a:off x="8544272" y="2877329"/>
            <a:ext cx="1775002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D8D6A6B-713D-44FC-9D31-C24BD6079CEA}"/>
              </a:ext>
            </a:extLst>
          </p:cNvPr>
          <p:cNvSpPr/>
          <p:nvPr/>
        </p:nvSpPr>
        <p:spPr>
          <a:xfrm>
            <a:off x="7065367" y="4725766"/>
            <a:ext cx="1645920" cy="345931"/>
          </a:xfrm>
          <a:custGeom>
            <a:avLst/>
            <a:gdLst>
              <a:gd name="connsiteX0" fmla="*/ 0 w 1645920"/>
              <a:gd name="connsiteY0" fmla="*/ 148590 h 448304"/>
              <a:gd name="connsiteX1" fmla="*/ 834390 w 1645920"/>
              <a:gd name="connsiteY1" fmla="*/ 445770 h 448304"/>
              <a:gd name="connsiteX2" fmla="*/ 1645920 w 1645920"/>
              <a:gd name="connsiteY2" fmla="*/ 0 h 448304"/>
              <a:gd name="connsiteX0" fmla="*/ 0 w 1645920"/>
              <a:gd name="connsiteY0" fmla="*/ 148590 h 148590"/>
              <a:gd name="connsiteX1" fmla="*/ 1645920 w 1645920"/>
              <a:gd name="connsiteY1" fmla="*/ 0 h 148590"/>
              <a:gd name="connsiteX0" fmla="*/ 0 w 1645920"/>
              <a:gd name="connsiteY0" fmla="*/ 148590 h 193246"/>
              <a:gd name="connsiteX1" fmla="*/ 1645920 w 1645920"/>
              <a:gd name="connsiteY1" fmla="*/ 0 h 193246"/>
              <a:gd name="connsiteX0" fmla="*/ 0 w 1645920"/>
              <a:gd name="connsiteY0" fmla="*/ 148590 h 345931"/>
              <a:gd name="connsiteX1" fmla="*/ 1645920 w 1645920"/>
              <a:gd name="connsiteY1" fmla="*/ 0 h 345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645920" h="345931">
                <a:moveTo>
                  <a:pt x="0" y="148590"/>
                </a:moveTo>
                <a:cubicBezTo>
                  <a:pt x="651510" y="487680"/>
                  <a:pt x="1017270" y="358140"/>
                  <a:pt x="1645920" y="0"/>
                </a:cubicBezTo>
              </a:path>
            </a:pathLst>
          </a:custGeom>
          <a:noFill/>
          <a:ln w="22225">
            <a:solidFill>
              <a:schemeClr val="bg1">
                <a:lumMod val="85000"/>
              </a:schemeClr>
            </a:solidFill>
            <a:tailEnd type="arrow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Freeform: Shape 120">
            <a:extLst>
              <a:ext uri="{FF2B5EF4-FFF2-40B4-BE49-F238E27FC236}">
                <a16:creationId xmlns:a16="http://schemas.microsoft.com/office/drawing/2014/main" id="{879C3652-A6EC-4F4C-85A0-520C91279BCC}"/>
              </a:ext>
            </a:extLst>
          </p:cNvPr>
          <p:cNvSpPr/>
          <p:nvPr/>
        </p:nvSpPr>
        <p:spPr>
          <a:xfrm>
            <a:off x="7487848" y="3660938"/>
            <a:ext cx="1497330" cy="720090"/>
          </a:xfrm>
          <a:custGeom>
            <a:avLst/>
            <a:gdLst>
              <a:gd name="connsiteX0" fmla="*/ 0 w 1645920"/>
              <a:gd name="connsiteY0" fmla="*/ 148590 h 448304"/>
              <a:gd name="connsiteX1" fmla="*/ 834390 w 1645920"/>
              <a:gd name="connsiteY1" fmla="*/ 445770 h 448304"/>
              <a:gd name="connsiteX2" fmla="*/ 1645920 w 1645920"/>
              <a:gd name="connsiteY2" fmla="*/ 0 h 448304"/>
              <a:gd name="connsiteX0" fmla="*/ 0 w 1645920"/>
              <a:gd name="connsiteY0" fmla="*/ 148590 h 148590"/>
              <a:gd name="connsiteX1" fmla="*/ 1645920 w 1645920"/>
              <a:gd name="connsiteY1" fmla="*/ 0 h 148590"/>
              <a:gd name="connsiteX0" fmla="*/ 0 w 1645920"/>
              <a:gd name="connsiteY0" fmla="*/ 148590 h 193246"/>
              <a:gd name="connsiteX1" fmla="*/ 1645920 w 1645920"/>
              <a:gd name="connsiteY1" fmla="*/ 0 h 193246"/>
              <a:gd name="connsiteX0" fmla="*/ 0 w 1645920"/>
              <a:gd name="connsiteY0" fmla="*/ 148590 h 345931"/>
              <a:gd name="connsiteX1" fmla="*/ 1645920 w 1645920"/>
              <a:gd name="connsiteY1" fmla="*/ 0 h 345931"/>
              <a:gd name="connsiteX0" fmla="*/ 0 w 1771650"/>
              <a:gd name="connsiteY0" fmla="*/ 685800 h 779183"/>
              <a:gd name="connsiteX1" fmla="*/ 1771650 w 1771650"/>
              <a:gd name="connsiteY1" fmla="*/ 0 h 779183"/>
              <a:gd name="connsiteX0" fmla="*/ 0 w 1497330"/>
              <a:gd name="connsiteY0" fmla="*/ 720090 h 810248"/>
              <a:gd name="connsiteX1" fmla="*/ 1497330 w 1497330"/>
              <a:gd name="connsiteY1" fmla="*/ 0 h 810248"/>
              <a:gd name="connsiteX0" fmla="*/ 0 w 1497330"/>
              <a:gd name="connsiteY0" fmla="*/ 720090 h 720090"/>
              <a:gd name="connsiteX1" fmla="*/ 1497330 w 1497330"/>
              <a:gd name="connsiteY1" fmla="*/ 0 h 720090"/>
              <a:gd name="connsiteX0" fmla="*/ 0 w 1497330"/>
              <a:gd name="connsiteY0" fmla="*/ 720090 h 720090"/>
              <a:gd name="connsiteX1" fmla="*/ 1497330 w 1497330"/>
              <a:gd name="connsiteY1" fmla="*/ 0 h 72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97330" h="720090">
                <a:moveTo>
                  <a:pt x="0" y="720090"/>
                </a:moveTo>
                <a:cubicBezTo>
                  <a:pt x="925830" y="636270"/>
                  <a:pt x="1268730" y="300990"/>
                  <a:pt x="1497330" y="0"/>
                </a:cubicBezTo>
              </a:path>
            </a:pathLst>
          </a:custGeom>
          <a:noFill/>
          <a:ln w="22225">
            <a:solidFill>
              <a:schemeClr val="bg1">
                <a:lumMod val="85000"/>
              </a:schemeClr>
            </a:solidFill>
            <a:tailEnd type="arrow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E4A0C02-39F5-4571-ACDE-85D3315E8A57}"/>
              </a:ext>
            </a:extLst>
          </p:cNvPr>
          <p:cNvSpPr txBox="1"/>
          <p:nvPr/>
        </p:nvSpPr>
        <p:spPr>
          <a:xfrm>
            <a:off x="806850" y="1416915"/>
            <a:ext cx="2043003" cy="391610"/>
          </a:xfrm>
          <a:prstGeom prst="roundRect">
            <a:avLst/>
          </a:prstGeom>
          <a:noFill/>
        </p:spPr>
        <p:txBody>
          <a:bodyPr vert="horz" wrap="none" lIns="0" tIns="45720" rIns="0" bIns="45720" rtlCol="0" anchor="ctr">
            <a:normAutofit fontScale="92500" lnSpcReduction="10000"/>
          </a:bodyPr>
          <a:lstStyle/>
          <a:p>
            <a:r>
              <a:rPr lang="ru-RU" sz="2000" b="1">
                <a:solidFill>
                  <a:schemeClr val="tx2"/>
                </a:solidFill>
              </a:rPr>
              <a:t>ОСНОВНАЯ ДЕЯТЕЛЬНОСТЬ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DC9B4F0-7554-4571-92F2-DE76FE39CB6D}"/>
              </a:ext>
            </a:extLst>
          </p:cNvPr>
          <p:cNvCxnSpPr>
            <a:cxnSpLocks/>
          </p:cNvCxnSpPr>
          <p:nvPr/>
        </p:nvCxnSpPr>
        <p:spPr>
          <a:xfrm>
            <a:off x="839115" y="1771990"/>
            <a:ext cx="2151962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C10A47AC-F35A-4CFA-B5F2-64265F9DC05B}"/>
              </a:ext>
            </a:extLst>
          </p:cNvPr>
          <p:cNvSpPr/>
          <p:nvPr/>
        </p:nvSpPr>
        <p:spPr>
          <a:xfrm flipH="1">
            <a:off x="3178974" y="1692161"/>
            <a:ext cx="2183130" cy="705552"/>
          </a:xfrm>
          <a:custGeom>
            <a:avLst/>
            <a:gdLst>
              <a:gd name="connsiteX0" fmla="*/ 0 w 1645920"/>
              <a:gd name="connsiteY0" fmla="*/ 148590 h 448304"/>
              <a:gd name="connsiteX1" fmla="*/ 834390 w 1645920"/>
              <a:gd name="connsiteY1" fmla="*/ 445770 h 448304"/>
              <a:gd name="connsiteX2" fmla="*/ 1645920 w 1645920"/>
              <a:gd name="connsiteY2" fmla="*/ 0 h 448304"/>
              <a:gd name="connsiteX0" fmla="*/ 0 w 1645920"/>
              <a:gd name="connsiteY0" fmla="*/ 148590 h 148590"/>
              <a:gd name="connsiteX1" fmla="*/ 1645920 w 1645920"/>
              <a:gd name="connsiteY1" fmla="*/ 0 h 148590"/>
              <a:gd name="connsiteX0" fmla="*/ 0 w 1645920"/>
              <a:gd name="connsiteY0" fmla="*/ 148590 h 193246"/>
              <a:gd name="connsiteX1" fmla="*/ 1645920 w 1645920"/>
              <a:gd name="connsiteY1" fmla="*/ 0 h 193246"/>
              <a:gd name="connsiteX0" fmla="*/ 0 w 1645920"/>
              <a:gd name="connsiteY0" fmla="*/ 148590 h 345931"/>
              <a:gd name="connsiteX1" fmla="*/ 1645920 w 1645920"/>
              <a:gd name="connsiteY1" fmla="*/ 0 h 345931"/>
              <a:gd name="connsiteX0" fmla="*/ 0 w 1771650"/>
              <a:gd name="connsiteY0" fmla="*/ 685800 h 779183"/>
              <a:gd name="connsiteX1" fmla="*/ 1771650 w 1771650"/>
              <a:gd name="connsiteY1" fmla="*/ 0 h 779183"/>
              <a:gd name="connsiteX0" fmla="*/ 0 w 1497330"/>
              <a:gd name="connsiteY0" fmla="*/ 720090 h 810248"/>
              <a:gd name="connsiteX1" fmla="*/ 1497330 w 1497330"/>
              <a:gd name="connsiteY1" fmla="*/ 0 h 810248"/>
              <a:gd name="connsiteX0" fmla="*/ 0 w 1497330"/>
              <a:gd name="connsiteY0" fmla="*/ 720090 h 720090"/>
              <a:gd name="connsiteX1" fmla="*/ 1497330 w 1497330"/>
              <a:gd name="connsiteY1" fmla="*/ 0 h 720090"/>
              <a:gd name="connsiteX0" fmla="*/ 0 w 1497330"/>
              <a:gd name="connsiteY0" fmla="*/ 720090 h 720090"/>
              <a:gd name="connsiteX1" fmla="*/ 1497330 w 1497330"/>
              <a:gd name="connsiteY1" fmla="*/ 0 h 720090"/>
              <a:gd name="connsiteX0" fmla="*/ 0 w 1497330"/>
              <a:gd name="connsiteY0" fmla="*/ 884531 h 884531"/>
              <a:gd name="connsiteX1" fmla="*/ 1497330 w 1497330"/>
              <a:gd name="connsiteY1" fmla="*/ 164441 h 884531"/>
              <a:gd name="connsiteX0" fmla="*/ 0 w 1497330"/>
              <a:gd name="connsiteY0" fmla="*/ 946349 h 946349"/>
              <a:gd name="connsiteX1" fmla="*/ 1497330 w 1497330"/>
              <a:gd name="connsiteY1" fmla="*/ 226259 h 946349"/>
              <a:gd name="connsiteX0" fmla="*/ 0 w 2183130"/>
              <a:gd name="connsiteY0" fmla="*/ 705552 h 705552"/>
              <a:gd name="connsiteX1" fmla="*/ 2183130 w 2183130"/>
              <a:gd name="connsiteY1" fmla="*/ 294072 h 70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183130" h="705552">
                <a:moveTo>
                  <a:pt x="0" y="705552"/>
                </a:moveTo>
                <a:cubicBezTo>
                  <a:pt x="708660" y="107382"/>
                  <a:pt x="1463040" y="-307908"/>
                  <a:pt x="2183130" y="294072"/>
                </a:cubicBezTo>
              </a:path>
            </a:pathLst>
          </a:custGeom>
          <a:noFill/>
          <a:ln w="22225">
            <a:solidFill>
              <a:schemeClr val="bg1">
                <a:lumMod val="85000"/>
              </a:schemeClr>
            </a:solidFill>
            <a:tailEnd type="arrow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86B3EA1-5C35-4B69-B8AE-BB86EDDA89FC}"/>
              </a:ext>
            </a:extLst>
          </p:cNvPr>
          <p:cNvSpPr/>
          <p:nvPr/>
        </p:nvSpPr>
        <p:spPr>
          <a:xfrm rot="1998793" flipH="1">
            <a:off x="2919435" y="3915754"/>
            <a:ext cx="2122948" cy="702140"/>
          </a:xfrm>
          <a:custGeom>
            <a:avLst/>
            <a:gdLst>
              <a:gd name="connsiteX0" fmla="*/ 0 w 1645920"/>
              <a:gd name="connsiteY0" fmla="*/ 148590 h 448304"/>
              <a:gd name="connsiteX1" fmla="*/ 834390 w 1645920"/>
              <a:gd name="connsiteY1" fmla="*/ 445770 h 448304"/>
              <a:gd name="connsiteX2" fmla="*/ 1645920 w 1645920"/>
              <a:gd name="connsiteY2" fmla="*/ 0 h 448304"/>
              <a:gd name="connsiteX0" fmla="*/ 0 w 1645920"/>
              <a:gd name="connsiteY0" fmla="*/ 148590 h 148590"/>
              <a:gd name="connsiteX1" fmla="*/ 1645920 w 1645920"/>
              <a:gd name="connsiteY1" fmla="*/ 0 h 148590"/>
              <a:gd name="connsiteX0" fmla="*/ 0 w 1645920"/>
              <a:gd name="connsiteY0" fmla="*/ 148590 h 193246"/>
              <a:gd name="connsiteX1" fmla="*/ 1645920 w 1645920"/>
              <a:gd name="connsiteY1" fmla="*/ 0 h 193246"/>
              <a:gd name="connsiteX0" fmla="*/ 0 w 1645920"/>
              <a:gd name="connsiteY0" fmla="*/ 148590 h 345931"/>
              <a:gd name="connsiteX1" fmla="*/ 1645920 w 1645920"/>
              <a:gd name="connsiteY1" fmla="*/ 0 h 345931"/>
              <a:gd name="connsiteX0" fmla="*/ 0 w 2174252"/>
              <a:gd name="connsiteY0" fmla="*/ 0 h 752472"/>
              <a:gd name="connsiteX1" fmla="*/ 2174252 w 2174252"/>
              <a:gd name="connsiteY1" fmla="*/ 649991 h 752472"/>
              <a:gd name="connsiteX0" fmla="*/ 0 w 2174252"/>
              <a:gd name="connsiteY0" fmla="*/ 0 h 775929"/>
              <a:gd name="connsiteX1" fmla="*/ 2174252 w 2174252"/>
              <a:gd name="connsiteY1" fmla="*/ 649991 h 775929"/>
              <a:gd name="connsiteX0" fmla="*/ 0 w 2122948"/>
              <a:gd name="connsiteY0" fmla="*/ 0 h 702140"/>
              <a:gd name="connsiteX1" fmla="*/ 2122948 w 2122948"/>
              <a:gd name="connsiteY1" fmla="*/ 561564 h 702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122948" h="702140">
                <a:moveTo>
                  <a:pt x="0" y="0"/>
                </a:moveTo>
                <a:cubicBezTo>
                  <a:pt x="503852" y="542953"/>
                  <a:pt x="1494298" y="919704"/>
                  <a:pt x="2122948" y="561564"/>
                </a:cubicBezTo>
              </a:path>
            </a:pathLst>
          </a:custGeom>
          <a:noFill/>
          <a:ln w="22225">
            <a:solidFill>
              <a:schemeClr val="bg1">
                <a:lumMod val="85000"/>
              </a:schemeClr>
            </a:solidFill>
            <a:tailEnd type="arrow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Freeform: Shape 203">
            <a:extLst>
              <a:ext uri="{FF2B5EF4-FFF2-40B4-BE49-F238E27FC236}">
                <a16:creationId xmlns:a16="http://schemas.microsoft.com/office/drawing/2014/main" id="{9B25FFFB-CB52-4015-8398-19D05604C541}"/>
              </a:ext>
            </a:extLst>
          </p:cNvPr>
          <p:cNvSpPr/>
          <p:nvPr/>
        </p:nvSpPr>
        <p:spPr>
          <a:xfrm rot="1454309" flipH="1">
            <a:off x="3282223" y="4515837"/>
            <a:ext cx="2844849" cy="1417181"/>
          </a:xfrm>
          <a:custGeom>
            <a:avLst/>
            <a:gdLst>
              <a:gd name="connsiteX0" fmla="*/ 0 w 1645920"/>
              <a:gd name="connsiteY0" fmla="*/ 148590 h 448304"/>
              <a:gd name="connsiteX1" fmla="*/ 834390 w 1645920"/>
              <a:gd name="connsiteY1" fmla="*/ 445770 h 448304"/>
              <a:gd name="connsiteX2" fmla="*/ 1645920 w 1645920"/>
              <a:gd name="connsiteY2" fmla="*/ 0 h 448304"/>
              <a:gd name="connsiteX0" fmla="*/ 0 w 1645920"/>
              <a:gd name="connsiteY0" fmla="*/ 148590 h 148590"/>
              <a:gd name="connsiteX1" fmla="*/ 1645920 w 1645920"/>
              <a:gd name="connsiteY1" fmla="*/ 0 h 148590"/>
              <a:gd name="connsiteX0" fmla="*/ 0 w 1645920"/>
              <a:gd name="connsiteY0" fmla="*/ 148590 h 193246"/>
              <a:gd name="connsiteX1" fmla="*/ 1645920 w 1645920"/>
              <a:gd name="connsiteY1" fmla="*/ 0 h 193246"/>
              <a:gd name="connsiteX0" fmla="*/ 0 w 1645920"/>
              <a:gd name="connsiteY0" fmla="*/ 148590 h 345931"/>
              <a:gd name="connsiteX1" fmla="*/ 1645920 w 1645920"/>
              <a:gd name="connsiteY1" fmla="*/ 0 h 345931"/>
              <a:gd name="connsiteX0" fmla="*/ 0 w 2844849"/>
              <a:gd name="connsiteY0" fmla="*/ 0 h 1343002"/>
              <a:gd name="connsiteX1" fmla="*/ 2844849 w 2844849"/>
              <a:gd name="connsiteY1" fmla="*/ 1281185 h 1343002"/>
              <a:gd name="connsiteX0" fmla="*/ 0 w 2844849"/>
              <a:gd name="connsiteY0" fmla="*/ 0 h 1417181"/>
              <a:gd name="connsiteX1" fmla="*/ 2844849 w 2844849"/>
              <a:gd name="connsiteY1" fmla="*/ 1281185 h 1417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844849" h="1417181">
                <a:moveTo>
                  <a:pt x="0" y="0"/>
                </a:moveTo>
                <a:cubicBezTo>
                  <a:pt x="148925" y="1316176"/>
                  <a:pt x="2216199" y="1639325"/>
                  <a:pt x="2844849" y="1281185"/>
                </a:cubicBezTo>
              </a:path>
            </a:pathLst>
          </a:custGeom>
          <a:noFill/>
          <a:ln w="22225">
            <a:solidFill>
              <a:schemeClr val="bg1">
                <a:lumMod val="85000"/>
              </a:schemeClr>
            </a:solidFill>
            <a:tailEnd type="arrow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1" name="Chart 30"/>
          <p:cNvGraphicFramePr/>
          <p:nvPr>
            <p:extLst>
              <p:ext uri="{D42A27DB-BD31-4B8C-83A1-F6EECF244321}">
                <p14:modId xmlns:p14="http://schemas.microsoft.com/office/powerpoint/2010/main" val="3229862966"/>
              </p:ext>
            </p:extLst>
          </p:nvPr>
        </p:nvGraphicFramePr>
        <p:xfrm>
          <a:off x="3307753" y="1422595"/>
          <a:ext cx="5309812" cy="39602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5" name="Oval 34">
            <a:extLst>
              <a:ext uri="{FF2B5EF4-FFF2-40B4-BE49-F238E27FC236}">
                <a16:creationId xmlns:a16="http://schemas.microsoft.com/office/drawing/2014/main" id="{E5B15001-3ABE-40CE-9B1B-129739C41F61}"/>
              </a:ext>
            </a:extLst>
          </p:cNvPr>
          <p:cNvSpPr/>
          <p:nvPr/>
        </p:nvSpPr>
        <p:spPr>
          <a:xfrm flipV="1">
            <a:off x="7477822" y="4306696"/>
            <a:ext cx="126349" cy="126349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tx2"/>
              </a:solidFill>
            </a:endParaRPr>
          </a:p>
        </p:txBody>
      </p:sp>
      <p:sp>
        <p:nvSpPr>
          <p:cNvPr id="205" name="Oval 204">
            <a:extLst>
              <a:ext uri="{FF2B5EF4-FFF2-40B4-BE49-F238E27FC236}">
                <a16:creationId xmlns:a16="http://schemas.microsoft.com/office/drawing/2014/main" id="{7348FDE0-07F2-4747-8434-FA2C728B8E0C}"/>
              </a:ext>
            </a:extLst>
          </p:cNvPr>
          <p:cNvSpPr/>
          <p:nvPr/>
        </p:nvSpPr>
        <p:spPr>
          <a:xfrm flipV="1">
            <a:off x="7047341" y="4826070"/>
            <a:ext cx="126349" cy="126349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tx2"/>
              </a:solidFill>
            </a:endParaRPr>
          </a:p>
        </p:txBody>
      </p:sp>
      <p:sp>
        <p:nvSpPr>
          <p:cNvPr id="206" name="Oval 205">
            <a:extLst>
              <a:ext uri="{FF2B5EF4-FFF2-40B4-BE49-F238E27FC236}">
                <a16:creationId xmlns:a16="http://schemas.microsoft.com/office/drawing/2014/main" id="{2A7C649F-40EA-4499-BD6C-0FDD6DC7D8D0}"/>
              </a:ext>
            </a:extLst>
          </p:cNvPr>
          <p:cNvSpPr/>
          <p:nvPr/>
        </p:nvSpPr>
        <p:spPr>
          <a:xfrm flipV="1">
            <a:off x="6184580" y="5136510"/>
            <a:ext cx="126349" cy="126349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tx2"/>
              </a:solidFill>
            </a:endParaRPr>
          </a:p>
        </p:txBody>
      </p:sp>
      <p:sp>
        <p:nvSpPr>
          <p:cNvPr id="207" name="Oval 206">
            <a:extLst>
              <a:ext uri="{FF2B5EF4-FFF2-40B4-BE49-F238E27FC236}">
                <a16:creationId xmlns:a16="http://schemas.microsoft.com/office/drawing/2014/main" id="{2AAD2259-1302-4794-8947-12BBEEC466B5}"/>
              </a:ext>
            </a:extLst>
          </p:cNvPr>
          <p:cNvSpPr/>
          <p:nvPr/>
        </p:nvSpPr>
        <p:spPr>
          <a:xfrm flipV="1">
            <a:off x="4848342" y="4505151"/>
            <a:ext cx="126349" cy="126349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tx2"/>
              </a:solidFill>
            </a:endParaRPr>
          </a:p>
        </p:txBody>
      </p:sp>
      <p:sp>
        <p:nvSpPr>
          <p:cNvPr id="208" name="Oval 207">
            <a:extLst>
              <a:ext uri="{FF2B5EF4-FFF2-40B4-BE49-F238E27FC236}">
                <a16:creationId xmlns:a16="http://schemas.microsoft.com/office/drawing/2014/main" id="{16253450-07B7-4EAD-BCBC-32C71377FCC9}"/>
              </a:ext>
            </a:extLst>
          </p:cNvPr>
          <p:cNvSpPr/>
          <p:nvPr/>
        </p:nvSpPr>
        <p:spPr>
          <a:xfrm flipV="1">
            <a:off x="5222866" y="2273571"/>
            <a:ext cx="126349" cy="126349"/>
          </a:xfrm>
          <a:prstGeom prst="ellipse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235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9999" y="225788"/>
            <a:ext cx="5571498" cy="468000"/>
          </a:xfrm>
        </p:spPr>
        <p:txBody>
          <a:bodyPr>
            <a:noAutofit/>
          </a:bodyPr>
          <a:lstStyle/>
          <a:p>
            <a:r>
              <a:rPr lang="ru-RU"/>
              <a:t>СВЯЗЬ без границ</a:t>
            </a:r>
          </a:p>
        </p:txBody>
      </p:sp>
      <p:grpSp>
        <p:nvGrpSpPr>
          <p:cNvPr id="302" name="Group 301">
            <a:extLst>
              <a:ext uri="{FF2B5EF4-FFF2-40B4-BE49-F238E27FC236}">
                <a16:creationId xmlns:a16="http://schemas.microsoft.com/office/drawing/2014/main" id="{EE34E8A2-20A3-450D-8405-E2428EE70D5F}"/>
              </a:ext>
            </a:extLst>
          </p:cNvPr>
          <p:cNvGrpSpPr/>
          <p:nvPr/>
        </p:nvGrpSpPr>
        <p:grpSpPr>
          <a:xfrm>
            <a:off x="5287818" y="1453201"/>
            <a:ext cx="1652562" cy="686739"/>
            <a:chOff x="16586200" y="4430713"/>
            <a:chExt cx="836613" cy="347663"/>
          </a:xfrm>
          <a:solidFill>
            <a:schemeClr val="accent1"/>
          </a:solidFill>
        </p:grpSpPr>
        <p:sp>
          <p:nvSpPr>
            <p:cNvPr id="174" name="Freeform 77">
              <a:extLst>
                <a:ext uri="{FF2B5EF4-FFF2-40B4-BE49-F238E27FC236}">
                  <a16:creationId xmlns:a16="http://schemas.microsoft.com/office/drawing/2014/main" id="{AAE4CCFC-53DF-458D-A570-6332FE04D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29100" y="4624388"/>
              <a:ext cx="136525" cy="44450"/>
            </a:xfrm>
            <a:custGeom>
              <a:avLst/>
              <a:gdLst>
                <a:gd name="T0" fmla="*/ 43 w 86"/>
                <a:gd name="T1" fmla="*/ 28 h 28"/>
                <a:gd name="T2" fmla="*/ 43 w 86"/>
                <a:gd name="T3" fmla="*/ 28 h 28"/>
                <a:gd name="T4" fmla="*/ 31 w 86"/>
                <a:gd name="T5" fmla="*/ 27 h 28"/>
                <a:gd name="T6" fmla="*/ 20 w 86"/>
                <a:gd name="T7" fmla="*/ 23 h 28"/>
                <a:gd name="T8" fmla="*/ 11 w 86"/>
                <a:gd name="T9" fmla="*/ 18 h 28"/>
                <a:gd name="T10" fmla="*/ 1 w 86"/>
                <a:gd name="T11" fmla="*/ 10 h 28"/>
                <a:gd name="T12" fmla="*/ 1 w 86"/>
                <a:gd name="T13" fmla="*/ 10 h 28"/>
                <a:gd name="T14" fmla="*/ 0 w 86"/>
                <a:gd name="T15" fmla="*/ 8 h 28"/>
                <a:gd name="T16" fmla="*/ 0 w 86"/>
                <a:gd name="T17" fmla="*/ 6 h 28"/>
                <a:gd name="T18" fmla="*/ 0 w 86"/>
                <a:gd name="T19" fmla="*/ 4 h 28"/>
                <a:gd name="T20" fmla="*/ 1 w 86"/>
                <a:gd name="T21" fmla="*/ 2 h 28"/>
                <a:gd name="T22" fmla="*/ 1 w 86"/>
                <a:gd name="T23" fmla="*/ 2 h 28"/>
                <a:gd name="T24" fmla="*/ 3 w 86"/>
                <a:gd name="T25" fmla="*/ 0 h 28"/>
                <a:gd name="T26" fmla="*/ 5 w 86"/>
                <a:gd name="T27" fmla="*/ 0 h 28"/>
                <a:gd name="T28" fmla="*/ 9 w 86"/>
                <a:gd name="T29" fmla="*/ 0 h 28"/>
                <a:gd name="T30" fmla="*/ 11 w 86"/>
                <a:gd name="T31" fmla="*/ 2 h 28"/>
                <a:gd name="T32" fmla="*/ 11 w 86"/>
                <a:gd name="T33" fmla="*/ 2 h 28"/>
                <a:gd name="T34" fmla="*/ 17 w 86"/>
                <a:gd name="T35" fmla="*/ 7 h 28"/>
                <a:gd name="T36" fmla="*/ 26 w 86"/>
                <a:gd name="T37" fmla="*/ 12 h 28"/>
                <a:gd name="T38" fmla="*/ 34 w 86"/>
                <a:gd name="T39" fmla="*/ 14 h 28"/>
                <a:gd name="T40" fmla="*/ 43 w 86"/>
                <a:gd name="T41" fmla="*/ 15 h 28"/>
                <a:gd name="T42" fmla="*/ 51 w 86"/>
                <a:gd name="T43" fmla="*/ 15 h 28"/>
                <a:gd name="T44" fmla="*/ 60 w 86"/>
                <a:gd name="T45" fmla="*/ 12 h 28"/>
                <a:gd name="T46" fmla="*/ 68 w 86"/>
                <a:gd name="T47" fmla="*/ 7 h 28"/>
                <a:gd name="T48" fmla="*/ 75 w 86"/>
                <a:gd name="T49" fmla="*/ 2 h 28"/>
                <a:gd name="T50" fmla="*/ 75 w 86"/>
                <a:gd name="T51" fmla="*/ 2 h 28"/>
                <a:gd name="T52" fmla="*/ 77 w 86"/>
                <a:gd name="T53" fmla="*/ 1 h 28"/>
                <a:gd name="T54" fmla="*/ 79 w 86"/>
                <a:gd name="T55" fmla="*/ 0 h 28"/>
                <a:gd name="T56" fmla="*/ 81 w 86"/>
                <a:gd name="T57" fmla="*/ 1 h 28"/>
                <a:gd name="T58" fmla="*/ 84 w 86"/>
                <a:gd name="T59" fmla="*/ 2 h 28"/>
                <a:gd name="T60" fmla="*/ 84 w 86"/>
                <a:gd name="T61" fmla="*/ 2 h 28"/>
                <a:gd name="T62" fmla="*/ 85 w 86"/>
                <a:gd name="T63" fmla="*/ 4 h 28"/>
                <a:gd name="T64" fmla="*/ 86 w 86"/>
                <a:gd name="T65" fmla="*/ 6 h 28"/>
                <a:gd name="T66" fmla="*/ 85 w 86"/>
                <a:gd name="T67" fmla="*/ 8 h 28"/>
                <a:gd name="T68" fmla="*/ 84 w 86"/>
                <a:gd name="T69" fmla="*/ 10 h 28"/>
                <a:gd name="T70" fmla="*/ 84 w 86"/>
                <a:gd name="T71" fmla="*/ 10 h 28"/>
                <a:gd name="T72" fmla="*/ 75 w 86"/>
                <a:gd name="T73" fmla="*/ 18 h 28"/>
                <a:gd name="T74" fmla="*/ 64 w 86"/>
                <a:gd name="T75" fmla="*/ 23 h 28"/>
                <a:gd name="T76" fmla="*/ 54 w 86"/>
                <a:gd name="T77" fmla="*/ 27 h 28"/>
                <a:gd name="T78" fmla="*/ 43 w 86"/>
                <a:gd name="T7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6" h="28">
                  <a:moveTo>
                    <a:pt x="43" y="28"/>
                  </a:moveTo>
                  <a:lnTo>
                    <a:pt x="43" y="28"/>
                  </a:lnTo>
                  <a:lnTo>
                    <a:pt x="31" y="27"/>
                  </a:lnTo>
                  <a:lnTo>
                    <a:pt x="20" y="23"/>
                  </a:lnTo>
                  <a:lnTo>
                    <a:pt x="11" y="18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1" y="2"/>
                  </a:lnTo>
                  <a:lnTo>
                    <a:pt x="1" y="2"/>
                  </a:lnTo>
                  <a:lnTo>
                    <a:pt x="3" y="0"/>
                  </a:lnTo>
                  <a:lnTo>
                    <a:pt x="5" y="0"/>
                  </a:lnTo>
                  <a:lnTo>
                    <a:pt x="9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7" y="7"/>
                  </a:lnTo>
                  <a:lnTo>
                    <a:pt x="26" y="12"/>
                  </a:lnTo>
                  <a:lnTo>
                    <a:pt x="34" y="14"/>
                  </a:lnTo>
                  <a:lnTo>
                    <a:pt x="43" y="15"/>
                  </a:lnTo>
                  <a:lnTo>
                    <a:pt x="51" y="15"/>
                  </a:lnTo>
                  <a:lnTo>
                    <a:pt x="60" y="12"/>
                  </a:lnTo>
                  <a:lnTo>
                    <a:pt x="68" y="7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7" y="1"/>
                  </a:lnTo>
                  <a:lnTo>
                    <a:pt x="79" y="0"/>
                  </a:lnTo>
                  <a:lnTo>
                    <a:pt x="81" y="1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5" y="4"/>
                  </a:lnTo>
                  <a:lnTo>
                    <a:pt x="86" y="6"/>
                  </a:lnTo>
                  <a:lnTo>
                    <a:pt x="85" y="8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75" y="18"/>
                  </a:lnTo>
                  <a:lnTo>
                    <a:pt x="64" y="23"/>
                  </a:lnTo>
                  <a:lnTo>
                    <a:pt x="54" y="27"/>
                  </a:lnTo>
                  <a:lnTo>
                    <a:pt x="43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5" name="Freeform 78">
              <a:extLst>
                <a:ext uri="{FF2B5EF4-FFF2-40B4-BE49-F238E27FC236}">
                  <a16:creationId xmlns:a16="http://schemas.microsoft.com/office/drawing/2014/main" id="{F96B0ECB-B2EE-4D96-B84E-7C8F7518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29100" y="4624388"/>
              <a:ext cx="136525" cy="44450"/>
            </a:xfrm>
            <a:custGeom>
              <a:avLst/>
              <a:gdLst>
                <a:gd name="T0" fmla="*/ 43 w 86"/>
                <a:gd name="T1" fmla="*/ 28 h 28"/>
                <a:gd name="T2" fmla="*/ 43 w 86"/>
                <a:gd name="T3" fmla="*/ 28 h 28"/>
                <a:gd name="T4" fmla="*/ 31 w 86"/>
                <a:gd name="T5" fmla="*/ 27 h 28"/>
                <a:gd name="T6" fmla="*/ 20 w 86"/>
                <a:gd name="T7" fmla="*/ 23 h 28"/>
                <a:gd name="T8" fmla="*/ 11 w 86"/>
                <a:gd name="T9" fmla="*/ 18 h 28"/>
                <a:gd name="T10" fmla="*/ 1 w 86"/>
                <a:gd name="T11" fmla="*/ 10 h 28"/>
                <a:gd name="T12" fmla="*/ 1 w 86"/>
                <a:gd name="T13" fmla="*/ 10 h 28"/>
                <a:gd name="T14" fmla="*/ 0 w 86"/>
                <a:gd name="T15" fmla="*/ 8 h 28"/>
                <a:gd name="T16" fmla="*/ 0 w 86"/>
                <a:gd name="T17" fmla="*/ 6 h 28"/>
                <a:gd name="T18" fmla="*/ 0 w 86"/>
                <a:gd name="T19" fmla="*/ 4 h 28"/>
                <a:gd name="T20" fmla="*/ 1 w 86"/>
                <a:gd name="T21" fmla="*/ 2 h 28"/>
                <a:gd name="T22" fmla="*/ 1 w 86"/>
                <a:gd name="T23" fmla="*/ 2 h 28"/>
                <a:gd name="T24" fmla="*/ 3 w 86"/>
                <a:gd name="T25" fmla="*/ 0 h 28"/>
                <a:gd name="T26" fmla="*/ 5 w 86"/>
                <a:gd name="T27" fmla="*/ 0 h 28"/>
                <a:gd name="T28" fmla="*/ 9 w 86"/>
                <a:gd name="T29" fmla="*/ 0 h 28"/>
                <a:gd name="T30" fmla="*/ 11 w 86"/>
                <a:gd name="T31" fmla="*/ 2 h 28"/>
                <a:gd name="T32" fmla="*/ 11 w 86"/>
                <a:gd name="T33" fmla="*/ 2 h 28"/>
                <a:gd name="T34" fmla="*/ 17 w 86"/>
                <a:gd name="T35" fmla="*/ 7 h 28"/>
                <a:gd name="T36" fmla="*/ 26 w 86"/>
                <a:gd name="T37" fmla="*/ 12 h 28"/>
                <a:gd name="T38" fmla="*/ 34 w 86"/>
                <a:gd name="T39" fmla="*/ 14 h 28"/>
                <a:gd name="T40" fmla="*/ 43 w 86"/>
                <a:gd name="T41" fmla="*/ 15 h 28"/>
                <a:gd name="T42" fmla="*/ 51 w 86"/>
                <a:gd name="T43" fmla="*/ 15 h 28"/>
                <a:gd name="T44" fmla="*/ 60 w 86"/>
                <a:gd name="T45" fmla="*/ 12 h 28"/>
                <a:gd name="T46" fmla="*/ 68 w 86"/>
                <a:gd name="T47" fmla="*/ 7 h 28"/>
                <a:gd name="T48" fmla="*/ 75 w 86"/>
                <a:gd name="T49" fmla="*/ 2 h 28"/>
                <a:gd name="T50" fmla="*/ 75 w 86"/>
                <a:gd name="T51" fmla="*/ 2 h 28"/>
                <a:gd name="T52" fmla="*/ 77 w 86"/>
                <a:gd name="T53" fmla="*/ 1 h 28"/>
                <a:gd name="T54" fmla="*/ 79 w 86"/>
                <a:gd name="T55" fmla="*/ 0 h 28"/>
                <a:gd name="T56" fmla="*/ 81 w 86"/>
                <a:gd name="T57" fmla="*/ 1 h 28"/>
                <a:gd name="T58" fmla="*/ 84 w 86"/>
                <a:gd name="T59" fmla="*/ 2 h 28"/>
                <a:gd name="T60" fmla="*/ 84 w 86"/>
                <a:gd name="T61" fmla="*/ 2 h 28"/>
                <a:gd name="T62" fmla="*/ 85 w 86"/>
                <a:gd name="T63" fmla="*/ 4 h 28"/>
                <a:gd name="T64" fmla="*/ 86 w 86"/>
                <a:gd name="T65" fmla="*/ 6 h 28"/>
                <a:gd name="T66" fmla="*/ 85 w 86"/>
                <a:gd name="T67" fmla="*/ 8 h 28"/>
                <a:gd name="T68" fmla="*/ 84 w 86"/>
                <a:gd name="T69" fmla="*/ 10 h 28"/>
                <a:gd name="T70" fmla="*/ 84 w 86"/>
                <a:gd name="T71" fmla="*/ 10 h 28"/>
                <a:gd name="T72" fmla="*/ 75 w 86"/>
                <a:gd name="T73" fmla="*/ 18 h 28"/>
                <a:gd name="T74" fmla="*/ 64 w 86"/>
                <a:gd name="T75" fmla="*/ 23 h 28"/>
                <a:gd name="T76" fmla="*/ 54 w 86"/>
                <a:gd name="T77" fmla="*/ 27 h 28"/>
                <a:gd name="T78" fmla="*/ 43 w 86"/>
                <a:gd name="T7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6" h="28">
                  <a:moveTo>
                    <a:pt x="43" y="28"/>
                  </a:moveTo>
                  <a:lnTo>
                    <a:pt x="43" y="28"/>
                  </a:lnTo>
                  <a:lnTo>
                    <a:pt x="31" y="27"/>
                  </a:lnTo>
                  <a:lnTo>
                    <a:pt x="20" y="23"/>
                  </a:lnTo>
                  <a:lnTo>
                    <a:pt x="11" y="18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1" y="2"/>
                  </a:lnTo>
                  <a:lnTo>
                    <a:pt x="1" y="2"/>
                  </a:lnTo>
                  <a:lnTo>
                    <a:pt x="3" y="0"/>
                  </a:lnTo>
                  <a:lnTo>
                    <a:pt x="5" y="0"/>
                  </a:lnTo>
                  <a:lnTo>
                    <a:pt x="9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7" y="7"/>
                  </a:lnTo>
                  <a:lnTo>
                    <a:pt x="26" y="12"/>
                  </a:lnTo>
                  <a:lnTo>
                    <a:pt x="34" y="14"/>
                  </a:lnTo>
                  <a:lnTo>
                    <a:pt x="43" y="15"/>
                  </a:lnTo>
                  <a:lnTo>
                    <a:pt x="51" y="15"/>
                  </a:lnTo>
                  <a:lnTo>
                    <a:pt x="60" y="12"/>
                  </a:lnTo>
                  <a:lnTo>
                    <a:pt x="68" y="7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7" y="1"/>
                  </a:lnTo>
                  <a:lnTo>
                    <a:pt x="79" y="0"/>
                  </a:lnTo>
                  <a:lnTo>
                    <a:pt x="81" y="1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5" y="4"/>
                  </a:lnTo>
                  <a:lnTo>
                    <a:pt x="86" y="6"/>
                  </a:lnTo>
                  <a:lnTo>
                    <a:pt x="85" y="8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75" y="18"/>
                  </a:lnTo>
                  <a:lnTo>
                    <a:pt x="64" y="23"/>
                  </a:lnTo>
                  <a:lnTo>
                    <a:pt x="54" y="27"/>
                  </a:lnTo>
                  <a:lnTo>
                    <a:pt x="43" y="2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6" name="Freeform 79">
              <a:extLst>
                <a:ext uri="{FF2B5EF4-FFF2-40B4-BE49-F238E27FC236}">
                  <a16:creationId xmlns:a16="http://schemas.microsoft.com/office/drawing/2014/main" id="{BF54489E-00FC-4B1F-A76B-C4E8C25E63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89413" y="4662488"/>
              <a:ext cx="214313" cy="60325"/>
            </a:xfrm>
            <a:custGeom>
              <a:avLst/>
              <a:gdLst>
                <a:gd name="T0" fmla="*/ 68 w 135"/>
                <a:gd name="T1" fmla="*/ 38 h 38"/>
                <a:gd name="T2" fmla="*/ 68 w 135"/>
                <a:gd name="T3" fmla="*/ 38 h 38"/>
                <a:gd name="T4" fmla="*/ 68 w 135"/>
                <a:gd name="T5" fmla="*/ 38 h 38"/>
                <a:gd name="T6" fmla="*/ 58 w 135"/>
                <a:gd name="T7" fmla="*/ 38 h 38"/>
                <a:gd name="T8" fmla="*/ 50 w 135"/>
                <a:gd name="T9" fmla="*/ 37 h 38"/>
                <a:gd name="T10" fmla="*/ 40 w 135"/>
                <a:gd name="T11" fmla="*/ 34 h 38"/>
                <a:gd name="T12" fmla="*/ 31 w 135"/>
                <a:gd name="T13" fmla="*/ 31 h 38"/>
                <a:gd name="T14" fmla="*/ 24 w 135"/>
                <a:gd name="T15" fmla="*/ 27 h 38"/>
                <a:gd name="T16" fmla="*/ 16 w 135"/>
                <a:gd name="T17" fmla="*/ 23 h 38"/>
                <a:gd name="T18" fmla="*/ 9 w 135"/>
                <a:gd name="T19" fmla="*/ 16 h 38"/>
                <a:gd name="T20" fmla="*/ 1 w 135"/>
                <a:gd name="T21" fmla="*/ 11 h 38"/>
                <a:gd name="T22" fmla="*/ 1 w 135"/>
                <a:gd name="T23" fmla="*/ 11 h 38"/>
                <a:gd name="T24" fmla="*/ 0 w 135"/>
                <a:gd name="T25" fmla="*/ 9 h 38"/>
                <a:gd name="T26" fmla="*/ 0 w 135"/>
                <a:gd name="T27" fmla="*/ 6 h 38"/>
                <a:gd name="T28" fmla="*/ 0 w 135"/>
                <a:gd name="T29" fmla="*/ 4 h 38"/>
                <a:gd name="T30" fmla="*/ 1 w 135"/>
                <a:gd name="T31" fmla="*/ 1 h 38"/>
                <a:gd name="T32" fmla="*/ 1 w 135"/>
                <a:gd name="T33" fmla="*/ 1 h 38"/>
                <a:gd name="T34" fmla="*/ 4 w 135"/>
                <a:gd name="T35" fmla="*/ 0 h 38"/>
                <a:gd name="T36" fmla="*/ 7 w 135"/>
                <a:gd name="T37" fmla="*/ 0 h 38"/>
                <a:gd name="T38" fmla="*/ 9 w 135"/>
                <a:gd name="T39" fmla="*/ 0 h 38"/>
                <a:gd name="T40" fmla="*/ 11 w 135"/>
                <a:gd name="T41" fmla="*/ 1 h 38"/>
                <a:gd name="T42" fmla="*/ 11 w 135"/>
                <a:gd name="T43" fmla="*/ 1 h 38"/>
                <a:gd name="T44" fmla="*/ 16 w 135"/>
                <a:gd name="T45" fmla="*/ 7 h 38"/>
                <a:gd name="T46" fmla="*/ 23 w 135"/>
                <a:gd name="T47" fmla="*/ 12 h 38"/>
                <a:gd name="T48" fmla="*/ 29 w 135"/>
                <a:gd name="T49" fmla="*/ 16 h 38"/>
                <a:gd name="T50" fmla="*/ 37 w 135"/>
                <a:gd name="T51" fmla="*/ 20 h 38"/>
                <a:gd name="T52" fmla="*/ 44 w 135"/>
                <a:gd name="T53" fmla="*/ 22 h 38"/>
                <a:gd name="T54" fmla="*/ 52 w 135"/>
                <a:gd name="T55" fmla="*/ 24 h 38"/>
                <a:gd name="T56" fmla="*/ 59 w 135"/>
                <a:gd name="T57" fmla="*/ 25 h 38"/>
                <a:gd name="T58" fmla="*/ 68 w 135"/>
                <a:gd name="T59" fmla="*/ 26 h 38"/>
                <a:gd name="T60" fmla="*/ 68 w 135"/>
                <a:gd name="T61" fmla="*/ 26 h 38"/>
                <a:gd name="T62" fmla="*/ 68 w 135"/>
                <a:gd name="T63" fmla="*/ 26 h 38"/>
                <a:gd name="T64" fmla="*/ 75 w 135"/>
                <a:gd name="T65" fmla="*/ 25 h 38"/>
                <a:gd name="T66" fmla="*/ 84 w 135"/>
                <a:gd name="T67" fmla="*/ 24 h 38"/>
                <a:gd name="T68" fmla="*/ 91 w 135"/>
                <a:gd name="T69" fmla="*/ 22 h 38"/>
                <a:gd name="T70" fmla="*/ 99 w 135"/>
                <a:gd name="T71" fmla="*/ 20 h 38"/>
                <a:gd name="T72" fmla="*/ 105 w 135"/>
                <a:gd name="T73" fmla="*/ 16 h 38"/>
                <a:gd name="T74" fmla="*/ 112 w 135"/>
                <a:gd name="T75" fmla="*/ 12 h 38"/>
                <a:gd name="T76" fmla="*/ 118 w 135"/>
                <a:gd name="T77" fmla="*/ 8 h 38"/>
                <a:gd name="T78" fmla="*/ 125 w 135"/>
                <a:gd name="T79" fmla="*/ 3 h 38"/>
                <a:gd name="T80" fmla="*/ 125 w 135"/>
                <a:gd name="T81" fmla="*/ 3 h 38"/>
                <a:gd name="T82" fmla="*/ 127 w 135"/>
                <a:gd name="T83" fmla="*/ 1 h 38"/>
                <a:gd name="T84" fmla="*/ 129 w 135"/>
                <a:gd name="T85" fmla="*/ 0 h 38"/>
                <a:gd name="T86" fmla="*/ 131 w 135"/>
                <a:gd name="T87" fmla="*/ 1 h 38"/>
                <a:gd name="T88" fmla="*/ 133 w 135"/>
                <a:gd name="T89" fmla="*/ 3 h 38"/>
                <a:gd name="T90" fmla="*/ 133 w 135"/>
                <a:gd name="T91" fmla="*/ 3 h 38"/>
                <a:gd name="T92" fmla="*/ 134 w 135"/>
                <a:gd name="T93" fmla="*/ 5 h 38"/>
                <a:gd name="T94" fmla="*/ 135 w 135"/>
                <a:gd name="T95" fmla="*/ 7 h 38"/>
                <a:gd name="T96" fmla="*/ 134 w 135"/>
                <a:gd name="T97" fmla="*/ 9 h 38"/>
                <a:gd name="T98" fmla="*/ 133 w 135"/>
                <a:gd name="T99" fmla="*/ 11 h 38"/>
                <a:gd name="T100" fmla="*/ 133 w 135"/>
                <a:gd name="T101" fmla="*/ 11 h 38"/>
                <a:gd name="T102" fmla="*/ 127 w 135"/>
                <a:gd name="T103" fmla="*/ 18 h 38"/>
                <a:gd name="T104" fmla="*/ 119 w 135"/>
                <a:gd name="T105" fmla="*/ 23 h 38"/>
                <a:gd name="T106" fmla="*/ 112 w 135"/>
                <a:gd name="T107" fmla="*/ 27 h 38"/>
                <a:gd name="T108" fmla="*/ 103 w 135"/>
                <a:gd name="T109" fmla="*/ 31 h 38"/>
                <a:gd name="T110" fmla="*/ 95 w 135"/>
                <a:gd name="T111" fmla="*/ 35 h 38"/>
                <a:gd name="T112" fmla="*/ 86 w 135"/>
                <a:gd name="T113" fmla="*/ 37 h 38"/>
                <a:gd name="T114" fmla="*/ 78 w 135"/>
                <a:gd name="T115" fmla="*/ 38 h 38"/>
                <a:gd name="T116" fmla="*/ 68 w 135"/>
                <a:gd name="T11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5" h="38">
                  <a:moveTo>
                    <a:pt x="68" y="38"/>
                  </a:moveTo>
                  <a:lnTo>
                    <a:pt x="68" y="38"/>
                  </a:lnTo>
                  <a:lnTo>
                    <a:pt x="68" y="38"/>
                  </a:lnTo>
                  <a:lnTo>
                    <a:pt x="58" y="38"/>
                  </a:lnTo>
                  <a:lnTo>
                    <a:pt x="50" y="37"/>
                  </a:lnTo>
                  <a:lnTo>
                    <a:pt x="40" y="34"/>
                  </a:lnTo>
                  <a:lnTo>
                    <a:pt x="31" y="31"/>
                  </a:lnTo>
                  <a:lnTo>
                    <a:pt x="24" y="27"/>
                  </a:lnTo>
                  <a:lnTo>
                    <a:pt x="16" y="23"/>
                  </a:lnTo>
                  <a:lnTo>
                    <a:pt x="9" y="16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4"/>
                  </a:lnTo>
                  <a:lnTo>
                    <a:pt x="1" y="1"/>
                  </a:lnTo>
                  <a:lnTo>
                    <a:pt x="1" y="1"/>
                  </a:lnTo>
                  <a:lnTo>
                    <a:pt x="4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6" y="7"/>
                  </a:lnTo>
                  <a:lnTo>
                    <a:pt x="23" y="12"/>
                  </a:lnTo>
                  <a:lnTo>
                    <a:pt x="29" y="16"/>
                  </a:lnTo>
                  <a:lnTo>
                    <a:pt x="37" y="20"/>
                  </a:lnTo>
                  <a:lnTo>
                    <a:pt x="44" y="22"/>
                  </a:lnTo>
                  <a:lnTo>
                    <a:pt x="52" y="24"/>
                  </a:lnTo>
                  <a:lnTo>
                    <a:pt x="59" y="25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75" y="25"/>
                  </a:lnTo>
                  <a:lnTo>
                    <a:pt x="84" y="24"/>
                  </a:lnTo>
                  <a:lnTo>
                    <a:pt x="91" y="22"/>
                  </a:lnTo>
                  <a:lnTo>
                    <a:pt x="99" y="20"/>
                  </a:lnTo>
                  <a:lnTo>
                    <a:pt x="105" y="16"/>
                  </a:lnTo>
                  <a:lnTo>
                    <a:pt x="112" y="12"/>
                  </a:lnTo>
                  <a:lnTo>
                    <a:pt x="118" y="8"/>
                  </a:lnTo>
                  <a:lnTo>
                    <a:pt x="125" y="3"/>
                  </a:lnTo>
                  <a:lnTo>
                    <a:pt x="125" y="3"/>
                  </a:lnTo>
                  <a:lnTo>
                    <a:pt x="127" y="1"/>
                  </a:lnTo>
                  <a:lnTo>
                    <a:pt x="129" y="0"/>
                  </a:lnTo>
                  <a:lnTo>
                    <a:pt x="131" y="1"/>
                  </a:lnTo>
                  <a:lnTo>
                    <a:pt x="133" y="3"/>
                  </a:lnTo>
                  <a:lnTo>
                    <a:pt x="133" y="3"/>
                  </a:lnTo>
                  <a:lnTo>
                    <a:pt x="134" y="5"/>
                  </a:lnTo>
                  <a:lnTo>
                    <a:pt x="135" y="7"/>
                  </a:lnTo>
                  <a:lnTo>
                    <a:pt x="134" y="9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27" y="18"/>
                  </a:lnTo>
                  <a:lnTo>
                    <a:pt x="119" y="23"/>
                  </a:lnTo>
                  <a:lnTo>
                    <a:pt x="112" y="27"/>
                  </a:lnTo>
                  <a:lnTo>
                    <a:pt x="103" y="31"/>
                  </a:lnTo>
                  <a:lnTo>
                    <a:pt x="95" y="35"/>
                  </a:lnTo>
                  <a:lnTo>
                    <a:pt x="86" y="37"/>
                  </a:lnTo>
                  <a:lnTo>
                    <a:pt x="78" y="38"/>
                  </a:lnTo>
                  <a:lnTo>
                    <a:pt x="68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7" name="Freeform 80">
              <a:extLst>
                <a:ext uri="{FF2B5EF4-FFF2-40B4-BE49-F238E27FC236}">
                  <a16:creationId xmlns:a16="http://schemas.microsoft.com/office/drawing/2014/main" id="{9DCE228C-112B-4501-A324-E37E0183B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89413" y="4662488"/>
              <a:ext cx="214313" cy="60325"/>
            </a:xfrm>
            <a:custGeom>
              <a:avLst/>
              <a:gdLst>
                <a:gd name="T0" fmla="*/ 68 w 135"/>
                <a:gd name="T1" fmla="*/ 38 h 38"/>
                <a:gd name="T2" fmla="*/ 68 w 135"/>
                <a:gd name="T3" fmla="*/ 38 h 38"/>
                <a:gd name="T4" fmla="*/ 68 w 135"/>
                <a:gd name="T5" fmla="*/ 38 h 38"/>
                <a:gd name="T6" fmla="*/ 58 w 135"/>
                <a:gd name="T7" fmla="*/ 38 h 38"/>
                <a:gd name="T8" fmla="*/ 50 w 135"/>
                <a:gd name="T9" fmla="*/ 37 h 38"/>
                <a:gd name="T10" fmla="*/ 40 w 135"/>
                <a:gd name="T11" fmla="*/ 34 h 38"/>
                <a:gd name="T12" fmla="*/ 31 w 135"/>
                <a:gd name="T13" fmla="*/ 31 h 38"/>
                <a:gd name="T14" fmla="*/ 24 w 135"/>
                <a:gd name="T15" fmla="*/ 27 h 38"/>
                <a:gd name="T16" fmla="*/ 16 w 135"/>
                <a:gd name="T17" fmla="*/ 23 h 38"/>
                <a:gd name="T18" fmla="*/ 9 w 135"/>
                <a:gd name="T19" fmla="*/ 16 h 38"/>
                <a:gd name="T20" fmla="*/ 1 w 135"/>
                <a:gd name="T21" fmla="*/ 11 h 38"/>
                <a:gd name="T22" fmla="*/ 1 w 135"/>
                <a:gd name="T23" fmla="*/ 11 h 38"/>
                <a:gd name="T24" fmla="*/ 0 w 135"/>
                <a:gd name="T25" fmla="*/ 9 h 38"/>
                <a:gd name="T26" fmla="*/ 0 w 135"/>
                <a:gd name="T27" fmla="*/ 6 h 38"/>
                <a:gd name="T28" fmla="*/ 0 w 135"/>
                <a:gd name="T29" fmla="*/ 4 h 38"/>
                <a:gd name="T30" fmla="*/ 1 w 135"/>
                <a:gd name="T31" fmla="*/ 1 h 38"/>
                <a:gd name="T32" fmla="*/ 1 w 135"/>
                <a:gd name="T33" fmla="*/ 1 h 38"/>
                <a:gd name="T34" fmla="*/ 4 w 135"/>
                <a:gd name="T35" fmla="*/ 0 h 38"/>
                <a:gd name="T36" fmla="*/ 7 w 135"/>
                <a:gd name="T37" fmla="*/ 0 h 38"/>
                <a:gd name="T38" fmla="*/ 9 w 135"/>
                <a:gd name="T39" fmla="*/ 0 h 38"/>
                <a:gd name="T40" fmla="*/ 11 w 135"/>
                <a:gd name="T41" fmla="*/ 1 h 38"/>
                <a:gd name="T42" fmla="*/ 11 w 135"/>
                <a:gd name="T43" fmla="*/ 1 h 38"/>
                <a:gd name="T44" fmla="*/ 16 w 135"/>
                <a:gd name="T45" fmla="*/ 7 h 38"/>
                <a:gd name="T46" fmla="*/ 23 w 135"/>
                <a:gd name="T47" fmla="*/ 12 h 38"/>
                <a:gd name="T48" fmla="*/ 29 w 135"/>
                <a:gd name="T49" fmla="*/ 16 h 38"/>
                <a:gd name="T50" fmla="*/ 37 w 135"/>
                <a:gd name="T51" fmla="*/ 20 h 38"/>
                <a:gd name="T52" fmla="*/ 44 w 135"/>
                <a:gd name="T53" fmla="*/ 22 h 38"/>
                <a:gd name="T54" fmla="*/ 52 w 135"/>
                <a:gd name="T55" fmla="*/ 24 h 38"/>
                <a:gd name="T56" fmla="*/ 59 w 135"/>
                <a:gd name="T57" fmla="*/ 25 h 38"/>
                <a:gd name="T58" fmla="*/ 68 w 135"/>
                <a:gd name="T59" fmla="*/ 26 h 38"/>
                <a:gd name="T60" fmla="*/ 68 w 135"/>
                <a:gd name="T61" fmla="*/ 26 h 38"/>
                <a:gd name="T62" fmla="*/ 68 w 135"/>
                <a:gd name="T63" fmla="*/ 26 h 38"/>
                <a:gd name="T64" fmla="*/ 75 w 135"/>
                <a:gd name="T65" fmla="*/ 25 h 38"/>
                <a:gd name="T66" fmla="*/ 84 w 135"/>
                <a:gd name="T67" fmla="*/ 24 h 38"/>
                <a:gd name="T68" fmla="*/ 91 w 135"/>
                <a:gd name="T69" fmla="*/ 22 h 38"/>
                <a:gd name="T70" fmla="*/ 99 w 135"/>
                <a:gd name="T71" fmla="*/ 20 h 38"/>
                <a:gd name="T72" fmla="*/ 105 w 135"/>
                <a:gd name="T73" fmla="*/ 16 h 38"/>
                <a:gd name="T74" fmla="*/ 112 w 135"/>
                <a:gd name="T75" fmla="*/ 12 h 38"/>
                <a:gd name="T76" fmla="*/ 118 w 135"/>
                <a:gd name="T77" fmla="*/ 8 h 38"/>
                <a:gd name="T78" fmla="*/ 125 w 135"/>
                <a:gd name="T79" fmla="*/ 3 h 38"/>
                <a:gd name="T80" fmla="*/ 125 w 135"/>
                <a:gd name="T81" fmla="*/ 3 h 38"/>
                <a:gd name="T82" fmla="*/ 127 w 135"/>
                <a:gd name="T83" fmla="*/ 1 h 38"/>
                <a:gd name="T84" fmla="*/ 129 w 135"/>
                <a:gd name="T85" fmla="*/ 0 h 38"/>
                <a:gd name="T86" fmla="*/ 131 w 135"/>
                <a:gd name="T87" fmla="*/ 1 h 38"/>
                <a:gd name="T88" fmla="*/ 133 w 135"/>
                <a:gd name="T89" fmla="*/ 3 h 38"/>
                <a:gd name="T90" fmla="*/ 133 w 135"/>
                <a:gd name="T91" fmla="*/ 3 h 38"/>
                <a:gd name="T92" fmla="*/ 134 w 135"/>
                <a:gd name="T93" fmla="*/ 5 h 38"/>
                <a:gd name="T94" fmla="*/ 135 w 135"/>
                <a:gd name="T95" fmla="*/ 7 h 38"/>
                <a:gd name="T96" fmla="*/ 134 w 135"/>
                <a:gd name="T97" fmla="*/ 9 h 38"/>
                <a:gd name="T98" fmla="*/ 133 w 135"/>
                <a:gd name="T99" fmla="*/ 11 h 38"/>
                <a:gd name="T100" fmla="*/ 133 w 135"/>
                <a:gd name="T101" fmla="*/ 11 h 38"/>
                <a:gd name="T102" fmla="*/ 127 w 135"/>
                <a:gd name="T103" fmla="*/ 18 h 38"/>
                <a:gd name="T104" fmla="*/ 119 w 135"/>
                <a:gd name="T105" fmla="*/ 23 h 38"/>
                <a:gd name="T106" fmla="*/ 112 w 135"/>
                <a:gd name="T107" fmla="*/ 27 h 38"/>
                <a:gd name="T108" fmla="*/ 103 w 135"/>
                <a:gd name="T109" fmla="*/ 31 h 38"/>
                <a:gd name="T110" fmla="*/ 95 w 135"/>
                <a:gd name="T111" fmla="*/ 35 h 38"/>
                <a:gd name="T112" fmla="*/ 86 w 135"/>
                <a:gd name="T113" fmla="*/ 37 h 38"/>
                <a:gd name="T114" fmla="*/ 78 w 135"/>
                <a:gd name="T115" fmla="*/ 38 h 38"/>
                <a:gd name="T116" fmla="*/ 68 w 135"/>
                <a:gd name="T11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5" h="38">
                  <a:moveTo>
                    <a:pt x="68" y="38"/>
                  </a:moveTo>
                  <a:lnTo>
                    <a:pt x="68" y="38"/>
                  </a:lnTo>
                  <a:lnTo>
                    <a:pt x="68" y="38"/>
                  </a:lnTo>
                  <a:lnTo>
                    <a:pt x="58" y="38"/>
                  </a:lnTo>
                  <a:lnTo>
                    <a:pt x="50" y="37"/>
                  </a:lnTo>
                  <a:lnTo>
                    <a:pt x="40" y="34"/>
                  </a:lnTo>
                  <a:lnTo>
                    <a:pt x="31" y="31"/>
                  </a:lnTo>
                  <a:lnTo>
                    <a:pt x="24" y="27"/>
                  </a:lnTo>
                  <a:lnTo>
                    <a:pt x="16" y="23"/>
                  </a:lnTo>
                  <a:lnTo>
                    <a:pt x="9" y="16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4"/>
                  </a:lnTo>
                  <a:lnTo>
                    <a:pt x="1" y="1"/>
                  </a:lnTo>
                  <a:lnTo>
                    <a:pt x="1" y="1"/>
                  </a:lnTo>
                  <a:lnTo>
                    <a:pt x="4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6" y="7"/>
                  </a:lnTo>
                  <a:lnTo>
                    <a:pt x="23" y="12"/>
                  </a:lnTo>
                  <a:lnTo>
                    <a:pt x="29" y="16"/>
                  </a:lnTo>
                  <a:lnTo>
                    <a:pt x="37" y="20"/>
                  </a:lnTo>
                  <a:lnTo>
                    <a:pt x="44" y="22"/>
                  </a:lnTo>
                  <a:lnTo>
                    <a:pt x="52" y="24"/>
                  </a:lnTo>
                  <a:lnTo>
                    <a:pt x="59" y="25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75" y="25"/>
                  </a:lnTo>
                  <a:lnTo>
                    <a:pt x="84" y="24"/>
                  </a:lnTo>
                  <a:lnTo>
                    <a:pt x="91" y="22"/>
                  </a:lnTo>
                  <a:lnTo>
                    <a:pt x="99" y="20"/>
                  </a:lnTo>
                  <a:lnTo>
                    <a:pt x="105" y="16"/>
                  </a:lnTo>
                  <a:lnTo>
                    <a:pt x="112" y="12"/>
                  </a:lnTo>
                  <a:lnTo>
                    <a:pt x="118" y="8"/>
                  </a:lnTo>
                  <a:lnTo>
                    <a:pt x="125" y="3"/>
                  </a:lnTo>
                  <a:lnTo>
                    <a:pt x="125" y="3"/>
                  </a:lnTo>
                  <a:lnTo>
                    <a:pt x="127" y="1"/>
                  </a:lnTo>
                  <a:lnTo>
                    <a:pt x="129" y="0"/>
                  </a:lnTo>
                  <a:lnTo>
                    <a:pt x="131" y="1"/>
                  </a:lnTo>
                  <a:lnTo>
                    <a:pt x="133" y="3"/>
                  </a:lnTo>
                  <a:lnTo>
                    <a:pt x="133" y="3"/>
                  </a:lnTo>
                  <a:lnTo>
                    <a:pt x="134" y="5"/>
                  </a:lnTo>
                  <a:lnTo>
                    <a:pt x="135" y="7"/>
                  </a:lnTo>
                  <a:lnTo>
                    <a:pt x="134" y="9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27" y="18"/>
                  </a:lnTo>
                  <a:lnTo>
                    <a:pt x="119" y="23"/>
                  </a:lnTo>
                  <a:lnTo>
                    <a:pt x="112" y="27"/>
                  </a:lnTo>
                  <a:lnTo>
                    <a:pt x="103" y="31"/>
                  </a:lnTo>
                  <a:lnTo>
                    <a:pt x="95" y="35"/>
                  </a:lnTo>
                  <a:lnTo>
                    <a:pt x="86" y="37"/>
                  </a:lnTo>
                  <a:lnTo>
                    <a:pt x="78" y="38"/>
                  </a:lnTo>
                  <a:lnTo>
                    <a:pt x="68" y="3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8" name="Freeform 81">
              <a:extLst>
                <a:ext uri="{FF2B5EF4-FFF2-40B4-BE49-F238E27FC236}">
                  <a16:creationId xmlns:a16="http://schemas.microsoft.com/office/drawing/2014/main" id="{B6954037-0BC2-4D3A-8D5C-77D351F2EF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1313" y="4700588"/>
              <a:ext cx="292100" cy="77788"/>
            </a:xfrm>
            <a:custGeom>
              <a:avLst/>
              <a:gdLst>
                <a:gd name="T0" fmla="*/ 92 w 184"/>
                <a:gd name="T1" fmla="*/ 49 h 49"/>
                <a:gd name="T2" fmla="*/ 92 w 184"/>
                <a:gd name="T3" fmla="*/ 49 h 49"/>
                <a:gd name="T4" fmla="*/ 92 w 184"/>
                <a:gd name="T5" fmla="*/ 49 h 49"/>
                <a:gd name="T6" fmla="*/ 79 w 184"/>
                <a:gd name="T7" fmla="*/ 48 h 49"/>
                <a:gd name="T8" fmla="*/ 66 w 184"/>
                <a:gd name="T9" fmla="*/ 46 h 49"/>
                <a:gd name="T10" fmla="*/ 54 w 184"/>
                <a:gd name="T11" fmla="*/ 43 h 49"/>
                <a:gd name="T12" fmla="*/ 43 w 184"/>
                <a:gd name="T13" fmla="*/ 39 h 49"/>
                <a:gd name="T14" fmla="*/ 32 w 184"/>
                <a:gd name="T15" fmla="*/ 33 h 49"/>
                <a:gd name="T16" fmla="*/ 21 w 184"/>
                <a:gd name="T17" fmla="*/ 27 h 49"/>
                <a:gd name="T18" fmla="*/ 10 w 184"/>
                <a:gd name="T19" fmla="*/ 19 h 49"/>
                <a:gd name="T20" fmla="*/ 2 w 184"/>
                <a:gd name="T21" fmla="*/ 11 h 49"/>
                <a:gd name="T22" fmla="*/ 2 w 184"/>
                <a:gd name="T23" fmla="*/ 11 h 49"/>
                <a:gd name="T24" fmla="*/ 0 w 184"/>
                <a:gd name="T25" fmla="*/ 9 h 49"/>
                <a:gd name="T26" fmla="*/ 0 w 184"/>
                <a:gd name="T27" fmla="*/ 6 h 49"/>
                <a:gd name="T28" fmla="*/ 0 w 184"/>
                <a:gd name="T29" fmla="*/ 4 h 49"/>
                <a:gd name="T30" fmla="*/ 2 w 184"/>
                <a:gd name="T31" fmla="*/ 2 h 49"/>
                <a:gd name="T32" fmla="*/ 2 w 184"/>
                <a:gd name="T33" fmla="*/ 2 h 49"/>
                <a:gd name="T34" fmla="*/ 4 w 184"/>
                <a:gd name="T35" fmla="*/ 1 h 49"/>
                <a:gd name="T36" fmla="*/ 6 w 184"/>
                <a:gd name="T37" fmla="*/ 0 h 49"/>
                <a:gd name="T38" fmla="*/ 8 w 184"/>
                <a:gd name="T39" fmla="*/ 1 h 49"/>
                <a:gd name="T40" fmla="*/ 10 w 184"/>
                <a:gd name="T41" fmla="*/ 2 h 49"/>
                <a:gd name="T42" fmla="*/ 10 w 184"/>
                <a:gd name="T43" fmla="*/ 2 h 49"/>
                <a:gd name="T44" fmla="*/ 19 w 184"/>
                <a:gd name="T45" fmla="*/ 10 h 49"/>
                <a:gd name="T46" fmla="*/ 28 w 184"/>
                <a:gd name="T47" fmla="*/ 17 h 49"/>
                <a:gd name="T48" fmla="*/ 37 w 184"/>
                <a:gd name="T49" fmla="*/ 22 h 49"/>
                <a:gd name="T50" fmla="*/ 48 w 184"/>
                <a:gd name="T51" fmla="*/ 28 h 49"/>
                <a:gd name="T52" fmla="*/ 58 w 184"/>
                <a:gd name="T53" fmla="*/ 31 h 49"/>
                <a:gd name="T54" fmla="*/ 69 w 184"/>
                <a:gd name="T55" fmla="*/ 34 h 49"/>
                <a:gd name="T56" fmla="*/ 80 w 184"/>
                <a:gd name="T57" fmla="*/ 35 h 49"/>
                <a:gd name="T58" fmla="*/ 92 w 184"/>
                <a:gd name="T59" fmla="*/ 36 h 49"/>
                <a:gd name="T60" fmla="*/ 92 w 184"/>
                <a:gd name="T61" fmla="*/ 36 h 49"/>
                <a:gd name="T62" fmla="*/ 92 w 184"/>
                <a:gd name="T63" fmla="*/ 36 h 49"/>
                <a:gd name="T64" fmla="*/ 104 w 184"/>
                <a:gd name="T65" fmla="*/ 35 h 49"/>
                <a:gd name="T66" fmla="*/ 114 w 184"/>
                <a:gd name="T67" fmla="*/ 34 h 49"/>
                <a:gd name="T68" fmla="*/ 125 w 184"/>
                <a:gd name="T69" fmla="*/ 31 h 49"/>
                <a:gd name="T70" fmla="*/ 136 w 184"/>
                <a:gd name="T71" fmla="*/ 28 h 49"/>
                <a:gd name="T72" fmla="*/ 145 w 184"/>
                <a:gd name="T73" fmla="*/ 24 h 49"/>
                <a:gd name="T74" fmla="*/ 155 w 184"/>
                <a:gd name="T75" fmla="*/ 17 h 49"/>
                <a:gd name="T76" fmla="*/ 165 w 184"/>
                <a:gd name="T77" fmla="*/ 11 h 49"/>
                <a:gd name="T78" fmla="*/ 173 w 184"/>
                <a:gd name="T79" fmla="*/ 3 h 49"/>
                <a:gd name="T80" fmla="*/ 173 w 184"/>
                <a:gd name="T81" fmla="*/ 3 h 49"/>
                <a:gd name="T82" fmla="*/ 175 w 184"/>
                <a:gd name="T83" fmla="*/ 2 h 49"/>
                <a:gd name="T84" fmla="*/ 178 w 184"/>
                <a:gd name="T85" fmla="*/ 1 h 49"/>
                <a:gd name="T86" fmla="*/ 180 w 184"/>
                <a:gd name="T87" fmla="*/ 2 h 49"/>
                <a:gd name="T88" fmla="*/ 182 w 184"/>
                <a:gd name="T89" fmla="*/ 3 h 49"/>
                <a:gd name="T90" fmla="*/ 182 w 184"/>
                <a:gd name="T91" fmla="*/ 3 h 49"/>
                <a:gd name="T92" fmla="*/ 183 w 184"/>
                <a:gd name="T93" fmla="*/ 5 h 49"/>
                <a:gd name="T94" fmla="*/ 184 w 184"/>
                <a:gd name="T95" fmla="*/ 7 h 49"/>
                <a:gd name="T96" fmla="*/ 183 w 184"/>
                <a:gd name="T97" fmla="*/ 10 h 49"/>
                <a:gd name="T98" fmla="*/ 182 w 184"/>
                <a:gd name="T99" fmla="*/ 12 h 49"/>
                <a:gd name="T100" fmla="*/ 182 w 184"/>
                <a:gd name="T101" fmla="*/ 12 h 49"/>
                <a:gd name="T102" fmla="*/ 172 w 184"/>
                <a:gd name="T103" fmla="*/ 20 h 49"/>
                <a:gd name="T104" fmla="*/ 163 w 184"/>
                <a:gd name="T105" fmla="*/ 28 h 49"/>
                <a:gd name="T106" fmla="*/ 152 w 184"/>
                <a:gd name="T107" fmla="*/ 34 h 49"/>
                <a:gd name="T108" fmla="*/ 140 w 184"/>
                <a:gd name="T109" fmla="*/ 40 h 49"/>
                <a:gd name="T110" fmla="*/ 129 w 184"/>
                <a:gd name="T111" fmla="*/ 44 h 49"/>
                <a:gd name="T112" fmla="*/ 117 w 184"/>
                <a:gd name="T113" fmla="*/ 46 h 49"/>
                <a:gd name="T114" fmla="*/ 105 w 184"/>
                <a:gd name="T115" fmla="*/ 48 h 49"/>
                <a:gd name="T116" fmla="*/ 92 w 184"/>
                <a:gd name="T11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4" h="49">
                  <a:moveTo>
                    <a:pt x="92" y="49"/>
                  </a:moveTo>
                  <a:lnTo>
                    <a:pt x="92" y="49"/>
                  </a:lnTo>
                  <a:lnTo>
                    <a:pt x="92" y="49"/>
                  </a:lnTo>
                  <a:lnTo>
                    <a:pt x="79" y="48"/>
                  </a:lnTo>
                  <a:lnTo>
                    <a:pt x="66" y="46"/>
                  </a:lnTo>
                  <a:lnTo>
                    <a:pt x="54" y="43"/>
                  </a:lnTo>
                  <a:lnTo>
                    <a:pt x="43" y="39"/>
                  </a:lnTo>
                  <a:lnTo>
                    <a:pt x="32" y="33"/>
                  </a:lnTo>
                  <a:lnTo>
                    <a:pt x="21" y="27"/>
                  </a:lnTo>
                  <a:lnTo>
                    <a:pt x="10" y="19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8" y="1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9" y="10"/>
                  </a:lnTo>
                  <a:lnTo>
                    <a:pt x="28" y="17"/>
                  </a:lnTo>
                  <a:lnTo>
                    <a:pt x="37" y="22"/>
                  </a:lnTo>
                  <a:lnTo>
                    <a:pt x="48" y="28"/>
                  </a:lnTo>
                  <a:lnTo>
                    <a:pt x="58" y="31"/>
                  </a:lnTo>
                  <a:lnTo>
                    <a:pt x="69" y="34"/>
                  </a:lnTo>
                  <a:lnTo>
                    <a:pt x="80" y="35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104" y="35"/>
                  </a:lnTo>
                  <a:lnTo>
                    <a:pt x="114" y="34"/>
                  </a:lnTo>
                  <a:lnTo>
                    <a:pt x="125" y="31"/>
                  </a:lnTo>
                  <a:lnTo>
                    <a:pt x="136" y="28"/>
                  </a:lnTo>
                  <a:lnTo>
                    <a:pt x="145" y="24"/>
                  </a:lnTo>
                  <a:lnTo>
                    <a:pt x="155" y="17"/>
                  </a:lnTo>
                  <a:lnTo>
                    <a:pt x="165" y="11"/>
                  </a:lnTo>
                  <a:lnTo>
                    <a:pt x="173" y="3"/>
                  </a:lnTo>
                  <a:lnTo>
                    <a:pt x="173" y="3"/>
                  </a:lnTo>
                  <a:lnTo>
                    <a:pt x="175" y="2"/>
                  </a:lnTo>
                  <a:lnTo>
                    <a:pt x="178" y="1"/>
                  </a:lnTo>
                  <a:lnTo>
                    <a:pt x="180" y="2"/>
                  </a:lnTo>
                  <a:lnTo>
                    <a:pt x="182" y="3"/>
                  </a:lnTo>
                  <a:lnTo>
                    <a:pt x="182" y="3"/>
                  </a:lnTo>
                  <a:lnTo>
                    <a:pt x="183" y="5"/>
                  </a:lnTo>
                  <a:lnTo>
                    <a:pt x="184" y="7"/>
                  </a:lnTo>
                  <a:lnTo>
                    <a:pt x="183" y="10"/>
                  </a:lnTo>
                  <a:lnTo>
                    <a:pt x="182" y="12"/>
                  </a:lnTo>
                  <a:lnTo>
                    <a:pt x="182" y="12"/>
                  </a:lnTo>
                  <a:lnTo>
                    <a:pt x="172" y="20"/>
                  </a:lnTo>
                  <a:lnTo>
                    <a:pt x="163" y="28"/>
                  </a:lnTo>
                  <a:lnTo>
                    <a:pt x="152" y="34"/>
                  </a:lnTo>
                  <a:lnTo>
                    <a:pt x="140" y="40"/>
                  </a:lnTo>
                  <a:lnTo>
                    <a:pt x="129" y="44"/>
                  </a:lnTo>
                  <a:lnTo>
                    <a:pt x="117" y="46"/>
                  </a:lnTo>
                  <a:lnTo>
                    <a:pt x="105" y="48"/>
                  </a:lnTo>
                  <a:lnTo>
                    <a:pt x="92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9" name="Freeform 82">
              <a:extLst>
                <a:ext uri="{FF2B5EF4-FFF2-40B4-BE49-F238E27FC236}">
                  <a16:creationId xmlns:a16="http://schemas.microsoft.com/office/drawing/2014/main" id="{C48D70FE-0237-4968-80EF-8E3F5A1B15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1313" y="4700588"/>
              <a:ext cx="292100" cy="77788"/>
            </a:xfrm>
            <a:custGeom>
              <a:avLst/>
              <a:gdLst>
                <a:gd name="T0" fmla="*/ 92 w 184"/>
                <a:gd name="T1" fmla="*/ 49 h 49"/>
                <a:gd name="T2" fmla="*/ 92 w 184"/>
                <a:gd name="T3" fmla="*/ 49 h 49"/>
                <a:gd name="T4" fmla="*/ 92 w 184"/>
                <a:gd name="T5" fmla="*/ 49 h 49"/>
                <a:gd name="T6" fmla="*/ 79 w 184"/>
                <a:gd name="T7" fmla="*/ 48 h 49"/>
                <a:gd name="T8" fmla="*/ 66 w 184"/>
                <a:gd name="T9" fmla="*/ 46 h 49"/>
                <a:gd name="T10" fmla="*/ 54 w 184"/>
                <a:gd name="T11" fmla="*/ 43 h 49"/>
                <a:gd name="T12" fmla="*/ 43 w 184"/>
                <a:gd name="T13" fmla="*/ 39 h 49"/>
                <a:gd name="T14" fmla="*/ 32 w 184"/>
                <a:gd name="T15" fmla="*/ 33 h 49"/>
                <a:gd name="T16" fmla="*/ 21 w 184"/>
                <a:gd name="T17" fmla="*/ 27 h 49"/>
                <a:gd name="T18" fmla="*/ 10 w 184"/>
                <a:gd name="T19" fmla="*/ 19 h 49"/>
                <a:gd name="T20" fmla="*/ 2 w 184"/>
                <a:gd name="T21" fmla="*/ 11 h 49"/>
                <a:gd name="T22" fmla="*/ 2 w 184"/>
                <a:gd name="T23" fmla="*/ 11 h 49"/>
                <a:gd name="T24" fmla="*/ 0 w 184"/>
                <a:gd name="T25" fmla="*/ 9 h 49"/>
                <a:gd name="T26" fmla="*/ 0 w 184"/>
                <a:gd name="T27" fmla="*/ 6 h 49"/>
                <a:gd name="T28" fmla="*/ 0 w 184"/>
                <a:gd name="T29" fmla="*/ 4 h 49"/>
                <a:gd name="T30" fmla="*/ 2 w 184"/>
                <a:gd name="T31" fmla="*/ 2 h 49"/>
                <a:gd name="T32" fmla="*/ 2 w 184"/>
                <a:gd name="T33" fmla="*/ 2 h 49"/>
                <a:gd name="T34" fmla="*/ 4 w 184"/>
                <a:gd name="T35" fmla="*/ 1 h 49"/>
                <a:gd name="T36" fmla="*/ 6 w 184"/>
                <a:gd name="T37" fmla="*/ 0 h 49"/>
                <a:gd name="T38" fmla="*/ 8 w 184"/>
                <a:gd name="T39" fmla="*/ 1 h 49"/>
                <a:gd name="T40" fmla="*/ 10 w 184"/>
                <a:gd name="T41" fmla="*/ 2 h 49"/>
                <a:gd name="T42" fmla="*/ 10 w 184"/>
                <a:gd name="T43" fmla="*/ 2 h 49"/>
                <a:gd name="T44" fmla="*/ 19 w 184"/>
                <a:gd name="T45" fmla="*/ 10 h 49"/>
                <a:gd name="T46" fmla="*/ 28 w 184"/>
                <a:gd name="T47" fmla="*/ 17 h 49"/>
                <a:gd name="T48" fmla="*/ 37 w 184"/>
                <a:gd name="T49" fmla="*/ 22 h 49"/>
                <a:gd name="T50" fmla="*/ 48 w 184"/>
                <a:gd name="T51" fmla="*/ 28 h 49"/>
                <a:gd name="T52" fmla="*/ 58 w 184"/>
                <a:gd name="T53" fmla="*/ 31 h 49"/>
                <a:gd name="T54" fmla="*/ 69 w 184"/>
                <a:gd name="T55" fmla="*/ 34 h 49"/>
                <a:gd name="T56" fmla="*/ 80 w 184"/>
                <a:gd name="T57" fmla="*/ 35 h 49"/>
                <a:gd name="T58" fmla="*/ 92 w 184"/>
                <a:gd name="T59" fmla="*/ 36 h 49"/>
                <a:gd name="T60" fmla="*/ 92 w 184"/>
                <a:gd name="T61" fmla="*/ 36 h 49"/>
                <a:gd name="T62" fmla="*/ 92 w 184"/>
                <a:gd name="T63" fmla="*/ 36 h 49"/>
                <a:gd name="T64" fmla="*/ 104 w 184"/>
                <a:gd name="T65" fmla="*/ 35 h 49"/>
                <a:gd name="T66" fmla="*/ 114 w 184"/>
                <a:gd name="T67" fmla="*/ 34 h 49"/>
                <a:gd name="T68" fmla="*/ 125 w 184"/>
                <a:gd name="T69" fmla="*/ 31 h 49"/>
                <a:gd name="T70" fmla="*/ 136 w 184"/>
                <a:gd name="T71" fmla="*/ 28 h 49"/>
                <a:gd name="T72" fmla="*/ 145 w 184"/>
                <a:gd name="T73" fmla="*/ 24 h 49"/>
                <a:gd name="T74" fmla="*/ 155 w 184"/>
                <a:gd name="T75" fmla="*/ 17 h 49"/>
                <a:gd name="T76" fmla="*/ 165 w 184"/>
                <a:gd name="T77" fmla="*/ 11 h 49"/>
                <a:gd name="T78" fmla="*/ 173 w 184"/>
                <a:gd name="T79" fmla="*/ 3 h 49"/>
                <a:gd name="T80" fmla="*/ 173 w 184"/>
                <a:gd name="T81" fmla="*/ 3 h 49"/>
                <a:gd name="T82" fmla="*/ 175 w 184"/>
                <a:gd name="T83" fmla="*/ 2 h 49"/>
                <a:gd name="T84" fmla="*/ 178 w 184"/>
                <a:gd name="T85" fmla="*/ 1 h 49"/>
                <a:gd name="T86" fmla="*/ 180 w 184"/>
                <a:gd name="T87" fmla="*/ 2 h 49"/>
                <a:gd name="T88" fmla="*/ 182 w 184"/>
                <a:gd name="T89" fmla="*/ 3 h 49"/>
                <a:gd name="T90" fmla="*/ 182 w 184"/>
                <a:gd name="T91" fmla="*/ 3 h 49"/>
                <a:gd name="T92" fmla="*/ 183 w 184"/>
                <a:gd name="T93" fmla="*/ 5 h 49"/>
                <a:gd name="T94" fmla="*/ 184 w 184"/>
                <a:gd name="T95" fmla="*/ 7 h 49"/>
                <a:gd name="T96" fmla="*/ 183 w 184"/>
                <a:gd name="T97" fmla="*/ 10 h 49"/>
                <a:gd name="T98" fmla="*/ 182 w 184"/>
                <a:gd name="T99" fmla="*/ 12 h 49"/>
                <a:gd name="T100" fmla="*/ 182 w 184"/>
                <a:gd name="T101" fmla="*/ 12 h 49"/>
                <a:gd name="T102" fmla="*/ 172 w 184"/>
                <a:gd name="T103" fmla="*/ 20 h 49"/>
                <a:gd name="T104" fmla="*/ 163 w 184"/>
                <a:gd name="T105" fmla="*/ 28 h 49"/>
                <a:gd name="T106" fmla="*/ 152 w 184"/>
                <a:gd name="T107" fmla="*/ 34 h 49"/>
                <a:gd name="T108" fmla="*/ 140 w 184"/>
                <a:gd name="T109" fmla="*/ 40 h 49"/>
                <a:gd name="T110" fmla="*/ 129 w 184"/>
                <a:gd name="T111" fmla="*/ 44 h 49"/>
                <a:gd name="T112" fmla="*/ 117 w 184"/>
                <a:gd name="T113" fmla="*/ 46 h 49"/>
                <a:gd name="T114" fmla="*/ 105 w 184"/>
                <a:gd name="T115" fmla="*/ 48 h 49"/>
                <a:gd name="T116" fmla="*/ 92 w 184"/>
                <a:gd name="T11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4" h="49">
                  <a:moveTo>
                    <a:pt x="92" y="49"/>
                  </a:moveTo>
                  <a:lnTo>
                    <a:pt x="92" y="49"/>
                  </a:lnTo>
                  <a:lnTo>
                    <a:pt x="92" y="49"/>
                  </a:lnTo>
                  <a:lnTo>
                    <a:pt x="79" y="48"/>
                  </a:lnTo>
                  <a:lnTo>
                    <a:pt x="66" y="46"/>
                  </a:lnTo>
                  <a:lnTo>
                    <a:pt x="54" y="43"/>
                  </a:lnTo>
                  <a:lnTo>
                    <a:pt x="43" y="39"/>
                  </a:lnTo>
                  <a:lnTo>
                    <a:pt x="32" y="33"/>
                  </a:lnTo>
                  <a:lnTo>
                    <a:pt x="21" y="27"/>
                  </a:lnTo>
                  <a:lnTo>
                    <a:pt x="10" y="19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8" y="1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9" y="10"/>
                  </a:lnTo>
                  <a:lnTo>
                    <a:pt x="28" y="17"/>
                  </a:lnTo>
                  <a:lnTo>
                    <a:pt x="37" y="22"/>
                  </a:lnTo>
                  <a:lnTo>
                    <a:pt x="48" y="28"/>
                  </a:lnTo>
                  <a:lnTo>
                    <a:pt x="58" y="31"/>
                  </a:lnTo>
                  <a:lnTo>
                    <a:pt x="69" y="34"/>
                  </a:lnTo>
                  <a:lnTo>
                    <a:pt x="80" y="35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104" y="35"/>
                  </a:lnTo>
                  <a:lnTo>
                    <a:pt x="114" y="34"/>
                  </a:lnTo>
                  <a:lnTo>
                    <a:pt x="125" y="31"/>
                  </a:lnTo>
                  <a:lnTo>
                    <a:pt x="136" y="28"/>
                  </a:lnTo>
                  <a:lnTo>
                    <a:pt x="145" y="24"/>
                  </a:lnTo>
                  <a:lnTo>
                    <a:pt x="155" y="17"/>
                  </a:lnTo>
                  <a:lnTo>
                    <a:pt x="165" y="11"/>
                  </a:lnTo>
                  <a:lnTo>
                    <a:pt x="173" y="3"/>
                  </a:lnTo>
                  <a:lnTo>
                    <a:pt x="173" y="3"/>
                  </a:lnTo>
                  <a:lnTo>
                    <a:pt x="175" y="2"/>
                  </a:lnTo>
                  <a:lnTo>
                    <a:pt x="178" y="1"/>
                  </a:lnTo>
                  <a:lnTo>
                    <a:pt x="180" y="2"/>
                  </a:lnTo>
                  <a:lnTo>
                    <a:pt x="182" y="3"/>
                  </a:lnTo>
                  <a:lnTo>
                    <a:pt x="182" y="3"/>
                  </a:lnTo>
                  <a:lnTo>
                    <a:pt x="183" y="5"/>
                  </a:lnTo>
                  <a:lnTo>
                    <a:pt x="184" y="7"/>
                  </a:lnTo>
                  <a:lnTo>
                    <a:pt x="183" y="10"/>
                  </a:lnTo>
                  <a:lnTo>
                    <a:pt x="182" y="12"/>
                  </a:lnTo>
                  <a:lnTo>
                    <a:pt x="182" y="12"/>
                  </a:lnTo>
                  <a:lnTo>
                    <a:pt x="172" y="20"/>
                  </a:lnTo>
                  <a:lnTo>
                    <a:pt x="163" y="28"/>
                  </a:lnTo>
                  <a:lnTo>
                    <a:pt x="152" y="34"/>
                  </a:lnTo>
                  <a:lnTo>
                    <a:pt x="140" y="40"/>
                  </a:lnTo>
                  <a:lnTo>
                    <a:pt x="129" y="44"/>
                  </a:lnTo>
                  <a:lnTo>
                    <a:pt x="117" y="46"/>
                  </a:lnTo>
                  <a:lnTo>
                    <a:pt x="105" y="48"/>
                  </a:lnTo>
                  <a:lnTo>
                    <a:pt x="92" y="4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0" name="Freeform 83">
              <a:extLst>
                <a:ext uri="{FF2B5EF4-FFF2-40B4-BE49-F238E27FC236}">
                  <a16:creationId xmlns:a16="http://schemas.microsoft.com/office/drawing/2014/main" id="{5FC32505-7998-4F1F-A938-13AD8D8C43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51325" y="4440238"/>
              <a:ext cx="106363" cy="107950"/>
            </a:xfrm>
            <a:custGeom>
              <a:avLst/>
              <a:gdLst>
                <a:gd name="T0" fmla="*/ 33 w 67"/>
                <a:gd name="T1" fmla="*/ 13 h 68"/>
                <a:gd name="T2" fmla="*/ 26 w 67"/>
                <a:gd name="T3" fmla="*/ 14 h 68"/>
                <a:gd name="T4" fmla="*/ 18 w 67"/>
                <a:gd name="T5" fmla="*/ 19 h 68"/>
                <a:gd name="T6" fmla="*/ 14 w 67"/>
                <a:gd name="T7" fmla="*/ 26 h 68"/>
                <a:gd name="T8" fmla="*/ 12 w 67"/>
                <a:gd name="T9" fmla="*/ 34 h 68"/>
                <a:gd name="T10" fmla="*/ 13 w 67"/>
                <a:gd name="T11" fmla="*/ 39 h 68"/>
                <a:gd name="T12" fmla="*/ 16 w 67"/>
                <a:gd name="T13" fmla="*/ 46 h 68"/>
                <a:gd name="T14" fmla="*/ 21 w 67"/>
                <a:gd name="T15" fmla="*/ 51 h 68"/>
                <a:gd name="T16" fmla="*/ 29 w 67"/>
                <a:gd name="T17" fmla="*/ 55 h 68"/>
                <a:gd name="T18" fmla="*/ 33 w 67"/>
                <a:gd name="T19" fmla="*/ 56 h 68"/>
                <a:gd name="T20" fmla="*/ 42 w 67"/>
                <a:gd name="T21" fmla="*/ 54 h 68"/>
                <a:gd name="T22" fmla="*/ 48 w 67"/>
                <a:gd name="T23" fmla="*/ 49 h 68"/>
                <a:gd name="T24" fmla="*/ 54 w 67"/>
                <a:gd name="T25" fmla="*/ 43 h 68"/>
                <a:gd name="T26" fmla="*/ 55 w 67"/>
                <a:gd name="T27" fmla="*/ 34 h 68"/>
                <a:gd name="T28" fmla="*/ 55 w 67"/>
                <a:gd name="T29" fmla="*/ 30 h 68"/>
                <a:gd name="T30" fmla="*/ 51 w 67"/>
                <a:gd name="T31" fmla="*/ 23 h 68"/>
                <a:gd name="T32" fmla="*/ 45 w 67"/>
                <a:gd name="T33" fmla="*/ 16 h 68"/>
                <a:gd name="T34" fmla="*/ 37 w 67"/>
                <a:gd name="T35" fmla="*/ 13 h 68"/>
                <a:gd name="T36" fmla="*/ 33 w 67"/>
                <a:gd name="T37" fmla="*/ 68 h 68"/>
                <a:gd name="T38" fmla="*/ 27 w 67"/>
                <a:gd name="T39" fmla="*/ 68 h 68"/>
                <a:gd name="T40" fmla="*/ 15 w 67"/>
                <a:gd name="T41" fmla="*/ 62 h 68"/>
                <a:gd name="T42" fmla="*/ 5 w 67"/>
                <a:gd name="T43" fmla="*/ 53 h 68"/>
                <a:gd name="T44" fmla="*/ 0 w 67"/>
                <a:gd name="T45" fmla="*/ 41 h 68"/>
                <a:gd name="T46" fmla="*/ 0 w 67"/>
                <a:gd name="T47" fmla="*/ 34 h 68"/>
                <a:gd name="T48" fmla="*/ 2 w 67"/>
                <a:gd name="T49" fmla="*/ 20 h 68"/>
                <a:gd name="T50" fmla="*/ 10 w 67"/>
                <a:gd name="T51" fmla="*/ 10 h 68"/>
                <a:gd name="T52" fmla="*/ 20 w 67"/>
                <a:gd name="T53" fmla="*/ 3 h 68"/>
                <a:gd name="T54" fmla="*/ 33 w 67"/>
                <a:gd name="T55" fmla="*/ 0 h 68"/>
                <a:gd name="T56" fmla="*/ 41 w 67"/>
                <a:gd name="T57" fmla="*/ 1 h 68"/>
                <a:gd name="T58" fmla="*/ 52 w 67"/>
                <a:gd name="T59" fmla="*/ 6 h 68"/>
                <a:gd name="T60" fmla="*/ 62 w 67"/>
                <a:gd name="T61" fmla="*/ 15 h 68"/>
                <a:gd name="T62" fmla="*/ 66 w 67"/>
                <a:gd name="T63" fmla="*/ 27 h 68"/>
                <a:gd name="T64" fmla="*/ 67 w 67"/>
                <a:gd name="T65" fmla="*/ 34 h 68"/>
                <a:gd name="T66" fmla="*/ 64 w 67"/>
                <a:gd name="T67" fmla="*/ 47 h 68"/>
                <a:gd name="T68" fmla="*/ 58 w 67"/>
                <a:gd name="T69" fmla="*/ 58 h 68"/>
                <a:gd name="T70" fmla="*/ 47 w 67"/>
                <a:gd name="T71" fmla="*/ 65 h 68"/>
                <a:gd name="T72" fmla="*/ 33 w 67"/>
                <a:gd name="T7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7" h="68">
                  <a:moveTo>
                    <a:pt x="33" y="13"/>
                  </a:moveTo>
                  <a:lnTo>
                    <a:pt x="33" y="13"/>
                  </a:lnTo>
                  <a:lnTo>
                    <a:pt x="29" y="13"/>
                  </a:lnTo>
                  <a:lnTo>
                    <a:pt x="26" y="14"/>
                  </a:lnTo>
                  <a:lnTo>
                    <a:pt x="21" y="16"/>
                  </a:lnTo>
                  <a:lnTo>
                    <a:pt x="18" y="19"/>
                  </a:lnTo>
                  <a:lnTo>
                    <a:pt x="16" y="23"/>
                  </a:lnTo>
                  <a:lnTo>
                    <a:pt x="14" y="26"/>
                  </a:lnTo>
                  <a:lnTo>
                    <a:pt x="13" y="30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3" y="39"/>
                  </a:lnTo>
                  <a:lnTo>
                    <a:pt x="14" y="43"/>
                  </a:lnTo>
                  <a:lnTo>
                    <a:pt x="16" y="46"/>
                  </a:lnTo>
                  <a:lnTo>
                    <a:pt x="18" y="49"/>
                  </a:lnTo>
                  <a:lnTo>
                    <a:pt x="21" y="51"/>
                  </a:lnTo>
                  <a:lnTo>
                    <a:pt x="26" y="54"/>
                  </a:lnTo>
                  <a:lnTo>
                    <a:pt x="29" y="55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7" y="55"/>
                  </a:lnTo>
                  <a:lnTo>
                    <a:pt x="42" y="54"/>
                  </a:lnTo>
                  <a:lnTo>
                    <a:pt x="45" y="51"/>
                  </a:lnTo>
                  <a:lnTo>
                    <a:pt x="48" y="49"/>
                  </a:lnTo>
                  <a:lnTo>
                    <a:pt x="51" y="46"/>
                  </a:lnTo>
                  <a:lnTo>
                    <a:pt x="54" y="43"/>
                  </a:lnTo>
                  <a:lnTo>
                    <a:pt x="55" y="39"/>
                  </a:lnTo>
                  <a:lnTo>
                    <a:pt x="55" y="34"/>
                  </a:lnTo>
                  <a:lnTo>
                    <a:pt x="55" y="34"/>
                  </a:lnTo>
                  <a:lnTo>
                    <a:pt x="55" y="30"/>
                  </a:lnTo>
                  <a:lnTo>
                    <a:pt x="54" y="26"/>
                  </a:lnTo>
                  <a:lnTo>
                    <a:pt x="51" y="23"/>
                  </a:lnTo>
                  <a:lnTo>
                    <a:pt x="48" y="19"/>
                  </a:lnTo>
                  <a:lnTo>
                    <a:pt x="45" y="16"/>
                  </a:lnTo>
                  <a:lnTo>
                    <a:pt x="42" y="14"/>
                  </a:lnTo>
                  <a:lnTo>
                    <a:pt x="37" y="13"/>
                  </a:lnTo>
                  <a:lnTo>
                    <a:pt x="33" y="13"/>
                  </a:lnTo>
                  <a:close/>
                  <a:moveTo>
                    <a:pt x="33" y="68"/>
                  </a:moveTo>
                  <a:lnTo>
                    <a:pt x="33" y="68"/>
                  </a:lnTo>
                  <a:lnTo>
                    <a:pt x="27" y="68"/>
                  </a:lnTo>
                  <a:lnTo>
                    <a:pt x="20" y="65"/>
                  </a:lnTo>
                  <a:lnTo>
                    <a:pt x="15" y="62"/>
                  </a:lnTo>
                  <a:lnTo>
                    <a:pt x="10" y="58"/>
                  </a:lnTo>
                  <a:lnTo>
                    <a:pt x="5" y="53"/>
                  </a:lnTo>
                  <a:lnTo>
                    <a:pt x="2" y="47"/>
                  </a:lnTo>
                  <a:lnTo>
                    <a:pt x="0" y="41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27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10" y="10"/>
                  </a:lnTo>
                  <a:lnTo>
                    <a:pt x="15" y="6"/>
                  </a:lnTo>
                  <a:lnTo>
                    <a:pt x="20" y="3"/>
                  </a:lnTo>
                  <a:lnTo>
                    <a:pt x="27" y="1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1" y="1"/>
                  </a:lnTo>
                  <a:lnTo>
                    <a:pt x="47" y="3"/>
                  </a:lnTo>
                  <a:lnTo>
                    <a:pt x="52" y="6"/>
                  </a:lnTo>
                  <a:lnTo>
                    <a:pt x="58" y="10"/>
                  </a:lnTo>
                  <a:lnTo>
                    <a:pt x="62" y="15"/>
                  </a:lnTo>
                  <a:lnTo>
                    <a:pt x="64" y="20"/>
                  </a:lnTo>
                  <a:lnTo>
                    <a:pt x="66" y="27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6" y="41"/>
                  </a:lnTo>
                  <a:lnTo>
                    <a:pt x="64" y="47"/>
                  </a:lnTo>
                  <a:lnTo>
                    <a:pt x="62" y="53"/>
                  </a:lnTo>
                  <a:lnTo>
                    <a:pt x="58" y="58"/>
                  </a:lnTo>
                  <a:lnTo>
                    <a:pt x="52" y="62"/>
                  </a:lnTo>
                  <a:lnTo>
                    <a:pt x="47" y="65"/>
                  </a:lnTo>
                  <a:lnTo>
                    <a:pt x="41" y="68"/>
                  </a:lnTo>
                  <a:lnTo>
                    <a:pt x="33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3" name="Freeform 86">
              <a:extLst>
                <a:ext uri="{FF2B5EF4-FFF2-40B4-BE49-F238E27FC236}">
                  <a16:creationId xmlns:a16="http://schemas.microsoft.com/office/drawing/2014/main" id="{A691953B-DB74-493A-83F1-8011AE8F96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8963" y="4430713"/>
              <a:ext cx="323850" cy="127000"/>
            </a:xfrm>
            <a:custGeom>
              <a:avLst/>
              <a:gdLst>
                <a:gd name="T0" fmla="*/ 23 w 204"/>
                <a:gd name="T1" fmla="*/ 12 h 80"/>
                <a:gd name="T2" fmla="*/ 15 w 204"/>
                <a:gd name="T3" fmla="*/ 16 h 80"/>
                <a:gd name="T4" fmla="*/ 13 w 204"/>
                <a:gd name="T5" fmla="*/ 22 h 80"/>
                <a:gd name="T6" fmla="*/ 13 w 204"/>
                <a:gd name="T7" fmla="*/ 59 h 80"/>
                <a:gd name="T8" fmla="*/ 15 w 204"/>
                <a:gd name="T9" fmla="*/ 65 h 80"/>
                <a:gd name="T10" fmla="*/ 23 w 204"/>
                <a:gd name="T11" fmla="*/ 68 h 80"/>
                <a:gd name="T12" fmla="*/ 181 w 204"/>
                <a:gd name="T13" fmla="*/ 68 h 80"/>
                <a:gd name="T14" fmla="*/ 189 w 204"/>
                <a:gd name="T15" fmla="*/ 65 h 80"/>
                <a:gd name="T16" fmla="*/ 191 w 204"/>
                <a:gd name="T17" fmla="*/ 59 h 80"/>
                <a:gd name="T18" fmla="*/ 191 w 204"/>
                <a:gd name="T19" fmla="*/ 22 h 80"/>
                <a:gd name="T20" fmla="*/ 189 w 204"/>
                <a:gd name="T21" fmla="*/ 16 h 80"/>
                <a:gd name="T22" fmla="*/ 181 w 204"/>
                <a:gd name="T23" fmla="*/ 12 h 80"/>
                <a:gd name="T24" fmla="*/ 181 w 204"/>
                <a:gd name="T25" fmla="*/ 80 h 80"/>
                <a:gd name="T26" fmla="*/ 23 w 204"/>
                <a:gd name="T27" fmla="*/ 80 h 80"/>
                <a:gd name="T28" fmla="*/ 14 w 204"/>
                <a:gd name="T29" fmla="*/ 79 h 80"/>
                <a:gd name="T30" fmla="*/ 7 w 204"/>
                <a:gd name="T31" fmla="*/ 74 h 80"/>
                <a:gd name="T32" fmla="*/ 2 w 204"/>
                <a:gd name="T33" fmla="*/ 67 h 80"/>
                <a:gd name="T34" fmla="*/ 0 w 204"/>
                <a:gd name="T35" fmla="*/ 59 h 80"/>
                <a:gd name="T36" fmla="*/ 0 w 204"/>
                <a:gd name="T37" fmla="*/ 22 h 80"/>
                <a:gd name="T38" fmla="*/ 2 w 204"/>
                <a:gd name="T39" fmla="*/ 14 h 80"/>
                <a:gd name="T40" fmla="*/ 7 w 204"/>
                <a:gd name="T41" fmla="*/ 6 h 80"/>
                <a:gd name="T42" fmla="*/ 14 w 204"/>
                <a:gd name="T43" fmla="*/ 2 h 80"/>
                <a:gd name="T44" fmla="*/ 23 w 204"/>
                <a:gd name="T45" fmla="*/ 0 h 80"/>
                <a:gd name="T46" fmla="*/ 181 w 204"/>
                <a:gd name="T47" fmla="*/ 0 h 80"/>
                <a:gd name="T48" fmla="*/ 191 w 204"/>
                <a:gd name="T49" fmla="*/ 2 h 80"/>
                <a:gd name="T50" fmla="*/ 197 w 204"/>
                <a:gd name="T51" fmla="*/ 6 h 80"/>
                <a:gd name="T52" fmla="*/ 203 w 204"/>
                <a:gd name="T53" fmla="*/ 14 h 80"/>
                <a:gd name="T54" fmla="*/ 204 w 204"/>
                <a:gd name="T55" fmla="*/ 22 h 80"/>
                <a:gd name="T56" fmla="*/ 204 w 204"/>
                <a:gd name="T57" fmla="*/ 59 h 80"/>
                <a:gd name="T58" fmla="*/ 203 w 204"/>
                <a:gd name="T59" fmla="*/ 67 h 80"/>
                <a:gd name="T60" fmla="*/ 197 w 204"/>
                <a:gd name="T61" fmla="*/ 74 h 80"/>
                <a:gd name="T62" fmla="*/ 191 w 204"/>
                <a:gd name="T63" fmla="*/ 79 h 80"/>
                <a:gd name="T64" fmla="*/ 181 w 204"/>
                <a:gd name="T6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4" h="80">
                  <a:moveTo>
                    <a:pt x="23" y="12"/>
                  </a:moveTo>
                  <a:lnTo>
                    <a:pt x="23" y="12"/>
                  </a:lnTo>
                  <a:lnTo>
                    <a:pt x="18" y="14"/>
                  </a:lnTo>
                  <a:lnTo>
                    <a:pt x="15" y="16"/>
                  </a:lnTo>
                  <a:lnTo>
                    <a:pt x="14" y="18"/>
                  </a:lnTo>
                  <a:lnTo>
                    <a:pt x="13" y="22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4" y="62"/>
                  </a:lnTo>
                  <a:lnTo>
                    <a:pt x="15" y="65"/>
                  </a:lnTo>
                  <a:lnTo>
                    <a:pt x="18" y="67"/>
                  </a:lnTo>
                  <a:lnTo>
                    <a:pt x="23" y="68"/>
                  </a:lnTo>
                  <a:lnTo>
                    <a:pt x="181" y="68"/>
                  </a:lnTo>
                  <a:lnTo>
                    <a:pt x="181" y="68"/>
                  </a:lnTo>
                  <a:lnTo>
                    <a:pt x="186" y="67"/>
                  </a:lnTo>
                  <a:lnTo>
                    <a:pt x="189" y="65"/>
                  </a:lnTo>
                  <a:lnTo>
                    <a:pt x="191" y="62"/>
                  </a:lnTo>
                  <a:lnTo>
                    <a:pt x="191" y="59"/>
                  </a:lnTo>
                  <a:lnTo>
                    <a:pt x="191" y="22"/>
                  </a:lnTo>
                  <a:lnTo>
                    <a:pt x="191" y="22"/>
                  </a:lnTo>
                  <a:lnTo>
                    <a:pt x="191" y="18"/>
                  </a:lnTo>
                  <a:lnTo>
                    <a:pt x="189" y="16"/>
                  </a:lnTo>
                  <a:lnTo>
                    <a:pt x="186" y="14"/>
                  </a:lnTo>
                  <a:lnTo>
                    <a:pt x="181" y="12"/>
                  </a:lnTo>
                  <a:lnTo>
                    <a:pt x="23" y="12"/>
                  </a:lnTo>
                  <a:close/>
                  <a:moveTo>
                    <a:pt x="181" y="80"/>
                  </a:moveTo>
                  <a:lnTo>
                    <a:pt x="23" y="80"/>
                  </a:lnTo>
                  <a:lnTo>
                    <a:pt x="23" y="80"/>
                  </a:lnTo>
                  <a:lnTo>
                    <a:pt x="18" y="80"/>
                  </a:lnTo>
                  <a:lnTo>
                    <a:pt x="14" y="79"/>
                  </a:lnTo>
                  <a:lnTo>
                    <a:pt x="10" y="77"/>
                  </a:lnTo>
                  <a:lnTo>
                    <a:pt x="7" y="74"/>
                  </a:lnTo>
                  <a:lnTo>
                    <a:pt x="4" y="70"/>
                  </a:lnTo>
                  <a:lnTo>
                    <a:pt x="2" y="67"/>
                  </a:lnTo>
                  <a:lnTo>
                    <a:pt x="1" y="63"/>
                  </a:lnTo>
                  <a:lnTo>
                    <a:pt x="0" y="59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1" y="18"/>
                  </a:lnTo>
                  <a:lnTo>
                    <a:pt x="2" y="14"/>
                  </a:lnTo>
                  <a:lnTo>
                    <a:pt x="4" y="9"/>
                  </a:lnTo>
                  <a:lnTo>
                    <a:pt x="7" y="6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8" y="1"/>
                  </a:lnTo>
                  <a:lnTo>
                    <a:pt x="23" y="0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87" y="1"/>
                  </a:lnTo>
                  <a:lnTo>
                    <a:pt x="191" y="2"/>
                  </a:lnTo>
                  <a:lnTo>
                    <a:pt x="194" y="4"/>
                  </a:lnTo>
                  <a:lnTo>
                    <a:pt x="197" y="6"/>
                  </a:lnTo>
                  <a:lnTo>
                    <a:pt x="201" y="9"/>
                  </a:lnTo>
                  <a:lnTo>
                    <a:pt x="203" y="14"/>
                  </a:lnTo>
                  <a:lnTo>
                    <a:pt x="204" y="18"/>
                  </a:lnTo>
                  <a:lnTo>
                    <a:pt x="204" y="22"/>
                  </a:lnTo>
                  <a:lnTo>
                    <a:pt x="204" y="59"/>
                  </a:lnTo>
                  <a:lnTo>
                    <a:pt x="204" y="59"/>
                  </a:lnTo>
                  <a:lnTo>
                    <a:pt x="204" y="63"/>
                  </a:lnTo>
                  <a:lnTo>
                    <a:pt x="203" y="67"/>
                  </a:lnTo>
                  <a:lnTo>
                    <a:pt x="201" y="70"/>
                  </a:lnTo>
                  <a:lnTo>
                    <a:pt x="197" y="74"/>
                  </a:lnTo>
                  <a:lnTo>
                    <a:pt x="194" y="77"/>
                  </a:lnTo>
                  <a:lnTo>
                    <a:pt x="191" y="79"/>
                  </a:lnTo>
                  <a:lnTo>
                    <a:pt x="187" y="80"/>
                  </a:lnTo>
                  <a:lnTo>
                    <a:pt x="181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6" name="Freeform 89">
              <a:extLst>
                <a:ext uri="{FF2B5EF4-FFF2-40B4-BE49-F238E27FC236}">
                  <a16:creationId xmlns:a16="http://schemas.microsoft.com/office/drawing/2014/main" id="{1EDBF38D-5098-49DA-AFC7-88D6BF2978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48163" y="4457701"/>
              <a:ext cx="65088" cy="39688"/>
            </a:xfrm>
            <a:custGeom>
              <a:avLst/>
              <a:gdLst>
                <a:gd name="T0" fmla="*/ 4 w 41"/>
                <a:gd name="T1" fmla="*/ 25 h 25"/>
                <a:gd name="T2" fmla="*/ 0 w 41"/>
                <a:gd name="T3" fmla="*/ 14 h 25"/>
                <a:gd name="T4" fmla="*/ 36 w 41"/>
                <a:gd name="T5" fmla="*/ 0 h 25"/>
                <a:gd name="T6" fmla="*/ 41 w 41"/>
                <a:gd name="T7" fmla="*/ 12 h 25"/>
                <a:gd name="T8" fmla="*/ 4 w 41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5">
                  <a:moveTo>
                    <a:pt x="4" y="25"/>
                  </a:moveTo>
                  <a:lnTo>
                    <a:pt x="0" y="14"/>
                  </a:lnTo>
                  <a:lnTo>
                    <a:pt x="36" y="0"/>
                  </a:lnTo>
                  <a:lnTo>
                    <a:pt x="41" y="12"/>
                  </a:lnTo>
                  <a:lnTo>
                    <a:pt x="4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7" name="Freeform 90">
              <a:extLst>
                <a:ext uri="{FF2B5EF4-FFF2-40B4-BE49-F238E27FC236}">
                  <a16:creationId xmlns:a16="http://schemas.microsoft.com/office/drawing/2014/main" id="{A223CAF7-654F-40EA-8101-56F0E134D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48163" y="4491038"/>
              <a:ext cx="65088" cy="41275"/>
            </a:xfrm>
            <a:custGeom>
              <a:avLst/>
              <a:gdLst>
                <a:gd name="T0" fmla="*/ 36 w 41"/>
                <a:gd name="T1" fmla="*/ 26 h 26"/>
                <a:gd name="T2" fmla="*/ 0 w 41"/>
                <a:gd name="T3" fmla="*/ 12 h 26"/>
                <a:gd name="T4" fmla="*/ 4 w 41"/>
                <a:gd name="T5" fmla="*/ 0 h 26"/>
                <a:gd name="T6" fmla="*/ 41 w 41"/>
                <a:gd name="T7" fmla="*/ 14 h 26"/>
                <a:gd name="T8" fmla="*/ 36 w 41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6">
                  <a:moveTo>
                    <a:pt x="36" y="26"/>
                  </a:moveTo>
                  <a:lnTo>
                    <a:pt x="0" y="12"/>
                  </a:lnTo>
                  <a:lnTo>
                    <a:pt x="4" y="0"/>
                  </a:lnTo>
                  <a:lnTo>
                    <a:pt x="41" y="14"/>
                  </a:lnTo>
                  <a:lnTo>
                    <a:pt x="36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8" name="Freeform 91">
              <a:extLst>
                <a:ext uri="{FF2B5EF4-FFF2-40B4-BE49-F238E27FC236}">
                  <a16:creationId xmlns:a16="http://schemas.microsoft.com/office/drawing/2014/main" id="{C793D28B-9156-473E-B144-37AC6BD705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51325" y="4440238"/>
              <a:ext cx="106363" cy="107950"/>
            </a:xfrm>
            <a:custGeom>
              <a:avLst/>
              <a:gdLst>
                <a:gd name="T0" fmla="*/ 33 w 67"/>
                <a:gd name="T1" fmla="*/ 13 h 68"/>
                <a:gd name="T2" fmla="*/ 26 w 67"/>
                <a:gd name="T3" fmla="*/ 14 h 68"/>
                <a:gd name="T4" fmla="*/ 18 w 67"/>
                <a:gd name="T5" fmla="*/ 19 h 68"/>
                <a:gd name="T6" fmla="*/ 14 w 67"/>
                <a:gd name="T7" fmla="*/ 26 h 68"/>
                <a:gd name="T8" fmla="*/ 12 w 67"/>
                <a:gd name="T9" fmla="*/ 34 h 68"/>
                <a:gd name="T10" fmla="*/ 13 w 67"/>
                <a:gd name="T11" fmla="*/ 39 h 68"/>
                <a:gd name="T12" fmla="*/ 16 w 67"/>
                <a:gd name="T13" fmla="*/ 46 h 68"/>
                <a:gd name="T14" fmla="*/ 21 w 67"/>
                <a:gd name="T15" fmla="*/ 51 h 68"/>
                <a:gd name="T16" fmla="*/ 29 w 67"/>
                <a:gd name="T17" fmla="*/ 55 h 68"/>
                <a:gd name="T18" fmla="*/ 33 w 67"/>
                <a:gd name="T19" fmla="*/ 56 h 68"/>
                <a:gd name="T20" fmla="*/ 42 w 67"/>
                <a:gd name="T21" fmla="*/ 54 h 68"/>
                <a:gd name="T22" fmla="*/ 48 w 67"/>
                <a:gd name="T23" fmla="*/ 49 h 68"/>
                <a:gd name="T24" fmla="*/ 54 w 67"/>
                <a:gd name="T25" fmla="*/ 43 h 68"/>
                <a:gd name="T26" fmla="*/ 55 w 67"/>
                <a:gd name="T27" fmla="*/ 34 h 68"/>
                <a:gd name="T28" fmla="*/ 55 w 67"/>
                <a:gd name="T29" fmla="*/ 30 h 68"/>
                <a:gd name="T30" fmla="*/ 51 w 67"/>
                <a:gd name="T31" fmla="*/ 23 h 68"/>
                <a:gd name="T32" fmla="*/ 45 w 67"/>
                <a:gd name="T33" fmla="*/ 16 h 68"/>
                <a:gd name="T34" fmla="*/ 37 w 67"/>
                <a:gd name="T35" fmla="*/ 13 h 68"/>
                <a:gd name="T36" fmla="*/ 33 w 67"/>
                <a:gd name="T37" fmla="*/ 68 h 68"/>
                <a:gd name="T38" fmla="*/ 27 w 67"/>
                <a:gd name="T39" fmla="*/ 68 h 68"/>
                <a:gd name="T40" fmla="*/ 15 w 67"/>
                <a:gd name="T41" fmla="*/ 62 h 68"/>
                <a:gd name="T42" fmla="*/ 5 w 67"/>
                <a:gd name="T43" fmla="*/ 53 h 68"/>
                <a:gd name="T44" fmla="*/ 0 w 67"/>
                <a:gd name="T45" fmla="*/ 41 h 68"/>
                <a:gd name="T46" fmla="*/ 0 w 67"/>
                <a:gd name="T47" fmla="*/ 34 h 68"/>
                <a:gd name="T48" fmla="*/ 2 w 67"/>
                <a:gd name="T49" fmla="*/ 20 h 68"/>
                <a:gd name="T50" fmla="*/ 10 w 67"/>
                <a:gd name="T51" fmla="*/ 10 h 68"/>
                <a:gd name="T52" fmla="*/ 20 w 67"/>
                <a:gd name="T53" fmla="*/ 3 h 68"/>
                <a:gd name="T54" fmla="*/ 33 w 67"/>
                <a:gd name="T55" fmla="*/ 0 h 68"/>
                <a:gd name="T56" fmla="*/ 41 w 67"/>
                <a:gd name="T57" fmla="*/ 1 h 68"/>
                <a:gd name="T58" fmla="*/ 52 w 67"/>
                <a:gd name="T59" fmla="*/ 6 h 68"/>
                <a:gd name="T60" fmla="*/ 62 w 67"/>
                <a:gd name="T61" fmla="*/ 15 h 68"/>
                <a:gd name="T62" fmla="*/ 66 w 67"/>
                <a:gd name="T63" fmla="*/ 27 h 68"/>
                <a:gd name="T64" fmla="*/ 67 w 67"/>
                <a:gd name="T65" fmla="*/ 34 h 68"/>
                <a:gd name="T66" fmla="*/ 64 w 67"/>
                <a:gd name="T67" fmla="*/ 47 h 68"/>
                <a:gd name="T68" fmla="*/ 58 w 67"/>
                <a:gd name="T69" fmla="*/ 58 h 68"/>
                <a:gd name="T70" fmla="*/ 47 w 67"/>
                <a:gd name="T71" fmla="*/ 65 h 68"/>
                <a:gd name="T72" fmla="*/ 33 w 67"/>
                <a:gd name="T7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7" h="68">
                  <a:moveTo>
                    <a:pt x="33" y="13"/>
                  </a:moveTo>
                  <a:lnTo>
                    <a:pt x="33" y="13"/>
                  </a:lnTo>
                  <a:lnTo>
                    <a:pt x="29" y="13"/>
                  </a:lnTo>
                  <a:lnTo>
                    <a:pt x="26" y="14"/>
                  </a:lnTo>
                  <a:lnTo>
                    <a:pt x="21" y="16"/>
                  </a:lnTo>
                  <a:lnTo>
                    <a:pt x="18" y="19"/>
                  </a:lnTo>
                  <a:lnTo>
                    <a:pt x="16" y="23"/>
                  </a:lnTo>
                  <a:lnTo>
                    <a:pt x="14" y="26"/>
                  </a:lnTo>
                  <a:lnTo>
                    <a:pt x="13" y="30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3" y="39"/>
                  </a:lnTo>
                  <a:lnTo>
                    <a:pt x="14" y="43"/>
                  </a:lnTo>
                  <a:lnTo>
                    <a:pt x="16" y="46"/>
                  </a:lnTo>
                  <a:lnTo>
                    <a:pt x="18" y="49"/>
                  </a:lnTo>
                  <a:lnTo>
                    <a:pt x="21" y="51"/>
                  </a:lnTo>
                  <a:lnTo>
                    <a:pt x="26" y="54"/>
                  </a:lnTo>
                  <a:lnTo>
                    <a:pt x="29" y="55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7" y="55"/>
                  </a:lnTo>
                  <a:lnTo>
                    <a:pt x="42" y="54"/>
                  </a:lnTo>
                  <a:lnTo>
                    <a:pt x="45" y="51"/>
                  </a:lnTo>
                  <a:lnTo>
                    <a:pt x="48" y="49"/>
                  </a:lnTo>
                  <a:lnTo>
                    <a:pt x="51" y="46"/>
                  </a:lnTo>
                  <a:lnTo>
                    <a:pt x="54" y="43"/>
                  </a:lnTo>
                  <a:lnTo>
                    <a:pt x="55" y="39"/>
                  </a:lnTo>
                  <a:lnTo>
                    <a:pt x="55" y="34"/>
                  </a:lnTo>
                  <a:lnTo>
                    <a:pt x="55" y="34"/>
                  </a:lnTo>
                  <a:lnTo>
                    <a:pt x="55" y="30"/>
                  </a:lnTo>
                  <a:lnTo>
                    <a:pt x="54" y="26"/>
                  </a:lnTo>
                  <a:lnTo>
                    <a:pt x="51" y="23"/>
                  </a:lnTo>
                  <a:lnTo>
                    <a:pt x="48" y="19"/>
                  </a:lnTo>
                  <a:lnTo>
                    <a:pt x="45" y="16"/>
                  </a:lnTo>
                  <a:lnTo>
                    <a:pt x="42" y="14"/>
                  </a:lnTo>
                  <a:lnTo>
                    <a:pt x="37" y="13"/>
                  </a:lnTo>
                  <a:lnTo>
                    <a:pt x="33" y="13"/>
                  </a:lnTo>
                  <a:close/>
                  <a:moveTo>
                    <a:pt x="33" y="68"/>
                  </a:moveTo>
                  <a:lnTo>
                    <a:pt x="33" y="68"/>
                  </a:lnTo>
                  <a:lnTo>
                    <a:pt x="27" y="68"/>
                  </a:lnTo>
                  <a:lnTo>
                    <a:pt x="20" y="65"/>
                  </a:lnTo>
                  <a:lnTo>
                    <a:pt x="15" y="62"/>
                  </a:lnTo>
                  <a:lnTo>
                    <a:pt x="10" y="58"/>
                  </a:lnTo>
                  <a:lnTo>
                    <a:pt x="5" y="53"/>
                  </a:lnTo>
                  <a:lnTo>
                    <a:pt x="2" y="47"/>
                  </a:lnTo>
                  <a:lnTo>
                    <a:pt x="0" y="41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27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10" y="10"/>
                  </a:lnTo>
                  <a:lnTo>
                    <a:pt x="15" y="6"/>
                  </a:lnTo>
                  <a:lnTo>
                    <a:pt x="20" y="3"/>
                  </a:lnTo>
                  <a:lnTo>
                    <a:pt x="27" y="1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1" y="1"/>
                  </a:lnTo>
                  <a:lnTo>
                    <a:pt x="47" y="3"/>
                  </a:lnTo>
                  <a:lnTo>
                    <a:pt x="52" y="6"/>
                  </a:lnTo>
                  <a:lnTo>
                    <a:pt x="58" y="10"/>
                  </a:lnTo>
                  <a:lnTo>
                    <a:pt x="62" y="15"/>
                  </a:lnTo>
                  <a:lnTo>
                    <a:pt x="64" y="20"/>
                  </a:lnTo>
                  <a:lnTo>
                    <a:pt x="66" y="27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6" y="41"/>
                  </a:lnTo>
                  <a:lnTo>
                    <a:pt x="64" y="47"/>
                  </a:lnTo>
                  <a:lnTo>
                    <a:pt x="62" y="53"/>
                  </a:lnTo>
                  <a:lnTo>
                    <a:pt x="58" y="58"/>
                  </a:lnTo>
                  <a:lnTo>
                    <a:pt x="52" y="62"/>
                  </a:lnTo>
                  <a:lnTo>
                    <a:pt x="47" y="65"/>
                  </a:lnTo>
                  <a:lnTo>
                    <a:pt x="41" y="68"/>
                  </a:lnTo>
                  <a:lnTo>
                    <a:pt x="33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1" name="Freeform 94">
              <a:extLst>
                <a:ext uri="{FF2B5EF4-FFF2-40B4-BE49-F238E27FC236}">
                  <a16:creationId xmlns:a16="http://schemas.microsoft.com/office/drawing/2014/main" id="{8339BC74-C0F2-47CA-AC66-E7E379C303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86200" y="4430713"/>
              <a:ext cx="322263" cy="127000"/>
            </a:xfrm>
            <a:custGeom>
              <a:avLst/>
              <a:gdLst>
                <a:gd name="T0" fmla="*/ 22 w 203"/>
                <a:gd name="T1" fmla="*/ 12 h 80"/>
                <a:gd name="T2" fmla="*/ 16 w 203"/>
                <a:gd name="T3" fmla="*/ 16 h 80"/>
                <a:gd name="T4" fmla="*/ 12 w 203"/>
                <a:gd name="T5" fmla="*/ 22 h 80"/>
                <a:gd name="T6" fmla="*/ 12 w 203"/>
                <a:gd name="T7" fmla="*/ 59 h 80"/>
                <a:gd name="T8" fmla="*/ 16 w 203"/>
                <a:gd name="T9" fmla="*/ 65 h 80"/>
                <a:gd name="T10" fmla="*/ 22 w 203"/>
                <a:gd name="T11" fmla="*/ 68 h 80"/>
                <a:gd name="T12" fmla="*/ 182 w 203"/>
                <a:gd name="T13" fmla="*/ 68 h 80"/>
                <a:gd name="T14" fmla="*/ 188 w 203"/>
                <a:gd name="T15" fmla="*/ 65 h 80"/>
                <a:gd name="T16" fmla="*/ 191 w 203"/>
                <a:gd name="T17" fmla="*/ 59 h 80"/>
                <a:gd name="T18" fmla="*/ 191 w 203"/>
                <a:gd name="T19" fmla="*/ 22 h 80"/>
                <a:gd name="T20" fmla="*/ 188 w 203"/>
                <a:gd name="T21" fmla="*/ 16 h 80"/>
                <a:gd name="T22" fmla="*/ 182 w 203"/>
                <a:gd name="T23" fmla="*/ 12 h 80"/>
                <a:gd name="T24" fmla="*/ 182 w 203"/>
                <a:gd name="T25" fmla="*/ 80 h 80"/>
                <a:gd name="T26" fmla="*/ 22 w 203"/>
                <a:gd name="T27" fmla="*/ 80 h 80"/>
                <a:gd name="T28" fmla="*/ 14 w 203"/>
                <a:gd name="T29" fmla="*/ 79 h 80"/>
                <a:gd name="T30" fmla="*/ 6 w 203"/>
                <a:gd name="T31" fmla="*/ 74 h 80"/>
                <a:gd name="T32" fmla="*/ 2 w 203"/>
                <a:gd name="T33" fmla="*/ 67 h 80"/>
                <a:gd name="T34" fmla="*/ 0 w 203"/>
                <a:gd name="T35" fmla="*/ 59 h 80"/>
                <a:gd name="T36" fmla="*/ 0 w 203"/>
                <a:gd name="T37" fmla="*/ 22 h 80"/>
                <a:gd name="T38" fmla="*/ 2 w 203"/>
                <a:gd name="T39" fmla="*/ 14 h 80"/>
                <a:gd name="T40" fmla="*/ 6 w 203"/>
                <a:gd name="T41" fmla="*/ 6 h 80"/>
                <a:gd name="T42" fmla="*/ 14 w 203"/>
                <a:gd name="T43" fmla="*/ 2 h 80"/>
                <a:gd name="T44" fmla="*/ 22 w 203"/>
                <a:gd name="T45" fmla="*/ 0 h 80"/>
                <a:gd name="T46" fmla="*/ 182 w 203"/>
                <a:gd name="T47" fmla="*/ 0 h 80"/>
                <a:gd name="T48" fmla="*/ 190 w 203"/>
                <a:gd name="T49" fmla="*/ 2 h 80"/>
                <a:gd name="T50" fmla="*/ 197 w 203"/>
                <a:gd name="T51" fmla="*/ 6 h 80"/>
                <a:gd name="T52" fmla="*/ 202 w 203"/>
                <a:gd name="T53" fmla="*/ 14 h 80"/>
                <a:gd name="T54" fmla="*/ 203 w 203"/>
                <a:gd name="T55" fmla="*/ 22 h 80"/>
                <a:gd name="T56" fmla="*/ 203 w 203"/>
                <a:gd name="T57" fmla="*/ 59 h 80"/>
                <a:gd name="T58" fmla="*/ 202 w 203"/>
                <a:gd name="T59" fmla="*/ 67 h 80"/>
                <a:gd name="T60" fmla="*/ 197 w 203"/>
                <a:gd name="T61" fmla="*/ 74 h 80"/>
                <a:gd name="T62" fmla="*/ 190 w 203"/>
                <a:gd name="T63" fmla="*/ 79 h 80"/>
                <a:gd name="T64" fmla="*/ 182 w 203"/>
                <a:gd name="T6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3" h="80">
                  <a:moveTo>
                    <a:pt x="22" y="12"/>
                  </a:moveTo>
                  <a:lnTo>
                    <a:pt x="22" y="12"/>
                  </a:lnTo>
                  <a:lnTo>
                    <a:pt x="19" y="14"/>
                  </a:lnTo>
                  <a:lnTo>
                    <a:pt x="16" y="16"/>
                  </a:lnTo>
                  <a:lnTo>
                    <a:pt x="14" y="18"/>
                  </a:lnTo>
                  <a:lnTo>
                    <a:pt x="12" y="22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4" y="62"/>
                  </a:lnTo>
                  <a:lnTo>
                    <a:pt x="16" y="65"/>
                  </a:lnTo>
                  <a:lnTo>
                    <a:pt x="19" y="67"/>
                  </a:lnTo>
                  <a:lnTo>
                    <a:pt x="22" y="68"/>
                  </a:lnTo>
                  <a:lnTo>
                    <a:pt x="182" y="68"/>
                  </a:lnTo>
                  <a:lnTo>
                    <a:pt x="182" y="68"/>
                  </a:lnTo>
                  <a:lnTo>
                    <a:pt x="185" y="67"/>
                  </a:lnTo>
                  <a:lnTo>
                    <a:pt x="188" y="65"/>
                  </a:lnTo>
                  <a:lnTo>
                    <a:pt x="190" y="62"/>
                  </a:lnTo>
                  <a:lnTo>
                    <a:pt x="191" y="59"/>
                  </a:lnTo>
                  <a:lnTo>
                    <a:pt x="191" y="22"/>
                  </a:lnTo>
                  <a:lnTo>
                    <a:pt x="191" y="22"/>
                  </a:lnTo>
                  <a:lnTo>
                    <a:pt x="190" y="18"/>
                  </a:lnTo>
                  <a:lnTo>
                    <a:pt x="188" y="16"/>
                  </a:lnTo>
                  <a:lnTo>
                    <a:pt x="185" y="14"/>
                  </a:lnTo>
                  <a:lnTo>
                    <a:pt x="182" y="12"/>
                  </a:lnTo>
                  <a:lnTo>
                    <a:pt x="22" y="12"/>
                  </a:lnTo>
                  <a:close/>
                  <a:moveTo>
                    <a:pt x="182" y="80"/>
                  </a:moveTo>
                  <a:lnTo>
                    <a:pt x="22" y="80"/>
                  </a:lnTo>
                  <a:lnTo>
                    <a:pt x="22" y="80"/>
                  </a:lnTo>
                  <a:lnTo>
                    <a:pt x="18" y="80"/>
                  </a:lnTo>
                  <a:lnTo>
                    <a:pt x="14" y="79"/>
                  </a:lnTo>
                  <a:lnTo>
                    <a:pt x="10" y="77"/>
                  </a:lnTo>
                  <a:lnTo>
                    <a:pt x="6" y="74"/>
                  </a:lnTo>
                  <a:lnTo>
                    <a:pt x="4" y="70"/>
                  </a:lnTo>
                  <a:lnTo>
                    <a:pt x="2" y="67"/>
                  </a:lnTo>
                  <a:lnTo>
                    <a:pt x="1" y="63"/>
                  </a:lnTo>
                  <a:lnTo>
                    <a:pt x="0" y="59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1" y="18"/>
                  </a:lnTo>
                  <a:lnTo>
                    <a:pt x="2" y="14"/>
                  </a:lnTo>
                  <a:lnTo>
                    <a:pt x="4" y="9"/>
                  </a:lnTo>
                  <a:lnTo>
                    <a:pt x="6" y="6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8" y="1"/>
                  </a:lnTo>
                  <a:lnTo>
                    <a:pt x="22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6" y="1"/>
                  </a:lnTo>
                  <a:lnTo>
                    <a:pt x="190" y="2"/>
                  </a:lnTo>
                  <a:lnTo>
                    <a:pt x="194" y="4"/>
                  </a:lnTo>
                  <a:lnTo>
                    <a:pt x="197" y="6"/>
                  </a:lnTo>
                  <a:lnTo>
                    <a:pt x="200" y="9"/>
                  </a:lnTo>
                  <a:lnTo>
                    <a:pt x="202" y="14"/>
                  </a:lnTo>
                  <a:lnTo>
                    <a:pt x="203" y="18"/>
                  </a:lnTo>
                  <a:lnTo>
                    <a:pt x="203" y="22"/>
                  </a:lnTo>
                  <a:lnTo>
                    <a:pt x="203" y="59"/>
                  </a:lnTo>
                  <a:lnTo>
                    <a:pt x="203" y="59"/>
                  </a:lnTo>
                  <a:lnTo>
                    <a:pt x="203" y="63"/>
                  </a:lnTo>
                  <a:lnTo>
                    <a:pt x="202" y="67"/>
                  </a:lnTo>
                  <a:lnTo>
                    <a:pt x="200" y="70"/>
                  </a:lnTo>
                  <a:lnTo>
                    <a:pt x="197" y="74"/>
                  </a:lnTo>
                  <a:lnTo>
                    <a:pt x="194" y="77"/>
                  </a:lnTo>
                  <a:lnTo>
                    <a:pt x="190" y="79"/>
                  </a:lnTo>
                  <a:lnTo>
                    <a:pt x="186" y="80"/>
                  </a:lnTo>
                  <a:lnTo>
                    <a:pt x="182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4" name="Freeform 97">
              <a:extLst>
                <a:ext uri="{FF2B5EF4-FFF2-40B4-BE49-F238E27FC236}">
                  <a16:creationId xmlns:a16="http://schemas.microsoft.com/office/drawing/2014/main" id="{1D9F18F8-A97C-4109-9B26-26B4450805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95763" y="4489451"/>
              <a:ext cx="65088" cy="42863"/>
            </a:xfrm>
            <a:custGeom>
              <a:avLst/>
              <a:gdLst>
                <a:gd name="T0" fmla="*/ 5 w 41"/>
                <a:gd name="T1" fmla="*/ 27 h 27"/>
                <a:gd name="T2" fmla="*/ 0 w 41"/>
                <a:gd name="T3" fmla="*/ 15 h 27"/>
                <a:gd name="T4" fmla="*/ 36 w 41"/>
                <a:gd name="T5" fmla="*/ 0 h 27"/>
                <a:gd name="T6" fmla="*/ 41 w 41"/>
                <a:gd name="T7" fmla="*/ 12 h 27"/>
                <a:gd name="T8" fmla="*/ 5 w 41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7">
                  <a:moveTo>
                    <a:pt x="5" y="27"/>
                  </a:moveTo>
                  <a:lnTo>
                    <a:pt x="0" y="15"/>
                  </a:lnTo>
                  <a:lnTo>
                    <a:pt x="36" y="0"/>
                  </a:lnTo>
                  <a:lnTo>
                    <a:pt x="41" y="12"/>
                  </a:lnTo>
                  <a:lnTo>
                    <a:pt x="5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5" name="Freeform 98">
              <a:extLst>
                <a:ext uri="{FF2B5EF4-FFF2-40B4-BE49-F238E27FC236}">
                  <a16:creationId xmlns:a16="http://schemas.microsoft.com/office/drawing/2014/main" id="{4AA103A6-E89E-46D5-9915-0AABB9AC7E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95763" y="4456113"/>
              <a:ext cx="65088" cy="39688"/>
            </a:xfrm>
            <a:custGeom>
              <a:avLst/>
              <a:gdLst>
                <a:gd name="T0" fmla="*/ 36 w 41"/>
                <a:gd name="T1" fmla="*/ 25 h 25"/>
                <a:gd name="T2" fmla="*/ 0 w 41"/>
                <a:gd name="T3" fmla="*/ 11 h 25"/>
                <a:gd name="T4" fmla="*/ 5 w 41"/>
                <a:gd name="T5" fmla="*/ 0 h 25"/>
                <a:gd name="T6" fmla="*/ 41 w 41"/>
                <a:gd name="T7" fmla="*/ 14 h 25"/>
                <a:gd name="T8" fmla="*/ 36 w 41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5">
                  <a:moveTo>
                    <a:pt x="36" y="25"/>
                  </a:moveTo>
                  <a:lnTo>
                    <a:pt x="0" y="11"/>
                  </a:lnTo>
                  <a:lnTo>
                    <a:pt x="5" y="0"/>
                  </a:lnTo>
                  <a:lnTo>
                    <a:pt x="41" y="14"/>
                  </a:lnTo>
                  <a:lnTo>
                    <a:pt x="36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04" name="Group 303">
            <a:extLst>
              <a:ext uri="{FF2B5EF4-FFF2-40B4-BE49-F238E27FC236}">
                <a16:creationId xmlns:a16="http://schemas.microsoft.com/office/drawing/2014/main" id="{A9A1C1B9-1992-4938-859F-17E862D36C8D}"/>
              </a:ext>
            </a:extLst>
          </p:cNvPr>
          <p:cNvGrpSpPr/>
          <p:nvPr/>
        </p:nvGrpSpPr>
        <p:grpSpPr>
          <a:xfrm>
            <a:off x="1612892" y="4516779"/>
            <a:ext cx="484124" cy="537731"/>
            <a:chOff x="19708813" y="100013"/>
            <a:chExt cx="458787" cy="509588"/>
          </a:xfrm>
        </p:grpSpPr>
        <p:sp>
          <p:nvSpPr>
            <p:cNvPr id="211" name="Freeform 114">
              <a:extLst>
                <a:ext uri="{FF2B5EF4-FFF2-40B4-BE49-F238E27FC236}">
                  <a16:creationId xmlns:a16="http://schemas.microsoft.com/office/drawing/2014/main" id="{35CE3193-3663-4E8B-8DF3-CC2AE536D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27900" y="169863"/>
              <a:ext cx="41275" cy="123825"/>
            </a:xfrm>
            <a:custGeom>
              <a:avLst/>
              <a:gdLst>
                <a:gd name="T0" fmla="*/ 7 w 26"/>
                <a:gd name="T1" fmla="*/ 78 h 78"/>
                <a:gd name="T2" fmla="*/ 7 w 26"/>
                <a:gd name="T3" fmla="*/ 78 h 78"/>
                <a:gd name="T4" fmla="*/ 4 w 26"/>
                <a:gd name="T5" fmla="*/ 77 h 78"/>
                <a:gd name="T6" fmla="*/ 2 w 26"/>
                <a:gd name="T7" fmla="*/ 76 h 78"/>
                <a:gd name="T8" fmla="*/ 2 w 26"/>
                <a:gd name="T9" fmla="*/ 76 h 78"/>
                <a:gd name="T10" fmla="*/ 0 w 26"/>
                <a:gd name="T11" fmla="*/ 74 h 78"/>
                <a:gd name="T12" fmla="*/ 0 w 26"/>
                <a:gd name="T13" fmla="*/ 71 h 78"/>
                <a:gd name="T14" fmla="*/ 0 w 26"/>
                <a:gd name="T15" fmla="*/ 69 h 78"/>
                <a:gd name="T16" fmla="*/ 2 w 26"/>
                <a:gd name="T17" fmla="*/ 67 h 78"/>
                <a:gd name="T18" fmla="*/ 2 w 26"/>
                <a:gd name="T19" fmla="*/ 67 h 78"/>
                <a:gd name="T20" fmla="*/ 8 w 26"/>
                <a:gd name="T21" fmla="*/ 61 h 78"/>
                <a:gd name="T22" fmla="*/ 11 w 26"/>
                <a:gd name="T23" fmla="*/ 53 h 78"/>
                <a:gd name="T24" fmla="*/ 13 w 26"/>
                <a:gd name="T25" fmla="*/ 46 h 78"/>
                <a:gd name="T26" fmla="*/ 14 w 26"/>
                <a:gd name="T27" fmla="*/ 38 h 78"/>
                <a:gd name="T28" fmla="*/ 13 w 26"/>
                <a:gd name="T29" fmla="*/ 31 h 78"/>
                <a:gd name="T30" fmla="*/ 11 w 26"/>
                <a:gd name="T31" fmla="*/ 23 h 78"/>
                <a:gd name="T32" fmla="*/ 8 w 26"/>
                <a:gd name="T33" fmla="*/ 17 h 78"/>
                <a:gd name="T34" fmla="*/ 2 w 26"/>
                <a:gd name="T35" fmla="*/ 10 h 78"/>
                <a:gd name="T36" fmla="*/ 2 w 26"/>
                <a:gd name="T37" fmla="*/ 10 h 78"/>
                <a:gd name="T38" fmla="*/ 0 w 26"/>
                <a:gd name="T39" fmla="*/ 8 h 78"/>
                <a:gd name="T40" fmla="*/ 0 w 26"/>
                <a:gd name="T41" fmla="*/ 6 h 78"/>
                <a:gd name="T42" fmla="*/ 0 w 26"/>
                <a:gd name="T43" fmla="*/ 3 h 78"/>
                <a:gd name="T44" fmla="*/ 2 w 26"/>
                <a:gd name="T45" fmla="*/ 2 h 78"/>
                <a:gd name="T46" fmla="*/ 2 w 26"/>
                <a:gd name="T47" fmla="*/ 2 h 78"/>
                <a:gd name="T48" fmla="*/ 4 w 26"/>
                <a:gd name="T49" fmla="*/ 0 h 78"/>
                <a:gd name="T50" fmla="*/ 7 w 26"/>
                <a:gd name="T51" fmla="*/ 0 h 78"/>
                <a:gd name="T52" fmla="*/ 9 w 26"/>
                <a:gd name="T53" fmla="*/ 0 h 78"/>
                <a:gd name="T54" fmla="*/ 11 w 26"/>
                <a:gd name="T55" fmla="*/ 2 h 78"/>
                <a:gd name="T56" fmla="*/ 11 w 26"/>
                <a:gd name="T57" fmla="*/ 2 h 78"/>
                <a:gd name="T58" fmla="*/ 17 w 26"/>
                <a:gd name="T59" fmla="*/ 9 h 78"/>
                <a:gd name="T60" fmla="*/ 23 w 26"/>
                <a:gd name="T61" fmla="*/ 19 h 78"/>
                <a:gd name="T62" fmla="*/ 26 w 26"/>
                <a:gd name="T63" fmla="*/ 29 h 78"/>
                <a:gd name="T64" fmla="*/ 26 w 26"/>
                <a:gd name="T65" fmla="*/ 38 h 78"/>
                <a:gd name="T66" fmla="*/ 26 w 26"/>
                <a:gd name="T67" fmla="*/ 49 h 78"/>
                <a:gd name="T68" fmla="*/ 23 w 26"/>
                <a:gd name="T69" fmla="*/ 59 h 78"/>
                <a:gd name="T70" fmla="*/ 17 w 26"/>
                <a:gd name="T71" fmla="*/ 67 h 78"/>
                <a:gd name="T72" fmla="*/ 11 w 26"/>
                <a:gd name="T73" fmla="*/ 76 h 78"/>
                <a:gd name="T74" fmla="*/ 11 w 26"/>
                <a:gd name="T75" fmla="*/ 76 h 78"/>
                <a:gd name="T76" fmla="*/ 9 w 26"/>
                <a:gd name="T77" fmla="*/ 77 h 78"/>
                <a:gd name="T78" fmla="*/ 7 w 26"/>
                <a:gd name="T7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" h="78">
                  <a:moveTo>
                    <a:pt x="7" y="78"/>
                  </a:moveTo>
                  <a:lnTo>
                    <a:pt x="7" y="78"/>
                  </a:lnTo>
                  <a:lnTo>
                    <a:pt x="4" y="77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0" y="74"/>
                  </a:lnTo>
                  <a:lnTo>
                    <a:pt x="0" y="71"/>
                  </a:lnTo>
                  <a:lnTo>
                    <a:pt x="0" y="69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61"/>
                  </a:lnTo>
                  <a:lnTo>
                    <a:pt x="11" y="53"/>
                  </a:lnTo>
                  <a:lnTo>
                    <a:pt x="13" y="46"/>
                  </a:lnTo>
                  <a:lnTo>
                    <a:pt x="14" y="38"/>
                  </a:lnTo>
                  <a:lnTo>
                    <a:pt x="13" y="31"/>
                  </a:lnTo>
                  <a:lnTo>
                    <a:pt x="11" y="23"/>
                  </a:lnTo>
                  <a:lnTo>
                    <a:pt x="8" y="17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7" y="9"/>
                  </a:lnTo>
                  <a:lnTo>
                    <a:pt x="23" y="19"/>
                  </a:lnTo>
                  <a:lnTo>
                    <a:pt x="26" y="29"/>
                  </a:lnTo>
                  <a:lnTo>
                    <a:pt x="26" y="38"/>
                  </a:lnTo>
                  <a:lnTo>
                    <a:pt x="26" y="49"/>
                  </a:lnTo>
                  <a:lnTo>
                    <a:pt x="23" y="59"/>
                  </a:lnTo>
                  <a:lnTo>
                    <a:pt x="17" y="67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9" y="77"/>
                  </a:lnTo>
                  <a:lnTo>
                    <a:pt x="7" y="78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2" name="Freeform 115">
              <a:extLst>
                <a:ext uri="{FF2B5EF4-FFF2-40B4-BE49-F238E27FC236}">
                  <a16:creationId xmlns:a16="http://schemas.microsoft.com/office/drawing/2014/main" id="{0F49103D-BE4E-496B-8E9E-622165828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27900" y="169863"/>
              <a:ext cx="41275" cy="123825"/>
            </a:xfrm>
            <a:custGeom>
              <a:avLst/>
              <a:gdLst>
                <a:gd name="T0" fmla="*/ 7 w 26"/>
                <a:gd name="T1" fmla="*/ 78 h 78"/>
                <a:gd name="T2" fmla="*/ 7 w 26"/>
                <a:gd name="T3" fmla="*/ 78 h 78"/>
                <a:gd name="T4" fmla="*/ 4 w 26"/>
                <a:gd name="T5" fmla="*/ 77 h 78"/>
                <a:gd name="T6" fmla="*/ 2 w 26"/>
                <a:gd name="T7" fmla="*/ 76 h 78"/>
                <a:gd name="T8" fmla="*/ 2 w 26"/>
                <a:gd name="T9" fmla="*/ 76 h 78"/>
                <a:gd name="T10" fmla="*/ 0 w 26"/>
                <a:gd name="T11" fmla="*/ 74 h 78"/>
                <a:gd name="T12" fmla="*/ 0 w 26"/>
                <a:gd name="T13" fmla="*/ 71 h 78"/>
                <a:gd name="T14" fmla="*/ 0 w 26"/>
                <a:gd name="T15" fmla="*/ 69 h 78"/>
                <a:gd name="T16" fmla="*/ 2 w 26"/>
                <a:gd name="T17" fmla="*/ 67 h 78"/>
                <a:gd name="T18" fmla="*/ 2 w 26"/>
                <a:gd name="T19" fmla="*/ 67 h 78"/>
                <a:gd name="T20" fmla="*/ 8 w 26"/>
                <a:gd name="T21" fmla="*/ 61 h 78"/>
                <a:gd name="T22" fmla="*/ 11 w 26"/>
                <a:gd name="T23" fmla="*/ 53 h 78"/>
                <a:gd name="T24" fmla="*/ 13 w 26"/>
                <a:gd name="T25" fmla="*/ 46 h 78"/>
                <a:gd name="T26" fmla="*/ 14 w 26"/>
                <a:gd name="T27" fmla="*/ 38 h 78"/>
                <a:gd name="T28" fmla="*/ 13 w 26"/>
                <a:gd name="T29" fmla="*/ 31 h 78"/>
                <a:gd name="T30" fmla="*/ 11 w 26"/>
                <a:gd name="T31" fmla="*/ 23 h 78"/>
                <a:gd name="T32" fmla="*/ 8 w 26"/>
                <a:gd name="T33" fmla="*/ 17 h 78"/>
                <a:gd name="T34" fmla="*/ 2 w 26"/>
                <a:gd name="T35" fmla="*/ 10 h 78"/>
                <a:gd name="T36" fmla="*/ 2 w 26"/>
                <a:gd name="T37" fmla="*/ 10 h 78"/>
                <a:gd name="T38" fmla="*/ 0 w 26"/>
                <a:gd name="T39" fmla="*/ 8 h 78"/>
                <a:gd name="T40" fmla="*/ 0 w 26"/>
                <a:gd name="T41" fmla="*/ 6 h 78"/>
                <a:gd name="T42" fmla="*/ 0 w 26"/>
                <a:gd name="T43" fmla="*/ 3 h 78"/>
                <a:gd name="T44" fmla="*/ 2 w 26"/>
                <a:gd name="T45" fmla="*/ 2 h 78"/>
                <a:gd name="T46" fmla="*/ 2 w 26"/>
                <a:gd name="T47" fmla="*/ 2 h 78"/>
                <a:gd name="T48" fmla="*/ 4 w 26"/>
                <a:gd name="T49" fmla="*/ 0 h 78"/>
                <a:gd name="T50" fmla="*/ 7 w 26"/>
                <a:gd name="T51" fmla="*/ 0 h 78"/>
                <a:gd name="T52" fmla="*/ 9 w 26"/>
                <a:gd name="T53" fmla="*/ 0 h 78"/>
                <a:gd name="T54" fmla="*/ 11 w 26"/>
                <a:gd name="T55" fmla="*/ 2 h 78"/>
                <a:gd name="T56" fmla="*/ 11 w 26"/>
                <a:gd name="T57" fmla="*/ 2 h 78"/>
                <a:gd name="T58" fmla="*/ 17 w 26"/>
                <a:gd name="T59" fmla="*/ 9 h 78"/>
                <a:gd name="T60" fmla="*/ 23 w 26"/>
                <a:gd name="T61" fmla="*/ 19 h 78"/>
                <a:gd name="T62" fmla="*/ 26 w 26"/>
                <a:gd name="T63" fmla="*/ 29 h 78"/>
                <a:gd name="T64" fmla="*/ 26 w 26"/>
                <a:gd name="T65" fmla="*/ 38 h 78"/>
                <a:gd name="T66" fmla="*/ 26 w 26"/>
                <a:gd name="T67" fmla="*/ 49 h 78"/>
                <a:gd name="T68" fmla="*/ 23 w 26"/>
                <a:gd name="T69" fmla="*/ 59 h 78"/>
                <a:gd name="T70" fmla="*/ 17 w 26"/>
                <a:gd name="T71" fmla="*/ 67 h 78"/>
                <a:gd name="T72" fmla="*/ 11 w 26"/>
                <a:gd name="T73" fmla="*/ 76 h 78"/>
                <a:gd name="T74" fmla="*/ 11 w 26"/>
                <a:gd name="T75" fmla="*/ 76 h 78"/>
                <a:gd name="T76" fmla="*/ 9 w 26"/>
                <a:gd name="T77" fmla="*/ 77 h 78"/>
                <a:gd name="T78" fmla="*/ 7 w 26"/>
                <a:gd name="T7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" h="78">
                  <a:moveTo>
                    <a:pt x="7" y="78"/>
                  </a:moveTo>
                  <a:lnTo>
                    <a:pt x="7" y="78"/>
                  </a:lnTo>
                  <a:lnTo>
                    <a:pt x="4" y="77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0" y="74"/>
                  </a:lnTo>
                  <a:lnTo>
                    <a:pt x="0" y="71"/>
                  </a:lnTo>
                  <a:lnTo>
                    <a:pt x="0" y="69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61"/>
                  </a:lnTo>
                  <a:lnTo>
                    <a:pt x="11" y="53"/>
                  </a:lnTo>
                  <a:lnTo>
                    <a:pt x="13" y="46"/>
                  </a:lnTo>
                  <a:lnTo>
                    <a:pt x="14" y="38"/>
                  </a:lnTo>
                  <a:lnTo>
                    <a:pt x="13" y="31"/>
                  </a:lnTo>
                  <a:lnTo>
                    <a:pt x="11" y="23"/>
                  </a:lnTo>
                  <a:lnTo>
                    <a:pt x="8" y="17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7" y="9"/>
                  </a:lnTo>
                  <a:lnTo>
                    <a:pt x="23" y="19"/>
                  </a:lnTo>
                  <a:lnTo>
                    <a:pt x="26" y="29"/>
                  </a:lnTo>
                  <a:lnTo>
                    <a:pt x="26" y="38"/>
                  </a:lnTo>
                  <a:lnTo>
                    <a:pt x="26" y="49"/>
                  </a:lnTo>
                  <a:lnTo>
                    <a:pt x="23" y="59"/>
                  </a:lnTo>
                  <a:lnTo>
                    <a:pt x="17" y="67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9" y="77"/>
                  </a:lnTo>
                  <a:lnTo>
                    <a:pt x="7" y="7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3" name="Freeform 116">
              <a:extLst>
                <a:ext uri="{FF2B5EF4-FFF2-40B4-BE49-F238E27FC236}">
                  <a16:creationId xmlns:a16="http://schemas.microsoft.com/office/drawing/2014/main" id="{E95E61F2-E3F7-449C-BD76-33170AE7C4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62825" y="133351"/>
              <a:ext cx="55563" cy="193675"/>
            </a:xfrm>
            <a:custGeom>
              <a:avLst/>
              <a:gdLst>
                <a:gd name="T0" fmla="*/ 6 w 35"/>
                <a:gd name="T1" fmla="*/ 122 h 122"/>
                <a:gd name="T2" fmla="*/ 6 w 35"/>
                <a:gd name="T3" fmla="*/ 122 h 122"/>
                <a:gd name="T4" fmla="*/ 4 w 35"/>
                <a:gd name="T5" fmla="*/ 122 h 122"/>
                <a:gd name="T6" fmla="*/ 2 w 35"/>
                <a:gd name="T7" fmla="*/ 120 h 122"/>
                <a:gd name="T8" fmla="*/ 2 w 35"/>
                <a:gd name="T9" fmla="*/ 120 h 122"/>
                <a:gd name="T10" fmla="*/ 1 w 35"/>
                <a:gd name="T11" fmla="*/ 119 h 122"/>
                <a:gd name="T12" fmla="*/ 0 w 35"/>
                <a:gd name="T13" fmla="*/ 116 h 122"/>
                <a:gd name="T14" fmla="*/ 1 w 35"/>
                <a:gd name="T15" fmla="*/ 114 h 122"/>
                <a:gd name="T16" fmla="*/ 2 w 35"/>
                <a:gd name="T17" fmla="*/ 112 h 122"/>
                <a:gd name="T18" fmla="*/ 2 w 35"/>
                <a:gd name="T19" fmla="*/ 112 h 122"/>
                <a:gd name="T20" fmla="*/ 7 w 35"/>
                <a:gd name="T21" fmla="*/ 106 h 122"/>
                <a:gd name="T22" fmla="*/ 11 w 35"/>
                <a:gd name="T23" fmla="*/ 101 h 122"/>
                <a:gd name="T24" fmla="*/ 15 w 35"/>
                <a:gd name="T25" fmla="*/ 94 h 122"/>
                <a:gd name="T26" fmla="*/ 18 w 35"/>
                <a:gd name="T27" fmla="*/ 88 h 122"/>
                <a:gd name="T28" fmla="*/ 20 w 35"/>
                <a:gd name="T29" fmla="*/ 82 h 122"/>
                <a:gd name="T30" fmla="*/ 21 w 35"/>
                <a:gd name="T31" fmla="*/ 75 h 122"/>
                <a:gd name="T32" fmla="*/ 22 w 35"/>
                <a:gd name="T33" fmla="*/ 69 h 122"/>
                <a:gd name="T34" fmla="*/ 23 w 35"/>
                <a:gd name="T35" fmla="*/ 61 h 122"/>
                <a:gd name="T36" fmla="*/ 22 w 35"/>
                <a:gd name="T37" fmla="*/ 55 h 122"/>
                <a:gd name="T38" fmla="*/ 21 w 35"/>
                <a:gd name="T39" fmla="*/ 48 h 122"/>
                <a:gd name="T40" fmla="*/ 20 w 35"/>
                <a:gd name="T41" fmla="*/ 41 h 122"/>
                <a:gd name="T42" fmla="*/ 18 w 35"/>
                <a:gd name="T43" fmla="*/ 34 h 122"/>
                <a:gd name="T44" fmla="*/ 15 w 35"/>
                <a:gd name="T45" fmla="*/ 28 h 122"/>
                <a:gd name="T46" fmla="*/ 11 w 35"/>
                <a:gd name="T47" fmla="*/ 23 h 122"/>
                <a:gd name="T48" fmla="*/ 7 w 35"/>
                <a:gd name="T49" fmla="*/ 16 h 122"/>
                <a:gd name="T50" fmla="*/ 2 w 35"/>
                <a:gd name="T51" fmla="*/ 11 h 122"/>
                <a:gd name="T52" fmla="*/ 2 w 35"/>
                <a:gd name="T53" fmla="*/ 11 h 122"/>
                <a:gd name="T54" fmla="*/ 1 w 35"/>
                <a:gd name="T55" fmla="*/ 9 h 122"/>
                <a:gd name="T56" fmla="*/ 0 w 35"/>
                <a:gd name="T57" fmla="*/ 7 h 122"/>
                <a:gd name="T58" fmla="*/ 1 w 35"/>
                <a:gd name="T59" fmla="*/ 4 h 122"/>
                <a:gd name="T60" fmla="*/ 2 w 35"/>
                <a:gd name="T61" fmla="*/ 2 h 122"/>
                <a:gd name="T62" fmla="*/ 2 w 35"/>
                <a:gd name="T63" fmla="*/ 2 h 122"/>
                <a:gd name="T64" fmla="*/ 4 w 35"/>
                <a:gd name="T65" fmla="*/ 1 h 122"/>
                <a:gd name="T66" fmla="*/ 6 w 35"/>
                <a:gd name="T67" fmla="*/ 0 h 122"/>
                <a:gd name="T68" fmla="*/ 9 w 35"/>
                <a:gd name="T69" fmla="*/ 1 h 122"/>
                <a:gd name="T70" fmla="*/ 10 w 35"/>
                <a:gd name="T71" fmla="*/ 2 h 122"/>
                <a:gd name="T72" fmla="*/ 10 w 35"/>
                <a:gd name="T73" fmla="*/ 2 h 122"/>
                <a:gd name="T74" fmla="*/ 17 w 35"/>
                <a:gd name="T75" fmla="*/ 9 h 122"/>
                <a:gd name="T76" fmla="*/ 21 w 35"/>
                <a:gd name="T77" fmla="*/ 15 h 122"/>
                <a:gd name="T78" fmla="*/ 25 w 35"/>
                <a:gd name="T79" fmla="*/ 23 h 122"/>
                <a:gd name="T80" fmla="*/ 30 w 35"/>
                <a:gd name="T81" fmla="*/ 30 h 122"/>
                <a:gd name="T82" fmla="*/ 32 w 35"/>
                <a:gd name="T83" fmla="*/ 38 h 122"/>
                <a:gd name="T84" fmla="*/ 34 w 35"/>
                <a:gd name="T85" fmla="*/ 45 h 122"/>
                <a:gd name="T86" fmla="*/ 35 w 35"/>
                <a:gd name="T87" fmla="*/ 54 h 122"/>
                <a:gd name="T88" fmla="*/ 35 w 35"/>
                <a:gd name="T89" fmla="*/ 61 h 122"/>
                <a:gd name="T90" fmla="*/ 35 w 35"/>
                <a:gd name="T91" fmla="*/ 70 h 122"/>
                <a:gd name="T92" fmla="*/ 34 w 35"/>
                <a:gd name="T93" fmla="*/ 77 h 122"/>
                <a:gd name="T94" fmla="*/ 32 w 35"/>
                <a:gd name="T95" fmla="*/ 86 h 122"/>
                <a:gd name="T96" fmla="*/ 30 w 35"/>
                <a:gd name="T97" fmla="*/ 93 h 122"/>
                <a:gd name="T98" fmla="*/ 25 w 35"/>
                <a:gd name="T99" fmla="*/ 101 h 122"/>
                <a:gd name="T100" fmla="*/ 21 w 35"/>
                <a:gd name="T101" fmla="*/ 107 h 122"/>
                <a:gd name="T102" fmla="*/ 17 w 35"/>
                <a:gd name="T103" fmla="*/ 115 h 122"/>
                <a:gd name="T104" fmla="*/ 10 w 35"/>
                <a:gd name="T105" fmla="*/ 120 h 122"/>
                <a:gd name="T106" fmla="*/ 10 w 35"/>
                <a:gd name="T107" fmla="*/ 120 h 122"/>
                <a:gd name="T108" fmla="*/ 9 w 35"/>
                <a:gd name="T109" fmla="*/ 122 h 122"/>
                <a:gd name="T110" fmla="*/ 6 w 35"/>
                <a:gd name="T111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" h="122">
                  <a:moveTo>
                    <a:pt x="6" y="122"/>
                  </a:moveTo>
                  <a:lnTo>
                    <a:pt x="6" y="122"/>
                  </a:lnTo>
                  <a:lnTo>
                    <a:pt x="4" y="122"/>
                  </a:lnTo>
                  <a:lnTo>
                    <a:pt x="2" y="120"/>
                  </a:lnTo>
                  <a:lnTo>
                    <a:pt x="2" y="120"/>
                  </a:lnTo>
                  <a:lnTo>
                    <a:pt x="1" y="119"/>
                  </a:lnTo>
                  <a:lnTo>
                    <a:pt x="0" y="116"/>
                  </a:lnTo>
                  <a:lnTo>
                    <a:pt x="1" y="114"/>
                  </a:lnTo>
                  <a:lnTo>
                    <a:pt x="2" y="112"/>
                  </a:lnTo>
                  <a:lnTo>
                    <a:pt x="2" y="112"/>
                  </a:lnTo>
                  <a:lnTo>
                    <a:pt x="7" y="106"/>
                  </a:lnTo>
                  <a:lnTo>
                    <a:pt x="11" y="101"/>
                  </a:lnTo>
                  <a:lnTo>
                    <a:pt x="15" y="94"/>
                  </a:lnTo>
                  <a:lnTo>
                    <a:pt x="18" y="88"/>
                  </a:lnTo>
                  <a:lnTo>
                    <a:pt x="20" y="82"/>
                  </a:lnTo>
                  <a:lnTo>
                    <a:pt x="21" y="75"/>
                  </a:lnTo>
                  <a:lnTo>
                    <a:pt x="22" y="69"/>
                  </a:lnTo>
                  <a:lnTo>
                    <a:pt x="23" y="61"/>
                  </a:lnTo>
                  <a:lnTo>
                    <a:pt x="22" y="55"/>
                  </a:lnTo>
                  <a:lnTo>
                    <a:pt x="21" y="48"/>
                  </a:lnTo>
                  <a:lnTo>
                    <a:pt x="20" y="41"/>
                  </a:lnTo>
                  <a:lnTo>
                    <a:pt x="18" y="34"/>
                  </a:lnTo>
                  <a:lnTo>
                    <a:pt x="15" y="28"/>
                  </a:lnTo>
                  <a:lnTo>
                    <a:pt x="11" y="23"/>
                  </a:lnTo>
                  <a:lnTo>
                    <a:pt x="7" y="16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1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7" y="9"/>
                  </a:lnTo>
                  <a:lnTo>
                    <a:pt x="21" y="15"/>
                  </a:lnTo>
                  <a:lnTo>
                    <a:pt x="25" y="23"/>
                  </a:lnTo>
                  <a:lnTo>
                    <a:pt x="30" y="30"/>
                  </a:lnTo>
                  <a:lnTo>
                    <a:pt x="32" y="38"/>
                  </a:lnTo>
                  <a:lnTo>
                    <a:pt x="34" y="45"/>
                  </a:lnTo>
                  <a:lnTo>
                    <a:pt x="35" y="54"/>
                  </a:lnTo>
                  <a:lnTo>
                    <a:pt x="35" y="61"/>
                  </a:lnTo>
                  <a:lnTo>
                    <a:pt x="35" y="70"/>
                  </a:lnTo>
                  <a:lnTo>
                    <a:pt x="34" y="77"/>
                  </a:lnTo>
                  <a:lnTo>
                    <a:pt x="32" y="86"/>
                  </a:lnTo>
                  <a:lnTo>
                    <a:pt x="30" y="93"/>
                  </a:lnTo>
                  <a:lnTo>
                    <a:pt x="25" y="101"/>
                  </a:lnTo>
                  <a:lnTo>
                    <a:pt x="21" y="107"/>
                  </a:lnTo>
                  <a:lnTo>
                    <a:pt x="17" y="115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9" y="122"/>
                  </a:lnTo>
                  <a:lnTo>
                    <a:pt x="6" y="122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4" name="Freeform 117">
              <a:extLst>
                <a:ext uri="{FF2B5EF4-FFF2-40B4-BE49-F238E27FC236}">
                  <a16:creationId xmlns:a16="http://schemas.microsoft.com/office/drawing/2014/main" id="{948CEF92-0E80-4C36-8057-CF83B67FDA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62825" y="133351"/>
              <a:ext cx="55563" cy="193675"/>
            </a:xfrm>
            <a:custGeom>
              <a:avLst/>
              <a:gdLst>
                <a:gd name="T0" fmla="*/ 6 w 35"/>
                <a:gd name="T1" fmla="*/ 122 h 122"/>
                <a:gd name="T2" fmla="*/ 6 w 35"/>
                <a:gd name="T3" fmla="*/ 122 h 122"/>
                <a:gd name="T4" fmla="*/ 4 w 35"/>
                <a:gd name="T5" fmla="*/ 122 h 122"/>
                <a:gd name="T6" fmla="*/ 2 w 35"/>
                <a:gd name="T7" fmla="*/ 120 h 122"/>
                <a:gd name="T8" fmla="*/ 2 w 35"/>
                <a:gd name="T9" fmla="*/ 120 h 122"/>
                <a:gd name="T10" fmla="*/ 1 w 35"/>
                <a:gd name="T11" fmla="*/ 119 h 122"/>
                <a:gd name="T12" fmla="*/ 0 w 35"/>
                <a:gd name="T13" fmla="*/ 116 h 122"/>
                <a:gd name="T14" fmla="*/ 1 w 35"/>
                <a:gd name="T15" fmla="*/ 114 h 122"/>
                <a:gd name="T16" fmla="*/ 2 w 35"/>
                <a:gd name="T17" fmla="*/ 112 h 122"/>
                <a:gd name="T18" fmla="*/ 2 w 35"/>
                <a:gd name="T19" fmla="*/ 112 h 122"/>
                <a:gd name="T20" fmla="*/ 7 w 35"/>
                <a:gd name="T21" fmla="*/ 106 h 122"/>
                <a:gd name="T22" fmla="*/ 11 w 35"/>
                <a:gd name="T23" fmla="*/ 101 h 122"/>
                <a:gd name="T24" fmla="*/ 15 w 35"/>
                <a:gd name="T25" fmla="*/ 94 h 122"/>
                <a:gd name="T26" fmla="*/ 18 w 35"/>
                <a:gd name="T27" fmla="*/ 88 h 122"/>
                <a:gd name="T28" fmla="*/ 20 w 35"/>
                <a:gd name="T29" fmla="*/ 82 h 122"/>
                <a:gd name="T30" fmla="*/ 21 w 35"/>
                <a:gd name="T31" fmla="*/ 75 h 122"/>
                <a:gd name="T32" fmla="*/ 22 w 35"/>
                <a:gd name="T33" fmla="*/ 69 h 122"/>
                <a:gd name="T34" fmla="*/ 23 w 35"/>
                <a:gd name="T35" fmla="*/ 61 h 122"/>
                <a:gd name="T36" fmla="*/ 22 w 35"/>
                <a:gd name="T37" fmla="*/ 55 h 122"/>
                <a:gd name="T38" fmla="*/ 21 w 35"/>
                <a:gd name="T39" fmla="*/ 48 h 122"/>
                <a:gd name="T40" fmla="*/ 20 w 35"/>
                <a:gd name="T41" fmla="*/ 41 h 122"/>
                <a:gd name="T42" fmla="*/ 18 w 35"/>
                <a:gd name="T43" fmla="*/ 34 h 122"/>
                <a:gd name="T44" fmla="*/ 15 w 35"/>
                <a:gd name="T45" fmla="*/ 28 h 122"/>
                <a:gd name="T46" fmla="*/ 11 w 35"/>
                <a:gd name="T47" fmla="*/ 23 h 122"/>
                <a:gd name="T48" fmla="*/ 7 w 35"/>
                <a:gd name="T49" fmla="*/ 16 h 122"/>
                <a:gd name="T50" fmla="*/ 2 w 35"/>
                <a:gd name="T51" fmla="*/ 11 h 122"/>
                <a:gd name="T52" fmla="*/ 2 w 35"/>
                <a:gd name="T53" fmla="*/ 11 h 122"/>
                <a:gd name="T54" fmla="*/ 1 w 35"/>
                <a:gd name="T55" fmla="*/ 9 h 122"/>
                <a:gd name="T56" fmla="*/ 0 w 35"/>
                <a:gd name="T57" fmla="*/ 7 h 122"/>
                <a:gd name="T58" fmla="*/ 1 w 35"/>
                <a:gd name="T59" fmla="*/ 4 h 122"/>
                <a:gd name="T60" fmla="*/ 2 w 35"/>
                <a:gd name="T61" fmla="*/ 2 h 122"/>
                <a:gd name="T62" fmla="*/ 2 w 35"/>
                <a:gd name="T63" fmla="*/ 2 h 122"/>
                <a:gd name="T64" fmla="*/ 4 w 35"/>
                <a:gd name="T65" fmla="*/ 1 h 122"/>
                <a:gd name="T66" fmla="*/ 6 w 35"/>
                <a:gd name="T67" fmla="*/ 0 h 122"/>
                <a:gd name="T68" fmla="*/ 9 w 35"/>
                <a:gd name="T69" fmla="*/ 1 h 122"/>
                <a:gd name="T70" fmla="*/ 10 w 35"/>
                <a:gd name="T71" fmla="*/ 2 h 122"/>
                <a:gd name="T72" fmla="*/ 10 w 35"/>
                <a:gd name="T73" fmla="*/ 2 h 122"/>
                <a:gd name="T74" fmla="*/ 17 w 35"/>
                <a:gd name="T75" fmla="*/ 9 h 122"/>
                <a:gd name="T76" fmla="*/ 21 w 35"/>
                <a:gd name="T77" fmla="*/ 15 h 122"/>
                <a:gd name="T78" fmla="*/ 25 w 35"/>
                <a:gd name="T79" fmla="*/ 23 h 122"/>
                <a:gd name="T80" fmla="*/ 30 w 35"/>
                <a:gd name="T81" fmla="*/ 30 h 122"/>
                <a:gd name="T82" fmla="*/ 32 w 35"/>
                <a:gd name="T83" fmla="*/ 38 h 122"/>
                <a:gd name="T84" fmla="*/ 34 w 35"/>
                <a:gd name="T85" fmla="*/ 45 h 122"/>
                <a:gd name="T86" fmla="*/ 35 w 35"/>
                <a:gd name="T87" fmla="*/ 54 h 122"/>
                <a:gd name="T88" fmla="*/ 35 w 35"/>
                <a:gd name="T89" fmla="*/ 61 h 122"/>
                <a:gd name="T90" fmla="*/ 35 w 35"/>
                <a:gd name="T91" fmla="*/ 70 h 122"/>
                <a:gd name="T92" fmla="*/ 34 w 35"/>
                <a:gd name="T93" fmla="*/ 77 h 122"/>
                <a:gd name="T94" fmla="*/ 32 w 35"/>
                <a:gd name="T95" fmla="*/ 86 h 122"/>
                <a:gd name="T96" fmla="*/ 30 w 35"/>
                <a:gd name="T97" fmla="*/ 93 h 122"/>
                <a:gd name="T98" fmla="*/ 25 w 35"/>
                <a:gd name="T99" fmla="*/ 101 h 122"/>
                <a:gd name="T100" fmla="*/ 21 w 35"/>
                <a:gd name="T101" fmla="*/ 107 h 122"/>
                <a:gd name="T102" fmla="*/ 17 w 35"/>
                <a:gd name="T103" fmla="*/ 115 h 122"/>
                <a:gd name="T104" fmla="*/ 10 w 35"/>
                <a:gd name="T105" fmla="*/ 120 h 122"/>
                <a:gd name="T106" fmla="*/ 10 w 35"/>
                <a:gd name="T107" fmla="*/ 120 h 122"/>
                <a:gd name="T108" fmla="*/ 9 w 35"/>
                <a:gd name="T109" fmla="*/ 122 h 122"/>
                <a:gd name="T110" fmla="*/ 6 w 35"/>
                <a:gd name="T111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" h="122">
                  <a:moveTo>
                    <a:pt x="6" y="122"/>
                  </a:moveTo>
                  <a:lnTo>
                    <a:pt x="6" y="122"/>
                  </a:lnTo>
                  <a:lnTo>
                    <a:pt x="4" y="122"/>
                  </a:lnTo>
                  <a:lnTo>
                    <a:pt x="2" y="120"/>
                  </a:lnTo>
                  <a:lnTo>
                    <a:pt x="2" y="120"/>
                  </a:lnTo>
                  <a:lnTo>
                    <a:pt x="1" y="119"/>
                  </a:lnTo>
                  <a:lnTo>
                    <a:pt x="0" y="116"/>
                  </a:lnTo>
                  <a:lnTo>
                    <a:pt x="1" y="114"/>
                  </a:lnTo>
                  <a:lnTo>
                    <a:pt x="2" y="112"/>
                  </a:lnTo>
                  <a:lnTo>
                    <a:pt x="2" y="112"/>
                  </a:lnTo>
                  <a:lnTo>
                    <a:pt x="7" y="106"/>
                  </a:lnTo>
                  <a:lnTo>
                    <a:pt x="11" y="101"/>
                  </a:lnTo>
                  <a:lnTo>
                    <a:pt x="15" y="94"/>
                  </a:lnTo>
                  <a:lnTo>
                    <a:pt x="18" y="88"/>
                  </a:lnTo>
                  <a:lnTo>
                    <a:pt x="20" y="82"/>
                  </a:lnTo>
                  <a:lnTo>
                    <a:pt x="21" y="75"/>
                  </a:lnTo>
                  <a:lnTo>
                    <a:pt x="22" y="69"/>
                  </a:lnTo>
                  <a:lnTo>
                    <a:pt x="23" y="61"/>
                  </a:lnTo>
                  <a:lnTo>
                    <a:pt x="22" y="55"/>
                  </a:lnTo>
                  <a:lnTo>
                    <a:pt x="21" y="48"/>
                  </a:lnTo>
                  <a:lnTo>
                    <a:pt x="20" y="41"/>
                  </a:lnTo>
                  <a:lnTo>
                    <a:pt x="18" y="34"/>
                  </a:lnTo>
                  <a:lnTo>
                    <a:pt x="15" y="28"/>
                  </a:lnTo>
                  <a:lnTo>
                    <a:pt x="11" y="23"/>
                  </a:lnTo>
                  <a:lnTo>
                    <a:pt x="7" y="16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1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7" y="9"/>
                  </a:lnTo>
                  <a:lnTo>
                    <a:pt x="21" y="15"/>
                  </a:lnTo>
                  <a:lnTo>
                    <a:pt x="25" y="23"/>
                  </a:lnTo>
                  <a:lnTo>
                    <a:pt x="30" y="30"/>
                  </a:lnTo>
                  <a:lnTo>
                    <a:pt x="32" y="38"/>
                  </a:lnTo>
                  <a:lnTo>
                    <a:pt x="34" y="45"/>
                  </a:lnTo>
                  <a:lnTo>
                    <a:pt x="35" y="54"/>
                  </a:lnTo>
                  <a:lnTo>
                    <a:pt x="35" y="61"/>
                  </a:lnTo>
                  <a:lnTo>
                    <a:pt x="35" y="70"/>
                  </a:lnTo>
                  <a:lnTo>
                    <a:pt x="34" y="77"/>
                  </a:lnTo>
                  <a:lnTo>
                    <a:pt x="32" y="86"/>
                  </a:lnTo>
                  <a:lnTo>
                    <a:pt x="30" y="93"/>
                  </a:lnTo>
                  <a:lnTo>
                    <a:pt x="25" y="101"/>
                  </a:lnTo>
                  <a:lnTo>
                    <a:pt x="21" y="107"/>
                  </a:lnTo>
                  <a:lnTo>
                    <a:pt x="17" y="115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9" y="122"/>
                  </a:lnTo>
                  <a:lnTo>
                    <a:pt x="6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5" name="Freeform 118">
              <a:extLst>
                <a:ext uri="{FF2B5EF4-FFF2-40B4-BE49-F238E27FC236}">
                  <a16:creationId xmlns:a16="http://schemas.microsoft.com/office/drawing/2014/main" id="{07538BDB-8B1F-479A-B49F-DC33FF0F7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97750" y="100013"/>
              <a:ext cx="69850" cy="263525"/>
            </a:xfrm>
            <a:custGeom>
              <a:avLst/>
              <a:gdLst>
                <a:gd name="T0" fmla="*/ 7 w 44"/>
                <a:gd name="T1" fmla="*/ 166 h 166"/>
                <a:gd name="T2" fmla="*/ 7 w 44"/>
                <a:gd name="T3" fmla="*/ 166 h 166"/>
                <a:gd name="T4" fmla="*/ 4 w 44"/>
                <a:gd name="T5" fmla="*/ 165 h 166"/>
                <a:gd name="T6" fmla="*/ 2 w 44"/>
                <a:gd name="T7" fmla="*/ 164 h 166"/>
                <a:gd name="T8" fmla="*/ 2 w 44"/>
                <a:gd name="T9" fmla="*/ 164 h 166"/>
                <a:gd name="T10" fmla="*/ 0 w 44"/>
                <a:gd name="T11" fmla="*/ 162 h 166"/>
                <a:gd name="T12" fmla="*/ 0 w 44"/>
                <a:gd name="T13" fmla="*/ 159 h 166"/>
                <a:gd name="T14" fmla="*/ 0 w 44"/>
                <a:gd name="T15" fmla="*/ 157 h 166"/>
                <a:gd name="T16" fmla="*/ 2 w 44"/>
                <a:gd name="T17" fmla="*/ 155 h 166"/>
                <a:gd name="T18" fmla="*/ 2 w 44"/>
                <a:gd name="T19" fmla="*/ 155 h 166"/>
                <a:gd name="T20" fmla="*/ 9 w 44"/>
                <a:gd name="T21" fmla="*/ 148 h 166"/>
                <a:gd name="T22" fmla="*/ 15 w 44"/>
                <a:gd name="T23" fmla="*/ 139 h 166"/>
                <a:gd name="T24" fmla="*/ 19 w 44"/>
                <a:gd name="T25" fmla="*/ 130 h 166"/>
                <a:gd name="T26" fmla="*/ 24 w 44"/>
                <a:gd name="T27" fmla="*/ 122 h 166"/>
                <a:gd name="T28" fmla="*/ 27 w 44"/>
                <a:gd name="T29" fmla="*/ 112 h 166"/>
                <a:gd name="T30" fmla="*/ 30 w 44"/>
                <a:gd name="T31" fmla="*/ 103 h 166"/>
                <a:gd name="T32" fmla="*/ 31 w 44"/>
                <a:gd name="T33" fmla="*/ 93 h 166"/>
                <a:gd name="T34" fmla="*/ 31 w 44"/>
                <a:gd name="T35" fmla="*/ 82 h 166"/>
                <a:gd name="T36" fmla="*/ 31 w 44"/>
                <a:gd name="T37" fmla="*/ 82 h 166"/>
                <a:gd name="T38" fmla="*/ 31 w 44"/>
                <a:gd name="T39" fmla="*/ 73 h 166"/>
                <a:gd name="T40" fmla="*/ 30 w 44"/>
                <a:gd name="T41" fmla="*/ 63 h 166"/>
                <a:gd name="T42" fmla="*/ 27 w 44"/>
                <a:gd name="T43" fmla="*/ 53 h 166"/>
                <a:gd name="T44" fmla="*/ 24 w 44"/>
                <a:gd name="T45" fmla="*/ 44 h 166"/>
                <a:gd name="T46" fmla="*/ 19 w 44"/>
                <a:gd name="T47" fmla="*/ 34 h 166"/>
                <a:gd name="T48" fmla="*/ 15 w 44"/>
                <a:gd name="T49" fmla="*/ 25 h 166"/>
                <a:gd name="T50" fmla="*/ 9 w 44"/>
                <a:gd name="T51" fmla="*/ 18 h 166"/>
                <a:gd name="T52" fmla="*/ 2 w 44"/>
                <a:gd name="T53" fmla="*/ 10 h 166"/>
                <a:gd name="T54" fmla="*/ 2 w 44"/>
                <a:gd name="T55" fmla="*/ 10 h 166"/>
                <a:gd name="T56" fmla="*/ 0 w 44"/>
                <a:gd name="T57" fmla="*/ 8 h 166"/>
                <a:gd name="T58" fmla="*/ 0 w 44"/>
                <a:gd name="T59" fmla="*/ 6 h 166"/>
                <a:gd name="T60" fmla="*/ 0 w 44"/>
                <a:gd name="T61" fmla="*/ 4 h 166"/>
                <a:gd name="T62" fmla="*/ 2 w 44"/>
                <a:gd name="T63" fmla="*/ 2 h 166"/>
                <a:gd name="T64" fmla="*/ 2 w 44"/>
                <a:gd name="T65" fmla="*/ 2 h 166"/>
                <a:gd name="T66" fmla="*/ 4 w 44"/>
                <a:gd name="T67" fmla="*/ 0 h 166"/>
                <a:gd name="T68" fmla="*/ 7 w 44"/>
                <a:gd name="T69" fmla="*/ 0 h 166"/>
                <a:gd name="T70" fmla="*/ 9 w 44"/>
                <a:gd name="T71" fmla="*/ 0 h 166"/>
                <a:gd name="T72" fmla="*/ 11 w 44"/>
                <a:gd name="T73" fmla="*/ 2 h 166"/>
                <a:gd name="T74" fmla="*/ 11 w 44"/>
                <a:gd name="T75" fmla="*/ 2 h 166"/>
                <a:gd name="T76" fmla="*/ 18 w 44"/>
                <a:gd name="T77" fmla="*/ 10 h 166"/>
                <a:gd name="T78" fmla="*/ 25 w 44"/>
                <a:gd name="T79" fmla="*/ 19 h 166"/>
                <a:gd name="T80" fmla="*/ 31 w 44"/>
                <a:gd name="T81" fmla="*/ 29 h 166"/>
                <a:gd name="T82" fmla="*/ 35 w 44"/>
                <a:gd name="T83" fmla="*/ 38 h 166"/>
                <a:gd name="T84" fmla="*/ 40 w 44"/>
                <a:gd name="T85" fmla="*/ 49 h 166"/>
                <a:gd name="T86" fmla="*/ 42 w 44"/>
                <a:gd name="T87" fmla="*/ 60 h 166"/>
                <a:gd name="T88" fmla="*/ 44 w 44"/>
                <a:gd name="T89" fmla="*/ 72 h 166"/>
                <a:gd name="T90" fmla="*/ 44 w 44"/>
                <a:gd name="T91" fmla="*/ 82 h 166"/>
                <a:gd name="T92" fmla="*/ 44 w 44"/>
                <a:gd name="T93" fmla="*/ 82 h 166"/>
                <a:gd name="T94" fmla="*/ 44 w 44"/>
                <a:gd name="T95" fmla="*/ 94 h 166"/>
                <a:gd name="T96" fmla="*/ 42 w 44"/>
                <a:gd name="T97" fmla="*/ 105 h 166"/>
                <a:gd name="T98" fmla="*/ 40 w 44"/>
                <a:gd name="T99" fmla="*/ 115 h 166"/>
                <a:gd name="T100" fmla="*/ 35 w 44"/>
                <a:gd name="T101" fmla="*/ 126 h 166"/>
                <a:gd name="T102" fmla="*/ 31 w 44"/>
                <a:gd name="T103" fmla="*/ 137 h 166"/>
                <a:gd name="T104" fmla="*/ 25 w 44"/>
                <a:gd name="T105" fmla="*/ 147 h 166"/>
                <a:gd name="T106" fmla="*/ 18 w 44"/>
                <a:gd name="T107" fmla="*/ 155 h 166"/>
                <a:gd name="T108" fmla="*/ 11 w 44"/>
                <a:gd name="T109" fmla="*/ 164 h 166"/>
                <a:gd name="T110" fmla="*/ 11 w 44"/>
                <a:gd name="T111" fmla="*/ 164 h 166"/>
                <a:gd name="T112" fmla="*/ 9 w 44"/>
                <a:gd name="T113" fmla="*/ 165 h 166"/>
                <a:gd name="T114" fmla="*/ 7 w 44"/>
                <a:gd name="T115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4" h="166">
                  <a:moveTo>
                    <a:pt x="7" y="166"/>
                  </a:moveTo>
                  <a:lnTo>
                    <a:pt x="7" y="166"/>
                  </a:lnTo>
                  <a:lnTo>
                    <a:pt x="4" y="165"/>
                  </a:lnTo>
                  <a:lnTo>
                    <a:pt x="2" y="164"/>
                  </a:lnTo>
                  <a:lnTo>
                    <a:pt x="2" y="164"/>
                  </a:lnTo>
                  <a:lnTo>
                    <a:pt x="0" y="162"/>
                  </a:lnTo>
                  <a:lnTo>
                    <a:pt x="0" y="159"/>
                  </a:lnTo>
                  <a:lnTo>
                    <a:pt x="0" y="157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9" y="148"/>
                  </a:lnTo>
                  <a:lnTo>
                    <a:pt x="15" y="139"/>
                  </a:lnTo>
                  <a:lnTo>
                    <a:pt x="19" y="130"/>
                  </a:lnTo>
                  <a:lnTo>
                    <a:pt x="24" y="122"/>
                  </a:lnTo>
                  <a:lnTo>
                    <a:pt x="27" y="112"/>
                  </a:lnTo>
                  <a:lnTo>
                    <a:pt x="30" y="103"/>
                  </a:lnTo>
                  <a:lnTo>
                    <a:pt x="31" y="93"/>
                  </a:lnTo>
                  <a:lnTo>
                    <a:pt x="31" y="82"/>
                  </a:lnTo>
                  <a:lnTo>
                    <a:pt x="31" y="82"/>
                  </a:lnTo>
                  <a:lnTo>
                    <a:pt x="31" y="73"/>
                  </a:lnTo>
                  <a:lnTo>
                    <a:pt x="30" y="63"/>
                  </a:lnTo>
                  <a:lnTo>
                    <a:pt x="27" y="53"/>
                  </a:lnTo>
                  <a:lnTo>
                    <a:pt x="24" y="44"/>
                  </a:lnTo>
                  <a:lnTo>
                    <a:pt x="19" y="34"/>
                  </a:lnTo>
                  <a:lnTo>
                    <a:pt x="15" y="25"/>
                  </a:lnTo>
                  <a:lnTo>
                    <a:pt x="9" y="18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8" y="10"/>
                  </a:lnTo>
                  <a:lnTo>
                    <a:pt x="25" y="19"/>
                  </a:lnTo>
                  <a:lnTo>
                    <a:pt x="31" y="29"/>
                  </a:lnTo>
                  <a:lnTo>
                    <a:pt x="35" y="38"/>
                  </a:lnTo>
                  <a:lnTo>
                    <a:pt x="40" y="49"/>
                  </a:lnTo>
                  <a:lnTo>
                    <a:pt x="42" y="60"/>
                  </a:lnTo>
                  <a:lnTo>
                    <a:pt x="44" y="72"/>
                  </a:lnTo>
                  <a:lnTo>
                    <a:pt x="44" y="82"/>
                  </a:lnTo>
                  <a:lnTo>
                    <a:pt x="44" y="82"/>
                  </a:lnTo>
                  <a:lnTo>
                    <a:pt x="44" y="94"/>
                  </a:lnTo>
                  <a:lnTo>
                    <a:pt x="42" y="105"/>
                  </a:lnTo>
                  <a:lnTo>
                    <a:pt x="40" y="115"/>
                  </a:lnTo>
                  <a:lnTo>
                    <a:pt x="35" y="126"/>
                  </a:lnTo>
                  <a:lnTo>
                    <a:pt x="31" y="137"/>
                  </a:lnTo>
                  <a:lnTo>
                    <a:pt x="25" y="147"/>
                  </a:lnTo>
                  <a:lnTo>
                    <a:pt x="18" y="155"/>
                  </a:lnTo>
                  <a:lnTo>
                    <a:pt x="11" y="164"/>
                  </a:lnTo>
                  <a:lnTo>
                    <a:pt x="11" y="164"/>
                  </a:lnTo>
                  <a:lnTo>
                    <a:pt x="9" y="165"/>
                  </a:lnTo>
                  <a:lnTo>
                    <a:pt x="7" y="166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6" name="Freeform 119">
              <a:extLst>
                <a:ext uri="{FF2B5EF4-FFF2-40B4-BE49-F238E27FC236}">
                  <a16:creationId xmlns:a16="http://schemas.microsoft.com/office/drawing/2014/main" id="{F41098C2-1355-481F-9DAD-38ADF53620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97750" y="100013"/>
              <a:ext cx="69850" cy="263525"/>
            </a:xfrm>
            <a:custGeom>
              <a:avLst/>
              <a:gdLst>
                <a:gd name="T0" fmla="*/ 7 w 44"/>
                <a:gd name="T1" fmla="*/ 166 h 166"/>
                <a:gd name="T2" fmla="*/ 7 w 44"/>
                <a:gd name="T3" fmla="*/ 166 h 166"/>
                <a:gd name="T4" fmla="*/ 4 w 44"/>
                <a:gd name="T5" fmla="*/ 165 h 166"/>
                <a:gd name="T6" fmla="*/ 2 w 44"/>
                <a:gd name="T7" fmla="*/ 164 h 166"/>
                <a:gd name="T8" fmla="*/ 2 w 44"/>
                <a:gd name="T9" fmla="*/ 164 h 166"/>
                <a:gd name="T10" fmla="*/ 0 w 44"/>
                <a:gd name="T11" fmla="*/ 162 h 166"/>
                <a:gd name="T12" fmla="*/ 0 w 44"/>
                <a:gd name="T13" fmla="*/ 159 h 166"/>
                <a:gd name="T14" fmla="*/ 0 w 44"/>
                <a:gd name="T15" fmla="*/ 157 h 166"/>
                <a:gd name="T16" fmla="*/ 2 w 44"/>
                <a:gd name="T17" fmla="*/ 155 h 166"/>
                <a:gd name="T18" fmla="*/ 2 w 44"/>
                <a:gd name="T19" fmla="*/ 155 h 166"/>
                <a:gd name="T20" fmla="*/ 9 w 44"/>
                <a:gd name="T21" fmla="*/ 148 h 166"/>
                <a:gd name="T22" fmla="*/ 15 w 44"/>
                <a:gd name="T23" fmla="*/ 139 h 166"/>
                <a:gd name="T24" fmla="*/ 19 w 44"/>
                <a:gd name="T25" fmla="*/ 130 h 166"/>
                <a:gd name="T26" fmla="*/ 24 w 44"/>
                <a:gd name="T27" fmla="*/ 122 h 166"/>
                <a:gd name="T28" fmla="*/ 27 w 44"/>
                <a:gd name="T29" fmla="*/ 112 h 166"/>
                <a:gd name="T30" fmla="*/ 30 w 44"/>
                <a:gd name="T31" fmla="*/ 103 h 166"/>
                <a:gd name="T32" fmla="*/ 31 w 44"/>
                <a:gd name="T33" fmla="*/ 93 h 166"/>
                <a:gd name="T34" fmla="*/ 31 w 44"/>
                <a:gd name="T35" fmla="*/ 82 h 166"/>
                <a:gd name="T36" fmla="*/ 31 w 44"/>
                <a:gd name="T37" fmla="*/ 82 h 166"/>
                <a:gd name="T38" fmla="*/ 31 w 44"/>
                <a:gd name="T39" fmla="*/ 73 h 166"/>
                <a:gd name="T40" fmla="*/ 30 w 44"/>
                <a:gd name="T41" fmla="*/ 63 h 166"/>
                <a:gd name="T42" fmla="*/ 27 w 44"/>
                <a:gd name="T43" fmla="*/ 53 h 166"/>
                <a:gd name="T44" fmla="*/ 24 w 44"/>
                <a:gd name="T45" fmla="*/ 44 h 166"/>
                <a:gd name="T46" fmla="*/ 19 w 44"/>
                <a:gd name="T47" fmla="*/ 34 h 166"/>
                <a:gd name="T48" fmla="*/ 15 w 44"/>
                <a:gd name="T49" fmla="*/ 25 h 166"/>
                <a:gd name="T50" fmla="*/ 9 w 44"/>
                <a:gd name="T51" fmla="*/ 18 h 166"/>
                <a:gd name="T52" fmla="*/ 2 w 44"/>
                <a:gd name="T53" fmla="*/ 10 h 166"/>
                <a:gd name="T54" fmla="*/ 2 w 44"/>
                <a:gd name="T55" fmla="*/ 10 h 166"/>
                <a:gd name="T56" fmla="*/ 0 w 44"/>
                <a:gd name="T57" fmla="*/ 8 h 166"/>
                <a:gd name="T58" fmla="*/ 0 w 44"/>
                <a:gd name="T59" fmla="*/ 6 h 166"/>
                <a:gd name="T60" fmla="*/ 0 w 44"/>
                <a:gd name="T61" fmla="*/ 4 h 166"/>
                <a:gd name="T62" fmla="*/ 2 w 44"/>
                <a:gd name="T63" fmla="*/ 2 h 166"/>
                <a:gd name="T64" fmla="*/ 2 w 44"/>
                <a:gd name="T65" fmla="*/ 2 h 166"/>
                <a:gd name="T66" fmla="*/ 4 w 44"/>
                <a:gd name="T67" fmla="*/ 0 h 166"/>
                <a:gd name="T68" fmla="*/ 7 w 44"/>
                <a:gd name="T69" fmla="*/ 0 h 166"/>
                <a:gd name="T70" fmla="*/ 9 w 44"/>
                <a:gd name="T71" fmla="*/ 0 h 166"/>
                <a:gd name="T72" fmla="*/ 11 w 44"/>
                <a:gd name="T73" fmla="*/ 2 h 166"/>
                <a:gd name="T74" fmla="*/ 11 w 44"/>
                <a:gd name="T75" fmla="*/ 2 h 166"/>
                <a:gd name="T76" fmla="*/ 18 w 44"/>
                <a:gd name="T77" fmla="*/ 10 h 166"/>
                <a:gd name="T78" fmla="*/ 25 w 44"/>
                <a:gd name="T79" fmla="*/ 19 h 166"/>
                <a:gd name="T80" fmla="*/ 31 w 44"/>
                <a:gd name="T81" fmla="*/ 29 h 166"/>
                <a:gd name="T82" fmla="*/ 35 w 44"/>
                <a:gd name="T83" fmla="*/ 38 h 166"/>
                <a:gd name="T84" fmla="*/ 40 w 44"/>
                <a:gd name="T85" fmla="*/ 49 h 166"/>
                <a:gd name="T86" fmla="*/ 42 w 44"/>
                <a:gd name="T87" fmla="*/ 60 h 166"/>
                <a:gd name="T88" fmla="*/ 44 w 44"/>
                <a:gd name="T89" fmla="*/ 72 h 166"/>
                <a:gd name="T90" fmla="*/ 44 w 44"/>
                <a:gd name="T91" fmla="*/ 82 h 166"/>
                <a:gd name="T92" fmla="*/ 44 w 44"/>
                <a:gd name="T93" fmla="*/ 82 h 166"/>
                <a:gd name="T94" fmla="*/ 44 w 44"/>
                <a:gd name="T95" fmla="*/ 94 h 166"/>
                <a:gd name="T96" fmla="*/ 42 w 44"/>
                <a:gd name="T97" fmla="*/ 105 h 166"/>
                <a:gd name="T98" fmla="*/ 40 w 44"/>
                <a:gd name="T99" fmla="*/ 115 h 166"/>
                <a:gd name="T100" fmla="*/ 35 w 44"/>
                <a:gd name="T101" fmla="*/ 126 h 166"/>
                <a:gd name="T102" fmla="*/ 31 w 44"/>
                <a:gd name="T103" fmla="*/ 137 h 166"/>
                <a:gd name="T104" fmla="*/ 25 w 44"/>
                <a:gd name="T105" fmla="*/ 147 h 166"/>
                <a:gd name="T106" fmla="*/ 18 w 44"/>
                <a:gd name="T107" fmla="*/ 155 h 166"/>
                <a:gd name="T108" fmla="*/ 11 w 44"/>
                <a:gd name="T109" fmla="*/ 164 h 166"/>
                <a:gd name="T110" fmla="*/ 11 w 44"/>
                <a:gd name="T111" fmla="*/ 164 h 166"/>
                <a:gd name="T112" fmla="*/ 9 w 44"/>
                <a:gd name="T113" fmla="*/ 165 h 166"/>
                <a:gd name="T114" fmla="*/ 7 w 44"/>
                <a:gd name="T115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4" h="166">
                  <a:moveTo>
                    <a:pt x="7" y="166"/>
                  </a:moveTo>
                  <a:lnTo>
                    <a:pt x="7" y="166"/>
                  </a:lnTo>
                  <a:lnTo>
                    <a:pt x="4" y="165"/>
                  </a:lnTo>
                  <a:lnTo>
                    <a:pt x="2" y="164"/>
                  </a:lnTo>
                  <a:lnTo>
                    <a:pt x="2" y="164"/>
                  </a:lnTo>
                  <a:lnTo>
                    <a:pt x="0" y="162"/>
                  </a:lnTo>
                  <a:lnTo>
                    <a:pt x="0" y="159"/>
                  </a:lnTo>
                  <a:lnTo>
                    <a:pt x="0" y="157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9" y="148"/>
                  </a:lnTo>
                  <a:lnTo>
                    <a:pt x="15" y="139"/>
                  </a:lnTo>
                  <a:lnTo>
                    <a:pt x="19" y="130"/>
                  </a:lnTo>
                  <a:lnTo>
                    <a:pt x="24" y="122"/>
                  </a:lnTo>
                  <a:lnTo>
                    <a:pt x="27" y="112"/>
                  </a:lnTo>
                  <a:lnTo>
                    <a:pt x="30" y="103"/>
                  </a:lnTo>
                  <a:lnTo>
                    <a:pt x="31" y="93"/>
                  </a:lnTo>
                  <a:lnTo>
                    <a:pt x="31" y="82"/>
                  </a:lnTo>
                  <a:lnTo>
                    <a:pt x="31" y="82"/>
                  </a:lnTo>
                  <a:lnTo>
                    <a:pt x="31" y="73"/>
                  </a:lnTo>
                  <a:lnTo>
                    <a:pt x="30" y="63"/>
                  </a:lnTo>
                  <a:lnTo>
                    <a:pt x="27" y="53"/>
                  </a:lnTo>
                  <a:lnTo>
                    <a:pt x="24" y="44"/>
                  </a:lnTo>
                  <a:lnTo>
                    <a:pt x="19" y="34"/>
                  </a:lnTo>
                  <a:lnTo>
                    <a:pt x="15" y="25"/>
                  </a:lnTo>
                  <a:lnTo>
                    <a:pt x="9" y="18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8" y="10"/>
                  </a:lnTo>
                  <a:lnTo>
                    <a:pt x="25" y="19"/>
                  </a:lnTo>
                  <a:lnTo>
                    <a:pt x="31" y="29"/>
                  </a:lnTo>
                  <a:lnTo>
                    <a:pt x="35" y="38"/>
                  </a:lnTo>
                  <a:lnTo>
                    <a:pt x="40" y="49"/>
                  </a:lnTo>
                  <a:lnTo>
                    <a:pt x="42" y="60"/>
                  </a:lnTo>
                  <a:lnTo>
                    <a:pt x="44" y="72"/>
                  </a:lnTo>
                  <a:lnTo>
                    <a:pt x="44" y="82"/>
                  </a:lnTo>
                  <a:lnTo>
                    <a:pt x="44" y="82"/>
                  </a:lnTo>
                  <a:lnTo>
                    <a:pt x="44" y="94"/>
                  </a:lnTo>
                  <a:lnTo>
                    <a:pt x="42" y="105"/>
                  </a:lnTo>
                  <a:lnTo>
                    <a:pt x="40" y="115"/>
                  </a:lnTo>
                  <a:lnTo>
                    <a:pt x="35" y="126"/>
                  </a:lnTo>
                  <a:lnTo>
                    <a:pt x="31" y="137"/>
                  </a:lnTo>
                  <a:lnTo>
                    <a:pt x="25" y="147"/>
                  </a:lnTo>
                  <a:lnTo>
                    <a:pt x="18" y="155"/>
                  </a:lnTo>
                  <a:lnTo>
                    <a:pt x="11" y="164"/>
                  </a:lnTo>
                  <a:lnTo>
                    <a:pt x="11" y="164"/>
                  </a:lnTo>
                  <a:lnTo>
                    <a:pt x="9" y="165"/>
                  </a:lnTo>
                  <a:lnTo>
                    <a:pt x="7" y="1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7" name="Freeform 120">
              <a:extLst>
                <a:ext uri="{FF2B5EF4-FFF2-40B4-BE49-F238E27FC236}">
                  <a16:creationId xmlns:a16="http://schemas.microsoft.com/office/drawing/2014/main" id="{A6ED0061-D68B-4419-BC7C-8C176C043D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883438" y="177801"/>
              <a:ext cx="109538" cy="107950"/>
            </a:xfrm>
            <a:custGeom>
              <a:avLst/>
              <a:gdLst>
                <a:gd name="T0" fmla="*/ 34 w 69"/>
                <a:gd name="T1" fmla="*/ 12 h 68"/>
                <a:gd name="T2" fmla="*/ 26 w 69"/>
                <a:gd name="T3" fmla="*/ 14 h 68"/>
                <a:gd name="T4" fmla="*/ 19 w 69"/>
                <a:gd name="T5" fmla="*/ 18 h 68"/>
                <a:gd name="T6" fmla="*/ 15 w 69"/>
                <a:gd name="T7" fmla="*/ 26 h 68"/>
                <a:gd name="T8" fmla="*/ 13 w 69"/>
                <a:gd name="T9" fmla="*/ 33 h 68"/>
                <a:gd name="T10" fmla="*/ 13 w 69"/>
                <a:gd name="T11" fmla="*/ 38 h 68"/>
                <a:gd name="T12" fmla="*/ 16 w 69"/>
                <a:gd name="T13" fmla="*/ 45 h 68"/>
                <a:gd name="T14" fmla="*/ 23 w 69"/>
                <a:gd name="T15" fmla="*/ 51 h 68"/>
                <a:gd name="T16" fmla="*/ 30 w 69"/>
                <a:gd name="T17" fmla="*/ 55 h 68"/>
                <a:gd name="T18" fmla="*/ 34 w 69"/>
                <a:gd name="T19" fmla="*/ 55 h 68"/>
                <a:gd name="T20" fmla="*/ 43 w 69"/>
                <a:gd name="T21" fmla="*/ 54 h 68"/>
                <a:gd name="T22" fmla="*/ 49 w 69"/>
                <a:gd name="T23" fmla="*/ 48 h 68"/>
                <a:gd name="T24" fmla="*/ 54 w 69"/>
                <a:gd name="T25" fmla="*/ 42 h 68"/>
                <a:gd name="T26" fmla="*/ 56 w 69"/>
                <a:gd name="T27" fmla="*/ 33 h 68"/>
                <a:gd name="T28" fmla="*/ 55 w 69"/>
                <a:gd name="T29" fmla="*/ 29 h 68"/>
                <a:gd name="T30" fmla="*/ 52 w 69"/>
                <a:gd name="T31" fmla="*/ 21 h 68"/>
                <a:gd name="T32" fmla="*/ 46 w 69"/>
                <a:gd name="T33" fmla="*/ 16 h 68"/>
                <a:gd name="T34" fmla="*/ 39 w 69"/>
                <a:gd name="T35" fmla="*/ 13 h 68"/>
                <a:gd name="T36" fmla="*/ 34 w 69"/>
                <a:gd name="T37" fmla="*/ 68 h 68"/>
                <a:gd name="T38" fmla="*/ 28 w 69"/>
                <a:gd name="T39" fmla="*/ 66 h 68"/>
                <a:gd name="T40" fmla="*/ 15 w 69"/>
                <a:gd name="T41" fmla="*/ 62 h 68"/>
                <a:gd name="T42" fmla="*/ 7 w 69"/>
                <a:gd name="T43" fmla="*/ 53 h 68"/>
                <a:gd name="T44" fmla="*/ 1 w 69"/>
                <a:gd name="T45" fmla="*/ 41 h 68"/>
                <a:gd name="T46" fmla="*/ 0 w 69"/>
                <a:gd name="T47" fmla="*/ 33 h 68"/>
                <a:gd name="T48" fmla="*/ 3 w 69"/>
                <a:gd name="T49" fmla="*/ 20 h 68"/>
                <a:gd name="T50" fmla="*/ 11 w 69"/>
                <a:gd name="T51" fmla="*/ 10 h 68"/>
                <a:gd name="T52" fmla="*/ 22 w 69"/>
                <a:gd name="T53" fmla="*/ 2 h 68"/>
                <a:gd name="T54" fmla="*/ 34 w 69"/>
                <a:gd name="T55" fmla="*/ 0 h 68"/>
                <a:gd name="T56" fmla="*/ 41 w 69"/>
                <a:gd name="T57" fmla="*/ 0 h 68"/>
                <a:gd name="T58" fmla="*/ 54 w 69"/>
                <a:gd name="T59" fmla="*/ 5 h 68"/>
                <a:gd name="T60" fmla="*/ 62 w 69"/>
                <a:gd name="T61" fmla="*/ 15 h 68"/>
                <a:gd name="T62" fmla="*/ 68 w 69"/>
                <a:gd name="T63" fmla="*/ 27 h 68"/>
                <a:gd name="T64" fmla="*/ 69 w 69"/>
                <a:gd name="T65" fmla="*/ 33 h 68"/>
                <a:gd name="T66" fmla="*/ 65 w 69"/>
                <a:gd name="T67" fmla="*/ 47 h 68"/>
                <a:gd name="T68" fmla="*/ 58 w 69"/>
                <a:gd name="T69" fmla="*/ 58 h 68"/>
                <a:gd name="T70" fmla="*/ 47 w 69"/>
                <a:gd name="T71" fmla="*/ 64 h 68"/>
                <a:gd name="T72" fmla="*/ 34 w 69"/>
                <a:gd name="T7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" h="68">
                  <a:moveTo>
                    <a:pt x="34" y="12"/>
                  </a:moveTo>
                  <a:lnTo>
                    <a:pt x="34" y="12"/>
                  </a:lnTo>
                  <a:lnTo>
                    <a:pt x="30" y="13"/>
                  </a:lnTo>
                  <a:lnTo>
                    <a:pt x="26" y="14"/>
                  </a:lnTo>
                  <a:lnTo>
                    <a:pt x="23" y="16"/>
                  </a:lnTo>
                  <a:lnTo>
                    <a:pt x="19" y="18"/>
                  </a:lnTo>
                  <a:lnTo>
                    <a:pt x="16" y="21"/>
                  </a:lnTo>
                  <a:lnTo>
                    <a:pt x="15" y="26"/>
                  </a:lnTo>
                  <a:lnTo>
                    <a:pt x="13" y="29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8"/>
                  </a:lnTo>
                  <a:lnTo>
                    <a:pt x="15" y="42"/>
                  </a:lnTo>
                  <a:lnTo>
                    <a:pt x="16" y="45"/>
                  </a:lnTo>
                  <a:lnTo>
                    <a:pt x="19" y="48"/>
                  </a:lnTo>
                  <a:lnTo>
                    <a:pt x="23" y="51"/>
                  </a:lnTo>
                  <a:lnTo>
                    <a:pt x="26" y="54"/>
                  </a:lnTo>
                  <a:lnTo>
                    <a:pt x="30" y="55"/>
                  </a:lnTo>
                  <a:lnTo>
                    <a:pt x="34" y="55"/>
                  </a:lnTo>
                  <a:lnTo>
                    <a:pt x="34" y="55"/>
                  </a:lnTo>
                  <a:lnTo>
                    <a:pt x="39" y="55"/>
                  </a:lnTo>
                  <a:lnTo>
                    <a:pt x="43" y="54"/>
                  </a:lnTo>
                  <a:lnTo>
                    <a:pt x="46" y="51"/>
                  </a:lnTo>
                  <a:lnTo>
                    <a:pt x="49" y="48"/>
                  </a:lnTo>
                  <a:lnTo>
                    <a:pt x="52" y="45"/>
                  </a:lnTo>
                  <a:lnTo>
                    <a:pt x="54" y="42"/>
                  </a:lnTo>
                  <a:lnTo>
                    <a:pt x="55" y="38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5" y="29"/>
                  </a:lnTo>
                  <a:lnTo>
                    <a:pt x="54" y="26"/>
                  </a:lnTo>
                  <a:lnTo>
                    <a:pt x="52" y="21"/>
                  </a:lnTo>
                  <a:lnTo>
                    <a:pt x="49" y="18"/>
                  </a:lnTo>
                  <a:lnTo>
                    <a:pt x="46" y="16"/>
                  </a:lnTo>
                  <a:lnTo>
                    <a:pt x="43" y="14"/>
                  </a:lnTo>
                  <a:lnTo>
                    <a:pt x="39" y="13"/>
                  </a:lnTo>
                  <a:lnTo>
                    <a:pt x="34" y="12"/>
                  </a:lnTo>
                  <a:close/>
                  <a:moveTo>
                    <a:pt x="34" y="68"/>
                  </a:moveTo>
                  <a:lnTo>
                    <a:pt x="34" y="68"/>
                  </a:lnTo>
                  <a:lnTo>
                    <a:pt x="28" y="66"/>
                  </a:lnTo>
                  <a:lnTo>
                    <a:pt x="22" y="64"/>
                  </a:lnTo>
                  <a:lnTo>
                    <a:pt x="15" y="62"/>
                  </a:lnTo>
                  <a:lnTo>
                    <a:pt x="11" y="58"/>
                  </a:lnTo>
                  <a:lnTo>
                    <a:pt x="7" y="53"/>
                  </a:lnTo>
                  <a:lnTo>
                    <a:pt x="3" y="47"/>
                  </a:lnTo>
                  <a:lnTo>
                    <a:pt x="1" y="41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7"/>
                  </a:lnTo>
                  <a:lnTo>
                    <a:pt x="3" y="20"/>
                  </a:lnTo>
                  <a:lnTo>
                    <a:pt x="7" y="15"/>
                  </a:lnTo>
                  <a:lnTo>
                    <a:pt x="11" y="10"/>
                  </a:lnTo>
                  <a:lnTo>
                    <a:pt x="15" y="5"/>
                  </a:lnTo>
                  <a:lnTo>
                    <a:pt x="22" y="2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5"/>
                  </a:lnTo>
                  <a:lnTo>
                    <a:pt x="58" y="10"/>
                  </a:lnTo>
                  <a:lnTo>
                    <a:pt x="62" y="15"/>
                  </a:lnTo>
                  <a:lnTo>
                    <a:pt x="65" y="20"/>
                  </a:lnTo>
                  <a:lnTo>
                    <a:pt x="68" y="27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8" y="41"/>
                  </a:lnTo>
                  <a:lnTo>
                    <a:pt x="65" y="47"/>
                  </a:lnTo>
                  <a:lnTo>
                    <a:pt x="62" y="53"/>
                  </a:lnTo>
                  <a:lnTo>
                    <a:pt x="58" y="58"/>
                  </a:lnTo>
                  <a:lnTo>
                    <a:pt x="54" y="62"/>
                  </a:lnTo>
                  <a:lnTo>
                    <a:pt x="47" y="64"/>
                  </a:lnTo>
                  <a:lnTo>
                    <a:pt x="41" y="66"/>
                  </a:lnTo>
                  <a:lnTo>
                    <a:pt x="34" y="68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8" name="Freeform 121">
              <a:extLst>
                <a:ext uri="{FF2B5EF4-FFF2-40B4-BE49-F238E27FC236}">
                  <a16:creationId xmlns:a16="http://schemas.microsoft.com/office/drawing/2014/main" id="{B5D03816-A7F7-4405-A7F5-13959BF498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04075" y="196851"/>
              <a:ext cx="68263" cy="68263"/>
            </a:xfrm>
            <a:custGeom>
              <a:avLst/>
              <a:gdLst>
                <a:gd name="T0" fmla="*/ 21 w 43"/>
                <a:gd name="T1" fmla="*/ 0 h 43"/>
                <a:gd name="T2" fmla="*/ 21 w 43"/>
                <a:gd name="T3" fmla="*/ 0 h 43"/>
                <a:gd name="T4" fmla="*/ 17 w 43"/>
                <a:gd name="T5" fmla="*/ 1 h 43"/>
                <a:gd name="T6" fmla="*/ 13 w 43"/>
                <a:gd name="T7" fmla="*/ 2 h 43"/>
                <a:gd name="T8" fmla="*/ 10 w 43"/>
                <a:gd name="T9" fmla="*/ 4 h 43"/>
                <a:gd name="T10" fmla="*/ 6 w 43"/>
                <a:gd name="T11" fmla="*/ 6 h 43"/>
                <a:gd name="T12" fmla="*/ 3 w 43"/>
                <a:gd name="T13" fmla="*/ 9 h 43"/>
                <a:gd name="T14" fmla="*/ 2 w 43"/>
                <a:gd name="T15" fmla="*/ 14 h 43"/>
                <a:gd name="T16" fmla="*/ 0 w 43"/>
                <a:gd name="T17" fmla="*/ 17 h 43"/>
                <a:gd name="T18" fmla="*/ 0 w 43"/>
                <a:gd name="T19" fmla="*/ 21 h 43"/>
                <a:gd name="T20" fmla="*/ 0 w 43"/>
                <a:gd name="T21" fmla="*/ 21 h 43"/>
                <a:gd name="T22" fmla="*/ 0 w 43"/>
                <a:gd name="T23" fmla="*/ 26 h 43"/>
                <a:gd name="T24" fmla="*/ 2 w 43"/>
                <a:gd name="T25" fmla="*/ 30 h 43"/>
                <a:gd name="T26" fmla="*/ 3 w 43"/>
                <a:gd name="T27" fmla="*/ 33 h 43"/>
                <a:gd name="T28" fmla="*/ 6 w 43"/>
                <a:gd name="T29" fmla="*/ 36 h 43"/>
                <a:gd name="T30" fmla="*/ 10 w 43"/>
                <a:gd name="T31" fmla="*/ 39 h 43"/>
                <a:gd name="T32" fmla="*/ 13 w 43"/>
                <a:gd name="T33" fmla="*/ 42 h 43"/>
                <a:gd name="T34" fmla="*/ 17 w 43"/>
                <a:gd name="T35" fmla="*/ 43 h 43"/>
                <a:gd name="T36" fmla="*/ 21 w 43"/>
                <a:gd name="T37" fmla="*/ 43 h 43"/>
                <a:gd name="T38" fmla="*/ 21 w 43"/>
                <a:gd name="T39" fmla="*/ 43 h 43"/>
                <a:gd name="T40" fmla="*/ 26 w 43"/>
                <a:gd name="T41" fmla="*/ 43 h 43"/>
                <a:gd name="T42" fmla="*/ 30 w 43"/>
                <a:gd name="T43" fmla="*/ 42 h 43"/>
                <a:gd name="T44" fmla="*/ 33 w 43"/>
                <a:gd name="T45" fmla="*/ 39 h 43"/>
                <a:gd name="T46" fmla="*/ 36 w 43"/>
                <a:gd name="T47" fmla="*/ 36 h 43"/>
                <a:gd name="T48" fmla="*/ 39 w 43"/>
                <a:gd name="T49" fmla="*/ 33 h 43"/>
                <a:gd name="T50" fmla="*/ 41 w 43"/>
                <a:gd name="T51" fmla="*/ 30 h 43"/>
                <a:gd name="T52" fmla="*/ 42 w 43"/>
                <a:gd name="T53" fmla="*/ 26 h 43"/>
                <a:gd name="T54" fmla="*/ 43 w 43"/>
                <a:gd name="T55" fmla="*/ 21 h 43"/>
                <a:gd name="T56" fmla="*/ 43 w 43"/>
                <a:gd name="T57" fmla="*/ 21 h 43"/>
                <a:gd name="T58" fmla="*/ 42 w 43"/>
                <a:gd name="T59" fmla="*/ 17 h 43"/>
                <a:gd name="T60" fmla="*/ 41 w 43"/>
                <a:gd name="T61" fmla="*/ 14 h 43"/>
                <a:gd name="T62" fmla="*/ 39 w 43"/>
                <a:gd name="T63" fmla="*/ 9 h 43"/>
                <a:gd name="T64" fmla="*/ 36 w 43"/>
                <a:gd name="T65" fmla="*/ 6 h 43"/>
                <a:gd name="T66" fmla="*/ 33 w 43"/>
                <a:gd name="T67" fmla="*/ 4 h 43"/>
                <a:gd name="T68" fmla="*/ 30 w 43"/>
                <a:gd name="T69" fmla="*/ 2 h 43"/>
                <a:gd name="T70" fmla="*/ 26 w 43"/>
                <a:gd name="T71" fmla="*/ 1 h 43"/>
                <a:gd name="T72" fmla="*/ 21 w 43"/>
                <a:gd name="T7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3" h="43">
                  <a:moveTo>
                    <a:pt x="21" y="0"/>
                  </a:moveTo>
                  <a:lnTo>
                    <a:pt x="21" y="0"/>
                  </a:lnTo>
                  <a:lnTo>
                    <a:pt x="17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6" y="6"/>
                  </a:lnTo>
                  <a:lnTo>
                    <a:pt x="3" y="9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3" y="33"/>
                  </a:lnTo>
                  <a:lnTo>
                    <a:pt x="6" y="36"/>
                  </a:lnTo>
                  <a:lnTo>
                    <a:pt x="10" y="39"/>
                  </a:lnTo>
                  <a:lnTo>
                    <a:pt x="13" y="42"/>
                  </a:lnTo>
                  <a:lnTo>
                    <a:pt x="17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6" y="43"/>
                  </a:lnTo>
                  <a:lnTo>
                    <a:pt x="30" y="42"/>
                  </a:lnTo>
                  <a:lnTo>
                    <a:pt x="33" y="39"/>
                  </a:lnTo>
                  <a:lnTo>
                    <a:pt x="36" y="36"/>
                  </a:lnTo>
                  <a:lnTo>
                    <a:pt x="39" y="33"/>
                  </a:lnTo>
                  <a:lnTo>
                    <a:pt x="41" y="30"/>
                  </a:lnTo>
                  <a:lnTo>
                    <a:pt x="42" y="26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2" y="17"/>
                  </a:lnTo>
                  <a:lnTo>
                    <a:pt x="41" y="14"/>
                  </a:lnTo>
                  <a:lnTo>
                    <a:pt x="39" y="9"/>
                  </a:lnTo>
                  <a:lnTo>
                    <a:pt x="36" y="6"/>
                  </a:lnTo>
                  <a:lnTo>
                    <a:pt x="33" y="4"/>
                  </a:lnTo>
                  <a:lnTo>
                    <a:pt x="30" y="2"/>
                  </a:lnTo>
                  <a:lnTo>
                    <a:pt x="26" y="1"/>
                  </a:lnTo>
                  <a:lnTo>
                    <a:pt x="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9" name="Freeform 122">
              <a:extLst>
                <a:ext uri="{FF2B5EF4-FFF2-40B4-BE49-F238E27FC236}">
                  <a16:creationId xmlns:a16="http://schemas.microsoft.com/office/drawing/2014/main" id="{81FEB09F-EE9A-4CF2-BBBB-3C704B724A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83438" y="177801"/>
              <a:ext cx="109538" cy="107950"/>
            </a:xfrm>
            <a:custGeom>
              <a:avLst/>
              <a:gdLst>
                <a:gd name="T0" fmla="*/ 34 w 69"/>
                <a:gd name="T1" fmla="*/ 68 h 68"/>
                <a:gd name="T2" fmla="*/ 34 w 69"/>
                <a:gd name="T3" fmla="*/ 68 h 68"/>
                <a:gd name="T4" fmla="*/ 28 w 69"/>
                <a:gd name="T5" fmla="*/ 66 h 68"/>
                <a:gd name="T6" fmla="*/ 22 w 69"/>
                <a:gd name="T7" fmla="*/ 64 h 68"/>
                <a:gd name="T8" fmla="*/ 15 w 69"/>
                <a:gd name="T9" fmla="*/ 62 h 68"/>
                <a:gd name="T10" fmla="*/ 11 w 69"/>
                <a:gd name="T11" fmla="*/ 58 h 68"/>
                <a:gd name="T12" fmla="*/ 7 w 69"/>
                <a:gd name="T13" fmla="*/ 53 h 68"/>
                <a:gd name="T14" fmla="*/ 3 w 69"/>
                <a:gd name="T15" fmla="*/ 47 h 68"/>
                <a:gd name="T16" fmla="*/ 1 w 69"/>
                <a:gd name="T17" fmla="*/ 41 h 68"/>
                <a:gd name="T18" fmla="*/ 0 w 69"/>
                <a:gd name="T19" fmla="*/ 33 h 68"/>
                <a:gd name="T20" fmla="*/ 0 w 69"/>
                <a:gd name="T21" fmla="*/ 33 h 68"/>
                <a:gd name="T22" fmla="*/ 1 w 69"/>
                <a:gd name="T23" fmla="*/ 27 h 68"/>
                <a:gd name="T24" fmla="*/ 3 w 69"/>
                <a:gd name="T25" fmla="*/ 20 h 68"/>
                <a:gd name="T26" fmla="*/ 7 w 69"/>
                <a:gd name="T27" fmla="*/ 15 h 68"/>
                <a:gd name="T28" fmla="*/ 11 w 69"/>
                <a:gd name="T29" fmla="*/ 10 h 68"/>
                <a:gd name="T30" fmla="*/ 15 w 69"/>
                <a:gd name="T31" fmla="*/ 5 h 68"/>
                <a:gd name="T32" fmla="*/ 22 w 69"/>
                <a:gd name="T33" fmla="*/ 2 h 68"/>
                <a:gd name="T34" fmla="*/ 28 w 69"/>
                <a:gd name="T35" fmla="*/ 0 h 68"/>
                <a:gd name="T36" fmla="*/ 34 w 69"/>
                <a:gd name="T37" fmla="*/ 0 h 68"/>
                <a:gd name="T38" fmla="*/ 34 w 69"/>
                <a:gd name="T39" fmla="*/ 0 h 68"/>
                <a:gd name="T40" fmla="*/ 41 w 69"/>
                <a:gd name="T41" fmla="*/ 0 h 68"/>
                <a:gd name="T42" fmla="*/ 47 w 69"/>
                <a:gd name="T43" fmla="*/ 2 h 68"/>
                <a:gd name="T44" fmla="*/ 54 w 69"/>
                <a:gd name="T45" fmla="*/ 5 h 68"/>
                <a:gd name="T46" fmla="*/ 58 w 69"/>
                <a:gd name="T47" fmla="*/ 10 h 68"/>
                <a:gd name="T48" fmla="*/ 62 w 69"/>
                <a:gd name="T49" fmla="*/ 15 h 68"/>
                <a:gd name="T50" fmla="*/ 65 w 69"/>
                <a:gd name="T51" fmla="*/ 20 h 68"/>
                <a:gd name="T52" fmla="*/ 68 w 69"/>
                <a:gd name="T53" fmla="*/ 27 h 68"/>
                <a:gd name="T54" fmla="*/ 69 w 69"/>
                <a:gd name="T55" fmla="*/ 33 h 68"/>
                <a:gd name="T56" fmla="*/ 69 w 69"/>
                <a:gd name="T57" fmla="*/ 33 h 68"/>
                <a:gd name="T58" fmla="*/ 68 w 69"/>
                <a:gd name="T59" fmla="*/ 41 h 68"/>
                <a:gd name="T60" fmla="*/ 65 w 69"/>
                <a:gd name="T61" fmla="*/ 47 h 68"/>
                <a:gd name="T62" fmla="*/ 62 w 69"/>
                <a:gd name="T63" fmla="*/ 53 h 68"/>
                <a:gd name="T64" fmla="*/ 58 w 69"/>
                <a:gd name="T65" fmla="*/ 58 h 68"/>
                <a:gd name="T66" fmla="*/ 54 w 69"/>
                <a:gd name="T67" fmla="*/ 62 h 68"/>
                <a:gd name="T68" fmla="*/ 47 w 69"/>
                <a:gd name="T69" fmla="*/ 64 h 68"/>
                <a:gd name="T70" fmla="*/ 41 w 69"/>
                <a:gd name="T71" fmla="*/ 66 h 68"/>
                <a:gd name="T72" fmla="*/ 34 w 69"/>
                <a:gd name="T7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" h="68">
                  <a:moveTo>
                    <a:pt x="34" y="68"/>
                  </a:moveTo>
                  <a:lnTo>
                    <a:pt x="34" y="68"/>
                  </a:lnTo>
                  <a:lnTo>
                    <a:pt x="28" y="66"/>
                  </a:lnTo>
                  <a:lnTo>
                    <a:pt x="22" y="64"/>
                  </a:lnTo>
                  <a:lnTo>
                    <a:pt x="15" y="62"/>
                  </a:lnTo>
                  <a:lnTo>
                    <a:pt x="11" y="58"/>
                  </a:lnTo>
                  <a:lnTo>
                    <a:pt x="7" y="53"/>
                  </a:lnTo>
                  <a:lnTo>
                    <a:pt x="3" y="47"/>
                  </a:lnTo>
                  <a:lnTo>
                    <a:pt x="1" y="41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7"/>
                  </a:lnTo>
                  <a:lnTo>
                    <a:pt x="3" y="20"/>
                  </a:lnTo>
                  <a:lnTo>
                    <a:pt x="7" y="15"/>
                  </a:lnTo>
                  <a:lnTo>
                    <a:pt x="11" y="10"/>
                  </a:lnTo>
                  <a:lnTo>
                    <a:pt x="15" y="5"/>
                  </a:lnTo>
                  <a:lnTo>
                    <a:pt x="22" y="2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5"/>
                  </a:lnTo>
                  <a:lnTo>
                    <a:pt x="58" y="10"/>
                  </a:lnTo>
                  <a:lnTo>
                    <a:pt x="62" y="15"/>
                  </a:lnTo>
                  <a:lnTo>
                    <a:pt x="65" y="20"/>
                  </a:lnTo>
                  <a:lnTo>
                    <a:pt x="68" y="27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8" y="41"/>
                  </a:lnTo>
                  <a:lnTo>
                    <a:pt x="65" y="47"/>
                  </a:lnTo>
                  <a:lnTo>
                    <a:pt x="62" y="53"/>
                  </a:lnTo>
                  <a:lnTo>
                    <a:pt x="58" y="58"/>
                  </a:lnTo>
                  <a:lnTo>
                    <a:pt x="54" y="62"/>
                  </a:lnTo>
                  <a:lnTo>
                    <a:pt x="47" y="64"/>
                  </a:lnTo>
                  <a:lnTo>
                    <a:pt x="41" y="66"/>
                  </a:lnTo>
                  <a:lnTo>
                    <a:pt x="34" y="6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0" name="Freeform 123">
              <a:extLst>
                <a:ext uri="{FF2B5EF4-FFF2-40B4-BE49-F238E27FC236}">
                  <a16:creationId xmlns:a16="http://schemas.microsoft.com/office/drawing/2014/main" id="{0B24F91A-FCCD-478C-80BB-B14D38D54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05650" y="169863"/>
              <a:ext cx="42863" cy="123825"/>
            </a:xfrm>
            <a:custGeom>
              <a:avLst/>
              <a:gdLst>
                <a:gd name="T0" fmla="*/ 20 w 27"/>
                <a:gd name="T1" fmla="*/ 78 h 78"/>
                <a:gd name="T2" fmla="*/ 20 w 27"/>
                <a:gd name="T3" fmla="*/ 78 h 78"/>
                <a:gd name="T4" fmla="*/ 18 w 27"/>
                <a:gd name="T5" fmla="*/ 77 h 78"/>
                <a:gd name="T6" fmla="*/ 16 w 27"/>
                <a:gd name="T7" fmla="*/ 76 h 78"/>
                <a:gd name="T8" fmla="*/ 16 w 27"/>
                <a:gd name="T9" fmla="*/ 76 h 78"/>
                <a:gd name="T10" fmla="*/ 9 w 27"/>
                <a:gd name="T11" fmla="*/ 67 h 78"/>
                <a:gd name="T12" fmla="*/ 4 w 27"/>
                <a:gd name="T13" fmla="*/ 59 h 78"/>
                <a:gd name="T14" fmla="*/ 1 w 27"/>
                <a:gd name="T15" fmla="*/ 49 h 78"/>
                <a:gd name="T16" fmla="*/ 0 w 27"/>
                <a:gd name="T17" fmla="*/ 38 h 78"/>
                <a:gd name="T18" fmla="*/ 1 w 27"/>
                <a:gd name="T19" fmla="*/ 29 h 78"/>
                <a:gd name="T20" fmla="*/ 4 w 27"/>
                <a:gd name="T21" fmla="*/ 19 h 78"/>
                <a:gd name="T22" fmla="*/ 9 w 27"/>
                <a:gd name="T23" fmla="*/ 9 h 78"/>
                <a:gd name="T24" fmla="*/ 16 w 27"/>
                <a:gd name="T25" fmla="*/ 2 h 78"/>
                <a:gd name="T26" fmla="*/ 16 w 27"/>
                <a:gd name="T27" fmla="*/ 2 h 78"/>
                <a:gd name="T28" fmla="*/ 18 w 27"/>
                <a:gd name="T29" fmla="*/ 0 h 78"/>
                <a:gd name="T30" fmla="*/ 20 w 27"/>
                <a:gd name="T31" fmla="*/ 0 h 78"/>
                <a:gd name="T32" fmla="*/ 22 w 27"/>
                <a:gd name="T33" fmla="*/ 0 h 78"/>
                <a:gd name="T34" fmla="*/ 24 w 27"/>
                <a:gd name="T35" fmla="*/ 2 h 78"/>
                <a:gd name="T36" fmla="*/ 24 w 27"/>
                <a:gd name="T37" fmla="*/ 2 h 78"/>
                <a:gd name="T38" fmla="*/ 26 w 27"/>
                <a:gd name="T39" fmla="*/ 3 h 78"/>
                <a:gd name="T40" fmla="*/ 27 w 27"/>
                <a:gd name="T41" fmla="*/ 6 h 78"/>
                <a:gd name="T42" fmla="*/ 26 w 27"/>
                <a:gd name="T43" fmla="*/ 8 h 78"/>
                <a:gd name="T44" fmla="*/ 24 w 27"/>
                <a:gd name="T45" fmla="*/ 10 h 78"/>
                <a:gd name="T46" fmla="*/ 24 w 27"/>
                <a:gd name="T47" fmla="*/ 10 h 78"/>
                <a:gd name="T48" fmla="*/ 19 w 27"/>
                <a:gd name="T49" fmla="*/ 17 h 78"/>
                <a:gd name="T50" fmla="*/ 16 w 27"/>
                <a:gd name="T51" fmla="*/ 23 h 78"/>
                <a:gd name="T52" fmla="*/ 14 w 27"/>
                <a:gd name="T53" fmla="*/ 31 h 78"/>
                <a:gd name="T54" fmla="*/ 13 w 27"/>
                <a:gd name="T55" fmla="*/ 38 h 78"/>
                <a:gd name="T56" fmla="*/ 14 w 27"/>
                <a:gd name="T57" fmla="*/ 46 h 78"/>
                <a:gd name="T58" fmla="*/ 16 w 27"/>
                <a:gd name="T59" fmla="*/ 53 h 78"/>
                <a:gd name="T60" fmla="*/ 19 w 27"/>
                <a:gd name="T61" fmla="*/ 61 h 78"/>
                <a:gd name="T62" fmla="*/ 24 w 27"/>
                <a:gd name="T63" fmla="*/ 67 h 78"/>
                <a:gd name="T64" fmla="*/ 24 w 27"/>
                <a:gd name="T65" fmla="*/ 67 h 78"/>
                <a:gd name="T66" fmla="*/ 26 w 27"/>
                <a:gd name="T67" fmla="*/ 69 h 78"/>
                <a:gd name="T68" fmla="*/ 27 w 27"/>
                <a:gd name="T69" fmla="*/ 71 h 78"/>
                <a:gd name="T70" fmla="*/ 26 w 27"/>
                <a:gd name="T71" fmla="*/ 74 h 78"/>
                <a:gd name="T72" fmla="*/ 24 w 27"/>
                <a:gd name="T73" fmla="*/ 76 h 78"/>
                <a:gd name="T74" fmla="*/ 24 w 27"/>
                <a:gd name="T75" fmla="*/ 76 h 78"/>
                <a:gd name="T76" fmla="*/ 22 w 27"/>
                <a:gd name="T77" fmla="*/ 77 h 78"/>
                <a:gd name="T78" fmla="*/ 20 w 27"/>
                <a:gd name="T7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7" h="78">
                  <a:moveTo>
                    <a:pt x="20" y="78"/>
                  </a:moveTo>
                  <a:lnTo>
                    <a:pt x="20" y="78"/>
                  </a:lnTo>
                  <a:lnTo>
                    <a:pt x="18" y="77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9" y="67"/>
                  </a:lnTo>
                  <a:lnTo>
                    <a:pt x="4" y="59"/>
                  </a:lnTo>
                  <a:lnTo>
                    <a:pt x="1" y="49"/>
                  </a:lnTo>
                  <a:lnTo>
                    <a:pt x="0" y="38"/>
                  </a:lnTo>
                  <a:lnTo>
                    <a:pt x="1" y="29"/>
                  </a:lnTo>
                  <a:lnTo>
                    <a:pt x="4" y="19"/>
                  </a:lnTo>
                  <a:lnTo>
                    <a:pt x="9" y="9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6" y="3"/>
                  </a:lnTo>
                  <a:lnTo>
                    <a:pt x="27" y="6"/>
                  </a:lnTo>
                  <a:lnTo>
                    <a:pt x="26" y="8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19" y="17"/>
                  </a:lnTo>
                  <a:lnTo>
                    <a:pt x="16" y="23"/>
                  </a:lnTo>
                  <a:lnTo>
                    <a:pt x="14" y="31"/>
                  </a:lnTo>
                  <a:lnTo>
                    <a:pt x="13" y="38"/>
                  </a:lnTo>
                  <a:lnTo>
                    <a:pt x="14" y="46"/>
                  </a:lnTo>
                  <a:lnTo>
                    <a:pt x="16" y="53"/>
                  </a:lnTo>
                  <a:lnTo>
                    <a:pt x="19" y="61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6" y="69"/>
                  </a:lnTo>
                  <a:lnTo>
                    <a:pt x="27" y="71"/>
                  </a:lnTo>
                  <a:lnTo>
                    <a:pt x="26" y="74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2" y="77"/>
                  </a:lnTo>
                  <a:lnTo>
                    <a:pt x="20" y="78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1" name="Freeform 124">
              <a:extLst>
                <a:ext uri="{FF2B5EF4-FFF2-40B4-BE49-F238E27FC236}">
                  <a16:creationId xmlns:a16="http://schemas.microsoft.com/office/drawing/2014/main" id="{9DFC620C-46CD-4616-AF8D-2FECF3F1F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05650" y="169863"/>
              <a:ext cx="42863" cy="123825"/>
            </a:xfrm>
            <a:custGeom>
              <a:avLst/>
              <a:gdLst>
                <a:gd name="T0" fmla="*/ 20 w 27"/>
                <a:gd name="T1" fmla="*/ 78 h 78"/>
                <a:gd name="T2" fmla="*/ 20 w 27"/>
                <a:gd name="T3" fmla="*/ 78 h 78"/>
                <a:gd name="T4" fmla="*/ 18 w 27"/>
                <a:gd name="T5" fmla="*/ 77 h 78"/>
                <a:gd name="T6" fmla="*/ 16 w 27"/>
                <a:gd name="T7" fmla="*/ 76 h 78"/>
                <a:gd name="T8" fmla="*/ 16 w 27"/>
                <a:gd name="T9" fmla="*/ 76 h 78"/>
                <a:gd name="T10" fmla="*/ 9 w 27"/>
                <a:gd name="T11" fmla="*/ 67 h 78"/>
                <a:gd name="T12" fmla="*/ 4 w 27"/>
                <a:gd name="T13" fmla="*/ 59 h 78"/>
                <a:gd name="T14" fmla="*/ 1 w 27"/>
                <a:gd name="T15" fmla="*/ 49 h 78"/>
                <a:gd name="T16" fmla="*/ 0 w 27"/>
                <a:gd name="T17" fmla="*/ 38 h 78"/>
                <a:gd name="T18" fmla="*/ 1 w 27"/>
                <a:gd name="T19" fmla="*/ 29 h 78"/>
                <a:gd name="T20" fmla="*/ 4 w 27"/>
                <a:gd name="T21" fmla="*/ 19 h 78"/>
                <a:gd name="T22" fmla="*/ 9 w 27"/>
                <a:gd name="T23" fmla="*/ 9 h 78"/>
                <a:gd name="T24" fmla="*/ 16 w 27"/>
                <a:gd name="T25" fmla="*/ 2 h 78"/>
                <a:gd name="T26" fmla="*/ 16 w 27"/>
                <a:gd name="T27" fmla="*/ 2 h 78"/>
                <a:gd name="T28" fmla="*/ 18 w 27"/>
                <a:gd name="T29" fmla="*/ 0 h 78"/>
                <a:gd name="T30" fmla="*/ 20 w 27"/>
                <a:gd name="T31" fmla="*/ 0 h 78"/>
                <a:gd name="T32" fmla="*/ 22 w 27"/>
                <a:gd name="T33" fmla="*/ 0 h 78"/>
                <a:gd name="T34" fmla="*/ 24 w 27"/>
                <a:gd name="T35" fmla="*/ 2 h 78"/>
                <a:gd name="T36" fmla="*/ 24 w 27"/>
                <a:gd name="T37" fmla="*/ 2 h 78"/>
                <a:gd name="T38" fmla="*/ 26 w 27"/>
                <a:gd name="T39" fmla="*/ 3 h 78"/>
                <a:gd name="T40" fmla="*/ 27 w 27"/>
                <a:gd name="T41" fmla="*/ 6 h 78"/>
                <a:gd name="T42" fmla="*/ 26 w 27"/>
                <a:gd name="T43" fmla="*/ 8 h 78"/>
                <a:gd name="T44" fmla="*/ 24 w 27"/>
                <a:gd name="T45" fmla="*/ 10 h 78"/>
                <a:gd name="T46" fmla="*/ 24 w 27"/>
                <a:gd name="T47" fmla="*/ 10 h 78"/>
                <a:gd name="T48" fmla="*/ 19 w 27"/>
                <a:gd name="T49" fmla="*/ 17 h 78"/>
                <a:gd name="T50" fmla="*/ 16 w 27"/>
                <a:gd name="T51" fmla="*/ 23 h 78"/>
                <a:gd name="T52" fmla="*/ 14 w 27"/>
                <a:gd name="T53" fmla="*/ 31 h 78"/>
                <a:gd name="T54" fmla="*/ 13 w 27"/>
                <a:gd name="T55" fmla="*/ 38 h 78"/>
                <a:gd name="T56" fmla="*/ 14 w 27"/>
                <a:gd name="T57" fmla="*/ 46 h 78"/>
                <a:gd name="T58" fmla="*/ 16 w 27"/>
                <a:gd name="T59" fmla="*/ 53 h 78"/>
                <a:gd name="T60" fmla="*/ 19 w 27"/>
                <a:gd name="T61" fmla="*/ 61 h 78"/>
                <a:gd name="T62" fmla="*/ 24 w 27"/>
                <a:gd name="T63" fmla="*/ 67 h 78"/>
                <a:gd name="T64" fmla="*/ 24 w 27"/>
                <a:gd name="T65" fmla="*/ 67 h 78"/>
                <a:gd name="T66" fmla="*/ 26 w 27"/>
                <a:gd name="T67" fmla="*/ 69 h 78"/>
                <a:gd name="T68" fmla="*/ 27 w 27"/>
                <a:gd name="T69" fmla="*/ 71 h 78"/>
                <a:gd name="T70" fmla="*/ 26 w 27"/>
                <a:gd name="T71" fmla="*/ 74 h 78"/>
                <a:gd name="T72" fmla="*/ 24 w 27"/>
                <a:gd name="T73" fmla="*/ 76 h 78"/>
                <a:gd name="T74" fmla="*/ 24 w 27"/>
                <a:gd name="T75" fmla="*/ 76 h 78"/>
                <a:gd name="T76" fmla="*/ 22 w 27"/>
                <a:gd name="T77" fmla="*/ 77 h 78"/>
                <a:gd name="T78" fmla="*/ 20 w 27"/>
                <a:gd name="T7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7" h="78">
                  <a:moveTo>
                    <a:pt x="20" y="78"/>
                  </a:moveTo>
                  <a:lnTo>
                    <a:pt x="20" y="78"/>
                  </a:lnTo>
                  <a:lnTo>
                    <a:pt x="18" y="77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9" y="67"/>
                  </a:lnTo>
                  <a:lnTo>
                    <a:pt x="4" y="59"/>
                  </a:lnTo>
                  <a:lnTo>
                    <a:pt x="1" y="49"/>
                  </a:lnTo>
                  <a:lnTo>
                    <a:pt x="0" y="38"/>
                  </a:lnTo>
                  <a:lnTo>
                    <a:pt x="1" y="29"/>
                  </a:lnTo>
                  <a:lnTo>
                    <a:pt x="4" y="19"/>
                  </a:lnTo>
                  <a:lnTo>
                    <a:pt x="9" y="9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6" y="3"/>
                  </a:lnTo>
                  <a:lnTo>
                    <a:pt x="27" y="6"/>
                  </a:lnTo>
                  <a:lnTo>
                    <a:pt x="26" y="8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19" y="17"/>
                  </a:lnTo>
                  <a:lnTo>
                    <a:pt x="16" y="23"/>
                  </a:lnTo>
                  <a:lnTo>
                    <a:pt x="14" y="31"/>
                  </a:lnTo>
                  <a:lnTo>
                    <a:pt x="13" y="38"/>
                  </a:lnTo>
                  <a:lnTo>
                    <a:pt x="14" y="46"/>
                  </a:lnTo>
                  <a:lnTo>
                    <a:pt x="16" y="53"/>
                  </a:lnTo>
                  <a:lnTo>
                    <a:pt x="19" y="61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6" y="69"/>
                  </a:lnTo>
                  <a:lnTo>
                    <a:pt x="27" y="71"/>
                  </a:lnTo>
                  <a:lnTo>
                    <a:pt x="26" y="74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2" y="77"/>
                  </a:lnTo>
                  <a:lnTo>
                    <a:pt x="20" y="7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2" name="Freeform 125">
              <a:extLst>
                <a:ext uri="{FF2B5EF4-FFF2-40B4-BE49-F238E27FC236}">
                  <a16:creationId xmlns:a16="http://schemas.microsoft.com/office/drawing/2014/main" id="{FA9D04B8-D7D0-440E-8CCF-55092F67D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58025" y="133351"/>
              <a:ext cx="53975" cy="193675"/>
            </a:xfrm>
            <a:custGeom>
              <a:avLst/>
              <a:gdLst>
                <a:gd name="T0" fmla="*/ 29 w 34"/>
                <a:gd name="T1" fmla="*/ 122 h 122"/>
                <a:gd name="T2" fmla="*/ 29 w 34"/>
                <a:gd name="T3" fmla="*/ 122 h 122"/>
                <a:gd name="T4" fmla="*/ 26 w 34"/>
                <a:gd name="T5" fmla="*/ 122 h 122"/>
                <a:gd name="T6" fmla="*/ 23 w 34"/>
                <a:gd name="T7" fmla="*/ 120 h 122"/>
                <a:gd name="T8" fmla="*/ 23 w 34"/>
                <a:gd name="T9" fmla="*/ 120 h 122"/>
                <a:gd name="T10" fmla="*/ 18 w 34"/>
                <a:gd name="T11" fmla="*/ 115 h 122"/>
                <a:gd name="T12" fmla="*/ 13 w 34"/>
                <a:gd name="T13" fmla="*/ 107 h 122"/>
                <a:gd name="T14" fmla="*/ 8 w 34"/>
                <a:gd name="T15" fmla="*/ 101 h 122"/>
                <a:gd name="T16" fmla="*/ 5 w 34"/>
                <a:gd name="T17" fmla="*/ 93 h 122"/>
                <a:gd name="T18" fmla="*/ 3 w 34"/>
                <a:gd name="T19" fmla="*/ 86 h 122"/>
                <a:gd name="T20" fmla="*/ 1 w 34"/>
                <a:gd name="T21" fmla="*/ 77 h 122"/>
                <a:gd name="T22" fmla="*/ 0 w 34"/>
                <a:gd name="T23" fmla="*/ 70 h 122"/>
                <a:gd name="T24" fmla="*/ 0 w 34"/>
                <a:gd name="T25" fmla="*/ 61 h 122"/>
                <a:gd name="T26" fmla="*/ 0 w 34"/>
                <a:gd name="T27" fmla="*/ 54 h 122"/>
                <a:gd name="T28" fmla="*/ 1 w 34"/>
                <a:gd name="T29" fmla="*/ 45 h 122"/>
                <a:gd name="T30" fmla="*/ 3 w 34"/>
                <a:gd name="T31" fmla="*/ 38 h 122"/>
                <a:gd name="T32" fmla="*/ 5 w 34"/>
                <a:gd name="T33" fmla="*/ 30 h 122"/>
                <a:gd name="T34" fmla="*/ 8 w 34"/>
                <a:gd name="T35" fmla="*/ 23 h 122"/>
                <a:gd name="T36" fmla="*/ 13 w 34"/>
                <a:gd name="T37" fmla="*/ 15 h 122"/>
                <a:gd name="T38" fmla="*/ 18 w 34"/>
                <a:gd name="T39" fmla="*/ 9 h 122"/>
                <a:gd name="T40" fmla="*/ 23 w 34"/>
                <a:gd name="T41" fmla="*/ 2 h 122"/>
                <a:gd name="T42" fmla="*/ 23 w 34"/>
                <a:gd name="T43" fmla="*/ 2 h 122"/>
                <a:gd name="T44" fmla="*/ 26 w 34"/>
                <a:gd name="T45" fmla="*/ 1 h 122"/>
                <a:gd name="T46" fmla="*/ 29 w 34"/>
                <a:gd name="T47" fmla="*/ 0 h 122"/>
                <a:gd name="T48" fmla="*/ 31 w 34"/>
                <a:gd name="T49" fmla="*/ 1 h 122"/>
                <a:gd name="T50" fmla="*/ 33 w 34"/>
                <a:gd name="T51" fmla="*/ 2 h 122"/>
                <a:gd name="T52" fmla="*/ 33 w 34"/>
                <a:gd name="T53" fmla="*/ 2 h 122"/>
                <a:gd name="T54" fmla="*/ 34 w 34"/>
                <a:gd name="T55" fmla="*/ 4 h 122"/>
                <a:gd name="T56" fmla="*/ 34 w 34"/>
                <a:gd name="T57" fmla="*/ 7 h 122"/>
                <a:gd name="T58" fmla="*/ 34 w 34"/>
                <a:gd name="T59" fmla="*/ 9 h 122"/>
                <a:gd name="T60" fmla="*/ 33 w 34"/>
                <a:gd name="T61" fmla="*/ 11 h 122"/>
                <a:gd name="T62" fmla="*/ 33 w 34"/>
                <a:gd name="T63" fmla="*/ 11 h 122"/>
                <a:gd name="T64" fmla="*/ 28 w 34"/>
                <a:gd name="T65" fmla="*/ 16 h 122"/>
                <a:gd name="T66" fmla="*/ 23 w 34"/>
                <a:gd name="T67" fmla="*/ 23 h 122"/>
                <a:gd name="T68" fmla="*/ 20 w 34"/>
                <a:gd name="T69" fmla="*/ 28 h 122"/>
                <a:gd name="T70" fmla="*/ 17 w 34"/>
                <a:gd name="T71" fmla="*/ 34 h 122"/>
                <a:gd name="T72" fmla="*/ 15 w 34"/>
                <a:gd name="T73" fmla="*/ 41 h 122"/>
                <a:gd name="T74" fmla="*/ 13 w 34"/>
                <a:gd name="T75" fmla="*/ 48 h 122"/>
                <a:gd name="T76" fmla="*/ 13 w 34"/>
                <a:gd name="T77" fmla="*/ 55 h 122"/>
                <a:gd name="T78" fmla="*/ 12 w 34"/>
                <a:gd name="T79" fmla="*/ 61 h 122"/>
                <a:gd name="T80" fmla="*/ 13 w 34"/>
                <a:gd name="T81" fmla="*/ 69 h 122"/>
                <a:gd name="T82" fmla="*/ 13 w 34"/>
                <a:gd name="T83" fmla="*/ 75 h 122"/>
                <a:gd name="T84" fmla="*/ 15 w 34"/>
                <a:gd name="T85" fmla="*/ 82 h 122"/>
                <a:gd name="T86" fmla="*/ 17 w 34"/>
                <a:gd name="T87" fmla="*/ 88 h 122"/>
                <a:gd name="T88" fmla="*/ 20 w 34"/>
                <a:gd name="T89" fmla="*/ 94 h 122"/>
                <a:gd name="T90" fmla="*/ 23 w 34"/>
                <a:gd name="T91" fmla="*/ 101 h 122"/>
                <a:gd name="T92" fmla="*/ 28 w 34"/>
                <a:gd name="T93" fmla="*/ 106 h 122"/>
                <a:gd name="T94" fmla="*/ 33 w 34"/>
                <a:gd name="T95" fmla="*/ 112 h 122"/>
                <a:gd name="T96" fmla="*/ 33 w 34"/>
                <a:gd name="T97" fmla="*/ 112 h 122"/>
                <a:gd name="T98" fmla="*/ 34 w 34"/>
                <a:gd name="T99" fmla="*/ 114 h 122"/>
                <a:gd name="T100" fmla="*/ 34 w 34"/>
                <a:gd name="T101" fmla="*/ 116 h 122"/>
                <a:gd name="T102" fmla="*/ 34 w 34"/>
                <a:gd name="T103" fmla="*/ 119 h 122"/>
                <a:gd name="T104" fmla="*/ 33 w 34"/>
                <a:gd name="T105" fmla="*/ 120 h 122"/>
                <a:gd name="T106" fmla="*/ 33 w 34"/>
                <a:gd name="T107" fmla="*/ 120 h 122"/>
                <a:gd name="T108" fmla="*/ 31 w 34"/>
                <a:gd name="T109" fmla="*/ 122 h 122"/>
                <a:gd name="T110" fmla="*/ 29 w 34"/>
                <a:gd name="T111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" h="122">
                  <a:moveTo>
                    <a:pt x="29" y="122"/>
                  </a:moveTo>
                  <a:lnTo>
                    <a:pt x="29" y="122"/>
                  </a:lnTo>
                  <a:lnTo>
                    <a:pt x="26" y="122"/>
                  </a:lnTo>
                  <a:lnTo>
                    <a:pt x="23" y="120"/>
                  </a:lnTo>
                  <a:lnTo>
                    <a:pt x="23" y="120"/>
                  </a:lnTo>
                  <a:lnTo>
                    <a:pt x="18" y="115"/>
                  </a:lnTo>
                  <a:lnTo>
                    <a:pt x="13" y="107"/>
                  </a:lnTo>
                  <a:lnTo>
                    <a:pt x="8" y="101"/>
                  </a:lnTo>
                  <a:lnTo>
                    <a:pt x="5" y="93"/>
                  </a:lnTo>
                  <a:lnTo>
                    <a:pt x="3" y="86"/>
                  </a:lnTo>
                  <a:lnTo>
                    <a:pt x="1" y="77"/>
                  </a:lnTo>
                  <a:lnTo>
                    <a:pt x="0" y="70"/>
                  </a:lnTo>
                  <a:lnTo>
                    <a:pt x="0" y="61"/>
                  </a:lnTo>
                  <a:lnTo>
                    <a:pt x="0" y="54"/>
                  </a:lnTo>
                  <a:lnTo>
                    <a:pt x="1" y="45"/>
                  </a:lnTo>
                  <a:lnTo>
                    <a:pt x="3" y="38"/>
                  </a:lnTo>
                  <a:lnTo>
                    <a:pt x="5" y="30"/>
                  </a:lnTo>
                  <a:lnTo>
                    <a:pt x="8" y="23"/>
                  </a:lnTo>
                  <a:lnTo>
                    <a:pt x="13" y="15"/>
                  </a:lnTo>
                  <a:lnTo>
                    <a:pt x="18" y="9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31" y="1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4" y="4"/>
                  </a:lnTo>
                  <a:lnTo>
                    <a:pt x="34" y="7"/>
                  </a:lnTo>
                  <a:lnTo>
                    <a:pt x="34" y="9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28" y="16"/>
                  </a:lnTo>
                  <a:lnTo>
                    <a:pt x="23" y="23"/>
                  </a:lnTo>
                  <a:lnTo>
                    <a:pt x="20" y="28"/>
                  </a:lnTo>
                  <a:lnTo>
                    <a:pt x="17" y="34"/>
                  </a:lnTo>
                  <a:lnTo>
                    <a:pt x="15" y="41"/>
                  </a:lnTo>
                  <a:lnTo>
                    <a:pt x="13" y="48"/>
                  </a:lnTo>
                  <a:lnTo>
                    <a:pt x="13" y="55"/>
                  </a:lnTo>
                  <a:lnTo>
                    <a:pt x="12" y="61"/>
                  </a:lnTo>
                  <a:lnTo>
                    <a:pt x="13" y="69"/>
                  </a:lnTo>
                  <a:lnTo>
                    <a:pt x="13" y="75"/>
                  </a:lnTo>
                  <a:lnTo>
                    <a:pt x="15" y="82"/>
                  </a:lnTo>
                  <a:lnTo>
                    <a:pt x="17" y="88"/>
                  </a:lnTo>
                  <a:lnTo>
                    <a:pt x="20" y="94"/>
                  </a:lnTo>
                  <a:lnTo>
                    <a:pt x="23" y="101"/>
                  </a:lnTo>
                  <a:lnTo>
                    <a:pt x="28" y="106"/>
                  </a:lnTo>
                  <a:lnTo>
                    <a:pt x="33" y="112"/>
                  </a:lnTo>
                  <a:lnTo>
                    <a:pt x="33" y="112"/>
                  </a:lnTo>
                  <a:lnTo>
                    <a:pt x="34" y="114"/>
                  </a:lnTo>
                  <a:lnTo>
                    <a:pt x="34" y="116"/>
                  </a:lnTo>
                  <a:lnTo>
                    <a:pt x="34" y="119"/>
                  </a:lnTo>
                  <a:lnTo>
                    <a:pt x="33" y="120"/>
                  </a:lnTo>
                  <a:lnTo>
                    <a:pt x="33" y="120"/>
                  </a:lnTo>
                  <a:lnTo>
                    <a:pt x="31" y="122"/>
                  </a:lnTo>
                  <a:lnTo>
                    <a:pt x="29" y="122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3" name="Freeform 126">
              <a:extLst>
                <a:ext uri="{FF2B5EF4-FFF2-40B4-BE49-F238E27FC236}">
                  <a16:creationId xmlns:a16="http://schemas.microsoft.com/office/drawing/2014/main" id="{D2215611-E4FF-4C9F-B30A-F1A95AB89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58025" y="133351"/>
              <a:ext cx="53975" cy="193675"/>
            </a:xfrm>
            <a:custGeom>
              <a:avLst/>
              <a:gdLst>
                <a:gd name="T0" fmla="*/ 29 w 34"/>
                <a:gd name="T1" fmla="*/ 122 h 122"/>
                <a:gd name="T2" fmla="*/ 29 w 34"/>
                <a:gd name="T3" fmla="*/ 122 h 122"/>
                <a:gd name="T4" fmla="*/ 26 w 34"/>
                <a:gd name="T5" fmla="*/ 122 h 122"/>
                <a:gd name="T6" fmla="*/ 23 w 34"/>
                <a:gd name="T7" fmla="*/ 120 h 122"/>
                <a:gd name="T8" fmla="*/ 23 w 34"/>
                <a:gd name="T9" fmla="*/ 120 h 122"/>
                <a:gd name="T10" fmla="*/ 18 w 34"/>
                <a:gd name="T11" fmla="*/ 115 h 122"/>
                <a:gd name="T12" fmla="*/ 13 w 34"/>
                <a:gd name="T13" fmla="*/ 107 h 122"/>
                <a:gd name="T14" fmla="*/ 8 w 34"/>
                <a:gd name="T15" fmla="*/ 101 h 122"/>
                <a:gd name="T16" fmla="*/ 5 w 34"/>
                <a:gd name="T17" fmla="*/ 93 h 122"/>
                <a:gd name="T18" fmla="*/ 3 w 34"/>
                <a:gd name="T19" fmla="*/ 86 h 122"/>
                <a:gd name="T20" fmla="*/ 1 w 34"/>
                <a:gd name="T21" fmla="*/ 77 h 122"/>
                <a:gd name="T22" fmla="*/ 0 w 34"/>
                <a:gd name="T23" fmla="*/ 70 h 122"/>
                <a:gd name="T24" fmla="*/ 0 w 34"/>
                <a:gd name="T25" fmla="*/ 61 h 122"/>
                <a:gd name="T26" fmla="*/ 0 w 34"/>
                <a:gd name="T27" fmla="*/ 54 h 122"/>
                <a:gd name="T28" fmla="*/ 1 w 34"/>
                <a:gd name="T29" fmla="*/ 45 h 122"/>
                <a:gd name="T30" fmla="*/ 3 w 34"/>
                <a:gd name="T31" fmla="*/ 38 h 122"/>
                <a:gd name="T32" fmla="*/ 5 w 34"/>
                <a:gd name="T33" fmla="*/ 30 h 122"/>
                <a:gd name="T34" fmla="*/ 8 w 34"/>
                <a:gd name="T35" fmla="*/ 23 h 122"/>
                <a:gd name="T36" fmla="*/ 13 w 34"/>
                <a:gd name="T37" fmla="*/ 15 h 122"/>
                <a:gd name="T38" fmla="*/ 18 w 34"/>
                <a:gd name="T39" fmla="*/ 9 h 122"/>
                <a:gd name="T40" fmla="*/ 23 w 34"/>
                <a:gd name="T41" fmla="*/ 2 h 122"/>
                <a:gd name="T42" fmla="*/ 23 w 34"/>
                <a:gd name="T43" fmla="*/ 2 h 122"/>
                <a:gd name="T44" fmla="*/ 26 w 34"/>
                <a:gd name="T45" fmla="*/ 1 h 122"/>
                <a:gd name="T46" fmla="*/ 29 w 34"/>
                <a:gd name="T47" fmla="*/ 0 h 122"/>
                <a:gd name="T48" fmla="*/ 31 w 34"/>
                <a:gd name="T49" fmla="*/ 1 h 122"/>
                <a:gd name="T50" fmla="*/ 33 w 34"/>
                <a:gd name="T51" fmla="*/ 2 h 122"/>
                <a:gd name="T52" fmla="*/ 33 w 34"/>
                <a:gd name="T53" fmla="*/ 2 h 122"/>
                <a:gd name="T54" fmla="*/ 34 w 34"/>
                <a:gd name="T55" fmla="*/ 4 h 122"/>
                <a:gd name="T56" fmla="*/ 34 w 34"/>
                <a:gd name="T57" fmla="*/ 7 h 122"/>
                <a:gd name="T58" fmla="*/ 34 w 34"/>
                <a:gd name="T59" fmla="*/ 9 h 122"/>
                <a:gd name="T60" fmla="*/ 33 w 34"/>
                <a:gd name="T61" fmla="*/ 11 h 122"/>
                <a:gd name="T62" fmla="*/ 33 w 34"/>
                <a:gd name="T63" fmla="*/ 11 h 122"/>
                <a:gd name="T64" fmla="*/ 28 w 34"/>
                <a:gd name="T65" fmla="*/ 16 h 122"/>
                <a:gd name="T66" fmla="*/ 23 w 34"/>
                <a:gd name="T67" fmla="*/ 23 h 122"/>
                <a:gd name="T68" fmla="*/ 20 w 34"/>
                <a:gd name="T69" fmla="*/ 28 h 122"/>
                <a:gd name="T70" fmla="*/ 17 w 34"/>
                <a:gd name="T71" fmla="*/ 34 h 122"/>
                <a:gd name="T72" fmla="*/ 15 w 34"/>
                <a:gd name="T73" fmla="*/ 41 h 122"/>
                <a:gd name="T74" fmla="*/ 13 w 34"/>
                <a:gd name="T75" fmla="*/ 48 h 122"/>
                <a:gd name="T76" fmla="*/ 13 w 34"/>
                <a:gd name="T77" fmla="*/ 55 h 122"/>
                <a:gd name="T78" fmla="*/ 12 w 34"/>
                <a:gd name="T79" fmla="*/ 61 h 122"/>
                <a:gd name="T80" fmla="*/ 13 w 34"/>
                <a:gd name="T81" fmla="*/ 69 h 122"/>
                <a:gd name="T82" fmla="*/ 13 w 34"/>
                <a:gd name="T83" fmla="*/ 75 h 122"/>
                <a:gd name="T84" fmla="*/ 15 w 34"/>
                <a:gd name="T85" fmla="*/ 82 h 122"/>
                <a:gd name="T86" fmla="*/ 17 w 34"/>
                <a:gd name="T87" fmla="*/ 88 h 122"/>
                <a:gd name="T88" fmla="*/ 20 w 34"/>
                <a:gd name="T89" fmla="*/ 94 h 122"/>
                <a:gd name="T90" fmla="*/ 23 w 34"/>
                <a:gd name="T91" fmla="*/ 101 h 122"/>
                <a:gd name="T92" fmla="*/ 28 w 34"/>
                <a:gd name="T93" fmla="*/ 106 h 122"/>
                <a:gd name="T94" fmla="*/ 33 w 34"/>
                <a:gd name="T95" fmla="*/ 112 h 122"/>
                <a:gd name="T96" fmla="*/ 33 w 34"/>
                <a:gd name="T97" fmla="*/ 112 h 122"/>
                <a:gd name="T98" fmla="*/ 34 w 34"/>
                <a:gd name="T99" fmla="*/ 114 h 122"/>
                <a:gd name="T100" fmla="*/ 34 w 34"/>
                <a:gd name="T101" fmla="*/ 116 h 122"/>
                <a:gd name="T102" fmla="*/ 34 w 34"/>
                <a:gd name="T103" fmla="*/ 119 h 122"/>
                <a:gd name="T104" fmla="*/ 33 w 34"/>
                <a:gd name="T105" fmla="*/ 120 h 122"/>
                <a:gd name="T106" fmla="*/ 33 w 34"/>
                <a:gd name="T107" fmla="*/ 120 h 122"/>
                <a:gd name="T108" fmla="*/ 31 w 34"/>
                <a:gd name="T109" fmla="*/ 122 h 122"/>
                <a:gd name="T110" fmla="*/ 29 w 34"/>
                <a:gd name="T111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" h="122">
                  <a:moveTo>
                    <a:pt x="29" y="122"/>
                  </a:moveTo>
                  <a:lnTo>
                    <a:pt x="29" y="122"/>
                  </a:lnTo>
                  <a:lnTo>
                    <a:pt x="26" y="122"/>
                  </a:lnTo>
                  <a:lnTo>
                    <a:pt x="23" y="120"/>
                  </a:lnTo>
                  <a:lnTo>
                    <a:pt x="23" y="120"/>
                  </a:lnTo>
                  <a:lnTo>
                    <a:pt x="18" y="115"/>
                  </a:lnTo>
                  <a:lnTo>
                    <a:pt x="13" y="107"/>
                  </a:lnTo>
                  <a:lnTo>
                    <a:pt x="8" y="101"/>
                  </a:lnTo>
                  <a:lnTo>
                    <a:pt x="5" y="93"/>
                  </a:lnTo>
                  <a:lnTo>
                    <a:pt x="3" y="86"/>
                  </a:lnTo>
                  <a:lnTo>
                    <a:pt x="1" y="77"/>
                  </a:lnTo>
                  <a:lnTo>
                    <a:pt x="0" y="70"/>
                  </a:lnTo>
                  <a:lnTo>
                    <a:pt x="0" y="61"/>
                  </a:lnTo>
                  <a:lnTo>
                    <a:pt x="0" y="54"/>
                  </a:lnTo>
                  <a:lnTo>
                    <a:pt x="1" y="45"/>
                  </a:lnTo>
                  <a:lnTo>
                    <a:pt x="3" y="38"/>
                  </a:lnTo>
                  <a:lnTo>
                    <a:pt x="5" y="30"/>
                  </a:lnTo>
                  <a:lnTo>
                    <a:pt x="8" y="23"/>
                  </a:lnTo>
                  <a:lnTo>
                    <a:pt x="13" y="15"/>
                  </a:lnTo>
                  <a:lnTo>
                    <a:pt x="18" y="9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31" y="1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4" y="4"/>
                  </a:lnTo>
                  <a:lnTo>
                    <a:pt x="34" y="7"/>
                  </a:lnTo>
                  <a:lnTo>
                    <a:pt x="34" y="9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28" y="16"/>
                  </a:lnTo>
                  <a:lnTo>
                    <a:pt x="23" y="23"/>
                  </a:lnTo>
                  <a:lnTo>
                    <a:pt x="20" y="28"/>
                  </a:lnTo>
                  <a:lnTo>
                    <a:pt x="17" y="34"/>
                  </a:lnTo>
                  <a:lnTo>
                    <a:pt x="15" y="41"/>
                  </a:lnTo>
                  <a:lnTo>
                    <a:pt x="13" y="48"/>
                  </a:lnTo>
                  <a:lnTo>
                    <a:pt x="13" y="55"/>
                  </a:lnTo>
                  <a:lnTo>
                    <a:pt x="12" y="61"/>
                  </a:lnTo>
                  <a:lnTo>
                    <a:pt x="13" y="69"/>
                  </a:lnTo>
                  <a:lnTo>
                    <a:pt x="13" y="75"/>
                  </a:lnTo>
                  <a:lnTo>
                    <a:pt x="15" y="82"/>
                  </a:lnTo>
                  <a:lnTo>
                    <a:pt x="17" y="88"/>
                  </a:lnTo>
                  <a:lnTo>
                    <a:pt x="20" y="94"/>
                  </a:lnTo>
                  <a:lnTo>
                    <a:pt x="23" y="101"/>
                  </a:lnTo>
                  <a:lnTo>
                    <a:pt x="28" y="106"/>
                  </a:lnTo>
                  <a:lnTo>
                    <a:pt x="33" y="112"/>
                  </a:lnTo>
                  <a:lnTo>
                    <a:pt x="33" y="112"/>
                  </a:lnTo>
                  <a:lnTo>
                    <a:pt x="34" y="114"/>
                  </a:lnTo>
                  <a:lnTo>
                    <a:pt x="34" y="116"/>
                  </a:lnTo>
                  <a:lnTo>
                    <a:pt x="34" y="119"/>
                  </a:lnTo>
                  <a:lnTo>
                    <a:pt x="33" y="120"/>
                  </a:lnTo>
                  <a:lnTo>
                    <a:pt x="33" y="120"/>
                  </a:lnTo>
                  <a:lnTo>
                    <a:pt x="31" y="122"/>
                  </a:lnTo>
                  <a:lnTo>
                    <a:pt x="29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4" name="Freeform 127">
              <a:extLst>
                <a:ext uri="{FF2B5EF4-FFF2-40B4-BE49-F238E27FC236}">
                  <a16:creationId xmlns:a16="http://schemas.microsoft.com/office/drawing/2014/main" id="{9D34CC73-AB5A-47A8-9BB4-EED50B808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08813" y="100013"/>
              <a:ext cx="69850" cy="263525"/>
            </a:xfrm>
            <a:custGeom>
              <a:avLst/>
              <a:gdLst>
                <a:gd name="T0" fmla="*/ 37 w 44"/>
                <a:gd name="T1" fmla="*/ 166 h 166"/>
                <a:gd name="T2" fmla="*/ 37 w 44"/>
                <a:gd name="T3" fmla="*/ 166 h 166"/>
                <a:gd name="T4" fmla="*/ 35 w 44"/>
                <a:gd name="T5" fmla="*/ 165 h 166"/>
                <a:gd name="T6" fmla="*/ 33 w 44"/>
                <a:gd name="T7" fmla="*/ 164 h 166"/>
                <a:gd name="T8" fmla="*/ 33 w 44"/>
                <a:gd name="T9" fmla="*/ 164 h 166"/>
                <a:gd name="T10" fmla="*/ 25 w 44"/>
                <a:gd name="T11" fmla="*/ 155 h 166"/>
                <a:gd name="T12" fmla="*/ 19 w 44"/>
                <a:gd name="T13" fmla="*/ 147 h 166"/>
                <a:gd name="T14" fmla="*/ 13 w 44"/>
                <a:gd name="T15" fmla="*/ 137 h 166"/>
                <a:gd name="T16" fmla="*/ 8 w 44"/>
                <a:gd name="T17" fmla="*/ 126 h 166"/>
                <a:gd name="T18" fmla="*/ 4 w 44"/>
                <a:gd name="T19" fmla="*/ 115 h 166"/>
                <a:gd name="T20" fmla="*/ 2 w 44"/>
                <a:gd name="T21" fmla="*/ 105 h 166"/>
                <a:gd name="T22" fmla="*/ 0 w 44"/>
                <a:gd name="T23" fmla="*/ 94 h 166"/>
                <a:gd name="T24" fmla="*/ 0 w 44"/>
                <a:gd name="T25" fmla="*/ 82 h 166"/>
                <a:gd name="T26" fmla="*/ 0 w 44"/>
                <a:gd name="T27" fmla="*/ 82 h 166"/>
                <a:gd name="T28" fmla="*/ 0 w 44"/>
                <a:gd name="T29" fmla="*/ 72 h 166"/>
                <a:gd name="T30" fmla="*/ 2 w 44"/>
                <a:gd name="T31" fmla="*/ 60 h 166"/>
                <a:gd name="T32" fmla="*/ 4 w 44"/>
                <a:gd name="T33" fmla="*/ 49 h 166"/>
                <a:gd name="T34" fmla="*/ 8 w 44"/>
                <a:gd name="T35" fmla="*/ 38 h 166"/>
                <a:gd name="T36" fmla="*/ 13 w 44"/>
                <a:gd name="T37" fmla="*/ 29 h 166"/>
                <a:gd name="T38" fmla="*/ 19 w 44"/>
                <a:gd name="T39" fmla="*/ 19 h 166"/>
                <a:gd name="T40" fmla="*/ 25 w 44"/>
                <a:gd name="T41" fmla="*/ 10 h 166"/>
                <a:gd name="T42" fmla="*/ 33 w 44"/>
                <a:gd name="T43" fmla="*/ 2 h 166"/>
                <a:gd name="T44" fmla="*/ 33 w 44"/>
                <a:gd name="T45" fmla="*/ 2 h 166"/>
                <a:gd name="T46" fmla="*/ 35 w 44"/>
                <a:gd name="T47" fmla="*/ 0 h 166"/>
                <a:gd name="T48" fmla="*/ 37 w 44"/>
                <a:gd name="T49" fmla="*/ 0 h 166"/>
                <a:gd name="T50" fmla="*/ 39 w 44"/>
                <a:gd name="T51" fmla="*/ 0 h 166"/>
                <a:gd name="T52" fmla="*/ 42 w 44"/>
                <a:gd name="T53" fmla="*/ 2 h 166"/>
                <a:gd name="T54" fmla="*/ 42 w 44"/>
                <a:gd name="T55" fmla="*/ 2 h 166"/>
                <a:gd name="T56" fmla="*/ 44 w 44"/>
                <a:gd name="T57" fmla="*/ 4 h 166"/>
                <a:gd name="T58" fmla="*/ 44 w 44"/>
                <a:gd name="T59" fmla="*/ 6 h 166"/>
                <a:gd name="T60" fmla="*/ 44 w 44"/>
                <a:gd name="T61" fmla="*/ 8 h 166"/>
                <a:gd name="T62" fmla="*/ 42 w 44"/>
                <a:gd name="T63" fmla="*/ 10 h 166"/>
                <a:gd name="T64" fmla="*/ 42 w 44"/>
                <a:gd name="T65" fmla="*/ 10 h 166"/>
                <a:gd name="T66" fmla="*/ 35 w 44"/>
                <a:gd name="T67" fmla="*/ 18 h 166"/>
                <a:gd name="T68" fmla="*/ 29 w 44"/>
                <a:gd name="T69" fmla="*/ 25 h 166"/>
                <a:gd name="T70" fmla="*/ 24 w 44"/>
                <a:gd name="T71" fmla="*/ 34 h 166"/>
                <a:gd name="T72" fmla="*/ 20 w 44"/>
                <a:gd name="T73" fmla="*/ 44 h 166"/>
                <a:gd name="T74" fmla="*/ 16 w 44"/>
                <a:gd name="T75" fmla="*/ 53 h 166"/>
                <a:gd name="T76" fmla="*/ 14 w 44"/>
                <a:gd name="T77" fmla="*/ 63 h 166"/>
                <a:gd name="T78" fmla="*/ 13 w 44"/>
                <a:gd name="T79" fmla="*/ 73 h 166"/>
                <a:gd name="T80" fmla="*/ 12 w 44"/>
                <a:gd name="T81" fmla="*/ 82 h 166"/>
                <a:gd name="T82" fmla="*/ 12 w 44"/>
                <a:gd name="T83" fmla="*/ 82 h 166"/>
                <a:gd name="T84" fmla="*/ 13 w 44"/>
                <a:gd name="T85" fmla="*/ 93 h 166"/>
                <a:gd name="T86" fmla="*/ 14 w 44"/>
                <a:gd name="T87" fmla="*/ 103 h 166"/>
                <a:gd name="T88" fmla="*/ 16 w 44"/>
                <a:gd name="T89" fmla="*/ 112 h 166"/>
                <a:gd name="T90" fmla="*/ 20 w 44"/>
                <a:gd name="T91" fmla="*/ 122 h 166"/>
                <a:gd name="T92" fmla="*/ 24 w 44"/>
                <a:gd name="T93" fmla="*/ 130 h 166"/>
                <a:gd name="T94" fmla="*/ 29 w 44"/>
                <a:gd name="T95" fmla="*/ 139 h 166"/>
                <a:gd name="T96" fmla="*/ 35 w 44"/>
                <a:gd name="T97" fmla="*/ 148 h 166"/>
                <a:gd name="T98" fmla="*/ 42 w 44"/>
                <a:gd name="T99" fmla="*/ 155 h 166"/>
                <a:gd name="T100" fmla="*/ 42 w 44"/>
                <a:gd name="T101" fmla="*/ 155 h 166"/>
                <a:gd name="T102" fmla="*/ 44 w 44"/>
                <a:gd name="T103" fmla="*/ 157 h 166"/>
                <a:gd name="T104" fmla="*/ 44 w 44"/>
                <a:gd name="T105" fmla="*/ 159 h 166"/>
                <a:gd name="T106" fmla="*/ 44 w 44"/>
                <a:gd name="T107" fmla="*/ 162 h 166"/>
                <a:gd name="T108" fmla="*/ 42 w 44"/>
                <a:gd name="T109" fmla="*/ 164 h 166"/>
                <a:gd name="T110" fmla="*/ 42 w 44"/>
                <a:gd name="T111" fmla="*/ 164 h 166"/>
                <a:gd name="T112" fmla="*/ 39 w 44"/>
                <a:gd name="T113" fmla="*/ 165 h 166"/>
                <a:gd name="T114" fmla="*/ 37 w 44"/>
                <a:gd name="T115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4" h="166">
                  <a:moveTo>
                    <a:pt x="37" y="166"/>
                  </a:moveTo>
                  <a:lnTo>
                    <a:pt x="37" y="166"/>
                  </a:lnTo>
                  <a:lnTo>
                    <a:pt x="35" y="165"/>
                  </a:lnTo>
                  <a:lnTo>
                    <a:pt x="33" y="164"/>
                  </a:lnTo>
                  <a:lnTo>
                    <a:pt x="33" y="164"/>
                  </a:lnTo>
                  <a:lnTo>
                    <a:pt x="25" y="155"/>
                  </a:lnTo>
                  <a:lnTo>
                    <a:pt x="19" y="147"/>
                  </a:lnTo>
                  <a:lnTo>
                    <a:pt x="13" y="137"/>
                  </a:lnTo>
                  <a:lnTo>
                    <a:pt x="8" y="126"/>
                  </a:lnTo>
                  <a:lnTo>
                    <a:pt x="4" y="115"/>
                  </a:lnTo>
                  <a:lnTo>
                    <a:pt x="2" y="105"/>
                  </a:lnTo>
                  <a:lnTo>
                    <a:pt x="0" y="94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72"/>
                  </a:lnTo>
                  <a:lnTo>
                    <a:pt x="2" y="60"/>
                  </a:lnTo>
                  <a:lnTo>
                    <a:pt x="4" y="49"/>
                  </a:lnTo>
                  <a:lnTo>
                    <a:pt x="8" y="38"/>
                  </a:lnTo>
                  <a:lnTo>
                    <a:pt x="13" y="29"/>
                  </a:lnTo>
                  <a:lnTo>
                    <a:pt x="19" y="19"/>
                  </a:lnTo>
                  <a:lnTo>
                    <a:pt x="25" y="10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37" y="0"/>
                  </a:lnTo>
                  <a:lnTo>
                    <a:pt x="39" y="0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4" y="4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5" y="18"/>
                  </a:lnTo>
                  <a:lnTo>
                    <a:pt x="29" y="25"/>
                  </a:lnTo>
                  <a:lnTo>
                    <a:pt x="24" y="34"/>
                  </a:lnTo>
                  <a:lnTo>
                    <a:pt x="20" y="44"/>
                  </a:lnTo>
                  <a:lnTo>
                    <a:pt x="16" y="53"/>
                  </a:lnTo>
                  <a:lnTo>
                    <a:pt x="14" y="63"/>
                  </a:lnTo>
                  <a:lnTo>
                    <a:pt x="13" y="73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3" y="93"/>
                  </a:lnTo>
                  <a:lnTo>
                    <a:pt x="14" y="103"/>
                  </a:lnTo>
                  <a:lnTo>
                    <a:pt x="16" y="112"/>
                  </a:lnTo>
                  <a:lnTo>
                    <a:pt x="20" y="122"/>
                  </a:lnTo>
                  <a:lnTo>
                    <a:pt x="24" y="130"/>
                  </a:lnTo>
                  <a:lnTo>
                    <a:pt x="29" y="139"/>
                  </a:lnTo>
                  <a:lnTo>
                    <a:pt x="35" y="148"/>
                  </a:lnTo>
                  <a:lnTo>
                    <a:pt x="42" y="155"/>
                  </a:lnTo>
                  <a:lnTo>
                    <a:pt x="42" y="155"/>
                  </a:lnTo>
                  <a:lnTo>
                    <a:pt x="44" y="157"/>
                  </a:lnTo>
                  <a:lnTo>
                    <a:pt x="44" y="159"/>
                  </a:lnTo>
                  <a:lnTo>
                    <a:pt x="44" y="162"/>
                  </a:lnTo>
                  <a:lnTo>
                    <a:pt x="42" y="164"/>
                  </a:lnTo>
                  <a:lnTo>
                    <a:pt x="42" y="164"/>
                  </a:lnTo>
                  <a:lnTo>
                    <a:pt x="39" y="165"/>
                  </a:lnTo>
                  <a:lnTo>
                    <a:pt x="37" y="166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5" name="Freeform 128">
              <a:extLst>
                <a:ext uri="{FF2B5EF4-FFF2-40B4-BE49-F238E27FC236}">
                  <a16:creationId xmlns:a16="http://schemas.microsoft.com/office/drawing/2014/main" id="{D8F57AB6-4893-417D-928E-39F9CA609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08813" y="100013"/>
              <a:ext cx="69850" cy="263525"/>
            </a:xfrm>
            <a:custGeom>
              <a:avLst/>
              <a:gdLst>
                <a:gd name="T0" fmla="*/ 37 w 44"/>
                <a:gd name="T1" fmla="*/ 166 h 166"/>
                <a:gd name="T2" fmla="*/ 37 w 44"/>
                <a:gd name="T3" fmla="*/ 166 h 166"/>
                <a:gd name="T4" fmla="*/ 35 w 44"/>
                <a:gd name="T5" fmla="*/ 165 h 166"/>
                <a:gd name="T6" fmla="*/ 33 w 44"/>
                <a:gd name="T7" fmla="*/ 164 h 166"/>
                <a:gd name="T8" fmla="*/ 33 w 44"/>
                <a:gd name="T9" fmla="*/ 164 h 166"/>
                <a:gd name="T10" fmla="*/ 25 w 44"/>
                <a:gd name="T11" fmla="*/ 155 h 166"/>
                <a:gd name="T12" fmla="*/ 19 w 44"/>
                <a:gd name="T13" fmla="*/ 147 h 166"/>
                <a:gd name="T14" fmla="*/ 13 w 44"/>
                <a:gd name="T15" fmla="*/ 137 h 166"/>
                <a:gd name="T16" fmla="*/ 8 w 44"/>
                <a:gd name="T17" fmla="*/ 126 h 166"/>
                <a:gd name="T18" fmla="*/ 4 w 44"/>
                <a:gd name="T19" fmla="*/ 115 h 166"/>
                <a:gd name="T20" fmla="*/ 2 w 44"/>
                <a:gd name="T21" fmla="*/ 105 h 166"/>
                <a:gd name="T22" fmla="*/ 0 w 44"/>
                <a:gd name="T23" fmla="*/ 94 h 166"/>
                <a:gd name="T24" fmla="*/ 0 w 44"/>
                <a:gd name="T25" fmla="*/ 82 h 166"/>
                <a:gd name="T26" fmla="*/ 0 w 44"/>
                <a:gd name="T27" fmla="*/ 82 h 166"/>
                <a:gd name="T28" fmla="*/ 0 w 44"/>
                <a:gd name="T29" fmla="*/ 72 h 166"/>
                <a:gd name="T30" fmla="*/ 2 w 44"/>
                <a:gd name="T31" fmla="*/ 60 h 166"/>
                <a:gd name="T32" fmla="*/ 4 w 44"/>
                <a:gd name="T33" fmla="*/ 49 h 166"/>
                <a:gd name="T34" fmla="*/ 8 w 44"/>
                <a:gd name="T35" fmla="*/ 38 h 166"/>
                <a:gd name="T36" fmla="*/ 13 w 44"/>
                <a:gd name="T37" fmla="*/ 29 h 166"/>
                <a:gd name="T38" fmla="*/ 19 w 44"/>
                <a:gd name="T39" fmla="*/ 19 h 166"/>
                <a:gd name="T40" fmla="*/ 25 w 44"/>
                <a:gd name="T41" fmla="*/ 10 h 166"/>
                <a:gd name="T42" fmla="*/ 33 w 44"/>
                <a:gd name="T43" fmla="*/ 2 h 166"/>
                <a:gd name="T44" fmla="*/ 33 w 44"/>
                <a:gd name="T45" fmla="*/ 2 h 166"/>
                <a:gd name="T46" fmla="*/ 35 w 44"/>
                <a:gd name="T47" fmla="*/ 0 h 166"/>
                <a:gd name="T48" fmla="*/ 37 w 44"/>
                <a:gd name="T49" fmla="*/ 0 h 166"/>
                <a:gd name="T50" fmla="*/ 39 w 44"/>
                <a:gd name="T51" fmla="*/ 0 h 166"/>
                <a:gd name="T52" fmla="*/ 42 w 44"/>
                <a:gd name="T53" fmla="*/ 2 h 166"/>
                <a:gd name="T54" fmla="*/ 42 w 44"/>
                <a:gd name="T55" fmla="*/ 2 h 166"/>
                <a:gd name="T56" fmla="*/ 44 w 44"/>
                <a:gd name="T57" fmla="*/ 4 h 166"/>
                <a:gd name="T58" fmla="*/ 44 w 44"/>
                <a:gd name="T59" fmla="*/ 6 h 166"/>
                <a:gd name="T60" fmla="*/ 44 w 44"/>
                <a:gd name="T61" fmla="*/ 8 h 166"/>
                <a:gd name="T62" fmla="*/ 42 w 44"/>
                <a:gd name="T63" fmla="*/ 10 h 166"/>
                <a:gd name="T64" fmla="*/ 42 w 44"/>
                <a:gd name="T65" fmla="*/ 10 h 166"/>
                <a:gd name="T66" fmla="*/ 35 w 44"/>
                <a:gd name="T67" fmla="*/ 18 h 166"/>
                <a:gd name="T68" fmla="*/ 29 w 44"/>
                <a:gd name="T69" fmla="*/ 25 h 166"/>
                <a:gd name="T70" fmla="*/ 24 w 44"/>
                <a:gd name="T71" fmla="*/ 34 h 166"/>
                <a:gd name="T72" fmla="*/ 20 w 44"/>
                <a:gd name="T73" fmla="*/ 44 h 166"/>
                <a:gd name="T74" fmla="*/ 16 w 44"/>
                <a:gd name="T75" fmla="*/ 53 h 166"/>
                <a:gd name="T76" fmla="*/ 14 w 44"/>
                <a:gd name="T77" fmla="*/ 63 h 166"/>
                <a:gd name="T78" fmla="*/ 13 w 44"/>
                <a:gd name="T79" fmla="*/ 73 h 166"/>
                <a:gd name="T80" fmla="*/ 12 w 44"/>
                <a:gd name="T81" fmla="*/ 82 h 166"/>
                <a:gd name="T82" fmla="*/ 12 w 44"/>
                <a:gd name="T83" fmla="*/ 82 h 166"/>
                <a:gd name="T84" fmla="*/ 13 w 44"/>
                <a:gd name="T85" fmla="*/ 93 h 166"/>
                <a:gd name="T86" fmla="*/ 14 w 44"/>
                <a:gd name="T87" fmla="*/ 103 h 166"/>
                <a:gd name="T88" fmla="*/ 16 w 44"/>
                <a:gd name="T89" fmla="*/ 112 h 166"/>
                <a:gd name="T90" fmla="*/ 20 w 44"/>
                <a:gd name="T91" fmla="*/ 122 h 166"/>
                <a:gd name="T92" fmla="*/ 24 w 44"/>
                <a:gd name="T93" fmla="*/ 130 h 166"/>
                <a:gd name="T94" fmla="*/ 29 w 44"/>
                <a:gd name="T95" fmla="*/ 139 h 166"/>
                <a:gd name="T96" fmla="*/ 35 w 44"/>
                <a:gd name="T97" fmla="*/ 148 h 166"/>
                <a:gd name="T98" fmla="*/ 42 w 44"/>
                <a:gd name="T99" fmla="*/ 155 h 166"/>
                <a:gd name="T100" fmla="*/ 42 w 44"/>
                <a:gd name="T101" fmla="*/ 155 h 166"/>
                <a:gd name="T102" fmla="*/ 44 w 44"/>
                <a:gd name="T103" fmla="*/ 157 h 166"/>
                <a:gd name="T104" fmla="*/ 44 w 44"/>
                <a:gd name="T105" fmla="*/ 159 h 166"/>
                <a:gd name="T106" fmla="*/ 44 w 44"/>
                <a:gd name="T107" fmla="*/ 162 h 166"/>
                <a:gd name="T108" fmla="*/ 42 w 44"/>
                <a:gd name="T109" fmla="*/ 164 h 166"/>
                <a:gd name="T110" fmla="*/ 42 w 44"/>
                <a:gd name="T111" fmla="*/ 164 h 166"/>
                <a:gd name="T112" fmla="*/ 39 w 44"/>
                <a:gd name="T113" fmla="*/ 165 h 166"/>
                <a:gd name="T114" fmla="*/ 37 w 44"/>
                <a:gd name="T115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4" h="166">
                  <a:moveTo>
                    <a:pt x="37" y="166"/>
                  </a:moveTo>
                  <a:lnTo>
                    <a:pt x="37" y="166"/>
                  </a:lnTo>
                  <a:lnTo>
                    <a:pt x="35" y="165"/>
                  </a:lnTo>
                  <a:lnTo>
                    <a:pt x="33" y="164"/>
                  </a:lnTo>
                  <a:lnTo>
                    <a:pt x="33" y="164"/>
                  </a:lnTo>
                  <a:lnTo>
                    <a:pt x="25" y="155"/>
                  </a:lnTo>
                  <a:lnTo>
                    <a:pt x="19" y="147"/>
                  </a:lnTo>
                  <a:lnTo>
                    <a:pt x="13" y="137"/>
                  </a:lnTo>
                  <a:lnTo>
                    <a:pt x="8" y="126"/>
                  </a:lnTo>
                  <a:lnTo>
                    <a:pt x="4" y="115"/>
                  </a:lnTo>
                  <a:lnTo>
                    <a:pt x="2" y="105"/>
                  </a:lnTo>
                  <a:lnTo>
                    <a:pt x="0" y="94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72"/>
                  </a:lnTo>
                  <a:lnTo>
                    <a:pt x="2" y="60"/>
                  </a:lnTo>
                  <a:lnTo>
                    <a:pt x="4" y="49"/>
                  </a:lnTo>
                  <a:lnTo>
                    <a:pt x="8" y="38"/>
                  </a:lnTo>
                  <a:lnTo>
                    <a:pt x="13" y="29"/>
                  </a:lnTo>
                  <a:lnTo>
                    <a:pt x="19" y="19"/>
                  </a:lnTo>
                  <a:lnTo>
                    <a:pt x="25" y="10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37" y="0"/>
                  </a:lnTo>
                  <a:lnTo>
                    <a:pt x="39" y="0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4" y="4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5" y="18"/>
                  </a:lnTo>
                  <a:lnTo>
                    <a:pt x="29" y="25"/>
                  </a:lnTo>
                  <a:lnTo>
                    <a:pt x="24" y="34"/>
                  </a:lnTo>
                  <a:lnTo>
                    <a:pt x="20" y="44"/>
                  </a:lnTo>
                  <a:lnTo>
                    <a:pt x="16" y="53"/>
                  </a:lnTo>
                  <a:lnTo>
                    <a:pt x="14" y="63"/>
                  </a:lnTo>
                  <a:lnTo>
                    <a:pt x="13" y="73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3" y="93"/>
                  </a:lnTo>
                  <a:lnTo>
                    <a:pt x="14" y="103"/>
                  </a:lnTo>
                  <a:lnTo>
                    <a:pt x="16" y="112"/>
                  </a:lnTo>
                  <a:lnTo>
                    <a:pt x="20" y="122"/>
                  </a:lnTo>
                  <a:lnTo>
                    <a:pt x="24" y="130"/>
                  </a:lnTo>
                  <a:lnTo>
                    <a:pt x="29" y="139"/>
                  </a:lnTo>
                  <a:lnTo>
                    <a:pt x="35" y="148"/>
                  </a:lnTo>
                  <a:lnTo>
                    <a:pt x="42" y="155"/>
                  </a:lnTo>
                  <a:lnTo>
                    <a:pt x="42" y="155"/>
                  </a:lnTo>
                  <a:lnTo>
                    <a:pt x="44" y="157"/>
                  </a:lnTo>
                  <a:lnTo>
                    <a:pt x="44" y="159"/>
                  </a:lnTo>
                  <a:lnTo>
                    <a:pt x="44" y="162"/>
                  </a:lnTo>
                  <a:lnTo>
                    <a:pt x="42" y="164"/>
                  </a:lnTo>
                  <a:lnTo>
                    <a:pt x="42" y="164"/>
                  </a:lnTo>
                  <a:lnTo>
                    <a:pt x="39" y="165"/>
                  </a:lnTo>
                  <a:lnTo>
                    <a:pt x="37" y="1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6" name="Freeform 129">
              <a:extLst>
                <a:ext uri="{FF2B5EF4-FFF2-40B4-BE49-F238E27FC236}">
                  <a16:creationId xmlns:a16="http://schemas.microsoft.com/office/drawing/2014/main" id="{5179AE45-0D98-45E6-B62F-411DE9805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48513" y="263526"/>
              <a:ext cx="79375" cy="346075"/>
            </a:xfrm>
            <a:custGeom>
              <a:avLst/>
              <a:gdLst>
                <a:gd name="T0" fmla="*/ 6 w 50"/>
                <a:gd name="T1" fmla="*/ 218 h 218"/>
                <a:gd name="T2" fmla="*/ 6 w 50"/>
                <a:gd name="T3" fmla="*/ 218 h 218"/>
                <a:gd name="T4" fmla="*/ 5 w 50"/>
                <a:gd name="T5" fmla="*/ 218 h 218"/>
                <a:gd name="T6" fmla="*/ 5 w 50"/>
                <a:gd name="T7" fmla="*/ 218 h 218"/>
                <a:gd name="T8" fmla="*/ 3 w 50"/>
                <a:gd name="T9" fmla="*/ 217 h 218"/>
                <a:gd name="T10" fmla="*/ 1 w 50"/>
                <a:gd name="T11" fmla="*/ 216 h 218"/>
                <a:gd name="T12" fmla="*/ 0 w 50"/>
                <a:gd name="T13" fmla="*/ 214 h 218"/>
                <a:gd name="T14" fmla="*/ 0 w 50"/>
                <a:gd name="T15" fmla="*/ 211 h 218"/>
                <a:gd name="T16" fmla="*/ 37 w 50"/>
                <a:gd name="T17" fmla="*/ 5 h 218"/>
                <a:gd name="T18" fmla="*/ 37 w 50"/>
                <a:gd name="T19" fmla="*/ 5 h 218"/>
                <a:gd name="T20" fmla="*/ 38 w 50"/>
                <a:gd name="T21" fmla="*/ 3 h 218"/>
                <a:gd name="T22" fmla="*/ 40 w 50"/>
                <a:gd name="T23" fmla="*/ 1 h 218"/>
                <a:gd name="T24" fmla="*/ 42 w 50"/>
                <a:gd name="T25" fmla="*/ 0 h 218"/>
                <a:gd name="T26" fmla="*/ 45 w 50"/>
                <a:gd name="T27" fmla="*/ 0 h 218"/>
                <a:gd name="T28" fmla="*/ 45 w 50"/>
                <a:gd name="T29" fmla="*/ 0 h 218"/>
                <a:gd name="T30" fmla="*/ 47 w 50"/>
                <a:gd name="T31" fmla="*/ 1 h 218"/>
                <a:gd name="T32" fmla="*/ 49 w 50"/>
                <a:gd name="T33" fmla="*/ 3 h 218"/>
                <a:gd name="T34" fmla="*/ 50 w 50"/>
                <a:gd name="T35" fmla="*/ 5 h 218"/>
                <a:gd name="T36" fmla="*/ 50 w 50"/>
                <a:gd name="T37" fmla="*/ 7 h 218"/>
                <a:gd name="T38" fmla="*/ 12 w 50"/>
                <a:gd name="T39" fmla="*/ 214 h 218"/>
                <a:gd name="T40" fmla="*/ 12 w 50"/>
                <a:gd name="T41" fmla="*/ 214 h 218"/>
                <a:gd name="T42" fmla="*/ 11 w 50"/>
                <a:gd name="T43" fmla="*/ 215 h 218"/>
                <a:gd name="T44" fmla="*/ 10 w 50"/>
                <a:gd name="T45" fmla="*/ 217 h 218"/>
                <a:gd name="T46" fmla="*/ 8 w 50"/>
                <a:gd name="T47" fmla="*/ 218 h 218"/>
                <a:gd name="T48" fmla="*/ 6 w 50"/>
                <a:gd name="T49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" h="218">
                  <a:moveTo>
                    <a:pt x="6" y="218"/>
                  </a:moveTo>
                  <a:lnTo>
                    <a:pt x="6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3" y="217"/>
                  </a:lnTo>
                  <a:lnTo>
                    <a:pt x="1" y="216"/>
                  </a:lnTo>
                  <a:lnTo>
                    <a:pt x="0" y="214"/>
                  </a:lnTo>
                  <a:lnTo>
                    <a:pt x="0" y="211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8" y="3"/>
                  </a:lnTo>
                  <a:lnTo>
                    <a:pt x="40" y="1"/>
                  </a:lnTo>
                  <a:lnTo>
                    <a:pt x="42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7" y="1"/>
                  </a:lnTo>
                  <a:lnTo>
                    <a:pt x="49" y="3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12" y="214"/>
                  </a:lnTo>
                  <a:lnTo>
                    <a:pt x="12" y="214"/>
                  </a:lnTo>
                  <a:lnTo>
                    <a:pt x="11" y="215"/>
                  </a:lnTo>
                  <a:lnTo>
                    <a:pt x="10" y="217"/>
                  </a:lnTo>
                  <a:lnTo>
                    <a:pt x="8" y="218"/>
                  </a:lnTo>
                  <a:lnTo>
                    <a:pt x="6" y="218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7" name="Freeform 130">
              <a:extLst>
                <a:ext uri="{FF2B5EF4-FFF2-40B4-BE49-F238E27FC236}">
                  <a16:creationId xmlns:a16="http://schemas.microsoft.com/office/drawing/2014/main" id="{B68F90D3-625F-4397-BBDB-3A5518D5EB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48513" y="263526"/>
              <a:ext cx="79375" cy="346075"/>
            </a:xfrm>
            <a:custGeom>
              <a:avLst/>
              <a:gdLst>
                <a:gd name="T0" fmla="*/ 6 w 50"/>
                <a:gd name="T1" fmla="*/ 218 h 218"/>
                <a:gd name="T2" fmla="*/ 6 w 50"/>
                <a:gd name="T3" fmla="*/ 218 h 218"/>
                <a:gd name="T4" fmla="*/ 5 w 50"/>
                <a:gd name="T5" fmla="*/ 218 h 218"/>
                <a:gd name="T6" fmla="*/ 5 w 50"/>
                <a:gd name="T7" fmla="*/ 218 h 218"/>
                <a:gd name="T8" fmla="*/ 3 w 50"/>
                <a:gd name="T9" fmla="*/ 217 h 218"/>
                <a:gd name="T10" fmla="*/ 1 w 50"/>
                <a:gd name="T11" fmla="*/ 216 h 218"/>
                <a:gd name="T12" fmla="*/ 0 w 50"/>
                <a:gd name="T13" fmla="*/ 214 h 218"/>
                <a:gd name="T14" fmla="*/ 0 w 50"/>
                <a:gd name="T15" fmla="*/ 211 h 218"/>
                <a:gd name="T16" fmla="*/ 37 w 50"/>
                <a:gd name="T17" fmla="*/ 5 h 218"/>
                <a:gd name="T18" fmla="*/ 37 w 50"/>
                <a:gd name="T19" fmla="*/ 5 h 218"/>
                <a:gd name="T20" fmla="*/ 38 w 50"/>
                <a:gd name="T21" fmla="*/ 3 h 218"/>
                <a:gd name="T22" fmla="*/ 40 w 50"/>
                <a:gd name="T23" fmla="*/ 1 h 218"/>
                <a:gd name="T24" fmla="*/ 42 w 50"/>
                <a:gd name="T25" fmla="*/ 0 h 218"/>
                <a:gd name="T26" fmla="*/ 45 w 50"/>
                <a:gd name="T27" fmla="*/ 0 h 218"/>
                <a:gd name="T28" fmla="*/ 45 w 50"/>
                <a:gd name="T29" fmla="*/ 0 h 218"/>
                <a:gd name="T30" fmla="*/ 47 w 50"/>
                <a:gd name="T31" fmla="*/ 1 h 218"/>
                <a:gd name="T32" fmla="*/ 49 w 50"/>
                <a:gd name="T33" fmla="*/ 3 h 218"/>
                <a:gd name="T34" fmla="*/ 50 w 50"/>
                <a:gd name="T35" fmla="*/ 5 h 218"/>
                <a:gd name="T36" fmla="*/ 50 w 50"/>
                <a:gd name="T37" fmla="*/ 7 h 218"/>
                <a:gd name="T38" fmla="*/ 12 w 50"/>
                <a:gd name="T39" fmla="*/ 214 h 218"/>
                <a:gd name="T40" fmla="*/ 12 w 50"/>
                <a:gd name="T41" fmla="*/ 214 h 218"/>
                <a:gd name="T42" fmla="*/ 11 w 50"/>
                <a:gd name="T43" fmla="*/ 215 h 218"/>
                <a:gd name="T44" fmla="*/ 10 w 50"/>
                <a:gd name="T45" fmla="*/ 217 h 218"/>
                <a:gd name="T46" fmla="*/ 8 w 50"/>
                <a:gd name="T47" fmla="*/ 218 h 218"/>
                <a:gd name="T48" fmla="*/ 6 w 50"/>
                <a:gd name="T49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" h="218">
                  <a:moveTo>
                    <a:pt x="6" y="218"/>
                  </a:moveTo>
                  <a:lnTo>
                    <a:pt x="6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3" y="217"/>
                  </a:lnTo>
                  <a:lnTo>
                    <a:pt x="1" y="216"/>
                  </a:lnTo>
                  <a:lnTo>
                    <a:pt x="0" y="214"/>
                  </a:lnTo>
                  <a:lnTo>
                    <a:pt x="0" y="211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8" y="3"/>
                  </a:lnTo>
                  <a:lnTo>
                    <a:pt x="40" y="1"/>
                  </a:lnTo>
                  <a:lnTo>
                    <a:pt x="42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7" y="1"/>
                  </a:lnTo>
                  <a:lnTo>
                    <a:pt x="49" y="3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12" y="214"/>
                  </a:lnTo>
                  <a:lnTo>
                    <a:pt x="12" y="214"/>
                  </a:lnTo>
                  <a:lnTo>
                    <a:pt x="11" y="215"/>
                  </a:lnTo>
                  <a:lnTo>
                    <a:pt x="10" y="217"/>
                  </a:lnTo>
                  <a:lnTo>
                    <a:pt x="8" y="218"/>
                  </a:lnTo>
                  <a:lnTo>
                    <a:pt x="6" y="2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8" name="Freeform 131">
              <a:extLst>
                <a:ext uri="{FF2B5EF4-FFF2-40B4-BE49-F238E27FC236}">
                  <a16:creationId xmlns:a16="http://schemas.microsoft.com/office/drawing/2014/main" id="{C4192992-8F46-441D-86D9-812EA75BFA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8525" y="263526"/>
              <a:ext cx="79375" cy="346075"/>
            </a:xfrm>
            <a:custGeom>
              <a:avLst/>
              <a:gdLst>
                <a:gd name="T0" fmla="*/ 44 w 50"/>
                <a:gd name="T1" fmla="*/ 218 h 218"/>
                <a:gd name="T2" fmla="*/ 44 w 50"/>
                <a:gd name="T3" fmla="*/ 218 h 218"/>
                <a:gd name="T4" fmla="*/ 42 w 50"/>
                <a:gd name="T5" fmla="*/ 218 h 218"/>
                <a:gd name="T6" fmla="*/ 39 w 50"/>
                <a:gd name="T7" fmla="*/ 217 h 218"/>
                <a:gd name="T8" fmla="*/ 38 w 50"/>
                <a:gd name="T9" fmla="*/ 215 h 218"/>
                <a:gd name="T10" fmla="*/ 37 w 50"/>
                <a:gd name="T11" fmla="*/ 214 h 218"/>
                <a:gd name="T12" fmla="*/ 0 w 50"/>
                <a:gd name="T13" fmla="*/ 7 h 218"/>
                <a:gd name="T14" fmla="*/ 0 w 50"/>
                <a:gd name="T15" fmla="*/ 7 h 218"/>
                <a:gd name="T16" fmla="*/ 0 w 50"/>
                <a:gd name="T17" fmla="*/ 5 h 218"/>
                <a:gd name="T18" fmla="*/ 1 w 50"/>
                <a:gd name="T19" fmla="*/ 3 h 218"/>
                <a:gd name="T20" fmla="*/ 2 w 50"/>
                <a:gd name="T21" fmla="*/ 1 h 218"/>
                <a:gd name="T22" fmla="*/ 5 w 50"/>
                <a:gd name="T23" fmla="*/ 0 h 218"/>
                <a:gd name="T24" fmla="*/ 5 w 50"/>
                <a:gd name="T25" fmla="*/ 0 h 218"/>
                <a:gd name="T26" fmla="*/ 7 w 50"/>
                <a:gd name="T27" fmla="*/ 0 h 218"/>
                <a:gd name="T28" fmla="*/ 9 w 50"/>
                <a:gd name="T29" fmla="*/ 1 h 218"/>
                <a:gd name="T30" fmla="*/ 12 w 50"/>
                <a:gd name="T31" fmla="*/ 3 h 218"/>
                <a:gd name="T32" fmla="*/ 12 w 50"/>
                <a:gd name="T33" fmla="*/ 5 h 218"/>
                <a:gd name="T34" fmla="*/ 50 w 50"/>
                <a:gd name="T35" fmla="*/ 211 h 218"/>
                <a:gd name="T36" fmla="*/ 50 w 50"/>
                <a:gd name="T37" fmla="*/ 211 h 218"/>
                <a:gd name="T38" fmla="*/ 50 w 50"/>
                <a:gd name="T39" fmla="*/ 214 h 218"/>
                <a:gd name="T40" fmla="*/ 49 w 50"/>
                <a:gd name="T41" fmla="*/ 216 h 218"/>
                <a:gd name="T42" fmla="*/ 47 w 50"/>
                <a:gd name="T43" fmla="*/ 217 h 218"/>
                <a:gd name="T44" fmla="*/ 45 w 50"/>
                <a:gd name="T45" fmla="*/ 218 h 218"/>
                <a:gd name="T46" fmla="*/ 45 w 50"/>
                <a:gd name="T47" fmla="*/ 218 h 218"/>
                <a:gd name="T48" fmla="*/ 44 w 50"/>
                <a:gd name="T49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" h="218">
                  <a:moveTo>
                    <a:pt x="44" y="218"/>
                  </a:moveTo>
                  <a:lnTo>
                    <a:pt x="44" y="218"/>
                  </a:lnTo>
                  <a:lnTo>
                    <a:pt x="42" y="218"/>
                  </a:lnTo>
                  <a:lnTo>
                    <a:pt x="39" y="217"/>
                  </a:lnTo>
                  <a:lnTo>
                    <a:pt x="38" y="215"/>
                  </a:lnTo>
                  <a:lnTo>
                    <a:pt x="37" y="214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5"/>
                  </a:lnTo>
                  <a:lnTo>
                    <a:pt x="1" y="3"/>
                  </a:lnTo>
                  <a:lnTo>
                    <a:pt x="2" y="1"/>
                  </a:lnTo>
                  <a:lnTo>
                    <a:pt x="5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9" y="1"/>
                  </a:lnTo>
                  <a:lnTo>
                    <a:pt x="12" y="3"/>
                  </a:lnTo>
                  <a:lnTo>
                    <a:pt x="12" y="5"/>
                  </a:lnTo>
                  <a:lnTo>
                    <a:pt x="50" y="211"/>
                  </a:lnTo>
                  <a:lnTo>
                    <a:pt x="50" y="211"/>
                  </a:lnTo>
                  <a:lnTo>
                    <a:pt x="50" y="214"/>
                  </a:lnTo>
                  <a:lnTo>
                    <a:pt x="49" y="216"/>
                  </a:lnTo>
                  <a:lnTo>
                    <a:pt x="47" y="217"/>
                  </a:lnTo>
                  <a:lnTo>
                    <a:pt x="45" y="218"/>
                  </a:lnTo>
                  <a:lnTo>
                    <a:pt x="45" y="218"/>
                  </a:lnTo>
                  <a:lnTo>
                    <a:pt x="44" y="218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9" name="Freeform 132">
              <a:extLst>
                <a:ext uri="{FF2B5EF4-FFF2-40B4-BE49-F238E27FC236}">
                  <a16:creationId xmlns:a16="http://schemas.microsoft.com/office/drawing/2014/main" id="{ECA08510-79E1-4BD0-ACFD-0BA75D3E4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8525" y="263526"/>
              <a:ext cx="79375" cy="346075"/>
            </a:xfrm>
            <a:custGeom>
              <a:avLst/>
              <a:gdLst>
                <a:gd name="T0" fmla="*/ 44 w 50"/>
                <a:gd name="T1" fmla="*/ 218 h 218"/>
                <a:gd name="T2" fmla="*/ 44 w 50"/>
                <a:gd name="T3" fmla="*/ 218 h 218"/>
                <a:gd name="T4" fmla="*/ 42 w 50"/>
                <a:gd name="T5" fmla="*/ 218 h 218"/>
                <a:gd name="T6" fmla="*/ 39 w 50"/>
                <a:gd name="T7" fmla="*/ 217 h 218"/>
                <a:gd name="T8" fmla="*/ 38 w 50"/>
                <a:gd name="T9" fmla="*/ 215 h 218"/>
                <a:gd name="T10" fmla="*/ 37 w 50"/>
                <a:gd name="T11" fmla="*/ 214 h 218"/>
                <a:gd name="T12" fmla="*/ 0 w 50"/>
                <a:gd name="T13" fmla="*/ 7 h 218"/>
                <a:gd name="T14" fmla="*/ 0 w 50"/>
                <a:gd name="T15" fmla="*/ 7 h 218"/>
                <a:gd name="T16" fmla="*/ 0 w 50"/>
                <a:gd name="T17" fmla="*/ 5 h 218"/>
                <a:gd name="T18" fmla="*/ 1 w 50"/>
                <a:gd name="T19" fmla="*/ 3 h 218"/>
                <a:gd name="T20" fmla="*/ 2 w 50"/>
                <a:gd name="T21" fmla="*/ 1 h 218"/>
                <a:gd name="T22" fmla="*/ 5 w 50"/>
                <a:gd name="T23" fmla="*/ 0 h 218"/>
                <a:gd name="T24" fmla="*/ 5 w 50"/>
                <a:gd name="T25" fmla="*/ 0 h 218"/>
                <a:gd name="T26" fmla="*/ 7 w 50"/>
                <a:gd name="T27" fmla="*/ 0 h 218"/>
                <a:gd name="T28" fmla="*/ 9 w 50"/>
                <a:gd name="T29" fmla="*/ 1 h 218"/>
                <a:gd name="T30" fmla="*/ 12 w 50"/>
                <a:gd name="T31" fmla="*/ 3 h 218"/>
                <a:gd name="T32" fmla="*/ 12 w 50"/>
                <a:gd name="T33" fmla="*/ 5 h 218"/>
                <a:gd name="T34" fmla="*/ 50 w 50"/>
                <a:gd name="T35" fmla="*/ 211 h 218"/>
                <a:gd name="T36" fmla="*/ 50 w 50"/>
                <a:gd name="T37" fmla="*/ 211 h 218"/>
                <a:gd name="T38" fmla="*/ 50 w 50"/>
                <a:gd name="T39" fmla="*/ 214 h 218"/>
                <a:gd name="T40" fmla="*/ 49 w 50"/>
                <a:gd name="T41" fmla="*/ 216 h 218"/>
                <a:gd name="T42" fmla="*/ 47 w 50"/>
                <a:gd name="T43" fmla="*/ 217 h 218"/>
                <a:gd name="T44" fmla="*/ 45 w 50"/>
                <a:gd name="T45" fmla="*/ 218 h 218"/>
                <a:gd name="T46" fmla="*/ 45 w 50"/>
                <a:gd name="T47" fmla="*/ 218 h 218"/>
                <a:gd name="T48" fmla="*/ 44 w 50"/>
                <a:gd name="T49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" h="218">
                  <a:moveTo>
                    <a:pt x="44" y="218"/>
                  </a:moveTo>
                  <a:lnTo>
                    <a:pt x="44" y="218"/>
                  </a:lnTo>
                  <a:lnTo>
                    <a:pt x="42" y="218"/>
                  </a:lnTo>
                  <a:lnTo>
                    <a:pt x="39" y="217"/>
                  </a:lnTo>
                  <a:lnTo>
                    <a:pt x="38" y="215"/>
                  </a:lnTo>
                  <a:lnTo>
                    <a:pt x="37" y="214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5"/>
                  </a:lnTo>
                  <a:lnTo>
                    <a:pt x="1" y="3"/>
                  </a:lnTo>
                  <a:lnTo>
                    <a:pt x="2" y="1"/>
                  </a:lnTo>
                  <a:lnTo>
                    <a:pt x="5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9" y="1"/>
                  </a:lnTo>
                  <a:lnTo>
                    <a:pt x="12" y="3"/>
                  </a:lnTo>
                  <a:lnTo>
                    <a:pt x="12" y="5"/>
                  </a:lnTo>
                  <a:lnTo>
                    <a:pt x="50" y="211"/>
                  </a:lnTo>
                  <a:lnTo>
                    <a:pt x="50" y="211"/>
                  </a:lnTo>
                  <a:lnTo>
                    <a:pt x="50" y="214"/>
                  </a:lnTo>
                  <a:lnTo>
                    <a:pt x="49" y="216"/>
                  </a:lnTo>
                  <a:lnTo>
                    <a:pt x="47" y="217"/>
                  </a:lnTo>
                  <a:lnTo>
                    <a:pt x="45" y="218"/>
                  </a:lnTo>
                  <a:lnTo>
                    <a:pt x="45" y="218"/>
                  </a:lnTo>
                  <a:lnTo>
                    <a:pt x="44" y="2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0" name="Freeform 133">
              <a:extLst>
                <a:ext uri="{FF2B5EF4-FFF2-40B4-BE49-F238E27FC236}">
                  <a16:creationId xmlns:a16="http://schemas.microsoft.com/office/drawing/2014/main" id="{CCB8A90A-D42B-4B47-9CEB-D1A60A4E3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94550" y="360363"/>
              <a:ext cx="87313" cy="17463"/>
            </a:xfrm>
            <a:custGeom>
              <a:avLst/>
              <a:gdLst>
                <a:gd name="T0" fmla="*/ 49 w 55"/>
                <a:gd name="T1" fmla="*/ 11 h 11"/>
                <a:gd name="T2" fmla="*/ 6 w 55"/>
                <a:gd name="T3" fmla="*/ 11 h 11"/>
                <a:gd name="T4" fmla="*/ 6 w 55"/>
                <a:gd name="T5" fmla="*/ 11 h 11"/>
                <a:gd name="T6" fmla="*/ 4 w 55"/>
                <a:gd name="T7" fmla="*/ 11 h 11"/>
                <a:gd name="T8" fmla="*/ 2 w 55"/>
                <a:gd name="T9" fmla="*/ 10 h 11"/>
                <a:gd name="T10" fmla="*/ 1 w 55"/>
                <a:gd name="T11" fmla="*/ 8 h 11"/>
                <a:gd name="T12" fmla="*/ 0 w 55"/>
                <a:gd name="T13" fmla="*/ 5 h 11"/>
                <a:gd name="T14" fmla="*/ 0 w 55"/>
                <a:gd name="T15" fmla="*/ 5 h 11"/>
                <a:gd name="T16" fmla="*/ 1 w 55"/>
                <a:gd name="T17" fmla="*/ 3 h 11"/>
                <a:gd name="T18" fmla="*/ 2 w 55"/>
                <a:gd name="T19" fmla="*/ 1 h 11"/>
                <a:gd name="T20" fmla="*/ 4 w 55"/>
                <a:gd name="T21" fmla="*/ 0 h 11"/>
                <a:gd name="T22" fmla="*/ 6 w 55"/>
                <a:gd name="T23" fmla="*/ 0 h 11"/>
                <a:gd name="T24" fmla="*/ 49 w 55"/>
                <a:gd name="T25" fmla="*/ 0 h 11"/>
                <a:gd name="T26" fmla="*/ 49 w 55"/>
                <a:gd name="T27" fmla="*/ 0 h 11"/>
                <a:gd name="T28" fmla="*/ 51 w 55"/>
                <a:gd name="T29" fmla="*/ 0 h 11"/>
                <a:gd name="T30" fmla="*/ 53 w 55"/>
                <a:gd name="T31" fmla="*/ 1 h 11"/>
                <a:gd name="T32" fmla="*/ 54 w 55"/>
                <a:gd name="T33" fmla="*/ 3 h 11"/>
                <a:gd name="T34" fmla="*/ 55 w 55"/>
                <a:gd name="T35" fmla="*/ 5 h 11"/>
                <a:gd name="T36" fmla="*/ 55 w 55"/>
                <a:gd name="T37" fmla="*/ 5 h 11"/>
                <a:gd name="T38" fmla="*/ 54 w 55"/>
                <a:gd name="T39" fmla="*/ 8 h 11"/>
                <a:gd name="T40" fmla="*/ 53 w 55"/>
                <a:gd name="T41" fmla="*/ 10 h 11"/>
                <a:gd name="T42" fmla="*/ 51 w 55"/>
                <a:gd name="T43" fmla="*/ 11 h 11"/>
                <a:gd name="T44" fmla="*/ 49 w 55"/>
                <a:gd name="T4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" h="11">
                  <a:moveTo>
                    <a:pt x="49" y="11"/>
                  </a:moveTo>
                  <a:lnTo>
                    <a:pt x="6" y="11"/>
                  </a:lnTo>
                  <a:lnTo>
                    <a:pt x="6" y="11"/>
                  </a:lnTo>
                  <a:lnTo>
                    <a:pt x="4" y="11"/>
                  </a:lnTo>
                  <a:lnTo>
                    <a:pt x="2" y="10"/>
                  </a:lnTo>
                  <a:lnTo>
                    <a:pt x="1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3"/>
                  </a:lnTo>
                  <a:lnTo>
                    <a:pt x="2" y="1"/>
                  </a:lnTo>
                  <a:lnTo>
                    <a:pt x="4" y="0"/>
                  </a:lnTo>
                  <a:lnTo>
                    <a:pt x="6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51" y="0"/>
                  </a:lnTo>
                  <a:lnTo>
                    <a:pt x="53" y="1"/>
                  </a:lnTo>
                  <a:lnTo>
                    <a:pt x="54" y="3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4" y="8"/>
                  </a:lnTo>
                  <a:lnTo>
                    <a:pt x="53" y="10"/>
                  </a:lnTo>
                  <a:lnTo>
                    <a:pt x="51" y="11"/>
                  </a:lnTo>
                  <a:lnTo>
                    <a:pt x="49" y="11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1" name="Freeform 134">
              <a:extLst>
                <a:ext uri="{FF2B5EF4-FFF2-40B4-BE49-F238E27FC236}">
                  <a16:creationId xmlns:a16="http://schemas.microsoft.com/office/drawing/2014/main" id="{EF49F5B1-A5F4-4318-97B5-2B9684500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94550" y="360363"/>
              <a:ext cx="87313" cy="17463"/>
            </a:xfrm>
            <a:custGeom>
              <a:avLst/>
              <a:gdLst>
                <a:gd name="T0" fmla="*/ 49 w 55"/>
                <a:gd name="T1" fmla="*/ 11 h 11"/>
                <a:gd name="T2" fmla="*/ 6 w 55"/>
                <a:gd name="T3" fmla="*/ 11 h 11"/>
                <a:gd name="T4" fmla="*/ 6 w 55"/>
                <a:gd name="T5" fmla="*/ 11 h 11"/>
                <a:gd name="T6" fmla="*/ 4 w 55"/>
                <a:gd name="T7" fmla="*/ 11 h 11"/>
                <a:gd name="T8" fmla="*/ 2 w 55"/>
                <a:gd name="T9" fmla="*/ 10 h 11"/>
                <a:gd name="T10" fmla="*/ 1 w 55"/>
                <a:gd name="T11" fmla="*/ 8 h 11"/>
                <a:gd name="T12" fmla="*/ 0 w 55"/>
                <a:gd name="T13" fmla="*/ 5 h 11"/>
                <a:gd name="T14" fmla="*/ 0 w 55"/>
                <a:gd name="T15" fmla="*/ 5 h 11"/>
                <a:gd name="T16" fmla="*/ 1 w 55"/>
                <a:gd name="T17" fmla="*/ 3 h 11"/>
                <a:gd name="T18" fmla="*/ 2 w 55"/>
                <a:gd name="T19" fmla="*/ 1 h 11"/>
                <a:gd name="T20" fmla="*/ 4 w 55"/>
                <a:gd name="T21" fmla="*/ 0 h 11"/>
                <a:gd name="T22" fmla="*/ 6 w 55"/>
                <a:gd name="T23" fmla="*/ 0 h 11"/>
                <a:gd name="T24" fmla="*/ 49 w 55"/>
                <a:gd name="T25" fmla="*/ 0 h 11"/>
                <a:gd name="T26" fmla="*/ 49 w 55"/>
                <a:gd name="T27" fmla="*/ 0 h 11"/>
                <a:gd name="T28" fmla="*/ 51 w 55"/>
                <a:gd name="T29" fmla="*/ 0 h 11"/>
                <a:gd name="T30" fmla="*/ 53 w 55"/>
                <a:gd name="T31" fmla="*/ 1 h 11"/>
                <a:gd name="T32" fmla="*/ 54 w 55"/>
                <a:gd name="T33" fmla="*/ 3 h 11"/>
                <a:gd name="T34" fmla="*/ 55 w 55"/>
                <a:gd name="T35" fmla="*/ 5 h 11"/>
                <a:gd name="T36" fmla="*/ 55 w 55"/>
                <a:gd name="T37" fmla="*/ 5 h 11"/>
                <a:gd name="T38" fmla="*/ 54 w 55"/>
                <a:gd name="T39" fmla="*/ 8 h 11"/>
                <a:gd name="T40" fmla="*/ 53 w 55"/>
                <a:gd name="T41" fmla="*/ 10 h 11"/>
                <a:gd name="T42" fmla="*/ 51 w 55"/>
                <a:gd name="T43" fmla="*/ 11 h 11"/>
                <a:gd name="T44" fmla="*/ 49 w 55"/>
                <a:gd name="T4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" h="11">
                  <a:moveTo>
                    <a:pt x="49" y="11"/>
                  </a:moveTo>
                  <a:lnTo>
                    <a:pt x="6" y="11"/>
                  </a:lnTo>
                  <a:lnTo>
                    <a:pt x="6" y="11"/>
                  </a:lnTo>
                  <a:lnTo>
                    <a:pt x="4" y="11"/>
                  </a:lnTo>
                  <a:lnTo>
                    <a:pt x="2" y="10"/>
                  </a:lnTo>
                  <a:lnTo>
                    <a:pt x="1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3"/>
                  </a:lnTo>
                  <a:lnTo>
                    <a:pt x="2" y="1"/>
                  </a:lnTo>
                  <a:lnTo>
                    <a:pt x="4" y="0"/>
                  </a:lnTo>
                  <a:lnTo>
                    <a:pt x="6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51" y="0"/>
                  </a:lnTo>
                  <a:lnTo>
                    <a:pt x="53" y="1"/>
                  </a:lnTo>
                  <a:lnTo>
                    <a:pt x="54" y="3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4" y="8"/>
                  </a:lnTo>
                  <a:lnTo>
                    <a:pt x="53" y="10"/>
                  </a:lnTo>
                  <a:lnTo>
                    <a:pt x="51" y="11"/>
                  </a:lnTo>
                  <a:lnTo>
                    <a:pt x="49" y="1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2" name="Freeform 135">
              <a:extLst>
                <a:ext uri="{FF2B5EF4-FFF2-40B4-BE49-F238E27FC236}">
                  <a16:creationId xmlns:a16="http://schemas.microsoft.com/office/drawing/2014/main" id="{13DFF54A-A134-408C-8F71-5A84BBCBE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81850" y="455613"/>
              <a:ext cx="112713" cy="20638"/>
            </a:xfrm>
            <a:custGeom>
              <a:avLst/>
              <a:gdLst>
                <a:gd name="T0" fmla="*/ 64 w 71"/>
                <a:gd name="T1" fmla="*/ 13 h 13"/>
                <a:gd name="T2" fmla="*/ 6 w 71"/>
                <a:gd name="T3" fmla="*/ 13 h 13"/>
                <a:gd name="T4" fmla="*/ 6 w 71"/>
                <a:gd name="T5" fmla="*/ 13 h 13"/>
                <a:gd name="T6" fmla="*/ 4 w 71"/>
                <a:gd name="T7" fmla="*/ 11 h 13"/>
                <a:gd name="T8" fmla="*/ 2 w 71"/>
                <a:gd name="T9" fmla="*/ 10 h 13"/>
                <a:gd name="T10" fmla="*/ 1 w 71"/>
                <a:gd name="T11" fmla="*/ 8 h 13"/>
                <a:gd name="T12" fmla="*/ 0 w 71"/>
                <a:gd name="T13" fmla="*/ 6 h 13"/>
                <a:gd name="T14" fmla="*/ 0 w 71"/>
                <a:gd name="T15" fmla="*/ 6 h 13"/>
                <a:gd name="T16" fmla="*/ 1 w 71"/>
                <a:gd name="T17" fmla="*/ 3 h 13"/>
                <a:gd name="T18" fmla="*/ 2 w 71"/>
                <a:gd name="T19" fmla="*/ 2 h 13"/>
                <a:gd name="T20" fmla="*/ 4 w 71"/>
                <a:gd name="T21" fmla="*/ 0 h 13"/>
                <a:gd name="T22" fmla="*/ 6 w 71"/>
                <a:gd name="T23" fmla="*/ 0 h 13"/>
                <a:gd name="T24" fmla="*/ 64 w 71"/>
                <a:gd name="T25" fmla="*/ 0 h 13"/>
                <a:gd name="T26" fmla="*/ 64 w 71"/>
                <a:gd name="T27" fmla="*/ 0 h 13"/>
                <a:gd name="T28" fmla="*/ 66 w 71"/>
                <a:gd name="T29" fmla="*/ 0 h 13"/>
                <a:gd name="T30" fmla="*/ 69 w 71"/>
                <a:gd name="T31" fmla="*/ 2 h 13"/>
                <a:gd name="T32" fmla="*/ 70 w 71"/>
                <a:gd name="T33" fmla="*/ 3 h 13"/>
                <a:gd name="T34" fmla="*/ 71 w 71"/>
                <a:gd name="T35" fmla="*/ 6 h 13"/>
                <a:gd name="T36" fmla="*/ 71 w 71"/>
                <a:gd name="T37" fmla="*/ 6 h 13"/>
                <a:gd name="T38" fmla="*/ 70 w 71"/>
                <a:gd name="T39" fmla="*/ 8 h 13"/>
                <a:gd name="T40" fmla="*/ 69 w 71"/>
                <a:gd name="T41" fmla="*/ 10 h 13"/>
                <a:gd name="T42" fmla="*/ 66 w 71"/>
                <a:gd name="T43" fmla="*/ 11 h 13"/>
                <a:gd name="T44" fmla="*/ 64 w 71"/>
                <a:gd name="T4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1" h="13">
                  <a:moveTo>
                    <a:pt x="64" y="13"/>
                  </a:moveTo>
                  <a:lnTo>
                    <a:pt x="6" y="13"/>
                  </a:lnTo>
                  <a:lnTo>
                    <a:pt x="6" y="13"/>
                  </a:lnTo>
                  <a:lnTo>
                    <a:pt x="4" y="11"/>
                  </a:lnTo>
                  <a:lnTo>
                    <a:pt x="2" y="10"/>
                  </a:lnTo>
                  <a:lnTo>
                    <a:pt x="1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3"/>
                  </a:lnTo>
                  <a:lnTo>
                    <a:pt x="2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6" y="0"/>
                  </a:lnTo>
                  <a:lnTo>
                    <a:pt x="69" y="2"/>
                  </a:lnTo>
                  <a:lnTo>
                    <a:pt x="70" y="3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70" y="8"/>
                  </a:lnTo>
                  <a:lnTo>
                    <a:pt x="69" y="10"/>
                  </a:lnTo>
                  <a:lnTo>
                    <a:pt x="66" y="11"/>
                  </a:lnTo>
                  <a:lnTo>
                    <a:pt x="64" y="13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3" name="Freeform 136">
              <a:extLst>
                <a:ext uri="{FF2B5EF4-FFF2-40B4-BE49-F238E27FC236}">
                  <a16:creationId xmlns:a16="http://schemas.microsoft.com/office/drawing/2014/main" id="{DE605ECB-C7EE-4497-B404-0D395B1B6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81850" y="455613"/>
              <a:ext cx="112713" cy="20638"/>
            </a:xfrm>
            <a:custGeom>
              <a:avLst/>
              <a:gdLst>
                <a:gd name="T0" fmla="*/ 64 w 71"/>
                <a:gd name="T1" fmla="*/ 13 h 13"/>
                <a:gd name="T2" fmla="*/ 6 w 71"/>
                <a:gd name="T3" fmla="*/ 13 h 13"/>
                <a:gd name="T4" fmla="*/ 6 w 71"/>
                <a:gd name="T5" fmla="*/ 13 h 13"/>
                <a:gd name="T6" fmla="*/ 4 w 71"/>
                <a:gd name="T7" fmla="*/ 11 h 13"/>
                <a:gd name="T8" fmla="*/ 2 w 71"/>
                <a:gd name="T9" fmla="*/ 10 h 13"/>
                <a:gd name="T10" fmla="*/ 1 w 71"/>
                <a:gd name="T11" fmla="*/ 8 h 13"/>
                <a:gd name="T12" fmla="*/ 0 w 71"/>
                <a:gd name="T13" fmla="*/ 6 h 13"/>
                <a:gd name="T14" fmla="*/ 0 w 71"/>
                <a:gd name="T15" fmla="*/ 6 h 13"/>
                <a:gd name="T16" fmla="*/ 1 w 71"/>
                <a:gd name="T17" fmla="*/ 3 h 13"/>
                <a:gd name="T18" fmla="*/ 2 w 71"/>
                <a:gd name="T19" fmla="*/ 2 h 13"/>
                <a:gd name="T20" fmla="*/ 4 w 71"/>
                <a:gd name="T21" fmla="*/ 0 h 13"/>
                <a:gd name="T22" fmla="*/ 6 w 71"/>
                <a:gd name="T23" fmla="*/ 0 h 13"/>
                <a:gd name="T24" fmla="*/ 64 w 71"/>
                <a:gd name="T25" fmla="*/ 0 h 13"/>
                <a:gd name="T26" fmla="*/ 64 w 71"/>
                <a:gd name="T27" fmla="*/ 0 h 13"/>
                <a:gd name="T28" fmla="*/ 66 w 71"/>
                <a:gd name="T29" fmla="*/ 0 h 13"/>
                <a:gd name="T30" fmla="*/ 69 w 71"/>
                <a:gd name="T31" fmla="*/ 2 h 13"/>
                <a:gd name="T32" fmla="*/ 70 w 71"/>
                <a:gd name="T33" fmla="*/ 3 h 13"/>
                <a:gd name="T34" fmla="*/ 71 w 71"/>
                <a:gd name="T35" fmla="*/ 6 h 13"/>
                <a:gd name="T36" fmla="*/ 71 w 71"/>
                <a:gd name="T37" fmla="*/ 6 h 13"/>
                <a:gd name="T38" fmla="*/ 70 w 71"/>
                <a:gd name="T39" fmla="*/ 8 h 13"/>
                <a:gd name="T40" fmla="*/ 69 w 71"/>
                <a:gd name="T41" fmla="*/ 10 h 13"/>
                <a:gd name="T42" fmla="*/ 66 w 71"/>
                <a:gd name="T43" fmla="*/ 11 h 13"/>
                <a:gd name="T44" fmla="*/ 64 w 71"/>
                <a:gd name="T4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1" h="13">
                  <a:moveTo>
                    <a:pt x="64" y="13"/>
                  </a:moveTo>
                  <a:lnTo>
                    <a:pt x="6" y="13"/>
                  </a:lnTo>
                  <a:lnTo>
                    <a:pt x="6" y="13"/>
                  </a:lnTo>
                  <a:lnTo>
                    <a:pt x="4" y="11"/>
                  </a:lnTo>
                  <a:lnTo>
                    <a:pt x="2" y="10"/>
                  </a:lnTo>
                  <a:lnTo>
                    <a:pt x="1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3"/>
                  </a:lnTo>
                  <a:lnTo>
                    <a:pt x="2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6" y="0"/>
                  </a:lnTo>
                  <a:lnTo>
                    <a:pt x="69" y="2"/>
                  </a:lnTo>
                  <a:lnTo>
                    <a:pt x="70" y="3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70" y="8"/>
                  </a:lnTo>
                  <a:lnTo>
                    <a:pt x="69" y="10"/>
                  </a:lnTo>
                  <a:lnTo>
                    <a:pt x="66" y="11"/>
                  </a:lnTo>
                  <a:lnTo>
                    <a:pt x="64" y="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4" name="Freeform 137">
              <a:extLst>
                <a:ext uri="{FF2B5EF4-FFF2-40B4-BE49-F238E27FC236}">
                  <a16:creationId xmlns:a16="http://schemas.microsoft.com/office/drawing/2014/main" id="{F4EF5BF7-2754-4538-B7A6-5BD4ABA2D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58038" y="550863"/>
              <a:ext cx="160338" cy="20638"/>
            </a:xfrm>
            <a:custGeom>
              <a:avLst/>
              <a:gdLst>
                <a:gd name="T0" fmla="*/ 94 w 101"/>
                <a:gd name="T1" fmla="*/ 13 h 13"/>
                <a:gd name="T2" fmla="*/ 6 w 101"/>
                <a:gd name="T3" fmla="*/ 13 h 13"/>
                <a:gd name="T4" fmla="*/ 6 w 101"/>
                <a:gd name="T5" fmla="*/ 13 h 13"/>
                <a:gd name="T6" fmla="*/ 4 w 101"/>
                <a:gd name="T7" fmla="*/ 11 h 13"/>
                <a:gd name="T8" fmla="*/ 2 w 101"/>
                <a:gd name="T9" fmla="*/ 10 h 13"/>
                <a:gd name="T10" fmla="*/ 0 w 101"/>
                <a:gd name="T11" fmla="*/ 8 h 13"/>
                <a:gd name="T12" fmla="*/ 0 w 101"/>
                <a:gd name="T13" fmla="*/ 6 h 13"/>
                <a:gd name="T14" fmla="*/ 0 w 101"/>
                <a:gd name="T15" fmla="*/ 6 h 13"/>
                <a:gd name="T16" fmla="*/ 0 w 101"/>
                <a:gd name="T17" fmla="*/ 4 h 13"/>
                <a:gd name="T18" fmla="*/ 2 w 101"/>
                <a:gd name="T19" fmla="*/ 2 h 13"/>
                <a:gd name="T20" fmla="*/ 4 w 101"/>
                <a:gd name="T21" fmla="*/ 1 h 13"/>
                <a:gd name="T22" fmla="*/ 6 w 101"/>
                <a:gd name="T23" fmla="*/ 0 h 13"/>
                <a:gd name="T24" fmla="*/ 94 w 101"/>
                <a:gd name="T25" fmla="*/ 0 h 13"/>
                <a:gd name="T26" fmla="*/ 94 w 101"/>
                <a:gd name="T27" fmla="*/ 0 h 13"/>
                <a:gd name="T28" fmla="*/ 96 w 101"/>
                <a:gd name="T29" fmla="*/ 1 h 13"/>
                <a:gd name="T30" fmla="*/ 99 w 101"/>
                <a:gd name="T31" fmla="*/ 2 h 13"/>
                <a:gd name="T32" fmla="*/ 100 w 101"/>
                <a:gd name="T33" fmla="*/ 4 h 13"/>
                <a:gd name="T34" fmla="*/ 101 w 101"/>
                <a:gd name="T35" fmla="*/ 6 h 13"/>
                <a:gd name="T36" fmla="*/ 101 w 101"/>
                <a:gd name="T37" fmla="*/ 6 h 13"/>
                <a:gd name="T38" fmla="*/ 100 w 101"/>
                <a:gd name="T39" fmla="*/ 8 h 13"/>
                <a:gd name="T40" fmla="*/ 99 w 101"/>
                <a:gd name="T41" fmla="*/ 10 h 13"/>
                <a:gd name="T42" fmla="*/ 96 w 101"/>
                <a:gd name="T43" fmla="*/ 11 h 13"/>
                <a:gd name="T44" fmla="*/ 94 w 101"/>
                <a:gd name="T4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1" h="13">
                  <a:moveTo>
                    <a:pt x="94" y="13"/>
                  </a:moveTo>
                  <a:lnTo>
                    <a:pt x="6" y="13"/>
                  </a:lnTo>
                  <a:lnTo>
                    <a:pt x="6" y="13"/>
                  </a:lnTo>
                  <a:lnTo>
                    <a:pt x="4" y="11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6" y="1"/>
                  </a:lnTo>
                  <a:lnTo>
                    <a:pt x="99" y="2"/>
                  </a:lnTo>
                  <a:lnTo>
                    <a:pt x="100" y="4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0" y="8"/>
                  </a:lnTo>
                  <a:lnTo>
                    <a:pt x="99" y="10"/>
                  </a:lnTo>
                  <a:lnTo>
                    <a:pt x="96" y="11"/>
                  </a:lnTo>
                  <a:lnTo>
                    <a:pt x="94" y="13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5" name="Freeform 138">
              <a:extLst>
                <a:ext uri="{FF2B5EF4-FFF2-40B4-BE49-F238E27FC236}">
                  <a16:creationId xmlns:a16="http://schemas.microsoft.com/office/drawing/2014/main" id="{A0F669A9-1074-406B-9521-CC3AAACCD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58038" y="550863"/>
              <a:ext cx="160338" cy="20638"/>
            </a:xfrm>
            <a:custGeom>
              <a:avLst/>
              <a:gdLst>
                <a:gd name="T0" fmla="*/ 94 w 101"/>
                <a:gd name="T1" fmla="*/ 13 h 13"/>
                <a:gd name="T2" fmla="*/ 6 w 101"/>
                <a:gd name="T3" fmla="*/ 13 h 13"/>
                <a:gd name="T4" fmla="*/ 6 w 101"/>
                <a:gd name="T5" fmla="*/ 13 h 13"/>
                <a:gd name="T6" fmla="*/ 4 w 101"/>
                <a:gd name="T7" fmla="*/ 11 h 13"/>
                <a:gd name="T8" fmla="*/ 2 w 101"/>
                <a:gd name="T9" fmla="*/ 10 h 13"/>
                <a:gd name="T10" fmla="*/ 0 w 101"/>
                <a:gd name="T11" fmla="*/ 8 h 13"/>
                <a:gd name="T12" fmla="*/ 0 w 101"/>
                <a:gd name="T13" fmla="*/ 6 h 13"/>
                <a:gd name="T14" fmla="*/ 0 w 101"/>
                <a:gd name="T15" fmla="*/ 6 h 13"/>
                <a:gd name="T16" fmla="*/ 0 w 101"/>
                <a:gd name="T17" fmla="*/ 4 h 13"/>
                <a:gd name="T18" fmla="*/ 2 w 101"/>
                <a:gd name="T19" fmla="*/ 2 h 13"/>
                <a:gd name="T20" fmla="*/ 4 w 101"/>
                <a:gd name="T21" fmla="*/ 1 h 13"/>
                <a:gd name="T22" fmla="*/ 6 w 101"/>
                <a:gd name="T23" fmla="*/ 0 h 13"/>
                <a:gd name="T24" fmla="*/ 94 w 101"/>
                <a:gd name="T25" fmla="*/ 0 h 13"/>
                <a:gd name="T26" fmla="*/ 94 w 101"/>
                <a:gd name="T27" fmla="*/ 0 h 13"/>
                <a:gd name="T28" fmla="*/ 96 w 101"/>
                <a:gd name="T29" fmla="*/ 1 h 13"/>
                <a:gd name="T30" fmla="*/ 99 w 101"/>
                <a:gd name="T31" fmla="*/ 2 h 13"/>
                <a:gd name="T32" fmla="*/ 100 w 101"/>
                <a:gd name="T33" fmla="*/ 4 h 13"/>
                <a:gd name="T34" fmla="*/ 101 w 101"/>
                <a:gd name="T35" fmla="*/ 6 h 13"/>
                <a:gd name="T36" fmla="*/ 101 w 101"/>
                <a:gd name="T37" fmla="*/ 6 h 13"/>
                <a:gd name="T38" fmla="*/ 100 w 101"/>
                <a:gd name="T39" fmla="*/ 8 h 13"/>
                <a:gd name="T40" fmla="*/ 99 w 101"/>
                <a:gd name="T41" fmla="*/ 10 h 13"/>
                <a:gd name="T42" fmla="*/ 96 w 101"/>
                <a:gd name="T43" fmla="*/ 11 h 13"/>
                <a:gd name="T44" fmla="*/ 94 w 101"/>
                <a:gd name="T4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1" h="13">
                  <a:moveTo>
                    <a:pt x="94" y="13"/>
                  </a:moveTo>
                  <a:lnTo>
                    <a:pt x="6" y="13"/>
                  </a:lnTo>
                  <a:lnTo>
                    <a:pt x="6" y="13"/>
                  </a:lnTo>
                  <a:lnTo>
                    <a:pt x="4" y="11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6" y="1"/>
                  </a:lnTo>
                  <a:lnTo>
                    <a:pt x="99" y="2"/>
                  </a:lnTo>
                  <a:lnTo>
                    <a:pt x="100" y="4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0" y="8"/>
                  </a:lnTo>
                  <a:lnTo>
                    <a:pt x="99" y="10"/>
                  </a:lnTo>
                  <a:lnTo>
                    <a:pt x="96" y="11"/>
                  </a:lnTo>
                  <a:lnTo>
                    <a:pt x="94" y="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42" name="Group 341">
            <a:extLst>
              <a:ext uri="{FF2B5EF4-FFF2-40B4-BE49-F238E27FC236}">
                <a16:creationId xmlns:a16="http://schemas.microsoft.com/office/drawing/2014/main" id="{D7D107D0-AC6A-46FB-AA0B-8DBD63302AEA}"/>
              </a:ext>
            </a:extLst>
          </p:cNvPr>
          <p:cNvGrpSpPr/>
          <p:nvPr/>
        </p:nvGrpSpPr>
        <p:grpSpPr>
          <a:xfrm>
            <a:off x="8924833" y="4573497"/>
            <a:ext cx="512763" cy="481013"/>
            <a:chOff x="16770350" y="2205038"/>
            <a:chExt cx="512763" cy="481013"/>
          </a:xfrm>
        </p:grpSpPr>
        <p:sp>
          <p:nvSpPr>
            <p:cNvPr id="252" name="Freeform 155">
              <a:extLst>
                <a:ext uri="{FF2B5EF4-FFF2-40B4-BE49-F238E27FC236}">
                  <a16:creationId xmlns:a16="http://schemas.microsoft.com/office/drawing/2014/main" id="{44E3034D-747D-44B6-92E3-86F109173B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52925" y="2205038"/>
              <a:ext cx="133350" cy="139700"/>
            </a:xfrm>
            <a:custGeom>
              <a:avLst/>
              <a:gdLst>
                <a:gd name="T0" fmla="*/ 22 w 84"/>
                <a:gd name="T1" fmla="*/ 13 h 88"/>
                <a:gd name="T2" fmla="*/ 22 w 84"/>
                <a:gd name="T3" fmla="*/ 13 h 88"/>
                <a:gd name="T4" fmla="*/ 18 w 84"/>
                <a:gd name="T5" fmla="*/ 14 h 88"/>
                <a:gd name="T6" fmla="*/ 15 w 84"/>
                <a:gd name="T7" fmla="*/ 16 h 88"/>
                <a:gd name="T8" fmla="*/ 14 w 84"/>
                <a:gd name="T9" fmla="*/ 18 h 88"/>
                <a:gd name="T10" fmla="*/ 13 w 84"/>
                <a:gd name="T11" fmla="*/ 22 h 88"/>
                <a:gd name="T12" fmla="*/ 13 w 84"/>
                <a:gd name="T13" fmla="*/ 67 h 88"/>
                <a:gd name="T14" fmla="*/ 13 w 84"/>
                <a:gd name="T15" fmla="*/ 67 h 88"/>
                <a:gd name="T16" fmla="*/ 14 w 84"/>
                <a:gd name="T17" fmla="*/ 70 h 88"/>
                <a:gd name="T18" fmla="*/ 15 w 84"/>
                <a:gd name="T19" fmla="*/ 72 h 88"/>
                <a:gd name="T20" fmla="*/ 18 w 84"/>
                <a:gd name="T21" fmla="*/ 74 h 88"/>
                <a:gd name="T22" fmla="*/ 22 w 84"/>
                <a:gd name="T23" fmla="*/ 75 h 88"/>
                <a:gd name="T24" fmla="*/ 71 w 84"/>
                <a:gd name="T25" fmla="*/ 75 h 88"/>
                <a:gd name="T26" fmla="*/ 71 w 84"/>
                <a:gd name="T27" fmla="*/ 13 h 88"/>
                <a:gd name="T28" fmla="*/ 22 w 84"/>
                <a:gd name="T29" fmla="*/ 13 h 88"/>
                <a:gd name="T30" fmla="*/ 84 w 84"/>
                <a:gd name="T31" fmla="*/ 88 h 88"/>
                <a:gd name="T32" fmla="*/ 22 w 84"/>
                <a:gd name="T33" fmla="*/ 88 h 88"/>
                <a:gd name="T34" fmla="*/ 22 w 84"/>
                <a:gd name="T35" fmla="*/ 88 h 88"/>
                <a:gd name="T36" fmla="*/ 17 w 84"/>
                <a:gd name="T37" fmla="*/ 88 h 88"/>
                <a:gd name="T38" fmla="*/ 13 w 84"/>
                <a:gd name="T39" fmla="*/ 86 h 88"/>
                <a:gd name="T40" fmla="*/ 9 w 84"/>
                <a:gd name="T41" fmla="*/ 85 h 88"/>
                <a:gd name="T42" fmla="*/ 6 w 84"/>
                <a:gd name="T43" fmla="*/ 82 h 88"/>
                <a:gd name="T44" fmla="*/ 3 w 84"/>
                <a:gd name="T45" fmla="*/ 78 h 88"/>
                <a:gd name="T46" fmla="*/ 1 w 84"/>
                <a:gd name="T47" fmla="*/ 75 h 88"/>
                <a:gd name="T48" fmla="*/ 0 w 84"/>
                <a:gd name="T49" fmla="*/ 71 h 88"/>
                <a:gd name="T50" fmla="*/ 0 w 84"/>
                <a:gd name="T51" fmla="*/ 67 h 88"/>
                <a:gd name="T52" fmla="*/ 0 w 84"/>
                <a:gd name="T53" fmla="*/ 22 h 88"/>
                <a:gd name="T54" fmla="*/ 0 w 84"/>
                <a:gd name="T55" fmla="*/ 22 h 88"/>
                <a:gd name="T56" fmla="*/ 0 w 84"/>
                <a:gd name="T57" fmla="*/ 17 h 88"/>
                <a:gd name="T58" fmla="*/ 1 w 84"/>
                <a:gd name="T59" fmla="*/ 13 h 88"/>
                <a:gd name="T60" fmla="*/ 3 w 84"/>
                <a:gd name="T61" fmla="*/ 10 h 88"/>
                <a:gd name="T62" fmla="*/ 6 w 84"/>
                <a:gd name="T63" fmla="*/ 7 h 88"/>
                <a:gd name="T64" fmla="*/ 9 w 84"/>
                <a:gd name="T65" fmla="*/ 3 h 88"/>
                <a:gd name="T66" fmla="*/ 13 w 84"/>
                <a:gd name="T67" fmla="*/ 1 h 88"/>
                <a:gd name="T68" fmla="*/ 17 w 84"/>
                <a:gd name="T69" fmla="*/ 0 h 88"/>
                <a:gd name="T70" fmla="*/ 22 w 84"/>
                <a:gd name="T71" fmla="*/ 0 h 88"/>
                <a:gd name="T72" fmla="*/ 84 w 84"/>
                <a:gd name="T73" fmla="*/ 0 h 88"/>
                <a:gd name="T74" fmla="*/ 84 w 84"/>
                <a:gd name="T7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4" h="88">
                  <a:moveTo>
                    <a:pt x="22" y="13"/>
                  </a:moveTo>
                  <a:lnTo>
                    <a:pt x="22" y="13"/>
                  </a:lnTo>
                  <a:lnTo>
                    <a:pt x="18" y="14"/>
                  </a:lnTo>
                  <a:lnTo>
                    <a:pt x="15" y="16"/>
                  </a:lnTo>
                  <a:lnTo>
                    <a:pt x="14" y="18"/>
                  </a:lnTo>
                  <a:lnTo>
                    <a:pt x="13" y="22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14" y="70"/>
                  </a:lnTo>
                  <a:lnTo>
                    <a:pt x="15" y="72"/>
                  </a:lnTo>
                  <a:lnTo>
                    <a:pt x="18" y="74"/>
                  </a:lnTo>
                  <a:lnTo>
                    <a:pt x="22" y="75"/>
                  </a:lnTo>
                  <a:lnTo>
                    <a:pt x="71" y="75"/>
                  </a:lnTo>
                  <a:lnTo>
                    <a:pt x="71" y="13"/>
                  </a:lnTo>
                  <a:lnTo>
                    <a:pt x="22" y="13"/>
                  </a:lnTo>
                  <a:close/>
                  <a:moveTo>
                    <a:pt x="84" y="88"/>
                  </a:moveTo>
                  <a:lnTo>
                    <a:pt x="22" y="88"/>
                  </a:lnTo>
                  <a:lnTo>
                    <a:pt x="22" y="88"/>
                  </a:lnTo>
                  <a:lnTo>
                    <a:pt x="17" y="88"/>
                  </a:lnTo>
                  <a:lnTo>
                    <a:pt x="13" y="86"/>
                  </a:lnTo>
                  <a:lnTo>
                    <a:pt x="9" y="85"/>
                  </a:lnTo>
                  <a:lnTo>
                    <a:pt x="6" y="82"/>
                  </a:lnTo>
                  <a:lnTo>
                    <a:pt x="3" y="78"/>
                  </a:lnTo>
                  <a:lnTo>
                    <a:pt x="1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7"/>
                  </a:lnTo>
                  <a:lnTo>
                    <a:pt x="9" y="3"/>
                  </a:lnTo>
                  <a:lnTo>
                    <a:pt x="13" y="1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84" y="0"/>
                  </a:lnTo>
                  <a:lnTo>
                    <a:pt x="84" y="88"/>
                  </a:lnTo>
                  <a:close/>
                </a:path>
              </a:pathLst>
            </a:custGeom>
            <a:solidFill>
              <a:srgbClr val="00B9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3" name="Freeform 156">
              <a:extLst>
                <a:ext uri="{FF2B5EF4-FFF2-40B4-BE49-F238E27FC236}">
                  <a16:creationId xmlns:a16="http://schemas.microsoft.com/office/drawing/2014/main" id="{F72F9C95-E69F-41CE-82CF-6ABC04C6F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10088" y="2230438"/>
              <a:ext cx="71438" cy="90488"/>
            </a:xfrm>
            <a:custGeom>
              <a:avLst/>
              <a:gdLst>
                <a:gd name="T0" fmla="*/ 14 w 45"/>
                <a:gd name="T1" fmla="*/ 43 h 57"/>
                <a:gd name="T2" fmla="*/ 31 w 45"/>
                <a:gd name="T3" fmla="*/ 43 h 57"/>
                <a:gd name="T4" fmla="*/ 31 w 45"/>
                <a:gd name="T5" fmla="*/ 43 h 57"/>
                <a:gd name="T6" fmla="*/ 32 w 45"/>
                <a:gd name="T7" fmla="*/ 41 h 57"/>
                <a:gd name="T8" fmla="*/ 32 w 45"/>
                <a:gd name="T9" fmla="*/ 16 h 57"/>
                <a:gd name="T10" fmla="*/ 32 w 45"/>
                <a:gd name="T11" fmla="*/ 16 h 57"/>
                <a:gd name="T12" fmla="*/ 31 w 45"/>
                <a:gd name="T13" fmla="*/ 14 h 57"/>
                <a:gd name="T14" fmla="*/ 14 w 45"/>
                <a:gd name="T15" fmla="*/ 14 h 57"/>
                <a:gd name="T16" fmla="*/ 14 w 45"/>
                <a:gd name="T17" fmla="*/ 43 h 57"/>
                <a:gd name="T18" fmla="*/ 32 w 45"/>
                <a:gd name="T19" fmla="*/ 57 h 57"/>
                <a:gd name="T20" fmla="*/ 0 w 45"/>
                <a:gd name="T21" fmla="*/ 57 h 57"/>
                <a:gd name="T22" fmla="*/ 0 w 45"/>
                <a:gd name="T23" fmla="*/ 0 h 57"/>
                <a:gd name="T24" fmla="*/ 32 w 45"/>
                <a:gd name="T25" fmla="*/ 0 h 57"/>
                <a:gd name="T26" fmla="*/ 32 w 45"/>
                <a:gd name="T27" fmla="*/ 0 h 57"/>
                <a:gd name="T28" fmla="*/ 37 w 45"/>
                <a:gd name="T29" fmla="*/ 2 h 57"/>
                <a:gd name="T30" fmla="*/ 42 w 45"/>
                <a:gd name="T31" fmla="*/ 6 h 57"/>
                <a:gd name="T32" fmla="*/ 44 w 45"/>
                <a:gd name="T33" fmla="*/ 10 h 57"/>
                <a:gd name="T34" fmla="*/ 45 w 45"/>
                <a:gd name="T35" fmla="*/ 16 h 57"/>
                <a:gd name="T36" fmla="*/ 45 w 45"/>
                <a:gd name="T37" fmla="*/ 41 h 57"/>
                <a:gd name="T38" fmla="*/ 45 w 45"/>
                <a:gd name="T39" fmla="*/ 41 h 57"/>
                <a:gd name="T40" fmla="*/ 45 w 45"/>
                <a:gd name="T41" fmla="*/ 46 h 57"/>
                <a:gd name="T42" fmla="*/ 42 w 45"/>
                <a:gd name="T43" fmla="*/ 52 h 57"/>
                <a:gd name="T44" fmla="*/ 37 w 45"/>
                <a:gd name="T45" fmla="*/ 55 h 57"/>
                <a:gd name="T46" fmla="*/ 34 w 45"/>
                <a:gd name="T47" fmla="*/ 56 h 57"/>
                <a:gd name="T48" fmla="*/ 32 w 45"/>
                <a:gd name="T4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5" h="57">
                  <a:moveTo>
                    <a:pt x="14" y="43"/>
                  </a:moveTo>
                  <a:lnTo>
                    <a:pt x="31" y="43"/>
                  </a:lnTo>
                  <a:lnTo>
                    <a:pt x="31" y="43"/>
                  </a:lnTo>
                  <a:lnTo>
                    <a:pt x="32" y="41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1" y="14"/>
                  </a:lnTo>
                  <a:lnTo>
                    <a:pt x="14" y="14"/>
                  </a:lnTo>
                  <a:lnTo>
                    <a:pt x="14" y="43"/>
                  </a:lnTo>
                  <a:close/>
                  <a:moveTo>
                    <a:pt x="32" y="57"/>
                  </a:moveTo>
                  <a:lnTo>
                    <a:pt x="0" y="57"/>
                  </a:lnTo>
                  <a:lnTo>
                    <a:pt x="0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7" y="2"/>
                  </a:lnTo>
                  <a:lnTo>
                    <a:pt x="42" y="6"/>
                  </a:lnTo>
                  <a:lnTo>
                    <a:pt x="44" y="10"/>
                  </a:lnTo>
                  <a:lnTo>
                    <a:pt x="45" y="16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6"/>
                  </a:lnTo>
                  <a:lnTo>
                    <a:pt x="42" y="52"/>
                  </a:lnTo>
                  <a:lnTo>
                    <a:pt x="37" y="55"/>
                  </a:lnTo>
                  <a:lnTo>
                    <a:pt x="34" y="56"/>
                  </a:lnTo>
                  <a:lnTo>
                    <a:pt x="32" y="57"/>
                  </a:lnTo>
                  <a:close/>
                </a:path>
              </a:pathLst>
            </a:custGeom>
            <a:solidFill>
              <a:srgbClr val="00B9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4" name="Freeform 157">
              <a:extLst>
                <a:ext uri="{FF2B5EF4-FFF2-40B4-BE49-F238E27FC236}">
                  <a16:creationId xmlns:a16="http://schemas.microsoft.com/office/drawing/2014/main" id="{5074C1E1-DD7E-48B1-BF56-FF69DAB3A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32313" y="2252663"/>
              <a:ext cx="28575" cy="46038"/>
            </a:xfrm>
            <a:custGeom>
              <a:avLst/>
              <a:gdLst>
                <a:gd name="T0" fmla="*/ 0 w 18"/>
                <a:gd name="T1" fmla="*/ 29 h 29"/>
                <a:gd name="T2" fmla="*/ 17 w 18"/>
                <a:gd name="T3" fmla="*/ 29 h 29"/>
                <a:gd name="T4" fmla="*/ 17 w 18"/>
                <a:gd name="T5" fmla="*/ 29 h 29"/>
                <a:gd name="T6" fmla="*/ 18 w 18"/>
                <a:gd name="T7" fmla="*/ 27 h 29"/>
                <a:gd name="T8" fmla="*/ 18 w 18"/>
                <a:gd name="T9" fmla="*/ 2 h 29"/>
                <a:gd name="T10" fmla="*/ 18 w 18"/>
                <a:gd name="T11" fmla="*/ 2 h 29"/>
                <a:gd name="T12" fmla="*/ 17 w 18"/>
                <a:gd name="T13" fmla="*/ 0 h 29"/>
                <a:gd name="T14" fmla="*/ 0 w 18"/>
                <a:gd name="T15" fmla="*/ 0 h 29"/>
                <a:gd name="T16" fmla="*/ 0 w 18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9">
                  <a:moveTo>
                    <a:pt x="0" y="29"/>
                  </a:moveTo>
                  <a:lnTo>
                    <a:pt x="17" y="29"/>
                  </a:lnTo>
                  <a:lnTo>
                    <a:pt x="17" y="29"/>
                  </a:lnTo>
                  <a:lnTo>
                    <a:pt x="18" y="27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7" y="0"/>
                  </a:lnTo>
                  <a:lnTo>
                    <a:pt x="0" y="0"/>
                  </a:lnTo>
                  <a:lnTo>
                    <a:pt x="0" y="2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5" name="Freeform 158">
              <a:extLst>
                <a:ext uri="{FF2B5EF4-FFF2-40B4-BE49-F238E27FC236}">
                  <a16:creationId xmlns:a16="http://schemas.microsoft.com/office/drawing/2014/main" id="{6A15BFCB-5B08-4C64-8F71-BDCCAB2937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0088" y="2230438"/>
              <a:ext cx="71438" cy="90488"/>
            </a:xfrm>
            <a:custGeom>
              <a:avLst/>
              <a:gdLst>
                <a:gd name="T0" fmla="*/ 32 w 45"/>
                <a:gd name="T1" fmla="*/ 57 h 57"/>
                <a:gd name="T2" fmla="*/ 0 w 45"/>
                <a:gd name="T3" fmla="*/ 57 h 57"/>
                <a:gd name="T4" fmla="*/ 0 w 45"/>
                <a:gd name="T5" fmla="*/ 0 h 57"/>
                <a:gd name="T6" fmla="*/ 32 w 45"/>
                <a:gd name="T7" fmla="*/ 0 h 57"/>
                <a:gd name="T8" fmla="*/ 32 w 45"/>
                <a:gd name="T9" fmla="*/ 0 h 57"/>
                <a:gd name="T10" fmla="*/ 37 w 45"/>
                <a:gd name="T11" fmla="*/ 2 h 57"/>
                <a:gd name="T12" fmla="*/ 42 w 45"/>
                <a:gd name="T13" fmla="*/ 6 h 57"/>
                <a:gd name="T14" fmla="*/ 44 w 45"/>
                <a:gd name="T15" fmla="*/ 10 h 57"/>
                <a:gd name="T16" fmla="*/ 45 w 45"/>
                <a:gd name="T17" fmla="*/ 16 h 57"/>
                <a:gd name="T18" fmla="*/ 45 w 45"/>
                <a:gd name="T19" fmla="*/ 41 h 57"/>
                <a:gd name="T20" fmla="*/ 45 w 45"/>
                <a:gd name="T21" fmla="*/ 41 h 57"/>
                <a:gd name="T22" fmla="*/ 45 w 45"/>
                <a:gd name="T23" fmla="*/ 46 h 57"/>
                <a:gd name="T24" fmla="*/ 42 w 45"/>
                <a:gd name="T25" fmla="*/ 52 h 57"/>
                <a:gd name="T26" fmla="*/ 37 w 45"/>
                <a:gd name="T27" fmla="*/ 55 h 57"/>
                <a:gd name="T28" fmla="*/ 34 w 45"/>
                <a:gd name="T29" fmla="*/ 56 h 57"/>
                <a:gd name="T30" fmla="*/ 32 w 45"/>
                <a:gd name="T31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5" h="57">
                  <a:moveTo>
                    <a:pt x="32" y="57"/>
                  </a:moveTo>
                  <a:lnTo>
                    <a:pt x="0" y="57"/>
                  </a:lnTo>
                  <a:lnTo>
                    <a:pt x="0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7" y="2"/>
                  </a:lnTo>
                  <a:lnTo>
                    <a:pt x="42" y="6"/>
                  </a:lnTo>
                  <a:lnTo>
                    <a:pt x="44" y="10"/>
                  </a:lnTo>
                  <a:lnTo>
                    <a:pt x="45" y="16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6"/>
                  </a:lnTo>
                  <a:lnTo>
                    <a:pt x="42" y="52"/>
                  </a:lnTo>
                  <a:lnTo>
                    <a:pt x="37" y="55"/>
                  </a:lnTo>
                  <a:lnTo>
                    <a:pt x="34" y="56"/>
                  </a:lnTo>
                  <a:lnTo>
                    <a:pt x="32" y="5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6" name="Freeform 159">
              <a:extLst>
                <a:ext uri="{FF2B5EF4-FFF2-40B4-BE49-F238E27FC236}">
                  <a16:creationId xmlns:a16="http://schemas.microsoft.com/office/drawing/2014/main" id="{0338CE92-4E5B-4DF6-9CA3-7940458EF7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64013" y="2547938"/>
              <a:ext cx="134938" cy="138113"/>
            </a:xfrm>
            <a:custGeom>
              <a:avLst/>
              <a:gdLst>
                <a:gd name="T0" fmla="*/ 14 w 85"/>
                <a:gd name="T1" fmla="*/ 75 h 87"/>
                <a:gd name="T2" fmla="*/ 64 w 85"/>
                <a:gd name="T3" fmla="*/ 75 h 87"/>
                <a:gd name="T4" fmla="*/ 64 w 85"/>
                <a:gd name="T5" fmla="*/ 75 h 87"/>
                <a:gd name="T6" fmla="*/ 67 w 85"/>
                <a:gd name="T7" fmla="*/ 73 h 87"/>
                <a:gd name="T8" fmla="*/ 69 w 85"/>
                <a:gd name="T9" fmla="*/ 72 h 87"/>
                <a:gd name="T10" fmla="*/ 71 w 85"/>
                <a:gd name="T11" fmla="*/ 69 h 87"/>
                <a:gd name="T12" fmla="*/ 72 w 85"/>
                <a:gd name="T13" fmla="*/ 66 h 87"/>
                <a:gd name="T14" fmla="*/ 72 w 85"/>
                <a:gd name="T15" fmla="*/ 21 h 87"/>
                <a:gd name="T16" fmla="*/ 72 w 85"/>
                <a:gd name="T17" fmla="*/ 21 h 87"/>
                <a:gd name="T18" fmla="*/ 71 w 85"/>
                <a:gd name="T19" fmla="*/ 18 h 87"/>
                <a:gd name="T20" fmla="*/ 69 w 85"/>
                <a:gd name="T21" fmla="*/ 16 h 87"/>
                <a:gd name="T22" fmla="*/ 67 w 85"/>
                <a:gd name="T23" fmla="*/ 13 h 87"/>
                <a:gd name="T24" fmla="*/ 64 w 85"/>
                <a:gd name="T25" fmla="*/ 13 h 87"/>
                <a:gd name="T26" fmla="*/ 14 w 85"/>
                <a:gd name="T27" fmla="*/ 13 h 87"/>
                <a:gd name="T28" fmla="*/ 14 w 85"/>
                <a:gd name="T29" fmla="*/ 75 h 87"/>
                <a:gd name="T30" fmla="*/ 64 w 85"/>
                <a:gd name="T31" fmla="*/ 87 h 87"/>
                <a:gd name="T32" fmla="*/ 0 w 85"/>
                <a:gd name="T33" fmla="*/ 87 h 87"/>
                <a:gd name="T34" fmla="*/ 0 w 85"/>
                <a:gd name="T35" fmla="*/ 0 h 87"/>
                <a:gd name="T36" fmla="*/ 64 w 85"/>
                <a:gd name="T37" fmla="*/ 0 h 87"/>
                <a:gd name="T38" fmla="*/ 64 w 85"/>
                <a:gd name="T39" fmla="*/ 0 h 87"/>
                <a:gd name="T40" fmla="*/ 68 w 85"/>
                <a:gd name="T41" fmla="*/ 1 h 87"/>
                <a:gd name="T42" fmla="*/ 72 w 85"/>
                <a:gd name="T43" fmla="*/ 2 h 87"/>
                <a:gd name="T44" fmla="*/ 75 w 85"/>
                <a:gd name="T45" fmla="*/ 4 h 87"/>
                <a:gd name="T46" fmla="*/ 79 w 85"/>
                <a:gd name="T47" fmla="*/ 6 h 87"/>
                <a:gd name="T48" fmla="*/ 82 w 85"/>
                <a:gd name="T49" fmla="*/ 9 h 87"/>
                <a:gd name="T50" fmla="*/ 83 w 85"/>
                <a:gd name="T51" fmla="*/ 12 h 87"/>
                <a:gd name="T52" fmla="*/ 85 w 85"/>
                <a:gd name="T53" fmla="*/ 17 h 87"/>
                <a:gd name="T54" fmla="*/ 85 w 85"/>
                <a:gd name="T55" fmla="*/ 21 h 87"/>
                <a:gd name="T56" fmla="*/ 85 w 85"/>
                <a:gd name="T57" fmla="*/ 66 h 87"/>
                <a:gd name="T58" fmla="*/ 85 w 85"/>
                <a:gd name="T59" fmla="*/ 66 h 87"/>
                <a:gd name="T60" fmla="*/ 85 w 85"/>
                <a:gd name="T61" fmla="*/ 70 h 87"/>
                <a:gd name="T62" fmla="*/ 83 w 85"/>
                <a:gd name="T63" fmla="*/ 75 h 87"/>
                <a:gd name="T64" fmla="*/ 82 w 85"/>
                <a:gd name="T65" fmla="*/ 78 h 87"/>
                <a:gd name="T66" fmla="*/ 79 w 85"/>
                <a:gd name="T67" fmla="*/ 81 h 87"/>
                <a:gd name="T68" fmla="*/ 75 w 85"/>
                <a:gd name="T69" fmla="*/ 84 h 87"/>
                <a:gd name="T70" fmla="*/ 72 w 85"/>
                <a:gd name="T71" fmla="*/ 86 h 87"/>
                <a:gd name="T72" fmla="*/ 68 w 85"/>
                <a:gd name="T73" fmla="*/ 87 h 87"/>
                <a:gd name="T74" fmla="*/ 64 w 85"/>
                <a:gd name="T7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7">
                  <a:moveTo>
                    <a:pt x="14" y="75"/>
                  </a:moveTo>
                  <a:lnTo>
                    <a:pt x="64" y="75"/>
                  </a:lnTo>
                  <a:lnTo>
                    <a:pt x="64" y="75"/>
                  </a:lnTo>
                  <a:lnTo>
                    <a:pt x="67" y="73"/>
                  </a:lnTo>
                  <a:lnTo>
                    <a:pt x="69" y="72"/>
                  </a:lnTo>
                  <a:lnTo>
                    <a:pt x="71" y="69"/>
                  </a:lnTo>
                  <a:lnTo>
                    <a:pt x="72" y="66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1" y="18"/>
                  </a:lnTo>
                  <a:lnTo>
                    <a:pt x="69" y="16"/>
                  </a:lnTo>
                  <a:lnTo>
                    <a:pt x="67" y="13"/>
                  </a:lnTo>
                  <a:lnTo>
                    <a:pt x="64" y="13"/>
                  </a:lnTo>
                  <a:lnTo>
                    <a:pt x="14" y="13"/>
                  </a:lnTo>
                  <a:lnTo>
                    <a:pt x="14" y="75"/>
                  </a:lnTo>
                  <a:close/>
                  <a:moveTo>
                    <a:pt x="64" y="87"/>
                  </a:moveTo>
                  <a:lnTo>
                    <a:pt x="0" y="87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1"/>
                  </a:lnTo>
                  <a:lnTo>
                    <a:pt x="72" y="2"/>
                  </a:lnTo>
                  <a:lnTo>
                    <a:pt x="75" y="4"/>
                  </a:lnTo>
                  <a:lnTo>
                    <a:pt x="79" y="6"/>
                  </a:lnTo>
                  <a:lnTo>
                    <a:pt x="82" y="9"/>
                  </a:lnTo>
                  <a:lnTo>
                    <a:pt x="83" y="12"/>
                  </a:lnTo>
                  <a:lnTo>
                    <a:pt x="85" y="17"/>
                  </a:lnTo>
                  <a:lnTo>
                    <a:pt x="85" y="21"/>
                  </a:lnTo>
                  <a:lnTo>
                    <a:pt x="85" y="66"/>
                  </a:lnTo>
                  <a:lnTo>
                    <a:pt x="85" y="66"/>
                  </a:lnTo>
                  <a:lnTo>
                    <a:pt x="85" y="70"/>
                  </a:lnTo>
                  <a:lnTo>
                    <a:pt x="83" y="75"/>
                  </a:lnTo>
                  <a:lnTo>
                    <a:pt x="82" y="78"/>
                  </a:lnTo>
                  <a:lnTo>
                    <a:pt x="79" y="81"/>
                  </a:lnTo>
                  <a:lnTo>
                    <a:pt x="75" y="84"/>
                  </a:lnTo>
                  <a:lnTo>
                    <a:pt x="72" y="86"/>
                  </a:lnTo>
                  <a:lnTo>
                    <a:pt x="68" y="87"/>
                  </a:lnTo>
                  <a:lnTo>
                    <a:pt x="64" y="87"/>
                  </a:lnTo>
                  <a:close/>
                </a:path>
              </a:pathLst>
            </a:custGeom>
            <a:solidFill>
              <a:srgbClr val="00B9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7" name="Freeform 160">
              <a:extLst>
                <a:ext uri="{FF2B5EF4-FFF2-40B4-BE49-F238E27FC236}">
                  <a16:creationId xmlns:a16="http://schemas.microsoft.com/office/drawing/2014/main" id="{7F4BBD11-B20B-40E3-B350-9D7F6A896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86238" y="2568576"/>
              <a:ext cx="92075" cy="98425"/>
            </a:xfrm>
            <a:custGeom>
              <a:avLst/>
              <a:gdLst>
                <a:gd name="T0" fmla="*/ 0 w 58"/>
                <a:gd name="T1" fmla="*/ 62 h 62"/>
                <a:gd name="T2" fmla="*/ 50 w 58"/>
                <a:gd name="T3" fmla="*/ 62 h 62"/>
                <a:gd name="T4" fmla="*/ 50 w 58"/>
                <a:gd name="T5" fmla="*/ 62 h 62"/>
                <a:gd name="T6" fmla="*/ 53 w 58"/>
                <a:gd name="T7" fmla="*/ 60 h 62"/>
                <a:gd name="T8" fmla="*/ 55 w 58"/>
                <a:gd name="T9" fmla="*/ 59 h 62"/>
                <a:gd name="T10" fmla="*/ 57 w 58"/>
                <a:gd name="T11" fmla="*/ 56 h 62"/>
                <a:gd name="T12" fmla="*/ 58 w 58"/>
                <a:gd name="T13" fmla="*/ 53 h 62"/>
                <a:gd name="T14" fmla="*/ 58 w 58"/>
                <a:gd name="T15" fmla="*/ 8 h 62"/>
                <a:gd name="T16" fmla="*/ 58 w 58"/>
                <a:gd name="T17" fmla="*/ 8 h 62"/>
                <a:gd name="T18" fmla="*/ 57 w 58"/>
                <a:gd name="T19" fmla="*/ 5 h 62"/>
                <a:gd name="T20" fmla="*/ 55 w 58"/>
                <a:gd name="T21" fmla="*/ 3 h 62"/>
                <a:gd name="T22" fmla="*/ 53 w 58"/>
                <a:gd name="T23" fmla="*/ 0 h 62"/>
                <a:gd name="T24" fmla="*/ 50 w 58"/>
                <a:gd name="T25" fmla="*/ 0 h 62"/>
                <a:gd name="T26" fmla="*/ 0 w 58"/>
                <a:gd name="T27" fmla="*/ 0 h 62"/>
                <a:gd name="T28" fmla="*/ 0 w 58"/>
                <a:gd name="T2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62">
                  <a:moveTo>
                    <a:pt x="0" y="62"/>
                  </a:moveTo>
                  <a:lnTo>
                    <a:pt x="50" y="62"/>
                  </a:lnTo>
                  <a:lnTo>
                    <a:pt x="50" y="62"/>
                  </a:lnTo>
                  <a:lnTo>
                    <a:pt x="53" y="60"/>
                  </a:lnTo>
                  <a:lnTo>
                    <a:pt x="55" y="59"/>
                  </a:lnTo>
                  <a:lnTo>
                    <a:pt x="57" y="56"/>
                  </a:lnTo>
                  <a:lnTo>
                    <a:pt x="58" y="53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7" y="5"/>
                  </a:lnTo>
                  <a:lnTo>
                    <a:pt x="55" y="3"/>
                  </a:lnTo>
                  <a:lnTo>
                    <a:pt x="53" y="0"/>
                  </a:lnTo>
                  <a:lnTo>
                    <a:pt x="50" y="0"/>
                  </a:lnTo>
                  <a:lnTo>
                    <a:pt x="0" y="0"/>
                  </a:lnTo>
                  <a:lnTo>
                    <a:pt x="0" y="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8" name="Freeform 161">
              <a:extLst>
                <a:ext uri="{FF2B5EF4-FFF2-40B4-BE49-F238E27FC236}">
                  <a16:creationId xmlns:a16="http://schemas.microsoft.com/office/drawing/2014/main" id="{8A8C253D-37C4-46C7-8E2E-58B007ABB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4013" y="2547938"/>
              <a:ext cx="134938" cy="138113"/>
            </a:xfrm>
            <a:custGeom>
              <a:avLst/>
              <a:gdLst>
                <a:gd name="T0" fmla="*/ 64 w 85"/>
                <a:gd name="T1" fmla="*/ 87 h 87"/>
                <a:gd name="T2" fmla="*/ 0 w 85"/>
                <a:gd name="T3" fmla="*/ 87 h 87"/>
                <a:gd name="T4" fmla="*/ 0 w 85"/>
                <a:gd name="T5" fmla="*/ 0 h 87"/>
                <a:gd name="T6" fmla="*/ 64 w 85"/>
                <a:gd name="T7" fmla="*/ 0 h 87"/>
                <a:gd name="T8" fmla="*/ 64 w 85"/>
                <a:gd name="T9" fmla="*/ 0 h 87"/>
                <a:gd name="T10" fmla="*/ 68 w 85"/>
                <a:gd name="T11" fmla="*/ 1 h 87"/>
                <a:gd name="T12" fmla="*/ 72 w 85"/>
                <a:gd name="T13" fmla="*/ 2 h 87"/>
                <a:gd name="T14" fmla="*/ 75 w 85"/>
                <a:gd name="T15" fmla="*/ 4 h 87"/>
                <a:gd name="T16" fmla="*/ 79 w 85"/>
                <a:gd name="T17" fmla="*/ 6 h 87"/>
                <a:gd name="T18" fmla="*/ 82 w 85"/>
                <a:gd name="T19" fmla="*/ 9 h 87"/>
                <a:gd name="T20" fmla="*/ 83 w 85"/>
                <a:gd name="T21" fmla="*/ 12 h 87"/>
                <a:gd name="T22" fmla="*/ 85 w 85"/>
                <a:gd name="T23" fmla="*/ 17 h 87"/>
                <a:gd name="T24" fmla="*/ 85 w 85"/>
                <a:gd name="T25" fmla="*/ 21 h 87"/>
                <a:gd name="T26" fmla="*/ 85 w 85"/>
                <a:gd name="T27" fmla="*/ 66 h 87"/>
                <a:gd name="T28" fmla="*/ 85 w 85"/>
                <a:gd name="T29" fmla="*/ 66 h 87"/>
                <a:gd name="T30" fmla="*/ 85 w 85"/>
                <a:gd name="T31" fmla="*/ 70 h 87"/>
                <a:gd name="T32" fmla="*/ 83 w 85"/>
                <a:gd name="T33" fmla="*/ 75 h 87"/>
                <a:gd name="T34" fmla="*/ 82 w 85"/>
                <a:gd name="T35" fmla="*/ 78 h 87"/>
                <a:gd name="T36" fmla="*/ 79 w 85"/>
                <a:gd name="T37" fmla="*/ 81 h 87"/>
                <a:gd name="T38" fmla="*/ 75 w 85"/>
                <a:gd name="T39" fmla="*/ 84 h 87"/>
                <a:gd name="T40" fmla="*/ 72 w 85"/>
                <a:gd name="T41" fmla="*/ 86 h 87"/>
                <a:gd name="T42" fmla="*/ 68 w 85"/>
                <a:gd name="T43" fmla="*/ 87 h 87"/>
                <a:gd name="T44" fmla="*/ 64 w 85"/>
                <a:gd name="T4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87">
                  <a:moveTo>
                    <a:pt x="64" y="87"/>
                  </a:moveTo>
                  <a:lnTo>
                    <a:pt x="0" y="87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1"/>
                  </a:lnTo>
                  <a:lnTo>
                    <a:pt x="72" y="2"/>
                  </a:lnTo>
                  <a:lnTo>
                    <a:pt x="75" y="4"/>
                  </a:lnTo>
                  <a:lnTo>
                    <a:pt x="79" y="6"/>
                  </a:lnTo>
                  <a:lnTo>
                    <a:pt x="82" y="9"/>
                  </a:lnTo>
                  <a:lnTo>
                    <a:pt x="83" y="12"/>
                  </a:lnTo>
                  <a:lnTo>
                    <a:pt x="85" y="17"/>
                  </a:lnTo>
                  <a:lnTo>
                    <a:pt x="85" y="21"/>
                  </a:lnTo>
                  <a:lnTo>
                    <a:pt x="85" y="66"/>
                  </a:lnTo>
                  <a:lnTo>
                    <a:pt x="85" y="66"/>
                  </a:lnTo>
                  <a:lnTo>
                    <a:pt x="85" y="70"/>
                  </a:lnTo>
                  <a:lnTo>
                    <a:pt x="83" y="75"/>
                  </a:lnTo>
                  <a:lnTo>
                    <a:pt x="82" y="78"/>
                  </a:lnTo>
                  <a:lnTo>
                    <a:pt x="79" y="81"/>
                  </a:lnTo>
                  <a:lnTo>
                    <a:pt x="75" y="84"/>
                  </a:lnTo>
                  <a:lnTo>
                    <a:pt x="72" y="86"/>
                  </a:lnTo>
                  <a:lnTo>
                    <a:pt x="68" y="87"/>
                  </a:lnTo>
                  <a:lnTo>
                    <a:pt x="64" y="8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9" name="Freeform 162">
              <a:extLst>
                <a:ext uri="{FF2B5EF4-FFF2-40B4-BE49-F238E27FC236}">
                  <a16:creationId xmlns:a16="http://schemas.microsoft.com/office/drawing/2014/main" id="{C89286F7-1C58-4682-A998-02EE4739AF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70350" y="2574926"/>
              <a:ext cx="71438" cy="87313"/>
            </a:xfrm>
            <a:custGeom>
              <a:avLst/>
              <a:gdLst>
                <a:gd name="T0" fmla="*/ 14 w 45"/>
                <a:gd name="T1" fmla="*/ 41 h 55"/>
                <a:gd name="T2" fmla="*/ 33 w 45"/>
                <a:gd name="T3" fmla="*/ 41 h 55"/>
                <a:gd name="T4" fmla="*/ 33 w 45"/>
                <a:gd name="T5" fmla="*/ 13 h 55"/>
                <a:gd name="T6" fmla="*/ 13 w 45"/>
                <a:gd name="T7" fmla="*/ 13 h 55"/>
                <a:gd name="T8" fmla="*/ 13 w 45"/>
                <a:gd name="T9" fmla="*/ 13 h 55"/>
                <a:gd name="T10" fmla="*/ 13 w 45"/>
                <a:gd name="T11" fmla="*/ 14 h 55"/>
                <a:gd name="T12" fmla="*/ 13 w 45"/>
                <a:gd name="T13" fmla="*/ 38 h 55"/>
                <a:gd name="T14" fmla="*/ 13 w 45"/>
                <a:gd name="T15" fmla="*/ 38 h 55"/>
                <a:gd name="T16" fmla="*/ 14 w 45"/>
                <a:gd name="T17" fmla="*/ 41 h 55"/>
                <a:gd name="T18" fmla="*/ 45 w 45"/>
                <a:gd name="T19" fmla="*/ 55 h 55"/>
                <a:gd name="T20" fmla="*/ 13 w 45"/>
                <a:gd name="T21" fmla="*/ 55 h 55"/>
                <a:gd name="T22" fmla="*/ 13 w 45"/>
                <a:gd name="T23" fmla="*/ 55 h 55"/>
                <a:gd name="T24" fmla="*/ 10 w 45"/>
                <a:gd name="T25" fmla="*/ 55 h 55"/>
                <a:gd name="T26" fmla="*/ 8 w 45"/>
                <a:gd name="T27" fmla="*/ 54 h 55"/>
                <a:gd name="T28" fmla="*/ 6 w 45"/>
                <a:gd name="T29" fmla="*/ 52 h 55"/>
                <a:gd name="T30" fmla="*/ 4 w 45"/>
                <a:gd name="T31" fmla="*/ 50 h 55"/>
                <a:gd name="T32" fmla="*/ 1 w 45"/>
                <a:gd name="T33" fmla="*/ 45 h 55"/>
                <a:gd name="T34" fmla="*/ 0 w 45"/>
                <a:gd name="T35" fmla="*/ 38 h 55"/>
                <a:gd name="T36" fmla="*/ 0 w 45"/>
                <a:gd name="T37" fmla="*/ 14 h 55"/>
                <a:gd name="T38" fmla="*/ 0 w 45"/>
                <a:gd name="T39" fmla="*/ 14 h 55"/>
                <a:gd name="T40" fmla="*/ 1 w 45"/>
                <a:gd name="T41" fmla="*/ 8 h 55"/>
                <a:gd name="T42" fmla="*/ 4 w 45"/>
                <a:gd name="T43" fmla="*/ 3 h 55"/>
                <a:gd name="T44" fmla="*/ 8 w 45"/>
                <a:gd name="T45" fmla="*/ 1 h 55"/>
                <a:gd name="T46" fmla="*/ 13 w 45"/>
                <a:gd name="T47" fmla="*/ 0 h 55"/>
                <a:gd name="T48" fmla="*/ 45 w 45"/>
                <a:gd name="T49" fmla="*/ 0 h 55"/>
                <a:gd name="T50" fmla="*/ 45 w 45"/>
                <a:gd name="T51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5" h="55">
                  <a:moveTo>
                    <a:pt x="14" y="41"/>
                  </a:moveTo>
                  <a:lnTo>
                    <a:pt x="33" y="41"/>
                  </a:lnTo>
                  <a:lnTo>
                    <a:pt x="3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4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14" y="41"/>
                  </a:lnTo>
                  <a:close/>
                  <a:moveTo>
                    <a:pt x="45" y="55"/>
                  </a:moveTo>
                  <a:lnTo>
                    <a:pt x="13" y="55"/>
                  </a:lnTo>
                  <a:lnTo>
                    <a:pt x="13" y="55"/>
                  </a:lnTo>
                  <a:lnTo>
                    <a:pt x="10" y="55"/>
                  </a:lnTo>
                  <a:lnTo>
                    <a:pt x="8" y="54"/>
                  </a:lnTo>
                  <a:lnTo>
                    <a:pt x="6" y="52"/>
                  </a:lnTo>
                  <a:lnTo>
                    <a:pt x="4" y="50"/>
                  </a:lnTo>
                  <a:lnTo>
                    <a:pt x="1" y="45"/>
                  </a:lnTo>
                  <a:lnTo>
                    <a:pt x="0" y="3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8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45" y="0"/>
                  </a:lnTo>
                  <a:lnTo>
                    <a:pt x="45" y="55"/>
                  </a:lnTo>
                  <a:close/>
                </a:path>
              </a:pathLst>
            </a:custGeom>
            <a:solidFill>
              <a:srgbClr val="00B9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0" name="Freeform 163">
              <a:extLst>
                <a:ext uri="{FF2B5EF4-FFF2-40B4-BE49-F238E27FC236}">
                  <a16:creationId xmlns:a16="http://schemas.microsoft.com/office/drawing/2014/main" id="{5E78FD0A-311B-4E81-80FC-B908C1728B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90988" y="2595563"/>
              <a:ext cx="31750" cy="44450"/>
            </a:xfrm>
            <a:custGeom>
              <a:avLst/>
              <a:gdLst>
                <a:gd name="T0" fmla="*/ 1 w 20"/>
                <a:gd name="T1" fmla="*/ 28 h 28"/>
                <a:gd name="T2" fmla="*/ 20 w 20"/>
                <a:gd name="T3" fmla="*/ 28 h 28"/>
                <a:gd name="T4" fmla="*/ 20 w 20"/>
                <a:gd name="T5" fmla="*/ 0 h 28"/>
                <a:gd name="T6" fmla="*/ 0 w 20"/>
                <a:gd name="T7" fmla="*/ 0 h 28"/>
                <a:gd name="T8" fmla="*/ 0 w 20"/>
                <a:gd name="T9" fmla="*/ 0 h 28"/>
                <a:gd name="T10" fmla="*/ 0 w 20"/>
                <a:gd name="T11" fmla="*/ 1 h 28"/>
                <a:gd name="T12" fmla="*/ 0 w 20"/>
                <a:gd name="T13" fmla="*/ 25 h 28"/>
                <a:gd name="T14" fmla="*/ 0 w 20"/>
                <a:gd name="T15" fmla="*/ 25 h 28"/>
                <a:gd name="T16" fmla="*/ 1 w 20"/>
                <a:gd name="T1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8">
                  <a:moveTo>
                    <a:pt x="1" y="28"/>
                  </a:moveTo>
                  <a:lnTo>
                    <a:pt x="20" y="28"/>
                  </a:lnTo>
                  <a:lnTo>
                    <a:pt x="2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2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1" name="Freeform 164">
              <a:extLst>
                <a:ext uri="{FF2B5EF4-FFF2-40B4-BE49-F238E27FC236}">
                  <a16:creationId xmlns:a16="http://schemas.microsoft.com/office/drawing/2014/main" id="{47B3090A-7306-4541-8F27-302FA0100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70350" y="2574926"/>
              <a:ext cx="71438" cy="87313"/>
            </a:xfrm>
            <a:custGeom>
              <a:avLst/>
              <a:gdLst>
                <a:gd name="T0" fmla="*/ 45 w 45"/>
                <a:gd name="T1" fmla="*/ 55 h 55"/>
                <a:gd name="T2" fmla="*/ 13 w 45"/>
                <a:gd name="T3" fmla="*/ 55 h 55"/>
                <a:gd name="T4" fmla="*/ 13 w 45"/>
                <a:gd name="T5" fmla="*/ 55 h 55"/>
                <a:gd name="T6" fmla="*/ 10 w 45"/>
                <a:gd name="T7" fmla="*/ 55 h 55"/>
                <a:gd name="T8" fmla="*/ 8 w 45"/>
                <a:gd name="T9" fmla="*/ 54 h 55"/>
                <a:gd name="T10" fmla="*/ 6 w 45"/>
                <a:gd name="T11" fmla="*/ 52 h 55"/>
                <a:gd name="T12" fmla="*/ 4 w 45"/>
                <a:gd name="T13" fmla="*/ 50 h 55"/>
                <a:gd name="T14" fmla="*/ 1 w 45"/>
                <a:gd name="T15" fmla="*/ 45 h 55"/>
                <a:gd name="T16" fmla="*/ 0 w 45"/>
                <a:gd name="T17" fmla="*/ 38 h 55"/>
                <a:gd name="T18" fmla="*/ 0 w 45"/>
                <a:gd name="T19" fmla="*/ 14 h 55"/>
                <a:gd name="T20" fmla="*/ 0 w 45"/>
                <a:gd name="T21" fmla="*/ 14 h 55"/>
                <a:gd name="T22" fmla="*/ 1 w 45"/>
                <a:gd name="T23" fmla="*/ 8 h 55"/>
                <a:gd name="T24" fmla="*/ 4 w 45"/>
                <a:gd name="T25" fmla="*/ 3 h 55"/>
                <a:gd name="T26" fmla="*/ 8 w 45"/>
                <a:gd name="T27" fmla="*/ 1 h 55"/>
                <a:gd name="T28" fmla="*/ 13 w 45"/>
                <a:gd name="T29" fmla="*/ 0 h 55"/>
                <a:gd name="T30" fmla="*/ 45 w 45"/>
                <a:gd name="T31" fmla="*/ 0 h 55"/>
                <a:gd name="T32" fmla="*/ 45 w 45"/>
                <a:gd name="T33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" h="55">
                  <a:moveTo>
                    <a:pt x="45" y="55"/>
                  </a:moveTo>
                  <a:lnTo>
                    <a:pt x="13" y="55"/>
                  </a:lnTo>
                  <a:lnTo>
                    <a:pt x="13" y="55"/>
                  </a:lnTo>
                  <a:lnTo>
                    <a:pt x="10" y="55"/>
                  </a:lnTo>
                  <a:lnTo>
                    <a:pt x="8" y="54"/>
                  </a:lnTo>
                  <a:lnTo>
                    <a:pt x="6" y="52"/>
                  </a:lnTo>
                  <a:lnTo>
                    <a:pt x="4" y="50"/>
                  </a:lnTo>
                  <a:lnTo>
                    <a:pt x="1" y="45"/>
                  </a:lnTo>
                  <a:lnTo>
                    <a:pt x="0" y="3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8"/>
                  </a:lnTo>
                  <a:lnTo>
                    <a:pt x="4" y="3"/>
                  </a:lnTo>
                  <a:lnTo>
                    <a:pt x="8" y="1"/>
                  </a:lnTo>
                  <a:lnTo>
                    <a:pt x="13" y="0"/>
                  </a:lnTo>
                  <a:lnTo>
                    <a:pt x="45" y="0"/>
                  </a:lnTo>
                  <a:lnTo>
                    <a:pt x="45" y="5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2" name="Freeform 165">
              <a:extLst>
                <a:ext uri="{FF2B5EF4-FFF2-40B4-BE49-F238E27FC236}">
                  <a16:creationId xmlns:a16="http://schemas.microsoft.com/office/drawing/2014/main" id="{78B7DEDC-5ACB-46E3-A92C-FB9AF940D8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71938" y="2268538"/>
              <a:ext cx="511175" cy="358775"/>
            </a:xfrm>
            <a:custGeom>
              <a:avLst/>
              <a:gdLst>
                <a:gd name="T0" fmla="*/ 134 w 322"/>
                <a:gd name="T1" fmla="*/ 226 h 226"/>
                <a:gd name="T2" fmla="*/ 262 w 322"/>
                <a:gd name="T3" fmla="*/ 212 h 226"/>
                <a:gd name="T4" fmla="*/ 272 w 322"/>
                <a:gd name="T5" fmla="*/ 211 h 226"/>
                <a:gd name="T6" fmla="*/ 289 w 322"/>
                <a:gd name="T7" fmla="*/ 204 h 226"/>
                <a:gd name="T8" fmla="*/ 300 w 322"/>
                <a:gd name="T9" fmla="*/ 192 h 226"/>
                <a:gd name="T10" fmla="*/ 308 w 322"/>
                <a:gd name="T11" fmla="*/ 176 h 226"/>
                <a:gd name="T12" fmla="*/ 309 w 322"/>
                <a:gd name="T13" fmla="*/ 166 h 226"/>
                <a:gd name="T14" fmla="*/ 305 w 322"/>
                <a:gd name="T15" fmla="*/ 148 h 226"/>
                <a:gd name="T16" fmla="*/ 295 w 322"/>
                <a:gd name="T17" fmla="*/ 133 h 226"/>
                <a:gd name="T18" fmla="*/ 280 w 322"/>
                <a:gd name="T19" fmla="*/ 123 h 226"/>
                <a:gd name="T20" fmla="*/ 262 w 322"/>
                <a:gd name="T21" fmla="*/ 119 h 226"/>
                <a:gd name="T22" fmla="*/ 60 w 322"/>
                <a:gd name="T23" fmla="*/ 119 h 226"/>
                <a:gd name="T24" fmla="*/ 37 w 322"/>
                <a:gd name="T25" fmla="*/ 114 h 226"/>
                <a:gd name="T26" fmla="*/ 18 w 322"/>
                <a:gd name="T27" fmla="*/ 102 h 226"/>
                <a:gd name="T28" fmla="*/ 5 w 322"/>
                <a:gd name="T29" fmla="*/ 82 h 226"/>
                <a:gd name="T30" fmla="*/ 0 w 322"/>
                <a:gd name="T31" fmla="*/ 60 h 226"/>
                <a:gd name="T32" fmla="*/ 2 w 322"/>
                <a:gd name="T33" fmla="*/ 47 h 226"/>
                <a:gd name="T34" fmla="*/ 11 w 322"/>
                <a:gd name="T35" fmla="*/ 26 h 226"/>
                <a:gd name="T36" fmla="*/ 27 w 322"/>
                <a:gd name="T37" fmla="*/ 9 h 226"/>
                <a:gd name="T38" fmla="*/ 49 w 322"/>
                <a:gd name="T39" fmla="*/ 1 h 226"/>
                <a:gd name="T40" fmla="*/ 183 w 322"/>
                <a:gd name="T41" fmla="*/ 0 h 226"/>
                <a:gd name="T42" fmla="*/ 60 w 322"/>
                <a:gd name="T43" fmla="*/ 13 h 226"/>
                <a:gd name="T44" fmla="*/ 51 w 322"/>
                <a:gd name="T45" fmla="*/ 14 h 226"/>
                <a:gd name="T46" fmla="*/ 35 w 322"/>
                <a:gd name="T47" fmla="*/ 20 h 226"/>
                <a:gd name="T48" fmla="*/ 22 w 322"/>
                <a:gd name="T49" fmla="*/ 33 h 226"/>
                <a:gd name="T50" fmla="*/ 14 w 322"/>
                <a:gd name="T51" fmla="*/ 50 h 226"/>
                <a:gd name="T52" fmla="*/ 13 w 322"/>
                <a:gd name="T53" fmla="*/ 60 h 226"/>
                <a:gd name="T54" fmla="*/ 18 w 322"/>
                <a:gd name="T55" fmla="*/ 77 h 226"/>
                <a:gd name="T56" fmla="*/ 27 w 322"/>
                <a:gd name="T57" fmla="*/ 92 h 226"/>
                <a:gd name="T58" fmla="*/ 42 w 322"/>
                <a:gd name="T59" fmla="*/ 103 h 226"/>
                <a:gd name="T60" fmla="*/ 60 w 322"/>
                <a:gd name="T61" fmla="*/ 106 h 226"/>
                <a:gd name="T62" fmla="*/ 262 w 322"/>
                <a:gd name="T63" fmla="*/ 106 h 226"/>
                <a:gd name="T64" fmla="*/ 285 w 322"/>
                <a:gd name="T65" fmla="*/ 110 h 226"/>
                <a:gd name="T66" fmla="*/ 305 w 322"/>
                <a:gd name="T67" fmla="*/ 123 h 226"/>
                <a:gd name="T68" fmla="*/ 318 w 322"/>
                <a:gd name="T69" fmla="*/ 142 h 226"/>
                <a:gd name="T70" fmla="*/ 322 w 322"/>
                <a:gd name="T71" fmla="*/ 166 h 226"/>
                <a:gd name="T72" fmla="*/ 321 w 322"/>
                <a:gd name="T73" fmla="*/ 178 h 226"/>
                <a:gd name="T74" fmla="*/ 312 w 322"/>
                <a:gd name="T75" fmla="*/ 199 h 226"/>
                <a:gd name="T76" fmla="*/ 296 w 322"/>
                <a:gd name="T77" fmla="*/ 215 h 226"/>
                <a:gd name="T78" fmla="*/ 275 w 322"/>
                <a:gd name="T79" fmla="*/ 22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2" h="226">
                  <a:moveTo>
                    <a:pt x="262" y="226"/>
                  </a:moveTo>
                  <a:lnTo>
                    <a:pt x="134" y="226"/>
                  </a:lnTo>
                  <a:lnTo>
                    <a:pt x="134" y="212"/>
                  </a:lnTo>
                  <a:lnTo>
                    <a:pt x="262" y="212"/>
                  </a:lnTo>
                  <a:lnTo>
                    <a:pt x="262" y="212"/>
                  </a:lnTo>
                  <a:lnTo>
                    <a:pt x="272" y="211"/>
                  </a:lnTo>
                  <a:lnTo>
                    <a:pt x="280" y="209"/>
                  </a:lnTo>
                  <a:lnTo>
                    <a:pt x="289" y="204"/>
                  </a:lnTo>
                  <a:lnTo>
                    <a:pt x="295" y="199"/>
                  </a:lnTo>
                  <a:lnTo>
                    <a:pt x="300" y="192"/>
                  </a:lnTo>
                  <a:lnTo>
                    <a:pt x="305" y="184"/>
                  </a:lnTo>
                  <a:lnTo>
                    <a:pt x="308" y="176"/>
                  </a:lnTo>
                  <a:lnTo>
                    <a:pt x="309" y="166"/>
                  </a:lnTo>
                  <a:lnTo>
                    <a:pt x="309" y="166"/>
                  </a:lnTo>
                  <a:lnTo>
                    <a:pt x="308" y="156"/>
                  </a:lnTo>
                  <a:lnTo>
                    <a:pt x="305" y="148"/>
                  </a:lnTo>
                  <a:lnTo>
                    <a:pt x="300" y="140"/>
                  </a:lnTo>
                  <a:lnTo>
                    <a:pt x="295" y="133"/>
                  </a:lnTo>
                  <a:lnTo>
                    <a:pt x="289" y="127"/>
                  </a:lnTo>
                  <a:lnTo>
                    <a:pt x="280" y="123"/>
                  </a:lnTo>
                  <a:lnTo>
                    <a:pt x="272" y="120"/>
                  </a:lnTo>
                  <a:lnTo>
                    <a:pt x="262" y="119"/>
                  </a:lnTo>
                  <a:lnTo>
                    <a:pt x="60" y="119"/>
                  </a:lnTo>
                  <a:lnTo>
                    <a:pt x="60" y="119"/>
                  </a:lnTo>
                  <a:lnTo>
                    <a:pt x="49" y="118"/>
                  </a:lnTo>
                  <a:lnTo>
                    <a:pt x="37" y="114"/>
                  </a:lnTo>
                  <a:lnTo>
                    <a:pt x="27" y="109"/>
                  </a:lnTo>
                  <a:lnTo>
                    <a:pt x="18" y="102"/>
                  </a:lnTo>
                  <a:lnTo>
                    <a:pt x="11" y="93"/>
                  </a:lnTo>
                  <a:lnTo>
                    <a:pt x="5" y="82"/>
                  </a:lnTo>
                  <a:lnTo>
                    <a:pt x="2" y="7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47"/>
                  </a:lnTo>
                  <a:lnTo>
                    <a:pt x="5" y="36"/>
                  </a:lnTo>
                  <a:lnTo>
                    <a:pt x="11" y="26"/>
                  </a:lnTo>
                  <a:lnTo>
                    <a:pt x="18" y="17"/>
                  </a:lnTo>
                  <a:lnTo>
                    <a:pt x="27" y="9"/>
                  </a:lnTo>
                  <a:lnTo>
                    <a:pt x="37" y="4"/>
                  </a:lnTo>
                  <a:lnTo>
                    <a:pt x="49" y="1"/>
                  </a:lnTo>
                  <a:lnTo>
                    <a:pt x="60" y="0"/>
                  </a:lnTo>
                  <a:lnTo>
                    <a:pt x="183" y="0"/>
                  </a:lnTo>
                  <a:lnTo>
                    <a:pt x="183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51" y="14"/>
                  </a:lnTo>
                  <a:lnTo>
                    <a:pt x="42" y="16"/>
                  </a:lnTo>
                  <a:lnTo>
                    <a:pt x="35" y="20"/>
                  </a:lnTo>
                  <a:lnTo>
                    <a:pt x="27" y="27"/>
                  </a:lnTo>
                  <a:lnTo>
                    <a:pt x="22" y="33"/>
                  </a:lnTo>
                  <a:lnTo>
                    <a:pt x="18" y="42"/>
                  </a:lnTo>
                  <a:lnTo>
                    <a:pt x="14" y="5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4" y="68"/>
                  </a:lnTo>
                  <a:lnTo>
                    <a:pt x="18" y="77"/>
                  </a:lnTo>
                  <a:lnTo>
                    <a:pt x="22" y="86"/>
                  </a:lnTo>
                  <a:lnTo>
                    <a:pt x="27" y="92"/>
                  </a:lnTo>
                  <a:lnTo>
                    <a:pt x="35" y="98"/>
                  </a:lnTo>
                  <a:lnTo>
                    <a:pt x="42" y="103"/>
                  </a:lnTo>
                  <a:lnTo>
                    <a:pt x="51" y="105"/>
                  </a:lnTo>
                  <a:lnTo>
                    <a:pt x="60" y="106"/>
                  </a:lnTo>
                  <a:lnTo>
                    <a:pt x="262" y="106"/>
                  </a:lnTo>
                  <a:lnTo>
                    <a:pt x="262" y="106"/>
                  </a:lnTo>
                  <a:lnTo>
                    <a:pt x="275" y="107"/>
                  </a:lnTo>
                  <a:lnTo>
                    <a:pt x="285" y="110"/>
                  </a:lnTo>
                  <a:lnTo>
                    <a:pt x="296" y="117"/>
                  </a:lnTo>
                  <a:lnTo>
                    <a:pt x="305" y="123"/>
                  </a:lnTo>
                  <a:lnTo>
                    <a:pt x="312" y="133"/>
                  </a:lnTo>
                  <a:lnTo>
                    <a:pt x="318" y="142"/>
                  </a:lnTo>
                  <a:lnTo>
                    <a:pt x="321" y="154"/>
                  </a:lnTo>
                  <a:lnTo>
                    <a:pt x="322" y="166"/>
                  </a:lnTo>
                  <a:lnTo>
                    <a:pt x="322" y="166"/>
                  </a:lnTo>
                  <a:lnTo>
                    <a:pt x="321" y="178"/>
                  </a:lnTo>
                  <a:lnTo>
                    <a:pt x="318" y="189"/>
                  </a:lnTo>
                  <a:lnTo>
                    <a:pt x="312" y="199"/>
                  </a:lnTo>
                  <a:lnTo>
                    <a:pt x="305" y="208"/>
                  </a:lnTo>
                  <a:lnTo>
                    <a:pt x="296" y="215"/>
                  </a:lnTo>
                  <a:lnTo>
                    <a:pt x="285" y="221"/>
                  </a:lnTo>
                  <a:lnTo>
                    <a:pt x="275" y="225"/>
                  </a:lnTo>
                  <a:lnTo>
                    <a:pt x="262" y="226"/>
                  </a:lnTo>
                  <a:close/>
                </a:path>
              </a:pathLst>
            </a:custGeom>
            <a:solidFill>
              <a:srgbClr val="00B9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3" name="Freeform 166">
              <a:extLst>
                <a:ext uri="{FF2B5EF4-FFF2-40B4-BE49-F238E27FC236}">
                  <a16:creationId xmlns:a16="http://schemas.microsoft.com/office/drawing/2014/main" id="{B26BD55E-FED5-4163-A6B3-0AD76CC3D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71938" y="2268538"/>
              <a:ext cx="511175" cy="358775"/>
            </a:xfrm>
            <a:custGeom>
              <a:avLst/>
              <a:gdLst>
                <a:gd name="T0" fmla="*/ 134 w 322"/>
                <a:gd name="T1" fmla="*/ 226 h 226"/>
                <a:gd name="T2" fmla="*/ 262 w 322"/>
                <a:gd name="T3" fmla="*/ 212 h 226"/>
                <a:gd name="T4" fmla="*/ 272 w 322"/>
                <a:gd name="T5" fmla="*/ 211 h 226"/>
                <a:gd name="T6" fmla="*/ 289 w 322"/>
                <a:gd name="T7" fmla="*/ 204 h 226"/>
                <a:gd name="T8" fmla="*/ 300 w 322"/>
                <a:gd name="T9" fmla="*/ 192 h 226"/>
                <a:gd name="T10" fmla="*/ 308 w 322"/>
                <a:gd name="T11" fmla="*/ 176 h 226"/>
                <a:gd name="T12" fmla="*/ 309 w 322"/>
                <a:gd name="T13" fmla="*/ 166 h 226"/>
                <a:gd name="T14" fmla="*/ 305 w 322"/>
                <a:gd name="T15" fmla="*/ 148 h 226"/>
                <a:gd name="T16" fmla="*/ 295 w 322"/>
                <a:gd name="T17" fmla="*/ 133 h 226"/>
                <a:gd name="T18" fmla="*/ 280 w 322"/>
                <a:gd name="T19" fmla="*/ 123 h 226"/>
                <a:gd name="T20" fmla="*/ 262 w 322"/>
                <a:gd name="T21" fmla="*/ 119 h 226"/>
                <a:gd name="T22" fmla="*/ 60 w 322"/>
                <a:gd name="T23" fmla="*/ 119 h 226"/>
                <a:gd name="T24" fmla="*/ 37 w 322"/>
                <a:gd name="T25" fmla="*/ 114 h 226"/>
                <a:gd name="T26" fmla="*/ 18 w 322"/>
                <a:gd name="T27" fmla="*/ 102 h 226"/>
                <a:gd name="T28" fmla="*/ 5 w 322"/>
                <a:gd name="T29" fmla="*/ 82 h 226"/>
                <a:gd name="T30" fmla="*/ 0 w 322"/>
                <a:gd name="T31" fmla="*/ 60 h 226"/>
                <a:gd name="T32" fmla="*/ 2 w 322"/>
                <a:gd name="T33" fmla="*/ 47 h 226"/>
                <a:gd name="T34" fmla="*/ 11 w 322"/>
                <a:gd name="T35" fmla="*/ 26 h 226"/>
                <a:gd name="T36" fmla="*/ 27 w 322"/>
                <a:gd name="T37" fmla="*/ 9 h 226"/>
                <a:gd name="T38" fmla="*/ 49 w 322"/>
                <a:gd name="T39" fmla="*/ 1 h 226"/>
                <a:gd name="T40" fmla="*/ 183 w 322"/>
                <a:gd name="T41" fmla="*/ 0 h 226"/>
                <a:gd name="T42" fmla="*/ 60 w 322"/>
                <a:gd name="T43" fmla="*/ 13 h 226"/>
                <a:gd name="T44" fmla="*/ 51 w 322"/>
                <a:gd name="T45" fmla="*/ 14 h 226"/>
                <a:gd name="T46" fmla="*/ 35 w 322"/>
                <a:gd name="T47" fmla="*/ 20 h 226"/>
                <a:gd name="T48" fmla="*/ 22 w 322"/>
                <a:gd name="T49" fmla="*/ 33 h 226"/>
                <a:gd name="T50" fmla="*/ 14 w 322"/>
                <a:gd name="T51" fmla="*/ 50 h 226"/>
                <a:gd name="T52" fmla="*/ 13 w 322"/>
                <a:gd name="T53" fmla="*/ 60 h 226"/>
                <a:gd name="T54" fmla="*/ 18 w 322"/>
                <a:gd name="T55" fmla="*/ 77 h 226"/>
                <a:gd name="T56" fmla="*/ 27 w 322"/>
                <a:gd name="T57" fmla="*/ 92 h 226"/>
                <a:gd name="T58" fmla="*/ 42 w 322"/>
                <a:gd name="T59" fmla="*/ 103 h 226"/>
                <a:gd name="T60" fmla="*/ 60 w 322"/>
                <a:gd name="T61" fmla="*/ 106 h 226"/>
                <a:gd name="T62" fmla="*/ 262 w 322"/>
                <a:gd name="T63" fmla="*/ 106 h 226"/>
                <a:gd name="T64" fmla="*/ 285 w 322"/>
                <a:gd name="T65" fmla="*/ 110 h 226"/>
                <a:gd name="T66" fmla="*/ 305 w 322"/>
                <a:gd name="T67" fmla="*/ 123 h 226"/>
                <a:gd name="T68" fmla="*/ 318 w 322"/>
                <a:gd name="T69" fmla="*/ 142 h 226"/>
                <a:gd name="T70" fmla="*/ 322 w 322"/>
                <a:gd name="T71" fmla="*/ 166 h 226"/>
                <a:gd name="T72" fmla="*/ 321 w 322"/>
                <a:gd name="T73" fmla="*/ 178 h 226"/>
                <a:gd name="T74" fmla="*/ 312 w 322"/>
                <a:gd name="T75" fmla="*/ 199 h 226"/>
                <a:gd name="T76" fmla="*/ 296 w 322"/>
                <a:gd name="T77" fmla="*/ 215 h 226"/>
                <a:gd name="T78" fmla="*/ 275 w 322"/>
                <a:gd name="T79" fmla="*/ 22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2" h="226">
                  <a:moveTo>
                    <a:pt x="262" y="226"/>
                  </a:moveTo>
                  <a:lnTo>
                    <a:pt x="134" y="226"/>
                  </a:lnTo>
                  <a:lnTo>
                    <a:pt x="134" y="212"/>
                  </a:lnTo>
                  <a:lnTo>
                    <a:pt x="262" y="212"/>
                  </a:lnTo>
                  <a:lnTo>
                    <a:pt x="262" y="212"/>
                  </a:lnTo>
                  <a:lnTo>
                    <a:pt x="272" y="211"/>
                  </a:lnTo>
                  <a:lnTo>
                    <a:pt x="280" y="209"/>
                  </a:lnTo>
                  <a:lnTo>
                    <a:pt x="289" y="204"/>
                  </a:lnTo>
                  <a:lnTo>
                    <a:pt x="295" y="199"/>
                  </a:lnTo>
                  <a:lnTo>
                    <a:pt x="300" y="192"/>
                  </a:lnTo>
                  <a:lnTo>
                    <a:pt x="305" y="184"/>
                  </a:lnTo>
                  <a:lnTo>
                    <a:pt x="308" y="176"/>
                  </a:lnTo>
                  <a:lnTo>
                    <a:pt x="309" y="166"/>
                  </a:lnTo>
                  <a:lnTo>
                    <a:pt x="309" y="166"/>
                  </a:lnTo>
                  <a:lnTo>
                    <a:pt x="308" y="156"/>
                  </a:lnTo>
                  <a:lnTo>
                    <a:pt x="305" y="148"/>
                  </a:lnTo>
                  <a:lnTo>
                    <a:pt x="300" y="140"/>
                  </a:lnTo>
                  <a:lnTo>
                    <a:pt x="295" y="133"/>
                  </a:lnTo>
                  <a:lnTo>
                    <a:pt x="289" y="127"/>
                  </a:lnTo>
                  <a:lnTo>
                    <a:pt x="280" y="123"/>
                  </a:lnTo>
                  <a:lnTo>
                    <a:pt x="272" y="120"/>
                  </a:lnTo>
                  <a:lnTo>
                    <a:pt x="262" y="119"/>
                  </a:lnTo>
                  <a:lnTo>
                    <a:pt x="60" y="119"/>
                  </a:lnTo>
                  <a:lnTo>
                    <a:pt x="60" y="119"/>
                  </a:lnTo>
                  <a:lnTo>
                    <a:pt x="49" y="118"/>
                  </a:lnTo>
                  <a:lnTo>
                    <a:pt x="37" y="114"/>
                  </a:lnTo>
                  <a:lnTo>
                    <a:pt x="27" y="109"/>
                  </a:lnTo>
                  <a:lnTo>
                    <a:pt x="18" y="102"/>
                  </a:lnTo>
                  <a:lnTo>
                    <a:pt x="11" y="93"/>
                  </a:lnTo>
                  <a:lnTo>
                    <a:pt x="5" y="82"/>
                  </a:lnTo>
                  <a:lnTo>
                    <a:pt x="2" y="72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2" y="47"/>
                  </a:lnTo>
                  <a:lnTo>
                    <a:pt x="5" y="36"/>
                  </a:lnTo>
                  <a:lnTo>
                    <a:pt x="11" y="26"/>
                  </a:lnTo>
                  <a:lnTo>
                    <a:pt x="18" y="17"/>
                  </a:lnTo>
                  <a:lnTo>
                    <a:pt x="27" y="9"/>
                  </a:lnTo>
                  <a:lnTo>
                    <a:pt x="37" y="4"/>
                  </a:lnTo>
                  <a:lnTo>
                    <a:pt x="49" y="1"/>
                  </a:lnTo>
                  <a:lnTo>
                    <a:pt x="60" y="0"/>
                  </a:lnTo>
                  <a:lnTo>
                    <a:pt x="183" y="0"/>
                  </a:lnTo>
                  <a:lnTo>
                    <a:pt x="183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51" y="14"/>
                  </a:lnTo>
                  <a:lnTo>
                    <a:pt x="42" y="16"/>
                  </a:lnTo>
                  <a:lnTo>
                    <a:pt x="35" y="20"/>
                  </a:lnTo>
                  <a:lnTo>
                    <a:pt x="27" y="27"/>
                  </a:lnTo>
                  <a:lnTo>
                    <a:pt x="22" y="33"/>
                  </a:lnTo>
                  <a:lnTo>
                    <a:pt x="18" y="42"/>
                  </a:lnTo>
                  <a:lnTo>
                    <a:pt x="14" y="5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4" y="68"/>
                  </a:lnTo>
                  <a:lnTo>
                    <a:pt x="18" y="77"/>
                  </a:lnTo>
                  <a:lnTo>
                    <a:pt x="22" y="86"/>
                  </a:lnTo>
                  <a:lnTo>
                    <a:pt x="27" y="92"/>
                  </a:lnTo>
                  <a:lnTo>
                    <a:pt x="35" y="98"/>
                  </a:lnTo>
                  <a:lnTo>
                    <a:pt x="42" y="103"/>
                  </a:lnTo>
                  <a:lnTo>
                    <a:pt x="51" y="105"/>
                  </a:lnTo>
                  <a:lnTo>
                    <a:pt x="60" y="106"/>
                  </a:lnTo>
                  <a:lnTo>
                    <a:pt x="262" y="106"/>
                  </a:lnTo>
                  <a:lnTo>
                    <a:pt x="262" y="106"/>
                  </a:lnTo>
                  <a:lnTo>
                    <a:pt x="275" y="107"/>
                  </a:lnTo>
                  <a:lnTo>
                    <a:pt x="285" y="110"/>
                  </a:lnTo>
                  <a:lnTo>
                    <a:pt x="296" y="117"/>
                  </a:lnTo>
                  <a:lnTo>
                    <a:pt x="305" y="123"/>
                  </a:lnTo>
                  <a:lnTo>
                    <a:pt x="312" y="133"/>
                  </a:lnTo>
                  <a:lnTo>
                    <a:pt x="318" y="142"/>
                  </a:lnTo>
                  <a:lnTo>
                    <a:pt x="321" y="154"/>
                  </a:lnTo>
                  <a:lnTo>
                    <a:pt x="322" y="166"/>
                  </a:lnTo>
                  <a:lnTo>
                    <a:pt x="322" y="166"/>
                  </a:lnTo>
                  <a:lnTo>
                    <a:pt x="321" y="178"/>
                  </a:lnTo>
                  <a:lnTo>
                    <a:pt x="318" y="189"/>
                  </a:lnTo>
                  <a:lnTo>
                    <a:pt x="312" y="199"/>
                  </a:lnTo>
                  <a:lnTo>
                    <a:pt x="305" y="208"/>
                  </a:lnTo>
                  <a:lnTo>
                    <a:pt x="296" y="215"/>
                  </a:lnTo>
                  <a:lnTo>
                    <a:pt x="285" y="221"/>
                  </a:lnTo>
                  <a:lnTo>
                    <a:pt x="275" y="225"/>
                  </a:lnTo>
                  <a:lnTo>
                    <a:pt x="262" y="2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16C3B419-C8B1-4995-BBA4-04B2F5AF023D}"/>
              </a:ext>
            </a:extLst>
          </p:cNvPr>
          <p:cNvGrpSpPr/>
          <p:nvPr/>
        </p:nvGrpSpPr>
        <p:grpSpPr>
          <a:xfrm>
            <a:off x="4135706" y="4608755"/>
            <a:ext cx="367106" cy="367106"/>
            <a:chOff x="13873163" y="6435726"/>
            <a:chExt cx="466725" cy="466725"/>
          </a:xfrm>
        </p:grpSpPr>
        <p:sp>
          <p:nvSpPr>
            <p:cNvPr id="281" name="Freeform 184">
              <a:extLst>
                <a:ext uri="{FF2B5EF4-FFF2-40B4-BE49-F238E27FC236}">
                  <a16:creationId xmlns:a16="http://schemas.microsoft.com/office/drawing/2014/main" id="{8A0BA08B-16AF-4419-BF4D-A0C44D38CD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55713" y="6516688"/>
              <a:ext cx="301625" cy="301625"/>
            </a:xfrm>
            <a:custGeom>
              <a:avLst/>
              <a:gdLst>
                <a:gd name="T0" fmla="*/ 19 w 190"/>
                <a:gd name="T1" fmla="*/ 74 h 190"/>
                <a:gd name="T2" fmla="*/ 12 w 190"/>
                <a:gd name="T3" fmla="*/ 84 h 190"/>
                <a:gd name="T4" fmla="*/ 13 w 190"/>
                <a:gd name="T5" fmla="*/ 110 h 190"/>
                <a:gd name="T6" fmla="*/ 24 w 190"/>
                <a:gd name="T7" fmla="*/ 116 h 190"/>
                <a:gd name="T8" fmla="*/ 71 w 190"/>
                <a:gd name="T9" fmla="*/ 116 h 190"/>
                <a:gd name="T10" fmla="*/ 75 w 190"/>
                <a:gd name="T11" fmla="*/ 121 h 190"/>
                <a:gd name="T12" fmla="*/ 75 w 190"/>
                <a:gd name="T13" fmla="*/ 171 h 190"/>
                <a:gd name="T14" fmla="*/ 85 w 190"/>
                <a:gd name="T15" fmla="*/ 178 h 190"/>
                <a:gd name="T16" fmla="*/ 111 w 190"/>
                <a:gd name="T17" fmla="*/ 177 h 190"/>
                <a:gd name="T18" fmla="*/ 118 w 190"/>
                <a:gd name="T19" fmla="*/ 167 h 190"/>
                <a:gd name="T20" fmla="*/ 118 w 190"/>
                <a:gd name="T21" fmla="*/ 119 h 190"/>
                <a:gd name="T22" fmla="*/ 123 w 190"/>
                <a:gd name="T23" fmla="*/ 116 h 190"/>
                <a:gd name="T24" fmla="*/ 172 w 190"/>
                <a:gd name="T25" fmla="*/ 115 h 190"/>
                <a:gd name="T26" fmla="*/ 178 w 190"/>
                <a:gd name="T27" fmla="*/ 106 h 190"/>
                <a:gd name="T28" fmla="*/ 177 w 190"/>
                <a:gd name="T29" fmla="*/ 80 h 190"/>
                <a:gd name="T30" fmla="*/ 168 w 190"/>
                <a:gd name="T31" fmla="*/ 73 h 190"/>
                <a:gd name="T32" fmla="*/ 121 w 190"/>
                <a:gd name="T33" fmla="*/ 72 h 190"/>
                <a:gd name="T34" fmla="*/ 118 w 190"/>
                <a:gd name="T35" fmla="*/ 67 h 190"/>
                <a:gd name="T36" fmla="*/ 117 w 190"/>
                <a:gd name="T37" fmla="*/ 20 h 190"/>
                <a:gd name="T38" fmla="*/ 107 w 190"/>
                <a:gd name="T39" fmla="*/ 13 h 190"/>
                <a:gd name="T40" fmla="*/ 81 w 190"/>
                <a:gd name="T41" fmla="*/ 13 h 190"/>
                <a:gd name="T42" fmla="*/ 75 w 190"/>
                <a:gd name="T43" fmla="*/ 23 h 190"/>
                <a:gd name="T44" fmla="*/ 74 w 190"/>
                <a:gd name="T45" fmla="*/ 69 h 190"/>
                <a:gd name="T46" fmla="*/ 69 w 190"/>
                <a:gd name="T47" fmla="*/ 73 h 190"/>
                <a:gd name="T48" fmla="*/ 85 w 190"/>
                <a:gd name="T49" fmla="*/ 190 h 190"/>
                <a:gd name="T50" fmla="*/ 76 w 190"/>
                <a:gd name="T51" fmla="*/ 188 h 190"/>
                <a:gd name="T52" fmla="*/ 67 w 190"/>
                <a:gd name="T53" fmla="*/ 179 h 190"/>
                <a:gd name="T54" fmla="*/ 62 w 190"/>
                <a:gd name="T55" fmla="*/ 167 h 190"/>
                <a:gd name="T56" fmla="*/ 24 w 190"/>
                <a:gd name="T57" fmla="*/ 128 h 190"/>
                <a:gd name="T58" fmla="*/ 12 w 190"/>
                <a:gd name="T59" fmla="*/ 125 h 190"/>
                <a:gd name="T60" fmla="*/ 2 w 190"/>
                <a:gd name="T61" fmla="*/ 115 h 190"/>
                <a:gd name="T62" fmla="*/ 0 w 190"/>
                <a:gd name="T63" fmla="*/ 84 h 190"/>
                <a:gd name="T64" fmla="*/ 2 w 190"/>
                <a:gd name="T65" fmla="*/ 75 h 190"/>
                <a:gd name="T66" fmla="*/ 11 w 190"/>
                <a:gd name="T67" fmla="*/ 65 h 190"/>
                <a:gd name="T68" fmla="*/ 24 w 190"/>
                <a:gd name="T69" fmla="*/ 60 h 190"/>
                <a:gd name="T70" fmla="*/ 62 w 190"/>
                <a:gd name="T71" fmla="*/ 23 h 190"/>
                <a:gd name="T72" fmla="*/ 67 w 190"/>
                <a:gd name="T73" fmla="*/ 11 h 190"/>
                <a:gd name="T74" fmla="*/ 76 w 190"/>
                <a:gd name="T75" fmla="*/ 2 h 190"/>
                <a:gd name="T76" fmla="*/ 107 w 190"/>
                <a:gd name="T77" fmla="*/ 0 h 190"/>
                <a:gd name="T78" fmla="*/ 116 w 190"/>
                <a:gd name="T79" fmla="*/ 2 h 190"/>
                <a:gd name="T80" fmla="*/ 126 w 190"/>
                <a:gd name="T81" fmla="*/ 11 h 190"/>
                <a:gd name="T82" fmla="*/ 130 w 190"/>
                <a:gd name="T83" fmla="*/ 23 h 190"/>
                <a:gd name="T84" fmla="*/ 168 w 190"/>
                <a:gd name="T85" fmla="*/ 60 h 190"/>
                <a:gd name="T86" fmla="*/ 180 w 190"/>
                <a:gd name="T87" fmla="*/ 65 h 190"/>
                <a:gd name="T88" fmla="*/ 188 w 190"/>
                <a:gd name="T89" fmla="*/ 75 h 190"/>
                <a:gd name="T90" fmla="*/ 190 w 190"/>
                <a:gd name="T91" fmla="*/ 106 h 190"/>
                <a:gd name="T92" fmla="*/ 188 w 190"/>
                <a:gd name="T93" fmla="*/ 115 h 190"/>
                <a:gd name="T94" fmla="*/ 180 w 190"/>
                <a:gd name="T95" fmla="*/ 125 h 190"/>
                <a:gd name="T96" fmla="*/ 168 w 190"/>
                <a:gd name="T97" fmla="*/ 128 h 190"/>
                <a:gd name="T98" fmla="*/ 130 w 190"/>
                <a:gd name="T99" fmla="*/ 167 h 190"/>
                <a:gd name="T100" fmla="*/ 126 w 190"/>
                <a:gd name="T101" fmla="*/ 179 h 190"/>
                <a:gd name="T102" fmla="*/ 116 w 190"/>
                <a:gd name="T103" fmla="*/ 18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0" h="190">
                  <a:moveTo>
                    <a:pt x="24" y="73"/>
                  </a:moveTo>
                  <a:lnTo>
                    <a:pt x="24" y="73"/>
                  </a:lnTo>
                  <a:lnTo>
                    <a:pt x="19" y="74"/>
                  </a:lnTo>
                  <a:lnTo>
                    <a:pt x="16" y="76"/>
                  </a:lnTo>
                  <a:lnTo>
                    <a:pt x="13" y="80"/>
                  </a:lnTo>
                  <a:lnTo>
                    <a:pt x="12" y="84"/>
                  </a:lnTo>
                  <a:lnTo>
                    <a:pt x="12" y="106"/>
                  </a:lnTo>
                  <a:lnTo>
                    <a:pt x="12" y="106"/>
                  </a:lnTo>
                  <a:lnTo>
                    <a:pt x="13" y="110"/>
                  </a:lnTo>
                  <a:lnTo>
                    <a:pt x="16" y="113"/>
                  </a:lnTo>
                  <a:lnTo>
                    <a:pt x="19" y="115"/>
                  </a:lnTo>
                  <a:lnTo>
                    <a:pt x="24" y="116"/>
                  </a:lnTo>
                  <a:lnTo>
                    <a:pt x="69" y="116"/>
                  </a:lnTo>
                  <a:lnTo>
                    <a:pt x="69" y="116"/>
                  </a:lnTo>
                  <a:lnTo>
                    <a:pt x="71" y="116"/>
                  </a:lnTo>
                  <a:lnTo>
                    <a:pt x="73" y="117"/>
                  </a:lnTo>
                  <a:lnTo>
                    <a:pt x="74" y="119"/>
                  </a:lnTo>
                  <a:lnTo>
                    <a:pt x="75" y="121"/>
                  </a:lnTo>
                  <a:lnTo>
                    <a:pt x="75" y="167"/>
                  </a:lnTo>
                  <a:lnTo>
                    <a:pt x="75" y="167"/>
                  </a:lnTo>
                  <a:lnTo>
                    <a:pt x="75" y="171"/>
                  </a:lnTo>
                  <a:lnTo>
                    <a:pt x="78" y="175"/>
                  </a:lnTo>
                  <a:lnTo>
                    <a:pt x="81" y="177"/>
                  </a:lnTo>
                  <a:lnTo>
                    <a:pt x="85" y="178"/>
                  </a:lnTo>
                  <a:lnTo>
                    <a:pt x="107" y="178"/>
                  </a:lnTo>
                  <a:lnTo>
                    <a:pt x="107" y="178"/>
                  </a:lnTo>
                  <a:lnTo>
                    <a:pt x="111" y="177"/>
                  </a:lnTo>
                  <a:lnTo>
                    <a:pt x="115" y="175"/>
                  </a:lnTo>
                  <a:lnTo>
                    <a:pt x="117" y="171"/>
                  </a:lnTo>
                  <a:lnTo>
                    <a:pt x="118" y="167"/>
                  </a:lnTo>
                  <a:lnTo>
                    <a:pt x="118" y="121"/>
                  </a:lnTo>
                  <a:lnTo>
                    <a:pt x="118" y="121"/>
                  </a:lnTo>
                  <a:lnTo>
                    <a:pt x="118" y="119"/>
                  </a:lnTo>
                  <a:lnTo>
                    <a:pt x="119" y="117"/>
                  </a:lnTo>
                  <a:lnTo>
                    <a:pt x="121" y="116"/>
                  </a:lnTo>
                  <a:lnTo>
                    <a:pt x="123" y="116"/>
                  </a:lnTo>
                  <a:lnTo>
                    <a:pt x="168" y="116"/>
                  </a:lnTo>
                  <a:lnTo>
                    <a:pt x="168" y="116"/>
                  </a:lnTo>
                  <a:lnTo>
                    <a:pt x="172" y="115"/>
                  </a:lnTo>
                  <a:lnTo>
                    <a:pt x="175" y="113"/>
                  </a:lnTo>
                  <a:lnTo>
                    <a:pt x="177" y="110"/>
                  </a:lnTo>
                  <a:lnTo>
                    <a:pt x="178" y="106"/>
                  </a:lnTo>
                  <a:lnTo>
                    <a:pt x="178" y="84"/>
                  </a:lnTo>
                  <a:lnTo>
                    <a:pt x="178" y="84"/>
                  </a:lnTo>
                  <a:lnTo>
                    <a:pt x="177" y="80"/>
                  </a:lnTo>
                  <a:lnTo>
                    <a:pt x="175" y="76"/>
                  </a:lnTo>
                  <a:lnTo>
                    <a:pt x="172" y="73"/>
                  </a:lnTo>
                  <a:lnTo>
                    <a:pt x="168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1" y="72"/>
                  </a:lnTo>
                  <a:lnTo>
                    <a:pt x="119" y="71"/>
                  </a:lnTo>
                  <a:lnTo>
                    <a:pt x="118" y="69"/>
                  </a:lnTo>
                  <a:lnTo>
                    <a:pt x="118" y="67"/>
                  </a:lnTo>
                  <a:lnTo>
                    <a:pt x="118" y="23"/>
                  </a:lnTo>
                  <a:lnTo>
                    <a:pt x="118" y="23"/>
                  </a:lnTo>
                  <a:lnTo>
                    <a:pt x="117" y="20"/>
                  </a:lnTo>
                  <a:lnTo>
                    <a:pt x="115" y="16"/>
                  </a:lnTo>
                  <a:lnTo>
                    <a:pt x="112" y="14"/>
                  </a:lnTo>
                  <a:lnTo>
                    <a:pt x="107" y="13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1" y="13"/>
                  </a:lnTo>
                  <a:lnTo>
                    <a:pt x="77" y="16"/>
                  </a:lnTo>
                  <a:lnTo>
                    <a:pt x="75" y="20"/>
                  </a:lnTo>
                  <a:lnTo>
                    <a:pt x="75" y="23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4" y="69"/>
                  </a:lnTo>
                  <a:lnTo>
                    <a:pt x="73" y="71"/>
                  </a:lnTo>
                  <a:lnTo>
                    <a:pt x="71" y="72"/>
                  </a:lnTo>
                  <a:lnTo>
                    <a:pt x="69" y="73"/>
                  </a:lnTo>
                  <a:lnTo>
                    <a:pt x="24" y="73"/>
                  </a:lnTo>
                  <a:close/>
                  <a:moveTo>
                    <a:pt x="107" y="190"/>
                  </a:moveTo>
                  <a:lnTo>
                    <a:pt x="85" y="190"/>
                  </a:lnTo>
                  <a:lnTo>
                    <a:pt x="85" y="190"/>
                  </a:lnTo>
                  <a:lnTo>
                    <a:pt x="81" y="190"/>
                  </a:lnTo>
                  <a:lnTo>
                    <a:pt x="76" y="188"/>
                  </a:lnTo>
                  <a:lnTo>
                    <a:pt x="73" y="186"/>
                  </a:lnTo>
                  <a:lnTo>
                    <a:pt x="70" y="183"/>
                  </a:lnTo>
                  <a:lnTo>
                    <a:pt x="67" y="179"/>
                  </a:lnTo>
                  <a:lnTo>
                    <a:pt x="64" y="176"/>
                  </a:lnTo>
                  <a:lnTo>
                    <a:pt x="63" y="172"/>
                  </a:lnTo>
                  <a:lnTo>
                    <a:pt x="62" y="167"/>
                  </a:lnTo>
                  <a:lnTo>
                    <a:pt x="62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19" y="128"/>
                  </a:lnTo>
                  <a:lnTo>
                    <a:pt x="15" y="126"/>
                  </a:lnTo>
                  <a:lnTo>
                    <a:pt x="12" y="125"/>
                  </a:lnTo>
                  <a:lnTo>
                    <a:pt x="8" y="121"/>
                  </a:lnTo>
                  <a:lnTo>
                    <a:pt x="4" y="118"/>
                  </a:lnTo>
                  <a:lnTo>
                    <a:pt x="2" y="115"/>
                  </a:lnTo>
                  <a:lnTo>
                    <a:pt x="1" y="111"/>
                  </a:lnTo>
                  <a:lnTo>
                    <a:pt x="0" y="10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1" y="80"/>
                  </a:lnTo>
                  <a:lnTo>
                    <a:pt x="2" y="75"/>
                  </a:lnTo>
                  <a:lnTo>
                    <a:pt x="4" y="71"/>
                  </a:lnTo>
                  <a:lnTo>
                    <a:pt x="8" y="68"/>
                  </a:lnTo>
                  <a:lnTo>
                    <a:pt x="11" y="65"/>
                  </a:lnTo>
                  <a:lnTo>
                    <a:pt x="15" y="62"/>
                  </a:lnTo>
                  <a:lnTo>
                    <a:pt x="19" y="61"/>
                  </a:lnTo>
                  <a:lnTo>
                    <a:pt x="24" y="60"/>
                  </a:lnTo>
                  <a:lnTo>
                    <a:pt x="62" y="60"/>
                  </a:lnTo>
                  <a:lnTo>
                    <a:pt x="62" y="23"/>
                  </a:lnTo>
                  <a:lnTo>
                    <a:pt x="62" y="23"/>
                  </a:lnTo>
                  <a:lnTo>
                    <a:pt x="63" y="18"/>
                  </a:lnTo>
                  <a:lnTo>
                    <a:pt x="64" y="14"/>
                  </a:lnTo>
                  <a:lnTo>
                    <a:pt x="67" y="11"/>
                  </a:lnTo>
                  <a:lnTo>
                    <a:pt x="70" y="8"/>
                  </a:lnTo>
                  <a:lnTo>
                    <a:pt x="73" y="5"/>
                  </a:lnTo>
                  <a:lnTo>
                    <a:pt x="76" y="2"/>
                  </a:lnTo>
                  <a:lnTo>
                    <a:pt x="81" y="1"/>
                  </a:lnTo>
                  <a:lnTo>
                    <a:pt x="85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12" y="1"/>
                  </a:lnTo>
                  <a:lnTo>
                    <a:pt x="116" y="2"/>
                  </a:lnTo>
                  <a:lnTo>
                    <a:pt x="119" y="5"/>
                  </a:lnTo>
                  <a:lnTo>
                    <a:pt x="123" y="8"/>
                  </a:lnTo>
                  <a:lnTo>
                    <a:pt x="126" y="11"/>
                  </a:lnTo>
                  <a:lnTo>
                    <a:pt x="128" y="14"/>
                  </a:lnTo>
                  <a:lnTo>
                    <a:pt x="130" y="18"/>
                  </a:lnTo>
                  <a:lnTo>
                    <a:pt x="130" y="23"/>
                  </a:lnTo>
                  <a:lnTo>
                    <a:pt x="130" y="60"/>
                  </a:lnTo>
                  <a:lnTo>
                    <a:pt x="168" y="60"/>
                  </a:lnTo>
                  <a:lnTo>
                    <a:pt x="168" y="60"/>
                  </a:lnTo>
                  <a:lnTo>
                    <a:pt x="173" y="61"/>
                  </a:lnTo>
                  <a:lnTo>
                    <a:pt x="176" y="62"/>
                  </a:lnTo>
                  <a:lnTo>
                    <a:pt x="180" y="65"/>
                  </a:lnTo>
                  <a:lnTo>
                    <a:pt x="183" y="68"/>
                  </a:lnTo>
                  <a:lnTo>
                    <a:pt x="186" y="71"/>
                  </a:lnTo>
                  <a:lnTo>
                    <a:pt x="188" y="75"/>
                  </a:lnTo>
                  <a:lnTo>
                    <a:pt x="189" y="80"/>
                  </a:lnTo>
                  <a:lnTo>
                    <a:pt x="190" y="84"/>
                  </a:lnTo>
                  <a:lnTo>
                    <a:pt x="190" y="106"/>
                  </a:lnTo>
                  <a:lnTo>
                    <a:pt x="190" y="106"/>
                  </a:lnTo>
                  <a:lnTo>
                    <a:pt x="189" y="111"/>
                  </a:lnTo>
                  <a:lnTo>
                    <a:pt x="188" y="115"/>
                  </a:lnTo>
                  <a:lnTo>
                    <a:pt x="186" y="118"/>
                  </a:lnTo>
                  <a:lnTo>
                    <a:pt x="183" y="121"/>
                  </a:lnTo>
                  <a:lnTo>
                    <a:pt x="180" y="125"/>
                  </a:lnTo>
                  <a:lnTo>
                    <a:pt x="176" y="126"/>
                  </a:lnTo>
                  <a:lnTo>
                    <a:pt x="173" y="128"/>
                  </a:lnTo>
                  <a:lnTo>
                    <a:pt x="168" y="128"/>
                  </a:lnTo>
                  <a:lnTo>
                    <a:pt x="130" y="128"/>
                  </a:lnTo>
                  <a:lnTo>
                    <a:pt x="130" y="167"/>
                  </a:lnTo>
                  <a:lnTo>
                    <a:pt x="130" y="167"/>
                  </a:lnTo>
                  <a:lnTo>
                    <a:pt x="130" y="172"/>
                  </a:lnTo>
                  <a:lnTo>
                    <a:pt x="128" y="176"/>
                  </a:lnTo>
                  <a:lnTo>
                    <a:pt x="126" y="179"/>
                  </a:lnTo>
                  <a:lnTo>
                    <a:pt x="123" y="183"/>
                  </a:lnTo>
                  <a:lnTo>
                    <a:pt x="119" y="186"/>
                  </a:lnTo>
                  <a:lnTo>
                    <a:pt x="116" y="188"/>
                  </a:lnTo>
                  <a:lnTo>
                    <a:pt x="112" y="190"/>
                  </a:lnTo>
                  <a:lnTo>
                    <a:pt x="107" y="190"/>
                  </a:lnTo>
                  <a:close/>
                </a:path>
              </a:pathLst>
            </a:custGeom>
            <a:solidFill>
              <a:srgbClr val="D9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2" name="Freeform 185">
              <a:extLst>
                <a:ext uri="{FF2B5EF4-FFF2-40B4-BE49-F238E27FC236}">
                  <a16:creationId xmlns:a16="http://schemas.microsoft.com/office/drawing/2014/main" id="{B7638058-0976-4A21-9DDF-5E5F17097D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74763" y="6537326"/>
              <a:ext cx="263525" cy="261938"/>
            </a:xfrm>
            <a:custGeom>
              <a:avLst/>
              <a:gdLst>
                <a:gd name="T0" fmla="*/ 12 w 166"/>
                <a:gd name="T1" fmla="*/ 60 h 165"/>
                <a:gd name="T2" fmla="*/ 4 w 166"/>
                <a:gd name="T3" fmla="*/ 63 h 165"/>
                <a:gd name="T4" fmla="*/ 0 w 166"/>
                <a:gd name="T5" fmla="*/ 71 h 165"/>
                <a:gd name="T6" fmla="*/ 0 w 166"/>
                <a:gd name="T7" fmla="*/ 93 h 165"/>
                <a:gd name="T8" fmla="*/ 4 w 166"/>
                <a:gd name="T9" fmla="*/ 100 h 165"/>
                <a:gd name="T10" fmla="*/ 12 w 166"/>
                <a:gd name="T11" fmla="*/ 103 h 165"/>
                <a:gd name="T12" fmla="*/ 57 w 166"/>
                <a:gd name="T13" fmla="*/ 103 h 165"/>
                <a:gd name="T14" fmla="*/ 61 w 166"/>
                <a:gd name="T15" fmla="*/ 104 h 165"/>
                <a:gd name="T16" fmla="*/ 63 w 166"/>
                <a:gd name="T17" fmla="*/ 108 h 165"/>
                <a:gd name="T18" fmla="*/ 63 w 166"/>
                <a:gd name="T19" fmla="*/ 154 h 165"/>
                <a:gd name="T20" fmla="*/ 66 w 166"/>
                <a:gd name="T21" fmla="*/ 162 h 165"/>
                <a:gd name="T22" fmla="*/ 73 w 166"/>
                <a:gd name="T23" fmla="*/ 165 h 165"/>
                <a:gd name="T24" fmla="*/ 95 w 166"/>
                <a:gd name="T25" fmla="*/ 165 h 165"/>
                <a:gd name="T26" fmla="*/ 103 w 166"/>
                <a:gd name="T27" fmla="*/ 162 h 165"/>
                <a:gd name="T28" fmla="*/ 106 w 166"/>
                <a:gd name="T29" fmla="*/ 154 h 165"/>
                <a:gd name="T30" fmla="*/ 106 w 166"/>
                <a:gd name="T31" fmla="*/ 108 h 165"/>
                <a:gd name="T32" fmla="*/ 107 w 166"/>
                <a:gd name="T33" fmla="*/ 104 h 165"/>
                <a:gd name="T34" fmla="*/ 111 w 166"/>
                <a:gd name="T35" fmla="*/ 103 h 165"/>
                <a:gd name="T36" fmla="*/ 156 w 166"/>
                <a:gd name="T37" fmla="*/ 103 h 165"/>
                <a:gd name="T38" fmla="*/ 163 w 166"/>
                <a:gd name="T39" fmla="*/ 100 h 165"/>
                <a:gd name="T40" fmla="*/ 166 w 166"/>
                <a:gd name="T41" fmla="*/ 93 h 165"/>
                <a:gd name="T42" fmla="*/ 166 w 166"/>
                <a:gd name="T43" fmla="*/ 71 h 165"/>
                <a:gd name="T44" fmla="*/ 163 w 166"/>
                <a:gd name="T45" fmla="*/ 63 h 165"/>
                <a:gd name="T46" fmla="*/ 156 w 166"/>
                <a:gd name="T47" fmla="*/ 60 h 165"/>
                <a:gd name="T48" fmla="*/ 111 w 166"/>
                <a:gd name="T49" fmla="*/ 60 h 165"/>
                <a:gd name="T50" fmla="*/ 107 w 166"/>
                <a:gd name="T51" fmla="*/ 58 h 165"/>
                <a:gd name="T52" fmla="*/ 106 w 166"/>
                <a:gd name="T53" fmla="*/ 54 h 165"/>
                <a:gd name="T54" fmla="*/ 106 w 166"/>
                <a:gd name="T55" fmla="*/ 10 h 165"/>
                <a:gd name="T56" fmla="*/ 103 w 166"/>
                <a:gd name="T57" fmla="*/ 3 h 165"/>
                <a:gd name="T58" fmla="*/ 95 w 166"/>
                <a:gd name="T59" fmla="*/ 0 h 165"/>
                <a:gd name="T60" fmla="*/ 73 w 166"/>
                <a:gd name="T61" fmla="*/ 0 h 165"/>
                <a:gd name="T62" fmla="*/ 65 w 166"/>
                <a:gd name="T63" fmla="*/ 3 h 165"/>
                <a:gd name="T64" fmla="*/ 63 w 166"/>
                <a:gd name="T65" fmla="*/ 10 h 165"/>
                <a:gd name="T66" fmla="*/ 63 w 166"/>
                <a:gd name="T67" fmla="*/ 54 h 165"/>
                <a:gd name="T68" fmla="*/ 61 w 166"/>
                <a:gd name="T69" fmla="*/ 58 h 165"/>
                <a:gd name="T70" fmla="*/ 57 w 166"/>
                <a:gd name="T71" fmla="*/ 6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66" h="165">
                  <a:moveTo>
                    <a:pt x="12" y="60"/>
                  </a:moveTo>
                  <a:lnTo>
                    <a:pt x="12" y="60"/>
                  </a:lnTo>
                  <a:lnTo>
                    <a:pt x="7" y="61"/>
                  </a:lnTo>
                  <a:lnTo>
                    <a:pt x="4" y="63"/>
                  </a:lnTo>
                  <a:lnTo>
                    <a:pt x="1" y="67"/>
                  </a:lnTo>
                  <a:lnTo>
                    <a:pt x="0" y="71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1" y="97"/>
                  </a:lnTo>
                  <a:lnTo>
                    <a:pt x="4" y="100"/>
                  </a:lnTo>
                  <a:lnTo>
                    <a:pt x="7" y="102"/>
                  </a:lnTo>
                  <a:lnTo>
                    <a:pt x="12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9" y="103"/>
                  </a:lnTo>
                  <a:lnTo>
                    <a:pt x="61" y="104"/>
                  </a:lnTo>
                  <a:lnTo>
                    <a:pt x="62" y="106"/>
                  </a:lnTo>
                  <a:lnTo>
                    <a:pt x="63" y="108"/>
                  </a:lnTo>
                  <a:lnTo>
                    <a:pt x="63" y="154"/>
                  </a:lnTo>
                  <a:lnTo>
                    <a:pt x="63" y="154"/>
                  </a:lnTo>
                  <a:lnTo>
                    <a:pt x="63" y="158"/>
                  </a:lnTo>
                  <a:lnTo>
                    <a:pt x="66" y="162"/>
                  </a:lnTo>
                  <a:lnTo>
                    <a:pt x="69" y="164"/>
                  </a:lnTo>
                  <a:lnTo>
                    <a:pt x="73" y="165"/>
                  </a:lnTo>
                  <a:lnTo>
                    <a:pt x="95" y="165"/>
                  </a:lnTo>
                  <a:lnTo>
                    <a:pt x="95" y="165"/>
                  </a:lnTo>
                  <a:lnTo>
                    <a:pt x="99" y="164"/>
                  </a:lnTo>
                  <a:lnTo>
                    <a:pt x="103" y="162"/>
                  </a:lnTo>
                  <a:lnTo>
                    <a:pt x="105" y="158"/>
                  </a:lnTo>
                  <a:lnTo>
                    <a:pt x="106" y="154"/>
                  </a:lnTo>
                  <a:lnTo>
                    <a:pt x="106" y="108"/>
                  </a:lnTo>
                  <a:lnTo>
                    <a:pt x="106" y="108"/>
                  </a:lnTo>
                  <a:lnTo>
                    <a:pt x="106" y="106"/>
                  </a:lnTo>
                  <a:lnTo>
                    <a:pt x="107" y="104"/>
                  </a:lnTo>
                  <a:lnTo>
                    <a:pt x="109" y="103"/>
                  </a:lnTo>
                  <a:lnTo>
                    <a:pt x="111" y="103"/>
                  </a:lnTo>
                  <a:lnTo>
                    <a:pt x="156" y="103"/>
                  </a:lnTo>
                  <a:lnTo>
                    <a:pt x="156" y="103"/>
                  </a:lnTo>
                  <a:lnTo>
                    <a:pt x="160" y="102"/>
                  </a:lnTo>
                  <a:lnTo>
                    <a:pt x="163" y="100"/>
                  </a:lnTo>
                  <a:lnTo>
                    <a:pt x="165" y="97"/>
                  </a:lnTo>
                  <a:lnTo>
                    <a:pt x="166" y="93"/>
                  </a:lnTo>
                  <a:lnTo>
                    <a:pt x="166" y="71"/>
                  </a:lnTo>
                  <a:lnTo>
                    <a:pt x="166" y="71"/>
                  </a:lnTo>
                  <a:lnTo>
                    <a:pt x="165" y="67"/>
                  </a:lnTo>
                  <a:lnTo>
                    <a:pt x="163" y="63"/>
                  </a:lnTo>
                  <a:lnTo>
                    <a:pt x="160" y="60"/>
                  </a:lnTo>
                  <a:lnTo>
                    <a:pt x="156" y="60"/>
                  </a:lnTo>
                  <a:lnTo>
                    <a:pt x="111" y="60"/>
                  </a:lnTo>
                  <a:lnTo>
                    <a:pt x="111" y="60"/>
                  </a:lnTo>
                  <a:lnTo>
                    <a:pt x="109" y="59"/>
                  </a:lnTo>
                  <a:lnTo>
                    <a:pt x="107" y="58"/>
                  </a:lnTo>
                  <a:lnTo>
                    <a:pt x="106" y="56"/>
                  </a:lnTo>
                  <a:lnTo>
                    <a:pt x="106" y="54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5" y="7"/>
                  </a:lnTo>
                  <a:lnTo>
                    <a:pt x="103" y="3"/>
                  </a:lnTo>
                  <a:lnTo>
                    <a:pt x="100" y="1"/>
                  </a:lnTo>
                  <a:lnTo>
                    <a:pt x="95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69" y="0"/>
                  </a:lnTo>
                  <a:lnTo>
                    <a:pt x="65" y="3"/>
                  </a:lnTo>
                  <a:lnTo>
                    <a:pt x="63" y="7"/>
                  </a:lnTo>
                  <a:lnTo>
                    <a:pt x="63" y="10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2" y="56"/>
                  </a:lnTo>
                  <a:lnTo>
                    <a:pt x="61" y="58"/>
                  </a:lnTo>
                  <a:lnTo>
                    <a:pt x="59" y="59"/>
                  </a:lnTo>
                  <a:lnTo>
                    <a:pt x="57" y="60"/>
                  </a:lnTo>
                  <a:lnTo>
                    <a:pt x="12" y="6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3" name="Freeform 186">
              <a:extLst>
                <a:ext uri="{FF2B5EF4-FFF2-40B4-BE49-F238E27FC236}">
                  <a16:creationId xmlns:a16="http://schemas.microsoft.com/office/drawing/2014/main" id="{1A6220E8-28FB-4F9C-8B0D-7489D5C921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55713" y="6516688"/>
              <a:ext cx="301625" cy="301625"/>
            </a:xfrm>
            <a:custGeom>
              <a:avLst/>
              <a:gdLst>
                <a:gd name="T0" fmla="*/ 85 w 190"/>
                <a:gd name="T1" fmla="*/ 190 h 190"/>
                <a:gd name="T2" fmla="*/ 81 w 190"/>
                <a:gd name="T3" fmla="*/ 190 h 190"/>
                <a:gd name="T4" fmla="*/ 73 w 190"/>
                <a:gd name="T5" fmla="*/ 186 h 190"/>
                <a:gd name="T6" fmla="*/ 67 w 190"/>
                <a:gd name="T7" fmla="*/ 179 h 190"/>
                <a:gd name="T8" fmla="*/ 63 w 190"/>
                <a:gd name="T9" fmla="*/ 172 h 190"/>
                <a:gd name="T10" fmla="*/ 62 w 190"/>
                <a:gd name="T11" fmla="*/ 128 h 190"/>
                <a:gd name="T12" fmla="*/ 24 w 190"/>
                <a:gd name="T13" fmla="*/ 128 h 190"/>
                <a:gd name="T14" fmla="*/ 15 w 190"/>
                <a:gd name="T15" fmla="*/ 126 h 190"/>
                <a:gd name="T16" fmla="*/ 8 w 190"/>
                <a:gd name="T17" fmla="*/ 121 h 190"/>
                <a:gd name="T18" fmla="*/ 2 w 190"/>
                <a:gd name="T19" fmla="*/ 115 h 190"/>
                <a:gd name="T20" fmla="*/ 0 w 190"/>
                <a:gd name="T21" fmla="*/ 106 h 190"/>
                <a:gd name="T22" fmla="*/ 0 w 190"/>
                <a:gd name="T23" fmla="*/ 84 h 190"/>
                <a:gd name="T24" fmla="*/ 2 w 190"/>
                <a:gd name="T25" fmla="*/ 75 h 190"/>
                <a:gd name="T26" fmla="*/ 8 w 190"/>
                <a:gd name="T27" fmla="*/ 68 h 190"/>
                <a:gd name="T28" fmla="*/ 15 w 190"/>
                <a:gd name="T29" fmla="*/ 62 h 190"/>
                <a:gd name="T30" fmla="*/ 24 w 190"/>
                <a:gd name="T31" fmla="*/ 60 h 190"/>
                <a:gd name="T32" fmla="*/ 62 w 190"/>
                <a:gd name="T33" fmla="*/ 23 h 190"/>
                <a:gd name="T34" fmla="*/ 63 w 190"/>
                <a:gd name="T35" fmla="*/ 18 h 190"/>
                <a:gd name="T36" fmla="*/ 67 w 190"/>
                <a:gd name="T37" fmla="*/ 11 h 190"/>
                <a:gd name="T38" fmla="*/ 73 w 190"/>
                <a:gd name="T39" fmla="*/ 5 h 190"/>
                <a:gd name="T40" fmla="*/ 81 w 190"/>
                <a:gd name="T41" fmla="*/ 1 h 190"/>
                <a:gd name="T42" fmla="*/ 107 w 190"/>
                <a:gd name="T43" fmla="*/ 0 h 190"/>
                <a:gd name="T44" fmla="*/ 112 w 190"/>
                <a:gd name="T45" fmla="*/ 1 h 190"/>
                <a:gd name="T46" fmla="*/ 119 w 190"/>
                <a:gd name="T47" fmla="*/ 5 h 190"/>
                <a:gd name="T48" fmla="*/ 126 w 190"/>
                <a:gd name="T49" fmla="*/ 11 h 190"/>
                <a:gd name="T50" fmla="*/ 130 w 190"/>
                <a:gd name="T51" fmla="*/ 18 h 190"/>
                <a:gd name="T52" fmla="*/ 130 w 190"/>
                <a:gd name="T53" fmla="*/ 60 h 190"/>
                <a:gd name="T54" fmla="*/ 168 w 190"/>
                <a:gd name="T55" fmla="*/ 60 h 190"/>
                <a:gd name="T56" fmla="*/ 176 w 190"/>
                <a:gd name="T57" fmla="*/ 62 h 190"/>
                <a:gd name="T58" fmla="*/ 183 w 190"/>
                <a:gd name="T59" fmla="*/ 68 h 190"/>
                <a:gd name="T60" fmla="*/ 188 w 190"/>
                <a:gd name="T61" fmla="*/ 75 h 190"/>
                <a:gd name="T62" fmla="*/ 190 w 190"/>
                <a:gd name="T63" fmla="*/ 84 h 190"/>
                <a:gd name="T64" fmla="*/ 190 w 190"/>
                <a:gd name="T65" fmla="*/ 106 h 190"/>
                <a:gd name="T66" fmla="*/ 188 w 190"/>
                <a:gd name="T67" fmla="*/ 115 h 190"/>
                <a:gd name="T68" fmla="*/ 183 w 190"/>
                <a:gd name="T69" fmla="*/ 121 h 190"/>
                <a:gd name="T70" fmla="*/ 176 w 190"/>
                <a:gd name="T71" fmla="*/ 126 h 190"/>
                <a:gd name="T72" fmla="*/ 168 w 190"/>
                <a:gd name="T73" fmla="*/ 128 h 190"/>
                <a:gd name="T74" fmla="*/ 130 w 190"/>
                <a:gd name="T75" fmla="*/ 167 h 190"/>
                <a:gd name="T76" fmla="*/ 130 w 190"/>
                <a:gd name="T77" fmla="*/ 172 h 190"/>
                <a:gd name="T78" fmla="*/ 126 w 190"/>
                <a:gd name="T79" fmla="*/ 179 h 190"/>
                <a:gd name="T80" fmla="*/ 119 w 190"/>
                <a:gd name="T81" fmla="*/ 186 h 190"/>
                <a:gd name="T82" fmla="*/ 112 w 190"/>
                <a:gd name="T83" fmla="*/ 1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190">
                  <a:moveTo>
                    <a:pt x="107" y="190"/>
                  </a:moveTo>
                  <a:lnTo>
                    <a:pt x="85" y="190"/>
                  </a:lnTo>
                  <a:lnTo>
                    <a:pt x="85" y="190"/>
                  </a:lnTo>
                  <a:lnTo>
                    <a:pt x="81" y="190"/>
                  </a:lnTo>
                  <a:lnTo>
                    <a:pt x="76" y="188"/>
                  </a:lnTo>
                  <a:lnTo>
                    <a:pt x="73" y="186"/>
                  </a:lnTo>
                  <a:lnTo>
                    <a:pt x="70" y="183"/>
                  </a:lnTo>
                  <a:lnTo>
                    <a:pt x="67" y="179"/>
                  </a:lnTo>
                  <a:lnTo>
                    <a:pt x="64" y="176"/>
                  </a:lnTo>
                  <a:lnTo>
                    <a:pt x="63" y="172"/>
                  </a:lnTo>
                  <a:lnTo>
                    <a:pt x="62" y="167"/>
                  </a:lnTo>
                  <a:lnTo>
                    <a:pt x="62" y="128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19" y="128"/>
                  </a:lnTo>
                  <a:lnTo>
                    <a:pt x="15" y="126"/>
                  </a:lnTo>
                  <a:lnTo>
                    <a:pt x="12" y="125"/>
                  </a:lnTo>
                  <a:lnTo>
                    <a:pt x="8" y="121"/>
                  </a:lnTo>
                  <a:lnTo>
                    <a:pt x="4" y="118"/>
                  </a:lnTo>
                  <a:lnTo>
                    <a:pt x="2" y="115"/>
                  </a:lnTo>
                  <a:lnTo>
                    <a:pt x="1" y="111"/>
                  </a:lnTo>
                  <a:lnTo>
                    <a:pt x="0" y="10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1" y="80"/>
                  </a:lnTo>
                  <a:lnTo>
                    <a:pt x="2" y="75"/>
                  </a:lnTo>
                  <a:lnTo>
                    <a:pt x="4" y="71"/>
                  </a:lnTo>
                  <a:lnTo>
                    <a:pt x="8" y="68"/>
                  </a:lnTo>
                  <a:lnTo>
                    <a:pt x="11" y="65"/>
                  </a:lnTo>
                  <a:lnTo>
                    <a:pt x="15" y="62"/>
                  </a:lnTo>
                  <a:lnTo>
                    <a:pt x="19" y="61"/>
                  </a:lnTo>
                  <a:lnTo>
                    <a:pt x="24" y="60"/>
                  </a:lnTo>
                  <a:lnTo>
                    <a:pt x="62" y="60"/>
                  </a:lnTo>
                  <a:lnTo>
                    <a:pt x="62" y="23"/>
                  </a:lnTo>
                  <a:lnTo>
                    <a:pt x="62" y="23"/>
                  </a:lnTo>
                  <a:lnTo>
                    <a:pt x="63" y="18"/>
                  </a:lnTo>
                  <a:lnTo>
                    <a:pt x="64" y="14"/>
                  </a:lnTo>
                  <a:lnTo>
                    <a:pt x="67" y="11"/>
                  </a:lnTo>
                  <a:lnTo>
                    <a:pt x="70" y="8"/>
                  </a:lnTo>
                  <a:lnTo>
                    <a:pt x="73" y="5"/>
                  </a:lnTo>
                  <a:lnTo>
                    <a:pt x="76" y="2"/>
                  </a:lnTo>
                  <a:lnTo>
                    <a:pt x="81" y="1"/>
                  </a:lnTo>
                  <a:lnTo>
                    <a:pt x="85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12" y="1"/>
                  </a:lnTo>
                  <a:lnTo>
                    <a:pt x="116" y="2"/>
                  </a:lnTo>
                  <a:lnTo>
                    <a:pt x="119" y="5"/>
                  </a:lnTo>
                  <a:lnTo>
                    <a:pt x="123" y="8"/>
                  </a:lnTo>
                  <a:lnTo>
                    <a:pt x="126" y="11"/>
                  </a:lnTo>
                  <a:lnTo>
                    <a:pt x="128" y="14"/>
                  </a:lnTo>
                  <a:lnTo>
                    <a:pt x="130" y="18"/>
                  </a:lnTo>
                  <a:lnTo>
                    <a:pt x="130" y="23"/>
                  </a:lnTo>
                  <a:lnTo>
                    <a:pt x="130" y="60"/>
                  </a:lnTo>
                  <a:lnTo>
                    <a:pt x="168" y="60"/>
                  </a:lnTo>
                  <a:lnTo>
                    <a:pt x="168" y="60"/>
                  </a:lnTo>
                  <a:lnTo>
                    <a:pt x="173" y="61"/>
                  </a:lnTo>
                  <a:lnTo>
                    <a:pt x="176" y="62"/>
                  </a:lnTo>
                  <a:lnTo>
                    <a:pt x="180" y="65"/>
                  </a:lnTo>
                  <a:lnTo>
                    <a:pt x="183" y="68"/>
                  </a:lnTo>
                  <a:lnTo>
                    <a:pt x="186" y="71"/>
                  </a:lnTo>
                  <a:lnTo>
                    <a:pt x="188" y="75"/>
                  </a:lnTo>
                  <a:lnTo>
                    <a:pt x="189" y="80"/>
                  </a:lnTo>
                  <a:lnTo>
                    <a:pt x="190" y="84"/>
                  </a:lnTo>
                  <a:lnTo>
                    <a:pt x="190" y="106"/>
                  </a:lnTo>
                  <a:lnTo>
                    <a:pt x="190" y="106"/>
                  </a:lnTo>
                  <a:lnTo>
                    <a:pt x="189" y="111"/>
                  </a:lnTo>
                  <a:lnTo>
                    <a:pt x="188" y="115"/>
                  </a:lnTo>
                  <a:lnTo>
                    <a:pt x="186" y="118"/>
                  </a:lnTo>
                  <a:lnTo>
                    <a:pt x="183" y="121"/>
                  </a:lnTo>
                  <a:lnTo>
                    <a:pt x="180" y="125"/>
                  </a:lnTo>
                  <a:lnTo>
                    <a:pt x="176" y="126"/>
                  </a:lnTo>
                  <a:lnTo>
                    <a:pt x="173" y="128"/>
                  </a:lnTo>
                  <a:lnTo>
                    <a:pt x="168" y="128"/>
                  </a:lnTo>
                  <a:lnTo>
                    <a:pt x="130" y="128"/>
                  </a:lnTo>
                  <a:lnTo>
                    <a:pt x="130" y="167"/>
                  </a:lnTo>
                  <a:lnTo>
                    <a:pt x="130" y="167"/>
                  </a:lnTo>
                  <a:lnTo>
                    <a:pt x="130" y="172"/>
                  </a:lnTo>
                  <a:lnTo>
                    <a:pt x="128" y="176"/>
                  </a:lnTo>
                  <a:lnTo>
                    <a:pt x="126" y="179"/>
                  </a:lnTo>
                  <a:lnTo>
                    <a:pt x="123" y="183"/>
                  </a:lnTo>
                  <a:lnTo>
                    <a:pt x="119" y="186"/>
                  </a:lnTo>
                  <a:lnTo>
                    <a:pt x="116" y="188"/>
                  </a:lnTo>
                  <a:lnTo>
                    <a:pt x="112" y="190"/>
                  </a:lnTo>
                  <a:lnTo>
                    <a:pt x="107" y="1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4" name="Freeform 187">
              <a:extLst>
                <a:ext uri="{FF2B5EF4-FFF2-40B4-BE49-F238E27FC236}">
                  <a16:creationId xmlns:a16="http://schemas.microsoft.com/office/drawing/2014/main" id="{61D65A6D-994B-4AF1-B92E-EBB8420846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873163" y="6435726"/>
              <a:ext cx="466725" cy="466725"/>
            </a:xfrm>
            <a:custGeom>
              <a:avLst/>
              <a:gdLst>
                <a:gd name="T0" fmla="*/ 133 w 294"/>
                <a:gd name="T1" fmla="*/ 13 h 294"/>
                <a:gd name="T2" fmla="*/ 94 w 294"/>
                <a:gd name="T3" fmla="*/ 22 h 294"/>
                <a:gd name="T4" fmla="*/ 61 w 294"/>
                <a:gd name="T5" fmla="*/ 43 h 294"/>
                <a:gd name="T6" fmla="*/ 34 w 294"/>
                <a:gd name="T7" fmla="*/ 72 h 294"/>
                <a:gd name="T8" fmla="*/ 17 w 294"/>
                <a:gd name="T9" fmla="*/ 107 h 294"/>
                <a:gd name="T10" fmla="*/ 11 w 294"/>
                <a:gd name="T11" fmla="*/ 147 h 294"/>
                <a:gd name="T12" fmla="*/ 14 w 294"/>
                <a:gd name="T13" fmla="*/ 174 h 294"/>
                <a:gd name="T14" fmla="*/ 28 w 294"/>
                <a:gd name="T15" fmla="*/ 212 h 294"/>
                <a:gd name="T16" fmla="*/ 51 w 294"/>
                <a:gd name="T17" fmla="*/ 243 h 294"/>
                <a:gd name="T18" fmla="*/ 82 w 294"/>
                <a:gd name="T19" fmla="*/ 266 h 294"/>
                <a:gd name="T20" fmla="*/ 120 w 294"/>
                <a:gd name="T21" fmla="*/ 279 h 294"/>
                <a:gd name="T22" fmla="*/ 146 w 294"/>
                <a:gd name="T23" fmla="*/ 283 h 294"/>
                <a:gd name="T24" fmla="*/ 187 w 294"/>
                <a:gd name="T25" fmla="*/ 276 h 294"/>
                <a:gd name="T26" fmla="*/ 223 w 294"/>
                <a:gd name="T27" fmla="*/ 259 h 294"/>
                <a:gd name="T28" fmla="*/ 250 w 294"/>
                <a:gd name="T29" fmla="*/ 233 h 294"/>
                <a:gd name="T30" fmla="*/ 271 w 294"/>
                <a:gd name="T31" fmla="*/ 199 h 294"/>
                <a:gd name="T32" fmla="*/ 281 w 294"/>
                <a:gd name="T33" fmla="*/ 161 h 294"/>
                <a:gd name="T34" fmla="*/ 281 w 294"/>
                <a:gd name="T35" fmla="*/ 133 h 294"/>
                <a:gd name="T36" fmla="*/ 271 w 294"/>
                <a:gd name="T37" fmla="*/ 94 h 294"/>
                <a:gd name="T38" fmla="*/ 250 w 294"/>
                <a:gd name="T39" fmla="*/ 61 h 294"/>
                <a:gd name="T40" fmla="*/ 223 w 294"/>
                <a:gd name="T41" fmla="*/ 35 h 294"/>
                <a:gd name="T42" fmla="*/ 187 w 294"/>
                <a:gd name="T43" fmla="*/ 18 h 294"/>
                <a:gd name="T44" fmla="*/ 146 w 294"/>
                <a:gd name="T45" fmla="*/ 12 h 294"/>
                <a:gd name="T46" fmla="*/ 131 w 294"/>
                <a:gd name="T47" fmla="*/ 293 h 294"/>
                <a:gd name="T48" fmla="*/ 90 w 294"/>
                <a:gd name="T49" fmla="*/ 283 h 294"/>
                <a:gd name="T50" fmla="*/ 53 w 294"/>
                <a:gd name="T51" fmla="*/ 260 h 294"/>
                <a:gd name="T52" fmla="*/ 24 w 294"/>
                <a:gd name="T53" fmla="*/ 229 h 294"/>
                <a:gd name="T54" fmla="*/ 6 w 294"/>
                <a:gd name="T55" fmla="*/ 191 h 294"/>
                <a:gd name="T56" fmla="*/ 0 w 294"/>
                <a:gd name="T57" fmla="*/ 147 h 294"/>
                <a:gd name="T58" fmla="*/ 2 w 294"/>
                <a:gd name="T59" fmla="*/ 118 h 294"/>
                <a:gd name="T60" fmla="*/ 17 w 294"/>
                <a:gd name="T61" fmla="*/ 77 h 294"/>
                <a:gd name="T62" fmla="*/ 43 w 294"/>
                <a:gd name="T63" fmla="*/ 43 h 294"/>
                <a:gd name="T64" fmla="*/ 77 w 294"/>
                <a:gd name="T65" fmla="*/ 17 h 294"/>
                <a:gd name="T66" fmla="*/ 116 w 294"/>
                <a:gd name="T67" fmla="*/ 3 h 294"/>
                <a:gd name="T68" fmla="*/ 146 w 294"/>
                <a:gd name="T69" fmla="*/ 0 h 294"/>
                <a:gd name="T70" fmla="*/ 190 w 294"/>
                <a:gd name="T71" fmla="*/ 6 h 294"/>
                <a:gd name="T72" fmla="*/ 229 w 294"/>
                <a:gd name="T73" fmla="*/ 24 h 294"/>
                <a:gd name="T74" fmla="*/ 260 w 294"/>
                <a:gd name="T75" fmla="*/ 53 h 294"/>
                <a:gd name="T76" fmla="*/ 283 w 294"/>
                <a:gd name="T77" fmla="*/ 90 h 294"/>
                <a:gd name="T78" fmla="*/ 293 w 294"/>
                <a:gd name="T79" fmla="*/ 132 h 294"/>
                <a:gd name="T80" fmla="*/ 293 w 294"/>
                <a:gd name="T81" fmla="*/ 162 h 294"/>
                <a:gd name="T82" fmla="*/ 283 w 294"/>
                <a:gd name="T83" fmla="*/ 204 h 294"/>
                <a:gd name="T84" fmla="*/ 260 w 294"/>
                <a:gd name="T85" fmla="*/ 241 h 294"/>
                <a:gd name="T86" fmla="*/ 229 w 294"/>
                <a:gd name="T87" fmla="*/ 269 h 294"/>
                <a:gd name="T88" fmla="*/ 190 w 294"/>
                <a:gd name="T89" fmla="*/ 288 h 294"/>
                <a:gd name="T90" fmla="*/ 146 w 294"/>
                <a:gd name="T91" fmla="*/ 29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4" h="294">
                  <a:moveTo>
                    <a:pt x="146" y="12"/>
                  </a:moveTo>
                  <a:lnTo>
                    <a:pt x="146" y="12"/>
                  </a:lnTo>
                  <a:lnTo>
                    <a:pt x="133" y="13"/>
                  </a:lnTo>
                  <a:lnTo>
                    <a:pt x="120" y="15"/>
                  </a:lnTo>
                  <a:lnTo>
                    <a:pt x="107" y="18"/>
                  </a:lnTo>
                  <a:lnTo>
                    <a:pt x="94" y="22"/>
                  </a:lnTo>
                  <a:lnTo>
                    <a:pt x="82" y="28"/>
                  </a:lnTo>
                  <a:lnTo>
                    <a:pt x="70" y="35"/>
                  </a:lnTo>
                  <a:lnTo>
                    <a:pt x="61" y="43"/>
                  </a:lnTo>
                  <a:lnTo>
                    <a:pt x="51" y="51"/>
                  </a:lnTo>
                  <a:lnTo>
                    <a:pt x="43" y="61"/>
                  </a:lnTo>
                  <a:lnTo>
                    <a:pt x="34" y="72"/>
                  </a:lnTo>
                  <a:lnTo>
                    <a:pt x="28" y="82"/>
                  </a:lnTo>
                  <a:lnTo>
                    <a:pt x="22" y="94"/>
                  </a:lnTo>
                  <a:lnTo>
                    <a:pt x="17" y="107"/>
                  </a:lnTo>
                  <a:lnTo>
                    <a:pt x="14" y="120"/>
                  </a:lnTo>
                  <a:lnTo>
                    <a:pt x="11" y="133"/>
                  </a:lnTo>
                  <a:lnTo>
                    <a:pt x="11" y="147"/>
                  </a:lnTo>
                  <a:lnTo>
                    <a:pt x="11" y="147"/>
                  </a:lnTo>
                  <a:lnTo>
                    <a:pt x="11" y="161"/>
                  </a:lnTo>
                  <a:lnTo>
                    <a:pt x="14" y="174"/>
                  </a:lnTo>
                  <a:lnTo>
                    <a:pt x="17" y="187"/>
                  </a:lnTo>
                  <a:lnTo>
                    <a:pt x="22" y="199"/>
                  </a:lnTo>
                  <a:lnTo>
                    <a:pt x="28" y="212"/>
                  </a:lnTo>
                  <a:lnTo>
                    <a:pt x="34" y="223"/>
                  </a:lnTo>
                  <a:lnTo>
                    <a:pt x="43" y="233"/>
                  </a:lnTo>
                  <a:lnTo>
                    <a:pt x="51" y="243"/>
                  </a:lnTo>
                  <a:lnTo>
                    <a:pt x="61" y="252"/>
                  </a:lnTo>
                  <a:lnTo>
                    <a:pt x="70" y="259"/>
                  </a:lnTo>
                  <a:lnTo>
                    <a:pt x="82" y="266"/>
                  </a:lnTo>
                  <a:lnTo>
                    <a:pt x="94" y="272"/>
                  </a:lnTo>
                  <a:lnTo>
                    <a:pt x="107" y="276"/>
                  </a:lnTo>
                  <a:lnTo>
                    <a:pt x="120" y="279"/>
                  </a:lnTo>
                  <a:lnTo>
                    <a:pt x="133" y="282"/>
                  </a:lnTo>
                  <a:lnTo>
                    <a:pt x="146" y="283"/>
                  </a:lnTo>
                  <a:lnTo>
                    <a:pt x="146" y="283"/>
                  </a:lnTo>
                  <a:lnTo>
                    <a:pt x="160" y="282"/>
                  </a:lnTo>
                  <a:lnTo>
                    <a:pt x="173" y="279"/>
                  </a:lnTo>
                  <a:lnTo>
                    <a:pt x="187" y="276"/>
                  </a:lnTo>
                  <a:lnTo>
                    <a:pt x="199" y="272"/>
                  </a:lnTo>
                  <a:lnTo>
                    <a:pt x="211" y="266"/>
                  </a:lnTo>
                  <a:lnTo>
                    <a:pt x="223" y="259"/>
                  </a:lnTo>
                  <a:lnTo>
                    <a:pt x="232" y="252"/>
                  </a:lnTo>
                  <a:lnTo>
                    <a:pt x="242" y="243"/>
                  </a:lnTo>
                  <a:lnTo>
                    <a:pt x="250" y="233"/>
                  </a:lnTo>
                  <a:lnTo>
                    <a:pt x="259" y="223"/>
                  </a:lnTo>
                  <a:lnTo>
                    <a:pt x="265" y="212"/>
                  </a:lnTo>
                  <a:lnTo>
                    <a:pt x="271" y="199"/>
                  </a:lnTo>
                  <a:lnTo>
                    <a:pt x="276" y="187"/>
                  </a:lnTo>
                  <a:lnTo>
                    <a:pt x="279" y="174"/>
                  </a:lnTo>
                  <a:lnTo>
                    <a:pt x="281" y="161"/>
                  </a:lnTo>
                  <a:lnTo>
                    <a:pt x="281" y="147"/>
                  </a:lnTo>
                  <a:lnTo>
                    <a:pt x="281" y="147"/>
                  </a:lnTo>
                  <a:lnTo>
                    <a:pt x="281" y="133"/>
                  </a:lnTo>
                  <a:lnTo>
                    <a:pt x="279" y="120"/>
                  </a:lnTo>
                  <a:lnTo>
                    <a:pt x="276" y="107"/>
                  </a:lnTo>
                  <a:lnTo>
                    <a:pt x="271" y="94"/>
                  </a:lnTo>
                  <a:lnTo>
                    <a:pt x="265" y="82"/>
                  </a:lnTo>
                  <a:lnTo>
                    <a:pt x="259" y="72"/>
                  </a:lnTo>
                  <a:lnTo>
                    <a:pt x="250" y="61"/>
                  </a:lnTo>
                  <a:lnTo>
                    <a:pt x="242" y="51"/>
                  </a:lnTo>
                  <a:lnTo>
                    <a:pt x="232" y="43"/>
                  </a:lnTo>
                  <a:lnTo>
                    <a:pt x="223" y="35"/>
                  </a:lnTo>
                  <a:lnTo>
                    <a:pt x="211" y="28"/>
                  </a:lnTo>
                  <a:lnTo>
                    <a:pt x="199" y="22"/>
                  </a:lnTo>
                  <a:lnTo>
                    <a:pt x="187" y="18"/>
                  </a:lnTo>
                  <a:lnTo>
                    <a:pt x="173" y="15"/>
                  </a:lnTo>
                  <a:lnTo>
                    <a:pt x="160" y="13"/>
                  </a:lnTo>
                  <a:lnTo>
                    <a:pt x="146" y="12"/>
                  </a:lnTo>
                  <a:close/>
                  <a:moveTo>
                    <a:pt x="146" y="294"/>
                  </a:moveTo>
                  <a:lnTo>
                    <a:pt x="146" y="294"/>
                  </a:lnTo>
                  <a:lnTo>
                    <a:pt x="131" y="293"/>
                  </a:lnTo>
                  <a:lnTo>
                    <a:pt x="116" y="291"/>
                  </a:lnTo>
                  <a:lnTo>
                    <a:pt x="103" y="288"/>
                  </a:lnTo>
                  <a:lnTo>
                    <a:pt x="90" y="283"/>
                  </a:lnTo>
                  <a:lnTo>
                    <a:pt x="77" y="276"/>
                  </a:lnTo>
                  <a:lnTo>
                    <a:pt x="64" y="269"/>
                  </a:lnTo>
                  <a:lnTo>
                    <a:pt x="53" y="260"/>
                  </a:lnTo>
                  <a:lnTo>
                    <a:pt x="43" y="252"/>
                  </a:lnTo>
                  <a:lnTo>
                    <a:pt x="33" y="241"/>
                  </a:lnTo>
                  <a:lnTo>
                    <a:pt x="24" y="229"/>
                  </a:lnTo>
                  <a:lnTo>
                    <a:pt x="17" y="217"/>
                  </a:lnTo>
                  <a:lnTo>
                    <a:pt x="10" y="204"/>
                  </a:lnTo>
                  <a:lnTo>
                    <a:pt x="6" y="191"/>
                  </a:lnTo>
                  <a:lnTo>
                    <a:pt x="2" y="177"/>
                  </a:lnTo>
                  <a:lnTo>
                    <a:pt x="0" y="162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32"/>
                  </a:lnTo>
                  <a:lnTo>
                    <a:pt x="2" y="118"/>
                  </a:lnTo>
                  <a:lnTo>
                    <a:pt x="6" y="104"/>
                  </a:lnTo>
                  <a:lnTo>
                    <a:pt x="10" y="90"/>
                  </a:lnTo>
                  <a:lnTo>
                    <a:pt x="17" y="77"/>
                  </a:lnTo>
                  <a:lnTo>
                    <a:pt x="24" y="65"/>
                  </a:lnTo>
                  <a:lnTo>
                    <a:pt x="33" y="53"/>
                  </a:lnTo>
                  <a:lnTo>
                    <a:pt x="43" y="43"/>
                  </a:lnTo>
                  <a:lnTo>
                    <a:pt x="53" y="33"/>
                  </a:lnTo>
                  <a:lnTo>
                    <a:pt x="64" y="24"/>
                  </a:lnTo>
                  <a:lnTo>
                    <a:pt x="77" y="17"/>
                  </a:lnTo>
                  <a:lnTo>
                    <a:pt x="90" y="12"/>
                  </a:lnTo>
                  <a:lnTo>
                    <a:pt x="103" y="6"/>
                  </a:lnTo>
                  <a:lnTo>
                    <a:pt x="116" y="3"/>
                  </a:lnTo>
                  <a:lnTo>
                    <a:pt x="131" y="1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61" y="1"/>
                  </a:lnTo>
                  <a:lnTo>
                    <a:pt x="176" y="3"/>
                  </a:lnTo>
                  <a:lnTo>
                    <a:pt x="190" y="6"/>
                  </a:lnTo>
                  <a:lnTo>
                    <a:pt x="204" y="12"/>
                  </a:lnTo>
                  <a:lnTo>
                    <a:pt x="217" y="17"/>
                  </a:lnTo>
                  <a:lnTo>
                    <a:pt x="229" y="24"/>
                  </a:lnTo>
                  <a:lnTo>
                    <a:pt x="240" y="33"/>
                  </a:lnTo>
                  <a:lnTo>
                    <a:pt x="250" y="43"/>
                  </a:lnTo>
                  <a:lnTo>
                    <a:pt x="260" y="53"/>
                  </a:lnTo>
                  <a:lnTo>
                    <a:pt x="269" y="65"/>
                  </a:lnTo>
                  <a:lnTo>
                    <a:pt x="276" y="77"/>
                  </a:lnTo>
                  <a:lnTo>
                    <a:pt x="283" y="90"/>
                  </a:lnTo>
                  <a:lnTo>
                    <a:pt x="287" y="104"/>
                  </a:lnTo>
                  <a:lnTo>
                    <a:pt x="291" y="118"/>
                  </a:lnTo>
                  <a:lnTo>
                    <a:pt x="293" y="132"/>
                  </a:lnTo>
                  <a:lnTo>
                    <a:pt x="294" y="147"/>
                  </a:lnTo>
                  <a:lnTo>
                    <a:pt x="294" y="147"/>
                  </a:lnTo>
                  <a:lnTo>
                    <a:pt x="293" y="162"/>
                  </a:lnTo>
                  <a:lnTo>
                    <a:pt x="291" y="177"/>
                  </a:lnTo>
                  <a:lnTo>
                    <a:pt x="287" y="191"/>
                  </a:lnTo>
                  <a:lnTo>
                    <a:pt x="283" y="204"/>
                  </a:lnTo>
                  <a:lnTo>
                    <a:pt x="276" y="217"/>
                  </a:lnTo>
                  <a:lnTo>
                    <a:pt x="269" y="229"/>
                  </a:lnTo>
                  <a:lnTo>
                    <a:pt x="260" y="241"/>
                  </a:lnTo>
                  <a:lnTo>
                    <a:pt x="250" y="252"/>
                  </a:lnTo>
                  <a:lnTo>
                    <a:pt x="240" y="260"/>
                  </a:lnTo>
                  <a:lnTo>
                    <a:pt x="229" y="269"/>
                  </a:lnTo>
                  <a:lnTo>
                    <a:pt x="217" y="276"/>
                  </a:lnTo>
                  <a:lnTo>
                    <a:pt x="204" y="283"/>
                  </a:lnTo>
                  <a:lnTo>
                    <a:pt x="190" y="288"/>
                  </a:lnTo>
                  <a:lnTo>
                    <a:pt x="176" y="291"/>
                  </a:lnTo>
                  <a:lnTo>
                    <a:pt x="161" y="293"/>
                  </a:lnTo>
                  <a:lnTo>
                    <a:pt x="146" y="294"/>
                  </a:lnTo>
                  <a:close/>
                </a:path>
              </a:pathLst>
            </a:custGeom>
            <a:solidFill>
              <a:srgbClr val="D95B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5" name="Freeform 188">
              <a:extLst>
                <a:ext uri="{FF2B5EF4-FFF2-40B4-BE49-F238E27FC236}">
                  <a16:creationId xmlns:a16="http://schemas.microsoft.com/office/drawing/2014/main" id="{53265EBB-6EB2-4256-B769-145322FD7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0625" y="6454776"/>
              <a:ext cx="428625" cy="430213"/>
            </a:xfrm>
            <a:custGeom>
              <a:avLst/>
              <a:gdLst>
                <a:gd name="T0" fmla="*/ 135 w 270"/>
                <a:gd name="T1" fmla="*/ 0 h 271"/>
                <a:gd name="T2" fmla="*/ 109 w 270"/>
                <a:gd name="T3" fmla="*/ 3 h 271"/>
                <a:gd name="T4" fmla="*/ 83 w 270"/>
                <a:gd name="T5" fmla="*/ 10 h 271"/>
                <a:gd name="T6" fmla="*/ 59 w 270"/>
                <a:gd name="T7" fmla="*/ 23 h 271"/>
                <a:gd name="T8" fmla="*/ 40 w 270"/>
                <a:gd name="T9" fmla="*/ 39 h 271"/>
                <a:gd name="T10" fmla="*/ 23 w 270"/>
                <a:gd name="T11" fmla="*/ 60 h 271"/>
                <a:gd name="T12" fmla="*/ 11 w 270"/>
                <a:gd name="T13" fmla="*/ 82 h 271"/>
                <a:gd name="T14" fmla="*/ 3 w 270"/>
                <a:gd name="T15" fmla="*/ 108 h 271"/>
                <a:gd name="T16" fmla="*/ 0 w 270"/>
                <a:gd name="T17" fmla="*/ 135 h 271"/>
                <a:gd name="T18" fmla="*/ 0 w 270"/>
                <a:gd name="T19" fmla="*/ 149 h 271"/>
                <a:gd name="T20" fmla="*/ 6 w 270"/>
                <a:gd name="T21" fmla="*/ 175 h 271"/>
                <a:gd name="T22" fmla="*/ 17 w 270"/>
                <a:gd name="T23" fmla="*/ 200 h 271"/>
                <a:gd name="T24" fmla="*/ 32 w 270"/>
                <a:gd name="T25" fmla="*/ 221 h 271"/>
                <a:gd name="T26" fmla="*/ 50 w 270"/>
                <a:gd name="T27" fmla="*/ 240 h 271"/>
                <a:gd name="T28" fmla="*/ 71 w 270"/>
                <a:gd name="T29" fmla="*/ 254 h 271"/>
                <a:gd name="T30" fmla="*/ 96 w 270"/>
                <a:gd name="T31" fmla="*/ 264 h 271"/>
                <a:gd name="T32" fmla="*/ 122 w 270"/>
                <a:gd name="T33" fmla="*/ 270 h 271"/>
                <a:gd name="T34" fmla="*/ 135 w 270"/>
                <a:gd name="T35" fmla="*/ 271 h 271"/>
                <a:gd name="T36" fmla="*/ 162 w 270"/>
                <a:gd name="T37" fmla="*/ 267 h 271"/>
                <a:gd name="T38" fmla="*/ 188 w 270"/>
                <a:gd name="T39" fmla="*/ 260 h 271"/>
                <a:gd name="T40" fmla="*/ 212 w 270"/>
                <a:gd name="T41" fmla="*/ 247 h 271"/>
                <a:gd name="T42" fmla="*/ 231 w 270"/>
                <a:gd name="T43" fmla="*/ 231 h 271"/>
                <a:gd name="T44" fmla="*/ 248 w 270"/>
                <a:gd name="T45" fmla="*/ 211 h 271"/>
                <a:gd name="T46" fmla="*/ 260 w 270"/>
                <a:gd name="T47" fmla="*/ 187 h 271"/>
                <a:gd name="T48" fmla="*/ 268 w 270"/>
                <a:gd name="T49" fmla="*/ 162 h 271"/>
                <a:gd name="T50" fmla="*/ 270 w 270"/>
                <a:gd name="T51" fmla="*/ 135 h 271"/>
                <a:gd name="T52" fmla="*/ 270 w 270"/>
                <a:gd name="T53" fmla="*/ 121 h 271"/>
                <a:gd name="T54" fmla="*/ 265 w 270"/>
                <a:gd name="T55" fmla="*/ 95 h 271"/>
                <a:gd name="T56" fmla="*/ 254 w 270"/>
                <a:gd name="T57" fmla="*/ 70 h 271"/>
                <a:gd name="T58" fmla="*/ 239 w 270"/>
                <a:gd name="T59" fmla="*/ 49 h 271"/>
                <a:gd name="T60" fmla="*/ 221 w 270"/>
                <a:gd name="T61" fmla="*/ 31 h 271"/>
                <a:gd name="T62" fmla="*/ 200 w 270"/>
                <a:gd name="T63" fmla="*/ 16 h 271"/>
                <a:gd name="T64" fmla="*/ 176 w 270"/>
                <a:gd name="T65" fmla="*/ 6 h 271"/>
                <a:gd name="T66" fmla="*/ 149 w 270"/>
                <a:gd name="T67" fmla="*/ 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0" h="271">
                  <a:moveTo>
                    <a:pt x="135" y="0"/>
                  </a:moveTo>
                  <a:lnTo>
                    <a:pt x="135" y="0"/>
                  </a:lnTo>
                  <a:lnTo>
                    <a:pt x="122" y="1"/>
                  </a:lnTo>
                  <a:lnTo>
                    <a:pt x="109" y="3"/>
                  </a:lnTo>
                  <a:lnTo>
                    <a:pt x="96" y="6"/>
                  </a:lnTo>
                  <a:lnTo>
                    <a:pt x="83" y="10"/>
                  </a:lnTo>
                  <a:lnTo>
                    <a:pt x="71" y="16"/>
                  </a:lnTo>
                  <a:lnTo>
                    <a:pt x="59" y="23"/>
                  </a:lnTo>
                  <a:lnTo>
                    <a:pt x="50" y="31"/>
                  </a:lnTo>
                  <a:lnTo>
                    <a:pt x="40" y="39"/>
                  </a:lnTo>
                  <a:lnTo>
                    <a:pt x="32" y="49"/>
                  </a:lnTo>
                  <a:lnTo>
                    <a:pt x="23" y="60"/>
                  </a:lnTo>
                  <a:lnTo>
                    <a:pt x="17" y="70"/>
                  </a:lnTo>
                  <a:lnTo>
                    <a:pt x="11" y="82"/>
                  </a:lnTo>
                  <a:lnTo>
                    <a:pt x="6" y="95"/>
                  </a:lnTo>
                  <a:lnTo>
                    <a:pt x="3" y="108"/>
                  </a:lnTo>
                  <a:lnTo>
                    <a:pt x="0" y="121"/>
                  </a:lnTo>
                  <a:lnTo>
                    <a:pt x="0" y="135"/>
                  </a:lnTo>
                  <a:lnTo>
                    <a:pt x="0" y="135"/>
                  </a:lnTo>
                  <a:lnTo>
                    <a:pt x="0" y="149"/>
                  </a:lnTo>
                  <a:lnTo>
                    <a:pt x="3" y="162"/>
                  </a:lnTo>
                  <a:lnTo>
                    <a:pt x="6" y="175"/>
                  </a:lnTo>
                  <a:lnTo>
                    <a:pt x="11" y="187"/>
                  </a:lnTo>
                  <a:lnTo>
                    <a:pt x="17" y="200"/>
                  </a:lnTo>
                  <a:lnTo>
                    <a:pt x="23" y="211"/>
                  </a:lnTo>
                  <a:lnTo>
                    <a:pt x="32" y="221"/>
                  </a:lnTo>
                  <a:lnTo>
                    <a:pt x="40" y="231"/>
                  </a:lnTo>
                  <a:lnTo>
                    <a:pt x="50" y="240"/>
                  </a:lnTo>
                  <a:lnTo>
                    <a:pt x="59" y="247"/>
                  </a:lnTo>
                  <a:lnTo>
                    <a:pt x="71" y="254"/>
                  </a:lnTo>
                  <a:lnTo>
                    <a:pt x="83" y="260"/>
                  </a:lnTo>
                  <a:lnTo>
                    <a:pt x="96" y="264"/>
                  </a:lnTo>
                  <a:lnTo>
                    <a:pt x="109" y="267"/>
                  </a:lnTo>
                  <a:lnTo>
                    <a:pt x="122" y="270"/>
                  </a:lnTo>
                  <a:lnTo>
                    <a:pt x="135" y="271"/>
                  </a:lnTo>
                  <a:lnTo>
                    <a:pt x="135" y="271"/>
                  </a:lnTo>
                  <a:lnTo>
                    <a:pt x="149" y="270"/>
                  </a:lnTo>
                  <a:lnTo>
                    <a:pt x="162" y="267"/>
                  </a:lnTo>
                  <a:lnTo>
                    <a:pt x="176" y="264"/>
                  </a:lnTo>
                  <a:lnTo>
                    <a:pt x="188" y="260"/>
                  </a:lnTo>
                  <a:lnTo>
                    <a:pt x="200" y="254"/>
                  </a:lnTo>
                  <a:lnTo>
                    <a:pt x="212" y="247"/>
                  </a:lnTo>
                  <a:lnTo>
                    <a:pt x="221" y="240"/>
                  </a:lnTo>
                  <a:lnTo>
                    <a:pt x="231" y="231"/>
                  </a:lnTo>
                  <a:lnTo>
                    <a:pt x="239" y="221"/>
                  </a:lnTo>
                  <a:lnTo>
                    <a:pt x="248" y="211"/>
                  </a:lnTo>
                  <a:lnTo>
                    <a:pt x="254" y="200"/>
                  </a:lnTo>
                  <a:lnTo>
                    <a:pt x="260" y="187"/>
                  </a:lnTo>
                  <a:lnTo>
                    <a:pt x="265" y="175"/>
                  </a:lnTo>
                  <a:lnTo>
                    <a:pt x="268" y="162"/>
                  </a:lnTo>
                  <a:lnTo>
                    <a:pt x="270" y="149"/>
                  </a:lnTo>
                  <a:lnTo>
                    <a:pt x="270" y="135"/>
                  </a:lnTo>
                  <a:lnTo>
                    <a:pt x="270" y="135"/>
                  </a:lnTo>
                  <a:lnTo>
                    <a:pt x="270" y="121"/>
                  </a:lnTo>
                  <a:lnTo>
                    <a:pt x="268" y="108"/>
                  </a:lnTo>
                  <a:lnTo>
                    <a:pt x="265" y="95"/>
                  </a:lnTo>
                  <a:lnTo>
                    <a:pt x="260" y="82"/>
                  </a:lnTo>
                  <a:lnTo>
                    <a:pt x="254" y="70"/>
                  </a:lnTo>
                  <a:lnTo>
                    <a:pt x="248" y="60"/>
                  </a:lnTo>
                  <a:lnTo>
                    <a:pt x="239" y="49"/>
                  </a:lnTo>
                  <a:lnTo>
                    <a:pt x="231" y="39"/>
                  </a:lnTo>
                  <a:lnTo>
                    <a:pt x="221" y="31"/>
                  </a:lnTo>
                  <a:lnTo>
                    <a:pt x="212" y="23"/>
                  </a:lnTo>
                  <a:lnTo>
                    <a:pt x="200" y="16"/>
                  </a:lnTo>
                  <a:lnTo>
                    <a:pt x="188" y="10"/>
                  </a:lnTo>
                  <a:lnTo>
                    <a:pt x="176" y="6"/>
                  </a:lnTo>
                  <a:lnTo>
                    <a:pt x="162" y="3"/>
                  </a:lnTo>
                  <a:lnTo>
                    <a:pt x="149" y="1"/>
                  </a:lnTo>
                  <a:lnTo>
                    <a:pt x="13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6" name="Freeform 189">
              <a:extLst>
                <a:ext uri="{FF2B5EF4-FFF2-40B4-BE49-F238E27FC236}">
                  <a16:creationId xmlns:a16="http://schemas.microsoft.com/office/drawing/2014/main" id="{995CD013-CC53-401F-B704-E66EC6E81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3163" y="6435726"/>
              <a:ext cx="466725" cy="466725"/>
            </a:xfrm>
            <a:custGeom>
              <a:avLst/>
              <a:gdLst>
                <a:gd name="T0" fmla="*/ 146 w 294"/>
                <a:gd name="T1" fmla="*/ 294 h 294"/>
                <a:gd name="T2" fmla="*/ 116 w 294"/>
                <a:gd name="T3" fmla="*/ 291 h 294"/>
                <a:gd name="T4" fmla="*/ 90 w 294"/>
                <a:gd name="T5" fmla="*/ 283 h 294"/>
                <a:gd name="T6" fmla="*/ 64 w 294"/>
                <a:gd name="T7" fmla="*/ 269 h 294"/>
                <a:gd name="T8" fmla="*/ 43 w 294"/>
                <a:gd name="T9" fmla="*/ 252 h 294"/>
                <a:gd name="T10" fmla="*/ 24 w 294"/>
                <a:gd name="T11" fmla="*/ 229 h 294"/>
                <a:gd name="T12" fmla="*/ 10 w 294"/>
                <a:gd name="T13" fmla="*/ 204 h 294"/>
                <a:gd name="T14" fmla="*/ 2 w 294"/>
                <a:gd name="T15" fmla="*/ 177 h 294"/>
                <a:gd name="T16" fmla="*/ 0 w 294"/>
                <a:gd name="T17" fmla="*/ 147 h 294"/>
                <a:gd name="T18" fmla="*/ 0 w 294"/>
                <a:gd name="T19" fmla="*/ 132 h 294"/>
                <a:gd name="T20" fmla="*/ 6 w 294"/>
                <a:gd name="T21" fmla="*/ 104 h 294"/>
                <a:gd name="T22" fmla="*/ 17 w 294"/>
                <a:gd name="T23" fmla="*/ 77 h 294"/>
                <a:gd name="T24" fmla="*/ 33 w 294"/>
                <a:gd name="T25" fmla="*/ 53 h 294"/>
                <a:gd name="T26" fmla="*/ 53 w 294"/>
                <a:gd name="T27" fmla="*/ 33 h 294"/>
                <a:gd name="T28" fmla="*/ 77 w 294"/>
                <a:gd name="T29" fmla="*/ 17 h 294"/>
                <a:gd name="T30" fmla="*/ 103 w 294"/>
                <a:gd name="T31" fmla="*/ 6 h 294"/>
                <a:gd name="T32" fmla="*/ 131 w 294"/>
                <a:gd name="T33" fmla="*/ 1 h 294"/>
                <a:gd name="T34" fmla="*/ 146 w 294"/>
                <a:gd name="T35" fmla="*/ 0 h 294"/>
                <a:gd name="T36" fmla="*/ 176 w 294"/>
                <a:gd name="T37" fmla="*/ 3 h 294"/>
                <a:gd name="T38" fmla="*/ 204 w 294"/>
                <a:gd name="T39" fmla="*/ 12 h 294"/>
                <a:gd name="T40" fmla="*/ 229 w 294"/>
                <a:gd name="T41" fmla="*/ 24 h 294"/>
                <a:gd name="T42" fmla="*/ 250 w 294"/>
                <a:gd name="T43" fmla="*/ 43 h 294"/>
                <a:gd name="T44" fmla="*/ 269 w 294"/>
                <a:gd name="T45" fmla="*/ 65 h 294"/>
                <a:gd name="T46" fmla="*/ 283 w 294"/>
                <a:gd name="T47" fmla="*/ 90 h 294"/>
                <a:gd name="T48" fmla="*/ 291 w 294"/>
                <a:gd name="T49" fmla="*/ 118 h 294"/>
                <a:gd name="T50" fmla="*/ 294 w 294"/>
                <a:gd name="T51" fmla="*/ 147 h 294"/>
                <a:gd name="T52" fmla="*/ 293 w 294"/>
                <a:gd name="T53" fmla="*/ 162 h 294"/>
                <a:gd name="T54" fmla="*/ 287 w 294"/>
                <a:gd name="T55" fmla="*/ 191 h 294"/>
                <a:gd name="T56" fmla="*/ 276 w 294"/>
                <a:gd name="T57" fmla="*/ 217 h 294"/>
                <a:gd name="T58" fmla="*/ 260 w 294"/>
                <a:gd name="T59" fmla="*/ 241 h 294"/>
                <a:gd name="T60" fmla="*/ 240 w 294"/>
                <a:gd name="T61" fmla="*/ 260 h 294"/>
                <a:gd name="T62" fmla="*/ 217 w 294"/>
                <a:gd name="T63" fmla="*/ 276 h 294"/>
                <a:gd name="T64" fmla="*/ 190 w 294"/>
                <a:gd name="T65" fmla="*/ 288 h 294"/>
                <a:gd name="T66" fmla="*/ 161 w 294"/>
                <a:gd name="T67" fmla="*/ 293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4" h="294">
                  <a:moveTo>
                    <a:pt x="146" y="294"/>
                  </a:moveTo>
                  <a:lnTo>
                    <a:pt x="146" y="294"/>
                  </a:lnTo>
                  <a:lnTo>
                    <a:pt x="131" y="293"/>
                  </a:lnTo>
                  <a:lnTo>
                    <a:pt x="116" y="291"/>
                  </a:lnTo>
                  <a:lnTo>
                    <a:pt x="103" y="288"/>
                  </a:lnTo>
                  <a:lnTo>
                    <a:pt x="90" y="283"/>
                  </a:lnTo>
                  <a:lnTo>
                    <a:pt x="77" y="276"/>
                  </a:lnTo>
                  <a:lnTo>
                    <a:pt x="64" y="269"/>
                  </a:lnTo>
                  <a:lnTo>
                    <a:pt x="53" y="260"/>
                  </a:lnTo>
                  <a:lnTo>
                    <a:pt x="43" y="252"/>
                  </a:lnTo>
                  <a:lnTo>
                    <a:pt x="33" y="241"/>
                  </a:lnTo>
                  <a:lnTo>
                    <a:pt x="24" y="229"/>
                  </a:lnTo>
                  <a:lnTo>
                    <a:pt x="17" y="217"/>
                  </a:lnTo>
                  <a:lnTo>
                    <a:pt x="10" y="204"/>
                  </a:lnTo>
                  <a:lnTo>
                    <a:pt x="6" y="191"/>
                  </a:lnTo>
                  <a:lnTo>
                    <a:pt x="2" y="177"/>
                  </a:lnTo>
                  <a:lnTo>
                    <a:pt x="0" y="162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32"/>
                  </a:lnTo>
                  <a:lnTo>
                    <a:pt x="2" y="118"/>
                  </a:lnTo>
                  <a:lnTo>
                    <a:pt x="6" y="104"/>
                  </a:lnTo>
                  <a:lnTo>
                    <a:pt x="10" y="90"/>
                  </a:lnTo>
                  <a:lnTo>
                    <a:pt x="17" y="77"/>
                  </a:lnTo>
                  <a:lnTo>
                    <a:pt x="24" y="65"/>
                  </a:lnTo>
                  <a:lnTo>
                    <a:pt x="33" y="53"/>
                  </a:lnTo>
                  <a:lnTo>
                    <a:pt x="43" y="43"/>
                  </a:lnTo>
                  <a:lnTo>
                    <a:pt x="53" y="33"/>
                  </a:lnTo>
                  <a:lnTo>
                    <a:pt x="64" y="24"/>
                  </a:lnTo>
                  <a:lnTo>
                    <a:pt x="77" y="17"/>
                  </a:lnTo>
                  <a:lnTo>
                    <a:pt x="90" y="12"/>
                  </a:lnTo>
                  <a:lnTo>
                    <a:pt x="103" y="6"/>
                  </a:lnTo>
                  <a:lnTo>
                    <a:pt x="116" y="3"/>
                  </a:lnTo>
                  <a:lnTo>
                    <a:pt x="131" y="1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61" y="1"/>
                  </a:lnTo>
                  <a:lnTo>
                    <a:pt x="176" y="3"/>
                  </a:lnTo>
                  <a:lnTo>
                    <a:pt x="190" y="6"/>
                  </a:lnTo>
                  <a:lnTo>
                    <a:pt x="204" y="12"/>
                  </a:lnTo>
                  <a:lnTo>
                    <a:pt x="217" y="17"/>
                  </a:lnTo>
                  <a:lnTo>
                    <a:pt x="229" y="24"/>
                  </a:lnTo>
                  <a:lnTo>
                    <a:pt x="240" y="33"/>
                  </a:lnTo>
                  <a:lnTo>
                    <a:pt x="250" y="43"/>
                  </a:lnTo>
                  <a:lnTo>
                    <a:pt x="260" y="53"/>
                  </a:lnTo>
                  <a:lnTo>
                    <a:pt x="269" y="65"/>
                  </a:lnTo>
                  <a:lnTo>
                    <a:pt x="276" y="77"/>
                  </a:lnTo>
                  <a:lnTo>
                    <a:pt x="283" y="90"/>
                  </a:lnTo>
                  <a:lnTo>
                    <a:pt x="287" y="104"/>
                  </a:lnTo>
                  <a:lnTo>
                    <a:pt x="291" y="118"/>
                  </a:lnTo>
                  <a:lnTo>
                    <a:pt x="293" y="132"/>
                  </a:lnTo>
                  <a:lnTo>
                    <a:pt x="294" y="147"/>
                  </a:lnTo>
                  <a:lnTo>
                    <a:pt x="294" y="147"/>
                  </a:lnTo>
                  <a:lnTo>
                    <a:pt x="293" y="162"/>
                  </a:lnTo>
                  <a:lnTo>
                    <a:pt x="291" y="177"/>
                  </a:lnTo>
                  <a:lnTo>
                    <a:pt x="287" y="191"/>
                  </a:lnTo>
                  <a:lnTo>
                    <a:pt x="283" y="204"/>
                  </a:lnTo>
                  <a:lnTo>
                    <a:pt x="276" y="217"/>
                  </a:lnTo>
                  <a:lnTo>
                    <a:pt x="269" y="229"/>
                  </a:lnTo>
                  <a:lnTo>
                    <a:pt x="260" y="241"/>
                  </a:lnTo>
                  <a:lnTo>
                    <a:pt x="250" y="252"/>
                  </a:lnTo>
                  <a:lnTo>
                    <a:pt x="240" y="260"/>
                  </a:lnTo>
                  <a:lnTo>
                    <a:pt x="229" y="269"/>
                  </a:lnTo>
                  <a:lnTo>
                    <a:pt x="217" y="276"/>
                  </a:lnTo>
                  <a:lnTo>
                    <a:pt x="204" y="283"/>
                  </a:lnTo>
                  <a:lnTo>
                    <a:pt x="190" y="288"/>
                  </a:lnTo>
                  <a:lnTo>
                    <a:pt x="176" y="291"/>
                  </a:lnTo>
                  <a:lnTo>
                    <a:pt x="161" y="293"/>
                  </a:lnTo>
                  <a:lnTo>
                    <a:pt x="146" y="29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07" name="Group 306">
            <a:extLst>
              <a:ext uri="{FF2B5EF4-FFF2-40B4-BE49-F238E27FC236}">
                <a16:creationId xmlns:a16="http://schemas.microsoft.com/office/drawing/2014/main" id="{FDAE4F9B-14E8-4094-A5FA-1E8227B42815}"/>
              </a:ext>
            </a:extLst>
          </p:cNvPr>
          <p:cNvGrpSpPr/>
          <p:nvPr/>
        </p:nvGrpSpPr>
        <p:grpSpPr>
          <a:xfrm>
            <a:off x="6379376" y="4675721"/>
            <a:ext cx="757488" cy="302995"/>
            <a:chOff x="9337302" y="1556555"/>
            <a:chExt cx="635000" cy="254000"/>
          </a:xfrm>
          <a:solidFill>
            <a:schemeClr val="accent5"/>
          </a:solidFill>
        </p:grpSpPr>
        <p:sp>
          <p:nvSpPr>
            <p:cNvPr id="308" name="Freeform 140">
              <a:extLst>
                <a:ext uri="{FF2B5EF4-FFF2-40B4-BE49-F238E27FC236}">
                  <a16:creationId xmlns:a16="http://schemas.microsoft.com/office/drawing/2014/main" id="{E2D21FA5-CF6D-4532-A652-884588D8A078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9752" y="1697843"/>
              <a:ext cx="42863" cy="20638"/>
            </a:xfrm>
            <a:custGeom>
              <a:avLst/>
              <a:gdLst>
                <a:gd name="T0" fmla="*/ 1 w 27"/>
                <a:gd name="T1" fmla="*/ 0 h 13"/>
                <a:gd name="T2" fmla="*/ 12 w 27"/>
                <a:gd name="T3" fmla="*/ 3 h 13"/>
                <a:gd name="T4" fmla="*/ 19 w 27"/>
                <a:gd name="T5" fmla="*/ 6 h 13"/>
                <a:gd name="T6" fmla="*/ 25 w 27"/>
                <a:gd name="T7" fmla="*/ 10 h 13"/>
                <a:gd name="T8" fmla="*/ 27 w 27"/>
                <a:gd name="T9" fmla="*/ 12 h 13"/>
                <a:gd name="T10" fmla="*/ 27 w 27"/>
                <a:gd name="T11" fmla="*/ 13 h 13"/>
                <a:gd name="T12" fmla="*/ 27 w 27"/>
                <a:gd name="T13" fmla="*/ 13 h 13"/>
                <a:gd name="T14" fmla="*/ 25 w 27"/>
                <a:gd name="T15" fmla="*/ 13 h 13"/>
                <a:gd name="T16" fmla="*/ 4 w 27"/>
                <a:gd name="T17" fmla="*/ 13 h 13"/>
                <a:gd name="T18" fmla="*/ 3 w 27"/>
                <a:gd name="T19" fmla="*/ 13 h 13"/>
                <a:gd name="T20" fmla="*/ 3 w 27"/>
                <a:gd name="T21" fmla="*/ 12 h 13"/>
                <a:gd name="T22" fmla="*/ 0 w 27"/>
                <a:gd name="T23" fmla="*/ 1 h 13"/>
                <a:gd name="T24" fmla="*/ 0 w 27"/>
                <a:gd name="T25" fmla="*/ 0 h 13"/>
                <a:gd name="T26" fmla="*/ 1 w 27"/>
                <a:gd name="T2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13">
                  <a:moveTo>
                    <a:pt x="1" y="0"/>
                  </a:moveTo>
                  <a:lnTo>
                    <a:pt x="12" y="3"/>
                  </a:lnTo>
                  <a:lnTo>
                    <a:pt x="19" y="6"/>
                  </a:lnTo>
                  <a:lnTo>
                    <a:pt x="25" y="10"/>
                  </a:lnTo>
                  <a:lnTo>
                    <a:pt x="27" y="12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5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9" name="Freeform 141">
              <a:extLst>
                <a:ext uri="{FF2B5EF4-FFF2-40B4-BE49-F238E27FC236}">
                  <a16:creationId xmlns:a16="http://schemas.microsoft.com/office/drawing/2014/main" id="{6C3A6924-3BEC-4101-9EB1-2E9F5E9917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37302" y="1556555"/>
              <a:ext cx="635000" cy="254000"/>
            </a:xfrm>
            <a:custGeom>
              <a:avLst/>
              <a:gdLst>
                <a:gd name="T0" fmla="*/ 198 w 400"/>
                <a:gd name="T1" fmla="*/ 148 h 160"/>
                <a:gd name="T2" fmla="*/ 232 w 400"/>
                <a:gd name="T3" fmla="*/ 151 h 160"/>
                <a:gd name="T4" fmla="*/ 235 w 400"/>
                <a:gd name="T5" fmla="*/ 138 h 160"/>
                <a:gd name="T6" fmla="*/ 228 w 400"/>
                <a:gd name="T7" fmla="*/ 135 h 160"/>
                <a:gd name="T8" fmla="*/ 111 w 400"/>
                <a:gd name="T9" fmla="*/ 153 h 160"/>
                <a:gd name="T10" fmla="*/ 140 w 400"/>
                <a:gd name="T11" fmla="*/ 153 h 160"/>
                <a:gd name="T12" fmla="*/ 180 w 400"/>
                <a:gd name="T13" fmla="*/ 145 h 160"/>
                <a:gd name="T14" fmla="*/ 12 w 400"/>
                <a:gd name="T15" fmla="*/ 9 h 160"/>
                <a:gd name="T16" fmla="*/ 7 w 400"/>
                <a:gd name="T17" fmla="*/ 10 h 160"/>
                <a:gd name="T18" fmla="*/ 28 w 400"/>
                <a:gd name="T19" fmla="*/ 74 h 160"/>
                <a:gd name="T20" fmla="*/ 28 w 400"/>
                <a:gd name="T21" fmla="*/ 83 h 160"/>
                <a:gd name="T22" fmla="*/ 22 w 400"/>
                <a:gd name="T23" fmla="*/ 93 h 160"/>
                <a:gd name="T24" fmla="*/ 12 w 400"/>
                <a:gd name="T25" fmla="*/ 99 h 160"/>
                <a:gd name="T26" fmla="*/ 16 w 400"/>
                <a:gd name="T27" fmla="*/ 110 h 160"/>
                <a:gd name="T28" fmla="*/ 72 w 400"/>
                <a:gd name="T29" fmla="*/ 124 h 160"/>
                <a:gd name="T30" fmla="*/ 151 w 400"/>
                <a:gd name="T31" fmla="*/ 111 h 160"/>
                <a:gd name="T32" fmla="*/ 269 w 400"/>
                <a:gd name="T33" fmla="*/ 110 h 160"/>
                <a:gd name="T34" fmla="*/ 271 w 400"/>
                <a:gd name="T35" fmla="*/ 115 h 160"/>
                <a:gd name="T36" fmla="*/ 243 w 400"/>
                <a:gd name="T37" fmla="*/ 132 h 160"/>
                <a:gd name="T38" fmla="*/ 378 w 400"/>
                <a:gd name="T39" fmla="*/ 127 h 160"/>
                <a:gd name="T40" fmla="*/ 388 w 400"/>
                <a:gd name="T41" fmla="*/ 105 h 160"/>
                <a:gd name="T42" fmla="*/ 354 w 400"/>
                <a:gd name="T43" fmla="*/ 84 h 160"/>
                <a:gd name="T44" fmla="*/ 90 w 400"/>
                <a:gd name="T45" fmla="*/ 77 h 160"/>
                <a:gd name="T46" fmla="*/ 75 w 400"/>
                <a:gd name="T47" fmla="*/ 65 h 160"/>
                <a:gd name="T48" fmla="*/ 35 w 400"/>
                <a:gd name="T49" fmla="*/ 18 h 160"/>
                <a:gd name="T50" fmla="*/ 23 w 400"/>
                <a:gd name="T51" fmla="*/ 9 h 160"/>
                <a:gd name="T52" fmla="*/ 12 w 400"/>
                <a:gd name="T53" fmla="*/ 0 h 160"/>
                <a:gd name="T54" fmla="*/ 37 w 400"/>
                <a:gd name="T55" fmla="*/ 9 h 160"/>
                <a:gd name="T56" fmla="*/ 81 w 400"/>
                <a:gd name="T57" fmla="*/ 61 h 160"/>
                <a:gd name="T58" fmla="*/ 102 w 400"/>
                <a:gd name="T59" fmla="*/ 74 h 160"/>
                <a:gd name="T60" fmla="*/ 366 w 400"/>
                <a:gd name="T61" fmla="*/ 78 h 160"/>
                <a:gd name="T62" fmla="*/ 397 w 400"/>
                <a:gd name="T63" fmla="*/ 104 h 160"/>
                <a:gd name="T64" fmla="*/ 388 w 400"/>
                <a:gd name="T65" fmla="*/ 132 h 160"/>
                <a:gd name="T66" fmla="*/ 354 w 400"/>
                <a:gd name="T67" fmla="*/ 141 h 160"/>
                <a:gd name="T68" fmla="*/ 243 w 400"/>
                <a:gd name="T69" fmla="*/ 153 h 160"/>
                <a:gd name="T70" fmla="*/ 232 w 400"/>
                <a:gd name="T71" fmla="*/ 158 h 160"/>
                <a:gd name="T72" fmla="*/ 194 w 400"/>
                <a:gd name="T73" fmla="*/ 157 h 160"/>
                <a:gd name="T74" fmla="*/ 186 w 400"/>
                <a:gd name="T75" fmla="*/ 153 h 160"/>
                <a:gd name="T76" fmla="*/ 160 w 400"/>
                <a:gd name="T77" fmla="*/ 158 h 160"/>
                <a:gd name="T78" fmla="*/ 114 w 400"/>
                <a:gd name="T79" fmla="*/ 160 h 160"/>
                <a:gd name="T80" fmla="*/ 102 w 400"/>
                <a:gd name="T81" fmla="*/ 158 h 160"/>
                <a:gd name="T82" fmla="*/ 99 w 400"/>
                <a:gd name="T83" fmla="*/ 153 h 160"/>
                <a:gd name="T84" fmla="*/ 117 w 400"/>
                <a:gd name="T85" fmla="*/ 138 h 160"/>
                <a:gd name="T86" fmla="*/ 43 w 400"/>
                <a:gd name="T87" fmla="*/ 127 h 160"/>
                <a:gd name="T88" fmla="*/ 3 w 400"/>
                <a:gd name="T89" fmla="*/ 107 h 160"/>
                <a:gd name="T90" fmla="*/ 3 w 400"/>
                <a:gd name="T91" fmla="*/ 99 h 160"/>
                <a:gd name="T92" fmla="*/ 10 w 400"/>
                <a:gd name="T93" fmla="*/ 89 h 160"/>
                <a:gd name="T94" fmla="*/ 20 w 400"/>
                <a:gd name="T95" fmla="*/ 84 h 160"/>
                <a:gd name="T96" fmla="*/ 20 w 400"/>
                <a:gd name="T97" fmla="*/ 77 h 160"/>
                <a:gd name="T98" fmla="*/ 0 w 400"/>
                <a:gd name="T99" fmla="*/ 12 h 160"/>
                <a:gd name="T100" fmla="*/ 1 w 400"/>
                <a:gd name="T101" fmla="*/ 4 h 160"/>
                <a:gd name="T102" fmla="*/ 12 w 400"/>
                <a:gd name="T103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0" h="160">
                  <a:moveTo>
                    <a:pt x="228" y="135"/>
                  </a:moveTo>
                  <a:lnTo>
                    <a:pt x="198" y="147"/>
                  </a:lnTo>
                  <a:lnTo>
                    <a:pt x="198" y="148"/>
                  </a:lnTo>
                  <a:lnTo>
                    <a:pt x="200" y="151"/>
                  </a:lnTo>
                  <a:lnTo>
                    <a:pt x="201" y="151"/>
                  </a:lnTo>
                  <a:lnTo>
                    <a:pt x="232" y="151"/>
                  </a:lnTo>
                  <a:lnTo>
                    <a:pt x="235" y="151"/>
                  </a:lnTo>
                  <a:lnTo>
                    <a:pt x="235" y="148"/>
                  </a:lnTo>
                  <a:lnTo>
                    <a:pt x="235" y="138"/>
                  </a:lnTo>
                  <a:lnTo>
                    <a:pt x="235" y="135"/>
                  </a:lnTo>
                  <a:lnTo>
                    <a:pt x="232" y="135"/>
                  </a:lnTo>
                  <a:lnTo>
                    <a:pt x="228" y="135"/>
                  </a:lnTo>
                  <a:close/>
                  <a:moveTo>
                    <a:pt x="249" y="117"/>
                  </a:moveTo>
                  <a:lnTo>
                    <a:pt x="155" y="118"/>
                  </a:lnTo>
                  <a:lnTo>
                    <a:pt x="111" y="153"/>
                  </a:lnTo>
                  <a:lnTo>
                    <a:pt x="115" y="153"/>
                  </a:lnTo>
                  <a:lnTo>
                    <a:pt x="121" y="153"/>
                  </a:lnTo>
                  <a:lnTo>
                    <a:pt x="140" y="153"/>
                  </a:lnTo>
                  <a:lnTo>
                    <a:pt x="158" y="151"/>
                  </a:lnTo>
                  <a:lnTo>
                    <a:pt x="172" y="148"/>
                  </a:lnTo>
                  <a:lnTo>
                    <a:pt x="180" y="145"/>
                  </a:lnTo>
                  <a:lnTo>
                    <a:pt x="183" y="145"/>
                  </a:lnTo>
                  <a:lnTo>
                    <a:pt x="249" y="117"/>
                  </a:lnTo>
                  <a:close/>
                  <a:moveTo>
                    <a:pt x="12" y="9"/>
                  </a:moveTo>
                  <a:lnTo>
                    <a:pt x="9" y="9"/>
                  </a:lnTo>
                  <a:lnTo>
                    <a:pt x="9" y="9"/>
                  </a:lnTo>
                  <a:lnTo>
                    <a:pt x="7" y="10"/>
                  </a:lnTo>
                  <a:lnTo>
                    <a:pt x="7" y="12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8" y="77"/>
                  </a:lnTo>
                  <a:lnTo>
                    <a:pt x="28" y="80"/>
                  </a:lnTo>
                  <a:lnTo>
                    <a:pt x="28" y="83"/>
                  </a:lnTo>
                  <a:lnTo>
                    <a:pt x="26" y="87"/>
                  </a:lnTo>
                  <a:lnTo>
                    <a:pt x="25" y="90"/>
                  </a:lnTo>
                  <a:lnTo>
                    <a:pt x="22" y="93"/>
                  </a:lnTo>
                  <a:lnTo>
                    <a:pt x="17" y="95"/>
                  </a:lnTo>
                  <a:lnTo>
                    <a:pt x="14" y="96"/>
                  </a:lnTo>
                  <a:lnTo>
                    <a:pt x="12" y="99"/>
                  </a:lnTo>
                  <a:lnTo>
                    <a:pt x="10" y="101"/>
                  </a:lnTo>
                  <a:lnTo>
                    <a:pt x="10" y="104"/>
                  </a:lnTo>
                  <a:lnTo>
                    <a:pt x="16" y="110"/>
                  </a:lnTo>
                  <a:lnTo>
                    <a:pt x="29" y="115"/>
                  </a:lnTo>
                  <a:lnTo>
                    <a:pt x="49" y="120"/>
                  </a:lnTo>
                  <a:lnTo>
                    <a:pt x="72" y="124"/>
                  </a:lnTo>
                  <a:lnTo>
                    <a:pt x="97" y="127"/>
                  </a:lnTo>
                  <a:lnTo>
                    <a:pt x="126" y="130"/>
                  </a:lnTo>
                  <a:lnTo>
                    <a:pt x="151" y="111"/>
                  </a:lnTo>
                  <a:lnTo>
                    <a:pt x="154" y="110"/>
                  </a:lnTo>
                  <a:lnTo>
                    <a:pt x="268" y="110"/>
                  </a:lnTo>
                  <a:lnTo>
                    <a:pt x="269" y="110"/>
                  </a:lnTo>
                  <a:lnTo>
                    <a:pt x="271" y="111"/>
                  </a:lnTo>
                  <a:lnTo>
                    <a:pt x="272" y="112"/>
                  </a:lnTo>
                  <a:lnTo>
                    <a:pt x="271" y="115"/>
                  </a:lnTo>
                  <a:lnTo>
                    <a:pt x="269" y="117"/>
                  </a:lnTo>
                  <a:lnTo>
                    <a:pt x="240" y="129"/>
                  </a:lnTo>
                  <a:lnTo>
                    <a:pt x="243" y="132"/>
                  </a:lnTo>
                  <a:lnTo>
                    <a:pt x="354" y="132"/>
                  </a:lnTo>
                  <a:lnTo>
                    <a:pt x="366" y="132"/>
                  </a:lnTo>
                  <a:lnTo>
                    <a:pt x="378" y="127"/>
                  </a:lnTo>
                  <a:lnTo>
                    <a:pt x="388" y="123"/>
                  </a:lnTo>
                  <a:lnTo>
                    <a:pt x="391" y="115"/>
                  </a:lnTo>
                  <a:lnTo>
                    <a:pt x="388" y="105"/>
                  </a:lnTo>
                  <a:lnTo>
                    <a:pt x="378" y="95"/>
                  </a:lnTo>
                  <a:lnTo>
                    <a:pt x="366" y="87"/>
                  </a:lnTo>
                  <a:lnTo>
                    <a:pt x="354" y="84"/>
                  </a:lnTo>
                  <a:lnTo>
                    <a:pt x="118" y="84"/>
                  </a:lnTo>
                  <a:lnTo>
                    <a:pt x="102" y="81"/>
                  </a:lnTo>
                  <a:lnTo>
                    <a:pt x="90" y="77"/>
                  </a:lnTo>
                  <a:lnTo>
                    <a:pt x="81" y="72"/>
                  </a:lnTo>
                  <a:lnTo>
                    <a:pt x="77" y="68"/>
                  </a:lnTo>
                  <a:lnTo>
                    <a:pt x="75" y="65"/>
                  </a:lnTo>
                  <a:lnTo>
                    <a:pt x="40" y="24"/>
                  </a:lnTo>
                  <a:lnTo>
                    <a:pt x="38" y="21"/>
                  </a:lnTo>
                  <a:lnTo>
                    <a:pt x="35" y="18"/>
                  </a:lnTo>
                  <a:lnTo>
                    <a:pt x="31" y="15"/>
                  </a:lnTo>
                  <a:lnTo>
                    <a:pt x="28" y="12"/>
                  </a:lnTo>
                  <a:lnTo>
                    <a:pt x="23" y="9"/>
                  </a:lnTo>
                  <a:lnTo>
                    <a:pt x="20" y="9"/>
                  </a:lnTo>
                  <a:lnTo>
                    <a:pt x="12" y="9"/>
                  </a:lnTo>
                  <a:close/>
                  <a:moveTo>
                    <a:pt x="12" y="0"/>
                  </a:moveTo>
                  <a:lnTo>
                    <a:pt x="20" y="0"/>
                  </a:lnTo>
                  <a:lnTo>
                    <a:pt x="29" y="3"/>
                  </a:lnTo>
                  <a:lnTo>
                    <a:pt x="37" y="9"/>
                  </a:lnTo>
                  <a:lnTo>
                    <a:pt x="43" y="15"/>
                  </a:lnTo>
                  <a:lnTo>
                    <a:pt x="46" y="19"/>
                  </a:lnTo>
                  <a:lnTo>
                    <a:pt x="81" y="61"/>
                  </a:lnTo>
                  <a:lnTo>
                    <a:pt x="84" y="64"/>
                  </a:lnTo>
                  <a:lnTo>
                    <a:pt x="90" y="68"/>
                  </a:lnTo>
                  <a:lnTo>
                    <a:pt x="102" y="74"/>
                  </a:lnTo>
                  <a:lnTo>
                    <a:pt x="118" y="75"/>
                  </a:lnTo>
                  <a:lnTo>
                    <a:pt x="354" y="75"/>
                  </a:lnTo>
                  <a:lnTo>
                    <a:pt x="366" y="78"/>
                  </a:lnTo>
                  <a:lnTo>
                    <a:pt x="378" y="84"/>
                  </a:lnTo>
                  <a:lnTo>
                    <a:pt x="388" y="93"/>
                  </a:lnTo>
                  <a:lnTo>
                    <a:pt x="397" y="104"/>
                  </a:lnTo>
                  <a:lnTo>
                    <a:pt x="400" y="115"/>
                  </a:lnTo>
                  <a:lnTo>
                    <a:pt x="397" y="124"/>
                  </a:lnTo>
                  <a:lnTo>
                    <a:pt x="388" y="132"/>
                  </a:lnTo>
                  <a:lnTo>
                    <a:pt x="378" y="136"/>
                  </a:lnTo>
                  <a:lnTo>
                    <a:pt x="366" y="139"/>
                  </a:lnTo>
                  <a:lnTo>
                    <a:pt x="354" y="141"/>
                  </a:lnTo>
                  <a:lnTo>
                    <a:pt x="244" y="141"/>
                  </a:lnTo>
                  <a:lnTo>
                    <a:pt x="244" y="148"/>
                  </a:lnTo>
                  <a:lnTo>
                    <a:pt x="243" y="153"/>
                  </a:lnTo>
                  <a:lnTo>
                    <a:pt x="241" y="155"/>
                  </a:lnTo>
                  <a:lnTo>
                    <a:pt x="237" y="158"/>
                  </a:lnTo>
                  <a:lnTo>
                    <a:pt x="232" y="158"/>
                  </a:lnTo>
                  <a:lnTo>
                    <a:pt x="201" y="158"/>
                  </a:lnTo>
                  <a:lnTo>
                    <a:pt x="198" y="158"/>
                  </a:lnTo>
                  <a:lnTo>
                    <a:pt x="194" y="157"/>
                  </a:lnTo>
                  <a:lnTo>
                    <a:pt x="192" y="154"/>
                  </a:lnTo>
                  <a:lnTo>
                    <a:pt x="191" y="150"/>
                  </a:lnTo>
                  <a:lnTo>
                    <a:pt x="186" y="153"/>
                  </a:lnTo>
                  <a:lnTo>
                    <a:pt x="182" y="154"/>
                  </a:lnTo>
                  <a:lnTo>
                    <a:pt x="173" y="155"/>
                  </a:lnTo>
                  <a:lnTo>
                    <a:pt x="160" y="158"/>
                  </a:lnTo>
                  <a:lnTo>
                    <a:pt x="140" y="160"/>
                  </a:lnTo>
                  <a:lnTo>
                    <a:pt x="121" y="160"/>
                  </a:lnTo>
                  <a:lnTo>
                    <a:pt x="114" y="160"/>
                  </a:lnTo>
                  <a:lnTo>
                    <a:pt x="108" y="160"/>
                  </a:lnTo>
                  <a:lnTo>
                    <a:pt x="103" y="158"/>
                  </a:lnTo>
                  <a:lnTo>
                    <a:pt x="102" y="158"/>
                  </a:lnTo>
                  <a:lnTo>
                    <a:pt x="99" y="157"/>
                  </a:lnTo>
                  <a:lnTo>
                    <a:pt x="99" y="155"/>
                  </a:lnTo>
                  <a:lnTo>
                    <a:pt x="99" y="153"/>
                  </a:lnTo>
                  <a:lnTo>
                    <a:pt x="99" y="151"/>
                  </a:lnTo>
                  <a:lnTo>
                    <a:pt x="100" y="150"/>
                  </a:lnTo>
                  <a:lnTo>
                    <a:pt x="117" y="138"/>
                  </a:lnTo>
                  <a:lnTo>
                    <a:pt x="92" y="135"/>
                  </a:lnTo>
                  <a:lnTo>
                    <a:pt x="66" y="132"/>
                  </a:lnTo>
                  <a:lnTo>
                    <a:pt x="43" y="127"/>
                  </a:lnTo>
                  <a:lnTo>
                    <a:pt x="23" y="121"/>
                  </a:lnTo>
                  <a:lnTo>
                    <a:pt x="10" y="114"/>
                  </a:lnTo>
                  <a:lnTo>
                    <a:pt x="3" y="107"/>
                  </a:lnTo>
                  <a:lnTo>
                    <a:pt x="3" y="105"/>
                  </a:lnTo>
                  <a:lnTo>
                    <a:pt x="3" y="102"/>
                  </a:lnTo>
                  <a:lnTo>
                    <a:pt x="3" y="99"/>
                  </a:lnTo>
                  <a:lnTo>
                    <a:pt x="4" y="96"/>
                  </a:lnTo>
                  <a:lnTo>
                    <a:pt x="6" y="93"/>
                  </a:lnTo>
                  <a:lnTo>
                    <a:pt x="10" y="89"/>
                  </a:lnTo>
                  <a:lnTo>
                    <a:pt x="14" y="87"/>
                  </a:lnTo>
                  <a:lnTo>
                    <a:pt x="17" y="86"/>
                  </a:lnTo>
                  <a:lnTo>
                    <a:pt x="20" y="84"/>
                  </a:lnTo>
                  <a:lnTo>
                    <a:pt x="20" y="81"/>
                  </a:lnTo>
                  <a:lnTo>
                    <a:pt x="20" y="78"/>
                  </a:lnTo>
                  <a:lnTo>
                    <a:pt x="20" y="77"/>
                  </a:lnTo>
                  <a:lnTo>
                    <a:pt x="20" y="75"/>
                  </a:lnTo>
                  <a:lnTo>
                    <a:pt x="0" y="13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7"/>
                  </a:lnTo>
                  <a:lnTo>
                    <a:pt x="1" y="4"/>
                  </a:lnTo>
                  <a:lnTo>
                    <a:pt x="4" y="3"/>
                  </a:lnTo>
                  <a:lnTo>
                    <a:pt x="7" y="1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10" name="Freeform 142">
              <a:extLst>
                <a:ext uri="{FF2B5EF4-FFF2-40B4-BE49-F238E27FC236}">
                  <a16:creationId xmlns:a16="http://schemas.microsoft.com/office/drawing/2014/main" id="{1CA171B4-096B-487E-A210-F086742F79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86514" y="1704193"/>
              <a:ext cx="119063" cy="33338"/>
            </a:xfrm>
            <a:custGeom>
              <a:avLst/>
              <a:gdLst>
                <a:gd name="T0" fmla="*/ 10 w 75"/>
                <a:gd name="T1" fmla="*/ 8 h 21"/>
                <a:gd name="T2" fmla="*/ 7 w 75"/>
                <a:gd name="T3" fmla="*/ 9 h 21"/>
                <a:gd name="T4" fmla="*/ 7 w 75"/>
                <a:gd name="T5" fmla="*/ 11 h 21"/>
                <a:gd name="T6" fmla="*/ 7 w 75"/>
                <a:gd name="T7" fmla="*/ 12 h 21"/>
                <a:gd name="T8" fmla="*/ 10 w 75"/>
                <a:gd name="T9" fmla="*/ 12 h 21"/>
                <a:gd name="T10" fmla="*/ 65 w 75"/>
                <a:gd name="T11" fmla="*/ 12 h 21"/>
                <a:gd name="T12" fmla="*/ 66 w 75"/>
                <a:gd name="T13" fmla="*/ 12 h 21"/>
                <a:gd name="T14" fmla="*/ 66 w 75"/>
                <a:gd name="T15" fmla="*/ 11 h 21"/>
                <a:gd name="T16" fmla="*/ 66 w 75"/>
                <a:gd name="T17" fmla="*/ 9 h 21"/>
                <a:gd name="T18" fmla="*/ 65 w 75"/>
                <a:gd name="T19" fmla="*/ 8 h 21"/>
                <a:gd name="T20" fmla="*/ 10 w 75"/>
                <a:gd name="T21" fmla="*/ 8 h 21"/>
                <a:gd name="T22" fmla="*/ 10 w 75"/>
                <a:gd name="T23" fmla="*/ 0 h 21"/>
                <a:gd name="T24" fmla="*/ 65 w 75"/>
                <a:gd name="T25" fmla="*/ 0 h 21"/>
                <a:gd name="T26" fmla="*/ 69 w 75"/>
                <a:gd name="T27" fmla="*/ 0 h 21"/>
                <a:gd name="T28" fmla="*/ 72 w 75"/>
                <a:gd name="T29" fmla="*/ 3 h 21"/>
                <a:gd name="T30" fmla="*/ 74 w 75"/>
                <a:gd name="T31" fmla="*/ 6 h 21"/>
                <a:gd name="T32" fmla="*/ 75 w 75"/>
                <a:gd name="T33" fmla="*/ 11 h 21"/>
                <a:gd name="T34" fmla="*/ 74 w 75"/>
                <a:gd name="T35" fmla="*/ 15 h 21"/>
                <a:gd name="T36" fmla="*/ 72 w 75"/>
                <a:gd name="T37" fmla="*/ 18 h 21"/>
                <a:gd name="T38" fmla="*/ 69 w 75"/>
                <a:gd name="T39" fmla="*/ 19 h 21"/>
                <a:gd name="T40" fmla="*/ 65 w 75"/>
                <a:gd name="T41" fmla="*/ 21 h 21"/>
                <a:gd name="T42" fmla="*/ 10 w 75"/>
                <a:gd name="T43" fmla="*/ 21 h 21"/>
                <a:gd name="T44" fmla="*/ 6 w 75"/>
                <a:gd name="T45" fmla="*/ 19 h 21"/>
                <a:gd name="T46" fmla="*/ 3 w 75"/>
                <a:gd name="T47" fmla="*/ 18 h 21"/>
                <a:gd name="T48" fmla="*/ 0 w 75"/>
                <a:gd name="T49" fmla="*/ 15 h 21"/>
                <a:gd name="T50" fmla="*/ 0 w 75"/>
                <a:gd name="T51" fmla="*/ 11 h 21"/>
                <a:gd name="T52" fmla="*/ 0 w 75"/>
                <a:gd name="T53" fmla="*/ 6 h 21"/>
                <a:gd name="T54" fmla="*/ 3 w 75"/>
                <a:gd name="T55" fmla="*/ 3 h 21"/>
                <a:gd name="T56" fmla="*/ 6 w 75"/>
                <a:gd name="T57" fmla="*/ 0 h 21"/>
                <a:gd name="T58" fmla="*/ 10 w 75"/>
                <a:gd name="T5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75" h="21">
                  <a:moveTo>
                    <a:pt x="10" y="8"/>
                  </a:moveTo>
                  <a:lnTo>
                    <a:pt x="7" y="9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10" y="12"/>
                  </a:lnTo>
                  <a:lnTo>
                    <a:pt x="65" y="12"/>
                  </a:lnTo>
                  <a:lnTo>
                    <a:pt x="66" y="12"/>
                  </a:lnTo>
                  <a:lnTo>
                    <a:pt x="66" y="11"/>
                  </a:lnTo>
                  <a:lnTo>
                    <a:pt x="66" y="9"/>
                  </a:lnTo>
                  <a:lnTo>
                    <a:pt x="65" y="8"/>
                  </a:lnTo>
                  <a:lnTo>
                    <a:pt x="10" y="8"/>
                  </a:lnTo>
                  <a:close/>
                  <a:moveTo>
                    <a:pt x="10" y="0"/>
                  </a:moveTo>
                  <a:lnTo>
                    <a:pt x="65" y="0"/>
                  </a:lnTo>
                  <a:lnTo>
                    <a:pt x="69" y="0"/>
                  </a:lnTo>
                  <a:lnTo>
                    <a:pt x="72" y="3"/>
                  </a:lnTo>
                  <a:lnTo>
                    <a:pt x="74" y="6"/>
                  </a:lnTo>
                  <a:lnTo>
                    <a:pt x="75" y="11"/>
                  </a:lnTo>
                  <a:lnTo>
                    <a:pt x="74" y="15"/>
                  </a:lnTo>
                  <a:lnTo>
                    <a:pt x="72" y="18"/>
                  </a:lnTo>
                  <a:lnTo>
                    <a:pt x="69" y="19"/>
                  </a:lnTo>
                  <a:lnTo>
                    <a:pt x="65" y="21"/>
                  </a:lnTo>
                  <a:lnTo>
                    <a:pt x="10" y="21"/>
                  </a:lnTo>
                  <a:lnTo>
                    <a:pt x="6" y="19"/>
                  </a:lnTo>
                  <a:lnTo>
                    <a:pt x="3" y="18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0" y="6"/>
                  </a:lnTo>
                  <a:lnTo>
                    <a:pt x="3" y="3"/>
                  </a:lnTo>
                  <a:lnTo>
                    <a:pt x="6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311" name="Group 310">
            <a:extLst>
              <a:ext uri="{FF2B5EF4-FFF2-40B4-BE49-F238E27FC236}">
                <a16:creationId xmlns:a16="http://schemas.microsoft.com/office/drawing/2014/main" id="{B1A27D3E-7E28-4CAF-97F7-39684129776F}"/>
              </a:ext>
            </a:extLst>
          </p:cNvPr>
          <p:cNvGrpSpPr/>
          <p:nvPr/>
        </p:nvGrpSpPr>
        <p:grpSpPr>
          <a:xfrm>
            <a:off x="11453439" y="4641633"/>
            <a:ext cx="351345" cy="390249"/>
            <a:chOff x="19708813" y="100013"/>
            <a:chExt cx="458787" cy="509588"/>
          </a:xfrm>
        </p:grpSpPr>
        <p:sp>
          <p:nvSpPr>
            <p:cNvPr id="312" name="Freeform 114">
              <a:extLst>
                <a:ext uri="{FF2B5EF4-FFF2-40B4-BE49-F238E27FC236}">
                  <a16:creationId xmlns:a16="http://schemas.microsoft.com/office/drawing/2014/main" id="{2B2D1A83-30CA-421E-9B64-7928406AA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27900" y="169863"/>
              <a:ext cx="41275" cy="123825"/>
            </a:xfrm>
            <a:custGeom>
              <a:avLst/>
              <a:gdLst>
                <a:gd name="T0" fmla="*/ 7 w 26"/>
                <a:gd name="T1" fmla="*/ 78 h 78"/>
                <a:gd name="T2" fmla="*/ 7 w 26"/>
                <a:gd name="T3" fmla="*/ 78 h 78"/>
                <a:gd name="T4" fmla="*/ 4 w 26"/>
                <a:gd name="T5" fmla="*/ 77 h 78"/>
                <a:gd name="T6" fmla="*/ 2 w 26"/>
                <a:gd name="T7" fmla="*/ 76 h 78"/>
                <a:gd name="T8" fmla="*/ 2 w 26"/>
                <a:gd name="T9" fmla="*/ 76 h 78"/>
                <a:gd name="T10" fmla="*/ 0 w 26"/>
                <a:gd name="T11" fmla="*/ 74 h 78"/>
                <a:gd name="T12" fmla="*/ 0 w 26"/>
                <a:gd name="T13" fmla="*/ 71 h 78"/>
                <a:gd name="T14" fmla="*/ 0 w 26"/>
                <a:gd name="T15" fmla="*/ 69 h 78"/>
                <a:gd name="T16" fmla="*/ 2 w 26"/>
                <a:gd name="T17" fmla="*/ 67 h 78"/>
                <a:gd name="T18" fmla="*/ 2 w 26"/>
                <a:gd name="T19" fmla="*/ 67 h 78"/>
                <a:gd name="T20" fmla="*/ 8 w 26"/>
                <a:gd name="T21" fmla="*/ 61 h 78"/>
                <a:gd name="T22" fmla="*/ 11 w 26"/>
                <a:gd name="T23" fmla="*/ 53 h 78"/>
                <a:gd name="T24" fmla="*/ 13 w 26"/>
                <a:gd name="T25" fmla="*/ 46 h 78"/>
                <a:gd name="T26" fmla="*/ 14 w 26"/>
                <a:gd name="T27" fmla="*/ 38 h 78"/>
                <a:gd name="T28" fmla="*/ 13 w 26"/>
                <a:gd name="T29" fmla="*/ 31 h 78"/>
                <a:gd name="T30" fmla="*/ 11 w 26"/>
                <a:gd name="T31" fmla="*/ 23 h 78"/>
                <a:gd name="T32" fmla="*/ 8 w 26"/>
                <a:gd name="T33" fmla="*/ 17 h 78"/>
                <a:gd name="T34" fmla="*/ 2 w 26"/>
                <a:gd name="T35" fmla="*/ 10 h 78"/>
                <a:gd name="T36" fmla="*/ 2 w 26"/>
                <a:gd name="T37" fmla="*/ 10 h 78"/>
                <a:gd name="T38" fmla="*/ 0 w 26"/>
                <a:gd name="T39" fmla="*/ 8 h 78"/>
                <a:gd name="T40" fmla="*/ 0 w 26"/>
                <a:gd name="T41" fmla="*/ 6 h 78"/>
                <a:gd name="T42" fmla="*/ 0 w 26"/>
                <a:gd name="T43" fmla="*/ 3 h 78"/>
                <a:gd name="T44" fmla="*/ 2 w 26"/>
                <a:gd name="T45" fmla="*/ 2 h 78"/>
                <a:gd name="T46" fmla="*/ 2 w 26"/>
                <a:gd name="T47" fmla="*/ 2 h 78"/>
                <a:gd name="T48" fmla="*/ 4 w 26"/>
                <a:gd name="T49" fmla="*/ 0 h 78"/>
                <a:gd name="T50" fmla="*/ 7 w 26"/>
                <a:gd name="T51" fmla="*/ 0 h 78"/>
                <a:gd name="T52" fmla="*/ 9 w 26"/>
                <a:gd name="T53" fmla="*/ 0 h 78"/>
                <a:gd name="T54" fmla="*/ 11 w 26"/>
                <a:gd name="T55" fmla="*/ 2 h 78"/>
                <a:gd name="T56" fmla="*/ 11 w 26"/>
                <a:gd name="T57" fmla="*/ 2 h 78"/>
                <a:gd name="T58" fmla="*/ 17 w 26"/>
                <a:gd name="T59" fmla="*/ 9 h 78"/>
                <a:gd name="T60" fmla="*/ 23 w 26"/>
                <a:gd name="T61" fmla="*/ 19 h 78"/>
                <a:gd name="T62" fmla="*/ 26 w 26"/>
                <a:gd name="T63" fmla="*/ 29 h 78"/>
                <a:gd name="T64" fmla="*/ 26 w 26"/>
                <a:gd name="T65" fmla="*/ 38 h 78"/>
                <a:gd name="T66" fmla="*/ 26 w 26"/>
                <a:gd name="T67" fmla="*/ 49 h 78"/>
                <a:gd name="T68" fmla="*/ 23 w 26"/>
                <a:gd name="T69" fmla="*/ 59 h 78"/>
                <a:gd name="T70" fmla="*/ 17 w 26"/>
                <a:gd name="T71" fmla="*/ 67 h 78"/>
                <a:gd name="T72" fmla="*/ 11 w 26"/>
                <a:gd name="T73" fmla="*/ 76 h 78"/>
                <a:gd name="T74" fmla="*/ 11 w 26"/>
                <a:gd name="T75" fmla="*/ 76 h 78"/>
                <a:gd name="T76" fmla="*/ 9 w 26"/>
                <a:gd name="T77" fmla="*/ 77 h 78"/>
                <a:gd name="T78" fmla="*/ 7 w 26"/>
                <a:gd name="T7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" h="78">
                  <a:moveTo>
                    <a:pt x="7" y="78"/>
                  </a:moveTo>
                  <a:lnTo>
                    <a:pt x="7" y="78"/>
                  </a:lnTo>
                  <a:lnTo>
                    <a:pt x="4" y="77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0" y="74"/>
                  </a:lnTo>
                  <a:lnTo>
                    <a:pt x="0" y="71"/>
                  </a:lnTo>
                  <a:lnTo>
                    <a:pt x="0" y="69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61"/>
                  </a:lnTo>
                  <a:lnTo>
                    <a:pt x="11" y="53"/>
                  </a:lnTo>
                  <a:lnTo>
                    <a:pt x="13" y="46"/>
                  </a:lnTo>
                  <a:lnTo>
                    <a:pt x="14" y="38"/>
                  </a:lnTo>
                  <a:lnTo>
                    <a:pt x="13" y="31"/>
                  </a:lnTo>
                  <a:lnTo>
                    <a:pt x="11" y="23"/>
                  </a:lnTo>
                  <a:lnTo>
                    <a:pt x="8" y="17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7" y="9"/>
                  </a:lnTo>
                  <a:lnTo>
                    <a:pt x="23" y="19"/>
                  </a:lnTo>
                  <a:lnTo>
                    <a:pt x="26" y="29"/>
                  </a:lnTo>
                  <a:lnTo>
                    <a:pt x="26" y="38"/>
                  </a:lnTo>
                  <a:lnTo>
                    <a:pt x="26" y="49"/>
                  </a:lnTo>
                  <a:lnTo>
                    <a:pt x="23" y="59"/>
                  </a:lnTo>
                  <a:lnTo>
                    <a:pt x="17" y="67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9" y="77"/>
                  </a:lnTo>
                  <a:lnTo>
                    <a:pt x="7" y="78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3" name="Freeform 115">
              <a:extLst>
                <a:ext uri="{FF2B5EF4-FFF2-40B4-BE49-F238E27FC236}">
                  <a16:creationId xmlns:a16="http://schemas.microsoft.com/office/drawing/2014/main" id="{44D69B3A-3C42-46C3-988D-EF17366976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27900" y="169863"/>
              <a:ext cx="41275" cy="123825"/>
            </a:xfrm>
            <a:custGeom>
              <a:avLst/>
              <a:gdLst>
                <a:gd name="T0" fmla="*/ 7 w 26"/>
                <a:gd name="T1" fmla="*/ 78 h 78"/>
                <a:gd name="T2" fmla="*/ 7 w 26"/>
                <a:gd name="T3" fmla="*/ 78 h 78"/>
                <a:gd name="T4" fmla="*/ 4 w 26"/>
                <a:gd name="T5" fmla="*/ 77 h 78"/>
                <a:gd name="T6" fmla="*/ 2 w 26"/>
                <a:gd name="T7" fmla="*/ 76 h 78"/>
                <a:gd name="T8" fmla="*/ 2 w 26"/>
                <a:gd name="T9" fmla="*/ 76 h 78"/>
                <a:gd name="T10" fmla="*/ 0 w 26"/>
                <a:gd name="T11" fmla="*/ 74 h 78"/>
                <a:gd name="T12" fmla="*/ 0 w 26"/>
                <a:gd name="T13" fmla="*/ 71 h 78"/>
                <a:gd name="T14" fmla="*/ 0 w 26"/>
                <a:gd name="T15" fmla="*/ 69 h 78"/>
                <a:gd name="T16" fmla="*/ 2 w 26"/>
                <a:gd name="T17" fmla="*/ 67 h 78"/>
                <a:gd name="T18" fmla="*/ 2 w 26"/>
                <a:gd name="T19" fmla="*/ 67 h 78"/>
                <a:gd name="T20" fmla="*/ 8 w 26"/>
                <a:gd name="T21" fmla="*/ 61 h 78"/>
                <a:gd name="T22" fmla="*/ 11 w 26"/>
                <a:gd name="T23" fmla="*/ 53 h 78"/>
                <a:gd name="T24" fmla="*/ 13 w 26"/>
                <a:gd name="T25" fmla="*/ 46 h 78"/>
                <a:gd name="T26" fmla="*/ 14 w 26"/>
                <a:gd name="T27" fmla="*/ 38 h 78"/>
                <a:gd name="T28" fmla="*/ 13 w 26"/>
                <a:gd name="T29" fmla="*/ 31 h 78"/>
                <a:gd name="T30" fmla="*/ 11 w 26"/>
                <a:gd name="T31" fmla="*/ 23 h 78"/>
                <a:gd name="T32" fmla="*/ 8 w 26"/>
                <a:gd name="T33" fmla="*/ 17 h 78"/>
                <a:gd name="T34" fmla="*/ 2 w 26"/>
                <a:gd name="T35" fmla="*/ 10 h 78"/>
                <a:gd name="T36" fmla="*/ 2 w 26"/>
                <a:gd name="T37" fmla="*/ 10 h 78"/>
                <a:gd name="T38" fmla="*/ 0 w 26"/>
                <a:gd name="T39" fmla="*/ 8 h 78"/>
                <a:gd name="T40" fmla="*/ 0 w 26"/>
                <a:gd name="T41" fmla="*/ 6 h 78"/>
                <a:gd name="T42" fmla="*/ 0 w 26"/>
                <a:gd name="T43" fmla="*/ 3 h 78"/>
                <a:gd name="T44" fmla="*/ 2 w 26"/>
                <a:gd name="T45" fmla="*/ 2 h 78"/>
                <a:gd name="T46" fmla="*/ 2 w 26"/>
                <a:gd name="T47" fmla="*/ 2 h 78"/>
                <a:gd name="T48" fmla="*/ 4 w 26"/>
                <a:gd name="T49" fmla="*/ 0 h 78"/>
                <a:gd name="T50" fmla="*/ 7 w 26"/>
                <a:gd name="T51" fmla="*/ 0 h 78"/>
                <a:gd name="T52" fmla="*/ 9 w 26"/>
                <a:gd name="T53" fmla="*/ 0 h 78"/>
                <a:gd name="T54" fmla="*/ 11 w 26"/>
                <a:gd name="T55" fmla="*/ 2 h 78"/>
                <a:gd name="T56" fmla="*/ 11 w 26"/>
                <a:gd name="T57" fmla="*/ 2 h 78"/>
                <a:gd name="T58" fmla="*/ 17 w 26"/>
                <a:gd name="T59" fmla="*/ 9 h 78"/>
                <a:gd name="T60" fmla="*/ 23 w 26"/>
                <a:gd name="T61" fmla="*/ 19 h 78"/>
                <a:gd name="T62" fmla="*/ 26 w 26"/>
                <a:gd name="T63" fmla="*/ 29 h 78"/>
                <a:gd name="T64" fmla="*/ 26 w 26"/>
                <a:gd name="T65" fmla="*/ 38 h 78"/>
                <a:gd name="T66" fmla="*/ 26 w 26"/>
                <a:gd name="T67" fmla="*/ 49 h 78"/>
                <a:gd name="T68" fmla="*/ 23 w 26"/>
                <a:gd name="T69" fmla="*/ 59 h 78"/>
                <a:gd name="T70" fmla="*/ 17 w 26"/>
                <a:gd name="T71" fmla="*/ 67 h 78"/>
                <a:gd name="T72" fmla="*/ 11 w 26"/>
                <a:gd name="T73" fmla="*/ 76 h 78"/>
                <a:gd name="T74" fmla="*/ 11 w 26"/>
                <a:gd name="T75" fmla="*/ 76 h 78"/>
                <a:gd name="T76" fmla="*/ 9 w 26"/>
                <a:gd name="T77" fmla="*/ 77 h 78"/>
                <a:gd name="T78" fmla="*/ 7 w 26"/>
                <a:gd name="T7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6" h="78">
                  <a:moveTo>
                    <a:pt x="7" y="78"/>
                  </a:moveTo>
                  <a:lnTo>
                    <a:pt x="7" y="78"/>
                  </a:lnTo>
                  <a:lnTo>
                    <a:pt x="4" y="77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0" y="74"/>
                  </a:lnTo>
                  <a:lnTo>
                    <a:pt x="0" y="71"/>
                  </a:lnTo>
                  <a:lnTo>
                    <a:pt x="0" y="69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8" y="61"/>
                  </a:lnTo>
                  <a:lnTo>
                    <a:pt x="11" y="53"/>
                  </a:lnTo>
                  <a:lnTo>
                    <a:pt x="13" y="46"/>
                  </a:lnTo>
                  <a:lnTo>
                    <a:pt x="14" y="38"/>
                  </a:lnTo>
                  <a:lnTo>
                    <a:pt x="13" y="31"/>
                  </a:lnTo>
                  <a:lnTo>
                    <a:pt x="11" y="23"/>
                  </a:lnTo>
                  <a:lnTo>
                    <a:pt x="8" y="17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7" y="9"/>
                  </a:lnTo>
                  <a:lnTo>
                    <a:pt x="23" y="19"/>
                  </a:lnTo>
                  <a:lnTo>
                    <a:pt x="26" y="29"/>
                  </a:lnTo>
                  <a:lnTo>
                    <a:pt x="26" y="38"/>
                  </a:lnTo>
                  <a:lnTo>
                    <a:pt x="26" y="49"/>
                  </a:lnTo>
                  <a:lnTo>
                    <a:pt x="23" y="59"/>
                  </a:lnTo>
                  <a:lnTo>
                    <a:pt x="17" y="67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9" y="77"/>
                  </a:lnTo>
                  <a:lnTo>
                    <a:pt x="7" y="7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4" name="Freeform 116">
              <a:extLst>
                <a:ext uri="{FF2B5EF4-FFF2-40B4-BE49-F238E27FC236}">
                  <a16:creationId xmlns:a16="http://schemas.microsoft.com/office/drawing/2014/main" id="{5958C294-E94E-4F61-895A-2B33A5D57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62825" y="133351"/>
              <a:ext cx="55563" cy="193675"/>
            </a:xfrm>
            <a:custGeom>
              <a:avLst/>
              <a:gdLst>
                <a:gd name="T0" fmla="*/ 6 w 35"/>
                <a:gd name="T1" fmla="*/ 122 h 122"/>
                <a:gd name="T2" fmla="*/ 6 w 35"/>
                <a:gd name="T3" fmla="*/ 122 h 122"/>
                <a:gd name="T4" fmla="*/ 4 w 35"/>
                <a:gd name="T5" fmla="*/ 122 h 122"/>
                <a:gd name="T6" fmla="*/ 2 w 35"/>
                <a:gd name="T7" fmla="*/ 120 h 122"/>
                <a:gd name="T8" fmla="*/ 2 w 35"/>
                <a:gd name="T9" fmla="*/ 120 h 122"/>
                <a:gd name="T10" fmla="*/ 1 w 35"/>
                <a:gd name="T11" fmla="*/ 119 h 122"/>
                <a:gd name="T12" fmla="*/ 0 w 35"/>
                <a:gd name="T13" fmla="*/ 116 h 122"/>
                <a:gd name="T14" fmla="*/ 1 w 35"/>
                <a:gd name="T15" fmla="*/ 114 h 122"/>
                <a:gd name="T16" fmla="*/ 2 w 35"/>
                <a:gd name="T17" fmla="*/ 112 h 122"/>
                <a:gd name="T18" fmla="*/ 2 w 35"/>
                <a:gd name="T19" fmla="*/ 112 h 122"/>
                <a:gd name="T20" fmla="*/ 7 w 35"/>
                <a:gd name="T21" fmla="*/ 106 h 122"/>
                <a:gd name="T22" fmla="*/ 11 w 35"/>
                <a:gd name="T23" fmla="*/ 101 h 122"/>
                <a:gd name="T24" fmla="*/ 15 w 35"/>
                <a:gd name="T25" fmla="*/ 94 h 122"/>
                <a:gd name="T26" fmla="*/ 18 w 35"/>
                <a:gd name="T27" fmla="*/ 88 h 122"/>
                <a:gd name="T28" fmla="*/ 20 w 35"/>
                <a:gd name="T29" fmla="*/ 82 h 122"/>
                <a:gd name="T30" fmla="*/ 21 w 35"/>
                <a:gd name="T31" fmla="*/ 75 h 122"/>
                <a:gd name="T32" fmla="*/ 22 w 35"/>
                <a:gd name="T33" fmla="*/ 69 h 122"/>
                <a:gd name="T34" fmla="*/ 23 w 35"/>
                <a:gd name="T35" fmla="*/ 61 h 122"/>
                <a:gd name="T36" fmla="*/ 22 w 35"/>
                <a:gd name="T37" fmla="*/ 55 h 122"/>
                <a:gd name="T38" fmla="*/ 21 w 35"/>
                <a:gd name="T39" fmla="*/ 48 h 122"/>
                <a:gd name="T40" fmla="*/ 20 w 35"/>
                <a:gd name="T41" fmla="*/ 41 h 122"/>
                <a:gd name="T42" fmla="*/ 18 w 35"/>
                <a:gd name="T43" fmla="*/ 34 h 122"/>
                <a:gd name="T44" fmla="*/ 15 w 35"/>
                <a:gd name="T45" fmla="*/ 28 h 122"/>
                <a:gd name="T46" fmla="*/ 11 w 35"/>
                <a:gd name="T47" fmla="*/ 23 h 122"/>
                <a:gd name="T48" fmla="*/ 7 w 35"/>
                <a:gd name="T49" fmla="*/ 16 h 122"/>
                <a:gd name="T50" fmla="*/ 2 w 35"/>
                <a:gd name="T51" fmla="*/ 11 h 122"/>
                <a:gd name="T52" fmla="*/ 2 w 35"/>
                <a:gd name="T53" fmla="*/ 11 h 122"/>
                <a:gd name="T54" fmla="*/ 1 w 35"/>
                <a:gd name="T55" fmla="*/ 9 h 122"/>
                <a:gd name="T56" fmla="*/ 0 w 35"/>
                <a:gd name="T57" fmla="*/ 7 h 122"/>
                <a:gd name="T58" fmla="*/ 1 w 35"/>
                <a:gd name="T59" fmla="*/ 4 h 122"/>
                <a:gd name="T60" fmla="*/ 2 w 35"/>
                <a:gd name="T61" fmla="*/ 2 h 122"/>
                <a:gd name="T62" fmla="*/ 2 w 35"/>
                <a:gd name="T63" fmla="*/ 2 h 122"/>
                <a:gd name="T64" fmla="*/ 4 w 35"/>
                <a:gd name="T65" fmla="*/ 1 h 122"/>
                <a:gd name="T66" fmla="*/ 6 w 35"/>
                <a:gd name="T67" fmla="*/ 0 h 122"/>
                <a:gd name="T68" fmla="*/ 9 w 35"/>
                <a:gd name="T69" fmla="*/ 1 h 122"/>
                <a:gd name="T70" fmla="*/ 10 w 35"/>
                <a:gd name="T71" fmla="*/ 2 h 122"/>
                <a:gd name="T72" fmla="*/ 10 w 35"/>
                <a:gd name="T73" fmla="*/ 2 h 122"/>
                <a:gd name="T74" fmla="*/ 17 w 35"/>
                <a:gd name="T75" fmla="*/ 9 h 122"/>
                <a:gd name="T76" fmla="*/ 21 w 35"/>
                <a:gd name="T77" fmla="*/ 15 h 122"/>
                <a:gd name="T78" fmla="*/ 25 w 35"/>
                <a:gd name="T79" fmla="*/ 23 h 122"/>
                <a:gd name="T80" fmla="*/ 30 w 35"/>
                <a:gd name="T81" fmla="*/ 30 h 122"/>
                <a:gd name="T82" fmla="*/ 32 w 35"/>
                <a:gd name="T83" fmla="*/ 38 h 122"/>
                <a:gd name="T84" fmla="*/ 34 w 35"/>
                <a:gd name="T85" fmla="*/ 45 h 122"/>
                <a:gd name="T86" fmla="*/ 35 w 35"/>
                <a:gd name="T87" fmla="*/ 54 h 122"/>
                <a:gd name="T88" fmla="*/ 35 w 35"/>
                <a:gd name="T89" fmla="*/ 61 h 122"/>
                <a:gd name="T90" fmla="*/ 35 w 35"/>
                <a:gd name="T91" fmla="*/ 70 h 122"/>
                <a:gd name="T92" fmla="*/ 34 w 35"/>
                <a:gd name="T93" fmla="*/ 77 h 122"/>
                <a:gd name="T94" fmla="*/ 32 w 35"/>
                <a:gd name="T95" fmla="*/ 86 h 122"/>
                <a:gd name="T96" fmla="*/ 30 w 35"/>
                <a:gd name="T97" fmla="*/ 93 h 122"/>
                <a:gd name="T98" fmla="*/ 25 w 35"/>
                <a:gd name="T99" fmla="*/ 101 h 122"/>
                <a:gd name="T100" fmla="*/ 21 w 35"/>
                <a:gd name="T101" fmla="*/ 107 h 122"/>
                <a:gd name="T102" fmla="*/ 17 w 35"/>
                <a:gd name="T103" fmla="*/ 115 h 122"/>
                <a:gd name="T104" fmla="*/ 10 w 35"/>
                <a:gd name="T105" fmla="*/ 120 h 122"/>
                <a:gd name="T106" fmla="*/ 10 w 35"/>
                <a:gd name="T107" fmla="*/ 120 h 122"/>
                <a:gd name="T108" fmla="*/ 9 w 35"/>
                <a:gd name="T109" fmla="*/ 122 h 122"/>
                <a:gd name="T110" fmla="*/ 6 w 35"/>
                <a:gd name="T111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" h="122">
                  <a:moveTo>
                    <a:pt x="6" y="122"/>
                  </a:moveTo>
                  <a:lnTo>
                    <a:pt x="6" y="122"/>
                  </a:lnTo>
                  <a:lnTo>
                    <a:pt x="4" y="122"/>
                  </a:lnTo>
                  <a:lnTo>
                    <a:pt x="2" y="120"/>
                  </a:lnTo>
                  <a:lnTo>
                    <a:pt x="2" y="120"/>
                  </a:lnTo>
                  <a:lnTo>
                    <a:pt x="1" y="119"/>
                  </a:lnTo>
                  <a:lnTo>
                    <a:pt x="0" y="116"/>
                  </a:lnTo>
                  <a:lnTo>
                    <a:pt x="1" y="114"/>
                  </a:lnTo>
                  <a:lnTo>
                    <a:pt x="2" y="112"/>
                  </a:lnTo>
                  <a:lnTo>
                    <a:pt x="2" y="112"/>
                  </a:lnTo>
                  <a:lnTo>
                    <a:pt x="7" y="106"/>
                  </a:lnTo>
                  <a:lnTo>
                    <a:pt x="11" y="101"/>
                  </a:lnTo>
                  <a:lnTo>
                    <a:pt x="15" y="94"/>
                  </a:lnTo>
                  <a:lnTo>
                    <a:pt x="18" y="88"/>
                  </a:lnTo>
                  <a:lnTo>
                    <a:pt x="20" y="82"/>
                  </a:lnTo>
                  <a:lnTo>
                    <a:pt x="21" y="75"/>
                  </a:lnTo>
                  <a:lnTo>
                    <a:pt x="22" y="69"/>
                  </a:lnTo>
                  <a:lnTo>
                    <a:pt x="23" y="61"/>
                  </a:lnTo>
                  <a:lnTo>
                    <a:pt x="22" y="55"/>
                  </a:lnTo>
                  <a:lnTo>
                    <a:pt x="21" y="48"/>
                  </a:lnTo>
                  <a:lnTo>
                    <a:pt x="20" y="41"/>
                  </a:lnTo>
                  <a:lnTo>
                    <a:pt x="18" y="34"/>
                  </a:lnTo>
                  <a:lnTo>
                    <a:pt x="15" y="28"/>
                  </a:lnTo>
                  <a:lnTo>
                    <a:pt x="11" y="23"/>
                  </a:lnTo>
                  <a:lnTo>
                    <a:pt x="7" y="16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1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7" y="9"/>
                  </a:lnTo>
                  <a:lnTo>
                    <a:pt x="21" y="15"/>
                  </a:lnTo>
                  <a:lnTo>
                    <a:pt x="25" y="23"/>
                  </a:lnTo>
                  <a:lnTo>
                    <a:pt x="30" y="30"/>
                  </a:lnTo>
                  <a:lnTo>
                    <a:pt x="32" y="38"/>
                  </a:lnTo>
                  <a:lnTo>
                    <a:pt x="34" y="45"/>
                  </a:lnTo>
                  <a:lnTo>
                    <a:pt x="35" y="54"/>
                  </a:lnTo>
                  <a:lnTo>
                    <a:pt x="35" y="61"/>
                  </a:lnTo>
                  <a:lnTo>
                    <a:pt x="35" y="70"/>
                  </a:lnTo>
                  <a:lnTo>
                    <a:pt x="34" y="77"/>
                  </a:lnTo>
                  <a:lnTo>
                    <a:pt x="32" y="86"/>
                  </a:lnTo>
                  <a:lnTo>
                    <a:pt x="30" y="93"/>
                  </a:lnTo>
                  <a:lnTo>
                    <a:pt x="25" y="101"/>
                  </a:lnTo>
                  <a:lnTo>
                    <a:pt x="21" y="107"/>
                  </a:lnTo>
                  <a:lnTo>
                    <a:pt x="17" y="115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9" y="122"/>
                  </a:lnTo>
                  <a:lnTo>
                    <a:pt x="6" y="122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5" name="Freeform 117">
              <a:extLst>
                <a:ext uri="{FF2B5EF4-FFF2-40B4-BE49-F238E27FC236}">
                  <a16:creationId xmlns:a16="http://schemas.microsoft.com/office/drawing/2014/main" id="{5CC17306-2C88-4C4B-8BC0-8DB6DA480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62825" y="133351"/>
              <a:ext cx="55563" cy="193675"/>
            </a:xfrm>
            <a:custGeom>
              <a:avLst/>
              <a:gdLst>
                <a:gd name="T0" fmla="*/ 6 w 35"/>
                <a:gd name="T1" fmla="*/ 122 h 122"/>
                <a:gd name="T2" fmla="*/ 6 w 35"/>
                <a:gd name="T3" fmla="*/ 122 h 122"/>
                <a:gd name="T4" fmla="*/ 4 w 35"/>
                <a:gd name="T5" fmla="*/ 122 h 122"/>
                <a:gd name="T6" fmla="*/ 2 w 35"/>
                <a:gd name="T7" fmla="*/ 120 h 122"/>
                <a:gd name="T8" fmla="*/ 2 w 35"/>
                <a:gd name="T9" fmla="*/ 120 h 122"/>
                <a:gd name="T10" fmla="*/ 1 w 35"/>
                <a:gd name="T11" fmla="*/ 119 h 122"/>
                <a:gd name="T12" fmla="*/ 0 w 35"/>
                <a:gd name="T13" fmla="*/ 116 h 122"/>
                <a:gd name="T14" fmla="*/ 1 w 35"/>
                <a:gd name="T15" fmla="*/ 114 h 122"/>
                <a:gd name="T16" fmla="*/ 2 w 35"/>
                <a:gd name="T17" fmla="*/ 112 h 122"/>
                <a:gd name="T18" fmla="*/ 2 w 35"/>
                <a:gd name="T19" fmla="*/ 112 h 122"/>
                <a:gd name="T20" fmla="*/ 7 w 35"/>
                <a:gd name="T21" fmla="*/ 106 h 122"/>
                <a:gd name="T22" fmla="*/ 11 w 35"/>
                <a:gd name="T23" fmla="*/ 101 h 122"/>
                <a:gd name="T24" fmla="*/ 15 w 35"/>
                <a:gd name="T25" fmla="*/ 94 h 122"/>
                <a:gd name="T26" fmla="*/ 18 w 35"/>
                <a:gd name="T27" fmla="*/ 88 h 122"/>
                <a:gd name="T28" fmla="*/ 20 w 35"/>
                <a:gd name="T29" fmla="*/ 82 h 122"/>
                <a:gd name="T30" fmla="*/ 21 w 35"/>
                <a:gd name="T31" fmla="*/ 75 h 122"/>
                <a:gd name="T32" fmla="*/ 22 w 35"/>
                <a:gd name="T33" fmla="*/ 69 h 122"/>
                <a:gd name="T34" fmla="*/ 23 w 35"/>
                <a:gd name="T35" fmla="*/ 61 h 122"/>
                <a:gd name="T36" fmla="*/ 22 w 35"/>
                <a:gd name="T37" fmla="*/ 55 h 122"/>
                <a:gd name="T38" fmla="*/ 21 w 35"/>
                <a:gd name="T39" fmla="*/ 48 h 122"/>
                <a:gd name="T40" fmla="*/ 20 w 35"/>
                <a:gd name="T41" fmla="*/ 41 h 122"/>
                <a:gd name="T42" fmla="*/ 18 w 35"/>
                <a:gd name="T43" fmla="*/ 34 h 122"/>
                <a:gd name="T44" fmla="*/ 15 w 35"/>
                <a:gd name="T45" fmla="*/ 28 h 122"/>
                <a:gd name="T46" fmla="*/ 11 w 35"/>
                <a:gd name="T47" fmla="*/ 23 h 122"/>
                <a:gd name="T48" fmla="*/ 7 w 35"/>
                <a:gd name="T49" fmla="*/ 16 h 122"/>
                <a:gd name="T50" fmla="*/ 2 w 35"/>
                <a:gd name="T51" fmla="*/ 11 h 122"/>
                <a:gd name="T52" fmla="*/ 2 w 35"/>
                <a:gd name="T53" fmla="*/ 11 h 122"/>
                <a:gd name="T54" fmla="*/ 1 w 35"/>
                <a:gd name="T55" fmla="*/ 9 h 122"/>
                <a:gd name="T56" fmla="*/ 0 w 35"/>
                <a:gd name="T57" fmla="*/ 7 h 122"/>
                <a:gd name="T58" fmla="*/ 1 w 35"/>
                <a:gd name="T59" fmla="*/ 4 h 122"/>
                <a:gd name="T60" fmla="*/ 2 w 35"/>
                <a:gd name="T61" fmla="*/ 2 h 122"/>
                <a:gd name="T62" fmla="*/ 2 w 35"/>
                <a:gd name="T63" fmla="*/ 2 h 122"/>
                <a:gd name="T64" fmla="*/ 4 w 35"/>
                <a:gd name="T65" fmla="*/ 1 h 122"/>
                <a:gd name="T66" fmla="*/ 6 w 35"/>
                <a:gd name="T67" fmla="*/ 0 h 122"/>
                <a:gd name="T68" fmla="*/ 9 w 35"/>
                <a:gd name="T69" fmla="*/ 1 h 122"/>
                <a:gd name="T70" fmla="*/ 10 w 35"/>
                <a:gd name="T71" fmla="*/ 2 h 122"/>
                <a:gd name="T72" fmla="*/ 10 w 35"/>
                <a:gd name="T73" fmla="*/ 2 h 122"/>
                <a:gd name="T74" fmla="*/ 17 w 35"/>
                <a:gd name="T75" fmla="*/ 9 h 122"/>
                <a:gd name="T76" fmla="*/ 21 w 35"/>
                <a:gd name="T77" fmla="*/ 15 h 122"/>
                <a:gd name="T78" fmla="*/ 25 w 35"/>
                <a:gd name="T79" fmla="*/ 23 h 122"/>
                <a:gd name="T80" fmla="*/ 30 w 35"/>
                <a:gd name="T81" fmla="*/ 30 h 122"/>
                <a:gd name="T82" fmla="*/ 32 w 35"/>
                <a:gd name="T83" fmla="*/ 38 h 122"/>
                <a:gd name="T84" fmla="*/ 34 w 35"/>
                <a:gd name="T85" fmla="*/ 45 h 122"/>
                <a:gd name="T86" fmla="*/ 35 w 35"/>
                <a:gd name="T87" fmla="*/ 54 h 122"/>
                <a:gd name="T88" fmla="*/ 35 w 35"/>
                <a:gd name="T89" fmla="*/ 61 h 122"/>
                <a:gd name="T90" fmla="*/ 35 w 35"/>
                <a:gd name="T91" fmla="*/ 70 h 122"/>
                <a:gd name="T92" fmla="*/ 34 w 35"/>
                <a:gd name="T93" fmla="*/ 77 h 122"/>
                <a:gd name="T94" fmla="*/ 32 w 35"/>
                <a:gd name="T95" fmla="*/ 86 h 122"/>
                <a:gd name="T96" fmla="*/ 30 w 35"/>
                <a:gd name="T97" fmla="*/ 93 h 122"/>
                <a:gd name="T98" fmla="*/ 25 w 35"/>
                <a:gd name="T99" fmla="*/ 101 h 122"/>
                <a:gd name="T100" fmla="*/ 21 w 35"/>
                <a:gd name="T101" fmla="*/ 107 h 122"/>
                <a:gd name="T102" fmla="*/ 17 w 35"/>
                <a:gd name="T103" fmla="*/ 115 h 122"/>
                <a:gd name="T104" fmla="*/ 10 w 35"/>
                <a:gd name="T105" fmla="*/ 120 h 122"/>
                <a:gd name="T106" fmla="*/ 10 w 35"/>
                <a:gd name="T107" fmla="*/ 120 h 122"/>
                <a:gd name="T108" fmla="*/ 9 w 35"/>
                <a:gd name="T109" fmla="*/ 122 h 122"/>
                <a:gd name="T110" fmla="*/ 6 w 35"/>
                <a:gd name="T111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" h="122">
                  <a:moveTo>
                    <a:pt x="6" y="122"/>
                  </a:moveTo>
                  <a:lnTo>
                    <a:pt x="6" y="122"/>
                  </a:lnTo>
                  <a:lnTo>
                    <a:pt x="4" y="122"/>
                  </a:lnTo>
                  <a:lnTo>
                    <a:pt x="2" y="120"/>
                  </a:lnTo>
                  <a:lnTo>
                    <a:pt x="2" y="120"/>
                  </a:lnTo>
                  <a:lnTo>
                    <a:pt x="1" y="119"/>
                  </a:lnTo>
                  <a:lnTo>
                    <a:pt x="0" y="116"/>
                  </a:lnTo>
                  <a:lnTo>
                    <a:pt x="1" y="114"/>
                  </a:lnTo>
                  <a:lnTo>
                    <a:pt x="2" y="112"/>
                  </a:lnTo>
                  <a:lnTo>
                    <a:pt x="2" y="112"/>
                  </a:lnTo>
                  <a:lnTo>
                    <a:pt x="7" y="106"/>
                  </a:lnTo>
                  <a:lnTo>
                    <a:pt x="11" y="101"/>
                  </a:lnTo>
                  <a:lnTo>
                    <a:pt x="15" y="94"/>
                  </a:lnTo>
                  <a:lnTo>
                    <a:pt x="18" y="88"/>
                  </a:lnTo>
                  <a:lnTo>
                    <a:pt x="20" y="82"/>
                  </a:lnTo>
                  <a:lnTo>
                    <a:pt x="21" y="75"/>
                  </a:lnTo>
                  <a:lnTo>
                    <a:pt x="22" y="69"/>
                  </a:lnTo>
                  <a:lnTo>
                    <a:pt x="23" y="61"/>
                  </a:lnTo>
                  <a:lnTo>
                    <a:pt x="22" y="55"/>
                  </a:lnTo>
                  <a:lnTo>
                    <a:pt x="21" y="48"/>
                  </a:lnTo>
                  <a:lnTo>
                    <a:pt x="20" y="41"/>
                  </a:lnTo>
                  <a:lnTo>
                    <a:pt x="18" y="34"/>
                  </a:lnTo>
                  <a:lnTo>
                    <a:pt x="15" y="28"/>
                  </a:lnTo>
                  <a:lnTo>
                    <a:pt x="11" y="23"/>
                  </a:lnTo>
                  <a:lnTo>
                    <a:pt x="7" y="16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1" y="9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1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7" y="9"/>
                  </a:lnTo>
                  <a:lnTo>
                    <a:pt x="21" y="15"/>
                  </a:lnTo>
                  <a:lnTo>
                    <a:pt x="25" y="23"/>
                  </a:lnTo>
                  <a:lnTo>
                    <a:pt x="30" y="30"/>
                  </a:lnTo>
                  <a:lnTo>
                    <a:pt x="32" y="38"/>
                  </a:lnTo>
                  <a:lnTo>
                    <a:pt x="34" y="45"/>
                  </a:lnTo>
                  <a:lnTo>
                    <a:pt x="35" y="54"/>
                  </a:lnTo>
                  <a:lnTo>
                    <a:pt x="35" y="61"/>
                  </a:lnTo>
                  <a:lnTo>
                    <a:pt x="35" y="70"/>
                  </a:lnTo>
                  <a:lnTo>
                    <a:pt x="34" y="77"/>
                  </a:lnTo>
                  <a:lnTo>
                    <a:pt x="32" y="86"/>
                  </a:lnTo>
                  <a:lnTo>
                    <a:pt x="30" y="93"/>
                  </a:lnTo>
                  <a:lnTo>
                    <a:pt x="25" y="101"/>
                  </a:lnTo>
                  <a:lnTo>
                    <a:pt x="21" y="107"/>
                  </a:lnTo>
                  <a:lnTo>
                    <a:pt x="17" y="115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9" y="122"/>
                  </a:lnTo>
                  <a:lnTo>
                    <a:pt x="6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6" name="Freeform 118">
              <a:extLst>
                <a:ext uri="{FF2B5EF4-FFF2-40B4-BE49-F238E27FC236}">
                  <a16:creationId xmlns:a16="http://schemas.microsoft.com/office/drawing/2014/main" id="{F8FC836E-B36D-45D6-99C0-BFD766919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97750" y="100013"/>
              <a:ext cx="69850" cy="263525"/>
            </a:xfrm>
            <a:custGeom>
              <a:avLst/>
              <a:gdLst>
                <a:gd name="T0" fmla="*/ 7 w 44"/>
                <a:gd name="T1" fmla="*/ 166 h 166"/>
                <a:gd name="T2" fmla="*/ 7 w 44"/>
                <a:gd name="T3" fmla="*/ 166 h 166"/>
                <a:gd name="T4" fmla="*/ 4 w 44"/>
                <a:gd name="T5" fmla="*/ 165 h 166"/>
                <a:gd name="T6" fmla="*/ 2 w 44"/>
                <a:gd name="T7" fmla="*/ 164 h 166"/>
                <a:gd name="T8" fmla="*/ 2 w 44"/>
                <a:gd name="T9" fmla="*/ 164 h 166"/>
                <a:gd name="T10" fmla="*/ 0 w 44"/>
                <a:gd name="T11" fmla="*/ 162 h 166"/>
                <a:gd name="T12" fmla="*/ 0 w 44"/>
                <a:gd name="T13" fmla="*/ 159 h 166"/>
                <a:gd name="T14" fmla="*/ 0 w 44"/>
                <a:gd name="T15" fmla="*/ 157 h 166"/>
                <a:gd name="T16" fmla="*/ 2 w 44"/>
                <a:gd name="T17" fmla="*/ 155 h 166"/>
                <a:gd name="T18" fmla="*/ 2 w 44"/>
                <a:gd name="T19" fmla="*/ 155 h 166"/>
                <a:gd name="T20" fmla="*/ 9 w 44"/>
                <a:gd name="T21" fmla="*/ 148 h 166"/>
                <a:gd name="T22" fmla="*/ 15 w 44"/>
                <a:gd name="T23" fmla="*/ 139 h 166"/>
                <a:gd name="T24" fmla="*/ 19 w 44"/>
                <a:gd name="T25" fmla="*/ 130 h 166"/>
                <a:gd name="T26" fmla="*/ 24 w 44"/>
                <a:gd name="T27" fmla="*/ 122 h 166"/>
                <a:gd name="T28" fmla="*/ 27 w 44"/>
                <a:gd name="T29" fmla="*/ 112 h 166"/>
                <a:gd name="T30" fmla="*/ 30 w 44"/>
                <a:gd name="T31" fmla="*/ 103 h 166"/>
                <a:gd name="T32" fmla="*/ 31 w 44"/>
                <a:gd name="T33" fmla="*/ 93 h 166"/>
                <a:gd name="T34" fmla="*/ 31 w 44"/>
                <a:gd name="T35" fmla="*/ 82 h 166"/>
                <a:gd name="T36" fmla="*/ 31 w 44"/>
                <a:gd name="T37" fmla="*/ 82 h 166"/>
                <a:gd name="T38" fmla="*/ 31 w 44"/>
                <a:gd name="T39" fmla="*/ 73 h 166"/>
                <a:gd name="T40" fmla="*/ 30 w 44"/>
                <a:gd name="T41" fmla="*/ 63 h 166"/>
                <a:gd name="T42" fmla="*/ 27 w 44"/>
                <a:gd name="T43" fmla="*/ 53 h 166"/>
                <a:gd name="T44" fmla="*/ 24 w 44"/>
                <a:gd name="T45" fmla="*/ 44 h 166"/>
                <a:gd name="T46" fmla="*/ 19 w 44"/>
                <a:gd name="T47" fmla="*/ 34 h 166"/>
                <a:gd name="T48" fmla="*/ 15 w 44"/>
                <a:gd name="T49" fmla="*/ 25 h 166"/>
                <a:gd name="T50" fmla="*/ 9 w 44"/>
                <a:gd name="T51" fmla="*/ 18 h 166"/>
                <a:gd name="T52" fmla="*/ 2 w 44"/>
                <a:gd name="T53" fmla="*/ 10 h 166"/>
                <a:gd name="T54" fmla="*/ 2 w 44"/>
                <a:gd name="T55" fmla="*/ 10 h 166"/>
                <a:gd name="T56" fmla="*/ 0 w 44"/>
                <a:gd name="T57" fmla="*/ 8 h 166"/>
                <a:gd name="T58" fmla="*/ 0 w 44"/>
                <a:gd name="T59" fmla="*/ 6 h 166"/>
                <a:gd name="T60" fmla="*/ 0 w 44"/>
                <a:gd name="T61" fmla="*/ 4 h 166"/>
                <a:gd name="T62" fmla="*/ 2 w 44"/>
                <a:gd name="T63" fmla="*/ 2 h 166"/>
                <a:gd name="T64" fmla="*/ 2 w 44"/>
                <a:gd name="T65" fmla="*/ 2 h 166"/>
                <a:gd name="T66" fmla="*/ 4 w 44"/>
                <a:gd name="T67" fmla="*/ 0 h 166"/>
                <a:gd name="T68" fmla="*/ 7 w 44"/>
                <a:gd name="T69" fmla="*/ 0 h 166"/>
                <a:gd name="T70" fmla="*/ 9 w 44"/>
                <a:gd name="T71" fmla="*/ 0 h 166"/>
                <a:gd name="T72" fmla="*/ 11 w 44"/>
                <a:gd name="T73" fmla="*/ 2 h 166"/>
                <a:gd name="T74" fmla="*/ 11 w 44"/>
                <a:gd name="T75" fmla="*/ 2 h 166"/>
                <a:gd name="T76" fmla="*/ 18 w 44"/>
                <a:gd name="T77" fmla="*/ 10 h 166"/>
                <a:gd name="T78" fmla="*/ 25 w 44"/>
                <a:gd name="T79" fmla="*/ 19 h 166"/>
                <a:gd name="T80" fmla="*/ 31 w 44"/>
                <a:gd name="T81" fmla="*/ 29 h 166"/>
                <a:gd name="T82" fmla="*/ 35 w 44"/>
                <a:gd name="T83" fmla="*/ 38 h 166"/>
                <a:gd name="T84" fmla="*/ 40 w 44"/>
                <a:gd name="T85" fmla="*/ 49 h 166"/>
                <a:gd name="T86" fmla="*/ 42 w 44"/>
                <a:gd name="T87" fmla="*/ 60 h 166"/>
                <a:gd name="T88" fmla="*/ 44 w 44"/>
                <a:gd name="T89" fmla="*/ 72 h 166"/>
                <a:gd name="T90" fmla="*/ 44 w 44"/>
                <a:gd name="T91" fmla="*/ 82 h 166"/>
                <a:gd name="T92" fmla="*/ 44 w 44"/>
                <a:gd name="T93" fmla="*/ 82 h 166"/>
                <a:gd name="T94" fmla="*/ 44 w 44"/>
                <a:gd name="T95" fmla="*/ 94 h 166"/>
                <a:gd name="T96" fmla="*/ 42 w 44"/>
                <a:gd name="T97" fmla="*/ 105 h 166"/>
                <a:gd name="T98" fmla="*/ 40 w 44"/>
                <a:gd name="T99" fmla="*/ 115 h 166"/>
                <a:gd name="T100" fmla="*/ 35 w 44"/>
                <a:gd name="T101" fmla="*/ 126 h 166"/>
                <a:gd name="T102" fmla="*/ 31 w 44"/>
                <a:gd name="T103" fmla="*/ 137 h 166"/>
                <a:gd name="T104" fmla="*/ 25 w 44"/>
                <a:gd name="T105" fmla="*/ 147 h 166"/>
                <a:gd name="T106" fmla="*/ 18 w 44"/>
                <a:gd name="T107" fmla="*/ 155 h 166"/>
                <a:gd name="T108" fmla="*/ 11 w 44"/>
                <a:gd name="T109" fmla="*/ 164 h 166"/>
                <a:gd name="T110" fmla="*/ 11 w 44"/>
                <a:gd name="T111" fmla="*/ 164 h 166"/>
                <a:gd name="T112" fmla="*/ 9 w 44"/>
                <a:gd name="T113" fmla="*/ 165 h 166"/>
                <a:gd name="T114" fmla="*/ 7 w 44"/>
                <a:gd name="T115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4" h="166">
                  <a:moveTo>
                    <a:pt x="7" y="166"/>
                  </a:moveTo>
                  <a:lnTo>
                    <a:pt x="7" y="166"/>
                  </a:lnTo>
                  <a:lnTo>
                    <a:pt x="4" y="165"/>
                  </a:lnTo>
                  <a:lnTo>
                    <a:pt x="2" y="164"/>
                  </a:lnTo>
                  <a:lnTo>
                    <a:pt x="2" y="164"/>
                  </a:lnTo>
                  <a:lnTo>
                    <a:pt x="0" y="162"/>
                  </a:lnTo>
                  <a:lnTo>
                    <a:pt x="0" y="159"/>
                  </a:lnTo>
                  <a:lnTo>
                    <a:pt x="0" y="157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9" y="148"/>
                  </a:lnTo>
                  <a:lnTo>
                    <a:pt x="15" y="139"/>
                  </a:lnTo>
                  <a:lnTo>
                    <a:pt x="19" y="130"/>
                  </a:lnTo>
                  <a:lnTo>
                    <a:pt x="24" y="122"/>
                  </a:lnTo>
                  <a:lnTo>
                    <a:pt x="27" y="112"/>
                  </a:lnTo>
                  <a:lnTo>
                    <a:pt x="30" y="103"/>
                  </a:lnTo>
                  <a:lnTo>
                    <a:pt x="31" y="93"/>
                  </a:lnTo>
                  <a:lnTo>
                    <a:pt x="31" y="82"/>
                  </a:lnTo>
                  <a:lnTo>
                    <a:pt x="31" y="82"/>
                  </a:lnTo>
                  <a:lnTo>
                    <a:pt x="31" y="73"/>
                  </a:lnTo>
                  <a:lnTo>
                    <a:pt x="30" y="63"/>
                  </a:lnTo>
                  <a:lnTo>
                    <a:pt x="27" y="53"/>
                  </a:lnTo>
                  <a:lnTo>
                    <a:pt x="24" y="44"/>
                  </a:lnTo>
                  <a:lnTo>
                    <a:pt x="19" y="34"/>
                  </a:lnTo>
                  <a:lnTo>
                    <a:pt x="15" y="25"/>
                  </a:lnTo>
                  <a:lnTo>
                    <a:pt x="9" y="18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8" y="10"/>
                  </a:lnTo>
                  <a:lnTo>
                    <a:pt x="25" y="19"/>
                  </a:lnTo>
                  <a:lnTo>
                    <a:pt x="31" y="29"/>
                  </a:lnTo>
                  <a:lnTo>
                    <a:pt x="35" y="38"/>
                  </a:lnTo>
                  <a:lnTo>
                    <a:pt x="40" y="49"/>
                  </a:lnTo>
                  <a:lnTo>
                    <a:pt x="42" y="60"/>
                  </a:lnTo>
                  <a:lnTo>
                    <a:pt x="44" y="72"/>
                  </a:lnTo>
                  <a:lnTo>
                    <a:pt x="44" y="82"/>
                  </a:lnTo>
                  <a:lnTo>
                    <a:pt x="44" y="82"/>
                  </a:lnTo>
                  <a:lnTo>
                    <a:pt x="44" y="94"/>
                  </a:lnTo>
                  <a:lnTo>
                    <a:pt x="42" y="105"/>
                  </a:lnTo>
                  <a:lnTo>
                    <a:pt x="40" y="115"/>
                  </a:lnTo>
                  <a:lnTo>
                    <a:pt x="35" y="126"/>
                  </a:lnTo>
                  <a:lnTo>
                    <a:pt x="31" y="137"/>
                  </a:lnTo>
                  <a:lnTo>
                    <a:pt x="25" y="147"/>
                  </a:lnTo>
                  <a:lnTo>
                    <a:pt x="18" y="155"/>
                  </a:lnTo>
                  <a:lnTo>
                    <a:pt x="11" y="164"/>
                  </a:lnTo>
                  <a:lnTo>
                    <a:pt x="11" y="164"/>
                  </a:lnTo>
                  <a:lnTo>
                    <a:pt x="9" y="165"/>
                  </a:lnTo>
                  <a:lnTo>
                    <a:pt x="7" y="166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7" name="Freeform 119">
              <a:extLst>
                <a:ext uri="{FF2B5EF4-FFF2-40B4-BE49-F238E27FC236}">
                  <a16:creationId xmlns:a16="http://schemas.microsoft.com/office/drawing/2014/main" id="{FDBA899D-01EE-4800-8488-32070FC3A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97750" y="100013"/>
              <a:ext cx="69850" cy="263525"/>
            </a:xfrm>
            <a:custGeom>
              <a:avLst/>
              <a:gdLst>
                <a:gd name="T0" fmla="*/ 7 w 44"/>
                <a:gd name="T1" fmla="*/ 166 h 166"/>
                <a:gd name="T2" fmla="*/ 7 w 44"/>
                <a:gd name="T3" fmla="*/ 166 h 166"/>
                <a:gd name="T4" fmla="*/ 4 w 44"/>
                <a:gd name="T5" fmla="*/ 165 h 166"/>
                <a:gd name="T6" fmla="*/ 2 w 44"/>
                <a:gd name="T7" fmla="*/ 164 h 166"/>
                <a:gd name="T8" fmla="*/ 2 w 44"/>
                <a:gd name="T9" fmla="*/ 164 h 166"/>
                <a:gd name="T10" fmla="*/ 0 w 44"/>
                <a:gd name="T11" fmla="*/ 162 h 166"/>
                <a:gd name="T12" fmla="*/ 0 w 44"/>
                <a:gd name="T13" fmla="*/ 159 h 166"/>
                <a:gd name="T14" fmla="*/ 0 w 44"/>
                <a:gd name="T15" fmla="*/ 157 h 166"/>
                <a:gd name="T16" fmla="*/ 2 w 44"/>
                <a:gd name="T17" fmla="*/ 155 h 166"/>
                <a:gd name="T18" fmla="*/ 2 w 44"/>
                <a:gd name="T19" fmla="*/ 155 h 166"/>
                <a:gd name="T20" fmla="*/ 9 w 44"/>
                <a:gd name="T21" fmla="*/ 148 h 166"/>
                <a:gd name="T22" fmla="*/ 15 w 44"/>
                <a:gd name="T23" fmla="*/ 139 h 166"/>
                <a:gd name="T24" fmla="*/ 19 w 44"/>
                <a:gd name="T25" fmla="*/ 130 h 166"/>
                <a:gd name="T26" fmla="*/ 24 w 44"/>
                <a:gd name="T27" fmla="*/ 122 h 166"/>
                <a:gd name="T28" fmla="*/ 27 w 44"/>
                <a:gd name="T29" fmla="*/ 112 h 166"/>
                <a:gd name="T30" fmla="*/ 30 w 44"/>
                <a:gd name="T31" fmla="*/ 103 h 166"/>
                <a:gd name="T32" fmla="*/ 31 w 44"/>
                <a:gd name="T33" fmla="*/ 93 h 166"/>
                <a:gd name="T34" fmla="*/ 31 w 44"/>
                <a:gd name="T35" fmla="*/ 82 h 166"/>
                <a:gd name="T36" fmla="*/ 31 w 44"/>
                <a:gd name="T37" fmla="*/ 82 h 166"/>
                <a:gd name="T38" fmla="*/ 31 w 44"/>
                <a:gd name="T39" fmla="*/ 73 h 166"/>
                <a:gd name="T40" fmla="*/ 30 w 44"/>
                <a:gd name="T41" fmla="*/ 63 h 166"/>
                <a:gd name="T42" fmla="*/ 27 w 44"/>
                <a:gd name="T43" fmla="*/ 53 h 166"/>
                <a:gd name="T44" fmla="*/ 24 w 44"/>
                <a:gd name="T45" fmla="*/ 44 h 166"/>
                <a:gd name="T46" fmla="*/ 19 w 44"/>
                <a:gd name="T47" fmla="*/ 34 h 166"/>
                <a:gd name="T48" fmla="*/ 15 w 44"/>
                <a:gd name="T49" fmla="*/ 25 h 166"/>
                <a:gd name="T50" fmla="*/ 9 w 44"/>
                <a:gd name="T51" fmla="*/ 18 h 166"/>
                <a:gd name="T52" fmla="*/ 2 w 44"/>
                <a:gd name="T53" fmla="*/ 10 h 166"/>
                <a:gd name="T54" fmla="*/ 2 w 44"/>
                <a:gd name="T55" fmla="*/ 10 h 166"/>
                <a:gd name="T56" fmla="*/ 0 w 44"/>
                <a:gd name="T57" fmla="*/ 8 h 166"/>
                <a:gd name="T58" fmla="*/ 0 w 44"/>
                <a:gd name="T59" fmla="*/ 6 h 166"/>
                <a:gd name="T60" fmla="*/ 0 w 44"/>
                <a:gd name="T61" fmla="*/ 4 h 166"/>
                <a:gd name="T62" fmla="*/ 2 w 44"/>
                <a:gd name="T63" fmla="*/ 2 h 166"/>
                <a:gd name="T64" fmla="*/ 2 w 44"/>
                <a:gd name="T65" fmla="*/ 2 h 166"/>
                <a:gd name="T66" fmla="*/ 4 w 44"/>
                <a:gd name="T67" fmla="*/ 0 h 166"/>
                <a:gd name="T68" fmla="*/ 7 w 44"/>
                <a:gd name="T69" fmla="*/ 0 h 166"/>
                <a:gd name="T70" fmla="*/ 9 w 44"/>
                <a:gd name="T71" fmla="*/ 0 h 166"/>
                <a:gd name="T72" fmla="*/ 11 w 44"/>
                <a:gd name="T73" fmla="*/ 2 h 166"/>
                <a:gd name="T74" fmla="*/ 11 w 44"/>
                <a:gd name="T75" fmla="*/ 2 h 166"/>
                <a:gd name="T76" fmla="*/ 18 w 44"/>
                <a:gd name="T77" fmla="*/ 10 h 166"/>
                <a:gd name="T78" fmla="*/ 25 w 44"/>
                <a:gd name="T79" fmla="*/ 19 h 166"/>
                <a:gd name="T80" fmla="*/ 31 w 44"/>
                <a:gd name="T81" fmla="*/ 29 h 166"/>
                <a:gd name="T82" fmla="*/ 35 w 44"/>
                <a:gd name="T83" fmla="*/ 38 h 166"/>
                <a:gd name="T84" fmla="*/ 40 w 44"/>
                <a:gd name="T85" fmla="*/ 49 h 166"/>
                <a:gd name="T86" fmla="*/ 42 w 44"/>
                <a:gd name="T87" fmla="*/ 60 h 166"/>
                <a:gd name="T88" fmla="*/ 44 w 44"/>
                <a:gd name="T89" fmla="*/ 72 h 166"/>
                <a:gd name="T90" fmla="*/ 44 w 44"/>
                <a:gd name="T91" fmla="*/ 82 h 166"/>
                <a:gd name="T92" fmla="*/ 44 w 44"/>
                <a:gd name="T93" fmla="*/ 82 h 166"/>
                <a:gd name="T94" fmla="*/ 44 w 44"/>
                <a:gd name="T95" fmla="*/ 94 h 166"/>
                <a:gd name="T96" fmla="*/ 42 w 44"/>
                <a:gd name="T97" fmla="*/ 105 h 166"/>
                <a:gd name="T98" fmla="*/ 40 w 44"/>
                <a:gd name="T99" fmla="*/ 115 h 166"/>
                <a:gd name="T100" fmla="*/ 35 w 44"/>
                <a:gd name="T101" fmla="*/ 126 h 166"/>
                <a:gd name="T102" fmla="*/ 31 w 44"/>
                <a:gd name="T103" fmla="*/ 137 h 166"/>
                <a:gd name="T104" fmla="*/ 25 w 44"/>
                <a:gd name="T105" fmla="*/ 147 h 166"/>
                <a:gd name="T106" fmla="*/ 18 w 44"/>
                <a:gd name="T107" fmla="*/ 155 h 166"/>
                <a:gd name="T108" fmla="*/ 11 w 44"/>
                <a:gd name="T109" fmla="*/ 164 h 166"/>
                <a:gd name="T110" fmla="*/ 11 w 44"/>
                <a:gd name="T111" fmla="*/ 164 h 166"/>
                <a:gd name="T112" fmla="*/ 9 w 44"/>
                <a:gd name="T113" fmla="*/ 165 h 166"/>
                <a:gd name="T114" fmla="*/ 7 w 44"/>
                <a:gd name="T115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4" h="166">
                  <a:moveTo>
                    <a:pt x="7" y="166"/>
                  </a:moveTo>
                  <a:lnTo>
                    <a:pt x="7" y="166"/>
                  </a:lnTo>
                  <a:lnTo>
                    <a:pt x="4" y="165"/>
                  </a:lnTo>
                  <a:lnTo>
                    <a:pt x="2" y="164"/>
                  </a:lnTo>
                  <a:lnTo>
                    <a:pt x="2" y="164"/>
                  </a:lnTo>
                  <a:lnTo>
                    <a:pt x="0" y="162"/>
                  </a:lnTo>
                  <a:lnTo>
                    <a:pt x="0" y="159"/>
                  </a:lnTo>
                  <a:lnTo>
                    <a:pt x="0" y="157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9" y="148"/>
                  </a:lnTo>
                  <a:lnTo>
                    <a:pt x="15" y="139"/>
                  </a:lnTo>
                  <a:lnTo>
                    <a:pt x="19" y="130"/>
                  </a:lnTo>
                  <a:lnTo>
                    <a:pt x="24" y="122"/>
                  </a:lnTo>
                  <a:lnTo>
                    <a:pt x="27" y="112"/>
                  </a:lnTo>
                  <a:lnTo>
                    <a:pt x="30" y="103"/>
                  </a:lnTo>
                  <a:lnTo>
                    <a:pt x="31" y="93"/>
                  </a:lnTo>
                  <a:lnTo>
                    <a:pt x="31" y="82"/>
                  </a:lnTo>
                  <a:lnTo>
                    <a:pt x="31" y="82"/>
                  </a:lnTo>
                  <a:lnTo>
                    <a:pt x="31" y="73"/>
                  </a:lnTo>
                  <a:lnTo>
                    <a:pt x="30" y="63"/>
                  </a:lnTo>
                  <a:lnTo>
                    <a:pt x="27" y="53"/>
                  </a:lnTo>
                  <a:lnTo>
                    <a:pt x="24" y="44"/>
                  </a:lnTo>
                  <a:lnTo>
                    <a:pt x="19" y="34"/>
                  </a:lnTo>
                  <a:lnTo>
                    <a:pt x="15" y="25"/>
                  </a:lnTo>
                  <a:lnTo>
                    <a:pt x="9" y="18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8" y="10"/>
                  </a:lnTo>
                  <a:lnTo>
                    <a:pt x="25" y="19"/>
                  </a:lnTo>
                  <a:lnTo>
                    <a:pt x="31" y="29"/>
                  </a:lnTo>
                  <a:lnTo>
                    <a:pt x="35" y="38"/>
                  </a:lnTo>
                  <a:lnTo>
                    <a:pt x="40" y="49"/>
                  </a:lnTo>
                  <a:lnTo>
                    <a:pt x="42" y="60"/>
                  </a:lnTo>
                  <a:lnTo>
                    <a:pt x="44" y="72"/>
                  </a:lnTo>
                  <a:lnTo>
                    <a:pt x="44" y="82"/>
                  </a:lnTo>
                  <a:lnTo>
                    <a:pt x="44" y="82"/>
                  </a:lnTo>
                  <a:lnTo>
                    <a:pt x="44" y="94"/>
                  </a:lnTo>
                  <a:lnTo>
                    <a:pt x="42" y="105"/>
                  </a:lnTo>
                  <a:lnTo>
                    <a:pt x="40" y="115"/>
                  </a:lnTo>
                  <a:lnTo>
                    <a:pt x="35" y="126"/>
                  </a:lnTo>
                  <a:lnTo>
                    <a:pt x="31" y="137"/>
                  </a:lnTo>
                  <a:lnTo>
                    <a:pt x="25" y="147"/>
                  </a:lnTo>
                  <a:lnTo>
                    <a:pt x="18" y="155"/>
                  </a:lnTo>
                  <a:lnTo>
                    <a:pt x="11" y="164"/>
                  </a:lnTo>
                  <a:lnTo>
                    <a:pt x="11" y="164"/>
                  </a:lnTo>
                  <a:lnTo>
                    <a:pt x="9" y="165"/>
                  </a:lnTo>
                  <a:lnTo>
                    <a:pt x="7" y="1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8" name="Freeform 120">
              <a:extLst>
                <a:ext uri="{FF2B5EF4-FFF2-40B4-BE49-F238E27FC236}">
                  <a16:creationId xmlns:a16="http://schemas.microsoft.com/office/drawing/2014/main" id="{91D618A4-6071-4A38-88FA-71589EAB2A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883438" y="177801"/>
              <a:ext cx="109538" cy="107950"/>
            </a:xfrm>
            <a:custGeom>
              <a:avLst/>
              <a:gdLst>
                <a:gd name="T0" fmla="*/ 34 w 69"/>
                <a:gd name="T1" fmla="*/ 12 h 68"/>
                <a:gd name="T2" fmla="*/ 26 w 69"/>
                <a:gd name="T3" fmla="*/ 14 h 68"/>
                <a:gd name="T4" fmla="*/ 19 w 69"/>
                <a:gd name="T5" fmla="*/ 18 h 68"/>
                <a:gd name="T6" fmla="*/ 15 w 69"/>
                <a:gd name="T7" fmla="*/ 26 h 68"/>
                <a:gd name="T8" fmla="*/ 13 w 69"/>
                <a:gd name="T9" fmla="*/ 33 h 68"/>
                <a:gd name="T10" fmla="*/ 13 w 69"/>
                <a:gd name="T11" fmla="*/ 38 h 68"/>
                <a:gd name="T12" fmla="*/ 16 w 69"/>
                <a:gd name="T13" fmla="*/ 45 h 68"/>
                <a:gd name="T14" fmla="*/ 23 w 69"/>
                <a:gd name="T15" fmla="*/ 51 h 68"/>
                <a:gd name="T16" fmla="*/ 30 w 69"/>
                <a:gd name="T17" fmla="*/ 55 h 68"/>
                <a:gd name="T18" fmla="*/ 34 w 69"/>
                <a:gd name="T19" fmla="*/ 55 h 68"/>
                <a:gd name="T20" fmla="*/ 43 w 69"/>
                <a:gd name="T21" fmla="*/ 54 h 68"/>
                <a:gd name="T22" fmla="*/ 49 w 69"/>
                <a:gd name="T23" fmla="*/ 48 h 68"/>
                <a:gd name="T24" fmla="*/ 54 w 69"/>
                <a:gd name="T25" fmla="*/ 42 h 68"/>
                <a:gd name="T26" fmla="*/ 56 w 69"/>
                <a:gd name="T27" fmla="*/ 33 h 68"/>
                <a:gd name="T28" fmla="*/ 55 w 69"/>
                <a:gd name="T29" fmla="*/ 29 h 68"/>
                <a:gd name="T30" fmla="*/ 52 w 69"/>
                <a:gd name="T31" fmla="*/ 21 h 68"/>
                <a:gd name="T32" fmla="*/ 46 w 69"/>
                <a:gd name="T33" fmla="*/ 16 h 68"/>
                <a:gd name="T34" fmla="*/ 39 w 69"/>
                <a:gd name="T35" fmla="*/ 13 h 68"/>
                <a:gd name="T36" fmla="*/ 34 w 69"/>
                <a:gd name="T37" fmla="*/ 68 h 68"/>
                <a:gd name="T38" fmla="*/ 28 w 69"/>
                <a:gd name="T39" fmla="*/ 66 h 68"/>
                <a:gd name="T40" fmla="*/ 15 w 69"/>
                <a:gd name="T41" fmla="*/ 62 h 68"/>
                <a:gd name="T42" fmla="*/ 7 w 69"/>
                <a:gd name="T43" fmla="*/ 53 h 68"/>
                <a:gd name="T44" fmla="*/ 1 w 69"/>
                <a:gd name="T45" fmla="*/ 41 h 68"/>
                <a:gd name="T46" fmla="*/ 0 w 69"/>
                <a:gd name="T47" fmla="*/ 33 h 68"/>
                <a:gd name="T48" fmla="*/ 3 w 69"/>
                <a:gd name="T49" fmla="*/ 20 h 68"/>
                <a:gd name="T50" fmla="*/ 11 w 69"/>
                <a:gd name="T51" fmla="*/ 10 h 68"/>
                <a:gd name="T52" fmla="*/ 22 w 69"/>
                <a:gd name="T53" fmla="*/ 2 h 68"/>
                <a:gd name="T54" fmla="*/ 34 w 69"/>
                <a:gd name="T55" fmla="*/ 0 h 68"/>
                <a:gd name="T56" fmla="*/ 41 w 69"/>
                <a:gd name="T57" fmla="*/ 0 h 68"/>
                <a:gd name="T58" fmla="*/ 54 w 69"/>
                <a:gd name="T59" fmla="*/ 5 h 68"/>
                <a:gd name="T60" fmla="*/ 62 w 69"/>
                <a:gd name="T61" fmla="*/ 15 h 68"/>
                <a:gd name="T62" fmla="*/ 68 w 69"/>
                <a:gd name="T63" fmla="*/ 27 h 68"/>
                <a:gd name="T64" fmla="*/ 69 w 69"/>
                <a:gd name="T65" fmla="*/ 33 h 68"/>
                <a:gd name="T66" fmla="*/ 65 w 69"/>
                <a:gd name="T67" fmla="*/ 47 h 68"/>
                <a:gd name="T68" fmla="*/ 58 w 69"/>
                <a:gd name="T69" fmla="*/ 58 h 68"/>
                <a:gd name="T70" fmla="*/ 47 w 69"/>
                <a:gd name="T71" fmla="*/ 64 h 68"/>
                <a:gd name="T72" fmla="*/ 34 w 69"/>
                <a:gd name="T7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" h="68">
                  <a:moveTo>
                    <a:pt x="34" y="12"/>
                  </a:moveTo>
                  <a:lnTo>
                    <a:pt x="34" y="12"/>
                  </a:lnTo>
                  <a:lnTo>
                    <a:pt x="30" y="13"/>
                  </a:lnTo>
                  <a:lnTo>
                    <a:pt x="26" y="14"/>
                  </a:lnTo>
                  <a:lnTo>
                    <a:pt x="23" y="16"/>
                  </a:lnTo>
                  <a:lnTo>
                    <a:pt x="19" y="18"/>
                  </a:lnTo>
                  <a:lnTo>
                    <a:pt x="16" y="21"/>
                  </a:lnTo>
                  <a:lnTo>
                    <a:pt x="15" y="26"/>
                  </a:lnTo>
                  <a:lnTo>
                    <a:pt x="13" y="29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8"/>
                  </a:lnTo>
                  <a:lnTo>
                    <a:pt x="15" y="42"/>
                  </a:lnTo>
                  <a:lnTo>
                    <a:pt x="16" y="45"/>
                  </a:lnTo>
                  <a:lnTo>
                    <a:pt x="19" y="48"/>
                  </a:lnTo>
                  <a:lnTo>
                    <a:pt x="23" y="51"/>
                  </a:lnTo>
                  <a:lnTo>
                    <a:pt x="26" y="54"/>
                  </a:lnTo>
                  <a:lnTo>
                    <a:pt x="30" y="55"/>
                  </a:lnTo>
                  <a:lnTo>
                    <a:pt x="34" y="55"/>
                  </a:lnTo>
                  <a:lnTo>
                    <a:pt x="34" y="55"/>
                  </a:lnTo>
                  <a:lnTo>
                    <a:pt x="39" y="55"/>
                  </a:lnTo>
                  <a:lnTo>
                    <a:pt x="43" y="54"/>
                  </a:lnTo>
                  <a:lnTo>
                    <a:pt x="46" y="51"/>
                  </a:lnTo>
                  <a:lnTo>
                    <a:pt x="49" y="48"/>
                  </a:lnTo>
                  <a:lnTo>
                    <a:pt x="52" y="45"/>
                  </a:lnTo>
                  <a:lnTo>
                    <a:pt x="54" y="42"/>
                  </a:lnTo>
                  <a:lnTo>
                    <a:pt x="55" y="38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5" y="29"/>
                  </a:lnTo>
                  <a:lnTo>
                    <a:pt x="54" y="26"/>
                  </a:lnTo>
                  <a:lnTo>
                    <a:pt x="52" y="21"/>
                  </a:lnTo>
                  <a:lnTo>
                    <a:pt x="49" y="18"/>
                  </a:lnTo>
                  <a:lnTo>
                    <a:pt x="46" y="16"/>
                  </a:lnTo>
                  <a:lnTo>
                    <a:pt x="43" y="14"/>
                  </a:lnTo>
                  <a:lnTo>
                    <a:pt x="39" y="13"/>
                  </a:lnTo>
                  <a:lnTo>
                    <a:pt x="34" y="12"/>
                  </a:lnTo>
                  <a:close/>
                  <a:moveTo>
                    <a:pt x="34" y="68"/>
                  </a:moveTo>
                  <a:lnTo>
                    <a:pt x="34" y="68"/>
                  </a:lnTo>
                  <a:lnTo>
                    <a:pt x="28" y="66"/>
                  </a:lnTo>
                  <a:lnTo>
                    <a:pt x="22" y="64"/>
                  </a:lnTo>
                  <a:lnTo>
                    <a:pt x="15" y="62"/>
                  </a:lnTo>
                  <a:lnTo>
                    <a:pt x="11" y="58"/>
                  </a:lnTo>
                  <a:lnTo>
                    <a:pt x="7" y="53"/>
                  </a:lnTo>
                  <a:lnTo>
                    <a:pt x="3" y="47"/>
                  </a:lnTo>
                  <a:lnTo>
                    <a:pt x="1" y="41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7"/>
                  </a:lnTo>
                  <a:lnTo>
                    <a:pt x="3" y="20"/>
                  </a:lnTo>
                  <a:lnTo>
                    <a:pt x="7" y="15"/>
                  </a:lnTo>
                  <a:lnTo>
                    <a:pt x="11" y="10"/>
                  </a:lnTo>
                  <a:lnTo>
                    <a:pt x="15" y="5"/>
                  </a:lnTo>
                  <a:lnTo>
                    <a:pt x="22" y="2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5"/>
                  </a:lnTo>
                  <a:lnTo>
                    <a:pt x="58" y="10"/>
                  </a:lnTo>
                  <a:lnTo>
                    <a:pt x="62" y="15"/>
                  </a:lnTo>
                  <a:lnTo>
                    <a:pt x="65" y="20"/>
                  </a:lnTo>
                  <a:lnTo>
                    <a:pt x="68" y="27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8" y="41"/>
                  </a:lnTo>
                  <a:lnTo>
                    <a:pt x="65" y="47"/>
                  </a:lnTo>
                  <a:lnTo>
                    <a:pt x="62" y="53"/>
                  </a:lnTo>
                  <a:lnTo>
                    <a:pt x="58" y="58"/>
                  </a:lnTo>
                  <a:lnTo>
                    <a:pt x="54" y="62"/>
                  </a:lnTo>
                  <a:lnTo>
                    <a:pt x="47" y="64"/>
                  </a:lnTo>
                  <a:lnTo>
                    <a:pt x="41" y="66"/>
                  </a:lnTo>
                  <a:lnTo>
                    <a:pt x="34" y="68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9" name="Freeform 121">
              <a:extLst>
                <a:ext uri="{FF2B5EF4-FFF2-40B4-BE49-F238E27FC236}">
                  <a16:creationId xmlns:a16="http://schemas.microsoft.com/office/drawing/2014/main" id="{1DD00E8A-6B98-45A6-A11A-0918C1A0C7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04075" y="196851"/>
              <a:ext cx="68263" cy="68263"/>
            </a:xfrm>
            <a:custGeom>
              <a:avLst/>
              <a:gdLst>
                <a:gd name="T0" fmla="*/ 21 w 43"/>
                <a:gd name="T1" fmla="*/ 0 h 43"/>
                <a:gd name="T2" fmla="*/ 21 w 43"/>
                <a:gd name="T3" fmla="*/ 0 h 43"/>
                <a:gd name="T4" fmla="*/ 17 w 43"/>
                <a:gd name="T5" fmla="*/ 1 h 43"/>
                <a:gd name="T6" fmla="*/ 13 w 43"/>
                <a:gd name="T7" fmla="*/ 2 h 43"/>
                <a:gd name="T8" fmla="*/ 10 w 43"/>
                <a:gd name="T9" fmla="*/ 4 h 43"/>
                <a:gd name="T10" fmla="*/ 6 w 43"/>
                <a:gd name="T11" fmla="*/ 6 h 43"/>
                <a:gd name="T12" fmla="*/ 3 w 43"/>
                <a:gd name="T13" fmla="*/ 9 h 43"/>
                <a:gd name="T14" fmla="*/ 2 w 43"/>
                <a:gd name="T15" fmla="*/ 14 h 43"/>
                <a:gd name="T16" fmla="*/ 0 w 43"/>
                <a:gd name="T17" fmla="*/ 17 h 43"/>
                <a:gd name="T18" fmla="*/ 0 w 43"/>
                <a:gd name="T19" fmla="*/ 21 h 43"/>
                <a:gd name="T20" fmla="*/ 0 w 43"/>
                <a:gd name="T21" fmla="*/ 21 h 43"/>
                <a:gd name="T22" fmla="*/ 0 w 43"/>
                <a:gd name="T23" fmla="*/ 26 h 43"/>
                <a:gd name="T24" fmla="*/ 2 w 43"/>
                <a:gd name="T25" fmla="*/ 30 h 43"/>
                <a:gd name="T26" fmla="*/ 3 w 43"/>
                <a:gd name="T27" fmla="*/ 33 h 43"/>
                <a:gd name="T28" fmla="*/ 6 w 43"/>
                <a:gd name="T29" fmla="*/ 36 h 43"/>
                <a:gd name="T30" fmla="*/ 10 w 43"/>
                <a:gd name="T31" fmla="*/ 39 h 43"/>
                <a:gd name="T32" fmla="*/ 13 w 43"/>
                <a:gd name="T33" fmla="*/ 42 h 43"/>
                <a:gd name="T34" fmla="*/ 17 w 43"/>
                <a:gd name="T35" fmla="*/ 43 h 43"/>
                <a:gd name="T36" fmla="*/ 21 w 43"/>
                <a:gd name="T37" fmla="*/ 43 h 43"/>
                <a:gd name="T38" fmla="*/ 21 w 43"/>
                <a:gd name="T39" fmla="*/ 43 h 43"/>
                <a:gd name="T40" fmla="*/ 26 w 43"/>
                <a:gd name="T41" fmla="*/ 43 h 43"/>
                <a:gd name="T42" fmla="*/ 30 w 43"/>
                <a:gd name="T43" fmla="*/ 42 h 43"/>
                <a:gd name="T44" fmla="*/ 33 w 43"/>
                <a:gd name="T45" fmla="*/ 39 h 43"/>
                <a:gd name="T46" fmla="*/ 36 w 43"/>
                <a:gd name="T47" fmla="*/ 36 h 43"/>
                <a:gd name="T48" fmla="*/ 39 w 43"/>
                <a:gd name="T49" fmla="*/ 33 h 43"/>
                <a:gd name="T50" fmla="*/ 41 w 43"/>
                <a:gd name="T51" fmla="*/ 30 h 43"/>
                <a:gd name="T52" fmla="*/ 42 w 43"/>
                <a:gd name="T53" fmla="*/ 26 h 43"/>
                <a:gd name="T54" fmla="*/ 43 w 43"/>
                <a:gd name="T55" fmla="*/ 21 h 43"/>
                <a:gd name="T56" fmla="*/ 43 w 43"/>
                <a:gd name="T57" fmla="*/ 21 h 43"/>
                <a:gd name="T58" fmla="*/ 42 w 43"/>
                <a:gd name="T59" fmla="*/ 17 h 43"/>
                <a:gd name="T60" fmla="*/ 41 w 43"/>
                <a:gd name="T61" fmla="*/ 14 h 43"/>
                <a:gd name="T62" fmla="*/ 39 w 43"/>
                <a:gd name="T63" fmla="*/ 9 h 43"/>
                <a:gd name="T64" fmla="*/ 36 w 43"/>
                <a:gd name="T65" fmla="*/ 6 h 43"/>
                <a:gd name="T66" fmla="*/ 33 w 43"/>
                <a:gd name="T67" fmla="*/ 4 h 43"/>
                <a:gd name="T68" fmla="*/ 30 w 43"/>
                <a:gd name="T69" fmla="*/ 2 h 43"/>
                <a:gd name="T70" fmla="*/ 26 w 43"/>
                <a:gd name="T71" fmla="*/ 1 h 43"/>
                <a:gd name="T72" fmla="*/ 21 w 43"/>
                <a:gd name="T7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3" h="43">
                  <a:moveTo>
                    <a:pt x="21" y="0"/>
                  </a:moveTo>
                  <a:lnTo>
                    <a:pt x="21" y="0"/>
                  </a:lnTo>
                  <a:lnTo>
                    <a:pt x="17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6" y="6"/>
                  </a:lnTo>
                  <a:lnTo>
                    <a:pt x="3" y="9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2" y="30"/>
                  </a:lnTo>
                  <a:lnTo>
                    <a:pt x="3" y="33"/>
                  </a:lnTo>
                  <a:lnTo>
                    <a:pt x="6" y="36"/>
                  </a:lnTo>
                  <a:lnTo>
                    <a:pt x="10" y="39"/>
                  </a:lnTo>
                  <a:lnTo>
                    <a:pt x="13" y="42"/>
                  </a:lnTo>
                  <a:lnTo>
                    <a:pt x="17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6" y="43"/>
                  </a:lnTo>
                  <a:lnTo>
                    <a:pt x="30" y="42"/>
                  </a:lnTo>
                  <a:lnTo>
                    <a:pt x="33" y="39"/>
                  </a:lnTo>
                  <a:lnTo>
                    <a:pt x="36" y="36"/>
                  </a:lnTo>
                  <a:lnTo>
                    <a:pt x="39" y="33"/>
                  </a:lnTo>
                  <a:lnTo>
                    <a:pt x="41" y="30"/>
                  </a:lnTo>
                  <a:lnTo>
                    <a:pt x="42" y="26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2" y="17"/>
                  </a:lnTo>
                  <a:lnTo>
                    <a:pt x="41" y="14"/>
                  </a:lnTo>
                  <a:lnTo>
                    <a:pt x="39" y="9"/>
                  </a:lnTo>
                  <a:lnTo>
                    <a:pt x="36" y="6"/>
                  </a:lnTo>
                  <a:lnTo>
                    <a:pt x="33" y="4"/>
                  </a:lnTo>
                  <a:lnTo>
                    <a:pt x="30" y="2"/>
                  </a:lnTo>
                  <a:lnTo>
                    <a:pt x="26" y="1"/>
                  </a:lnTo>
                  <a:lnTo>
                    <a:pt x="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0" name="Freeform 122">
              <a:extLst>
                <a:ext uri="{FF2B5EF4-FFF2-40B4-BE49-F238E27FC236}">
                  <a16:creationId xmlns:a16="http://schemas.microsoft.com/office/drawing/2014/main" id="{A5249941-6D95-4F23-9F3A-8B9E471CA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83438" y="177801"/>
              <a:ext cx="109538" cy="107950"/>
            </a:xfrm>
            <a:custGeom>
              <a:avLst/>
              <a:gdLst>
                <a:gd name="T0" fmla="*/ 34 w 69"/>
                <a:gd name="T1" fmla="*/ 68 h 68"/>
                <a:gd name="T2" fmla="*/ 34 w 69"/>
                <a:gd name="T3" fmla="*/ 68 h 68"/>
                <a:gd name="T4" fmla="*/ 28 w 69"/>
                <a:gd name="T5" fmla="*/ 66 h 68"/>
                <a:gd name="T6" fmla="*/ 22 w 69"/>
                <a:gd name="T7" fmla="*/ 64 h 68"/>
                <a:gd name="T8" fmla="*/ 15 w 69"/>
                <a:gd name="T9" fmla="*/ 62 h 68"/>
                <a:gd name="T10" fmla="*/ 11 w 69"/>
                <a:gd name="T11" fmla="*/ 58 h 68"/>
                <a:gd name="T12" fmla="*/ 7 w 69"/>
                <a:gd name="T13" fmla="*/ 53 h 68"/>
                <a:gd name="T14" fmla="*/ 3 w 69"/>
                <a:gd name="T15" fmla="*/ 47 h 68"/>
                <a:gd name="T16" fmla="*/ 1 w 69"/>
                <a:gd name="T17" fmla="*/ 41 h 68"/>
                <a:gd name="T18" fmla="*/ 0 w 69"/>
                <a:gd name="T19" fmla="*/ 33 h 68"/>
                <a:gd name="T20" fmla="*/ 0 w 69"/>
                <a:gd name="T21" fmla="*/ 33 h 68"/>
                <a:gd name="T22" fmla="*/ 1 w 69"/>
                <a:gd name="T23" fmla="*/ 27 h 68"/>
                <a:gd name="T24" fmla="*/ 3 w 69"/>
                <a:gd name="T25" fmla="*/ 20 h 68"/>
                <a:gd name="T26" fmla="*/ 7 w 69"/>
                <a:gd name="T27" fmla="*/ 15 h 68"/>
                <a:gd name="T28" fmla="*/ 11 w 69"/>
                <a:gd name="T29" fmla="*/ 10 h 68"/>
                <a:gd name="T30" fmla="*/ 15 w 69"/>
                <a:gd name="T31" fmla="*/ 5 h 68"/>
                <a:gd name="T32" fmla="*/ 22 w 69"/>
                <a:gd name="T33" fmla="*/ 2 h 68"/>
                <a:gd name="T34" fmla="*/ 28 w 69"/>
                <a:gd name="T35" fmla="*/ 0 h 68"/>
                <a:gd name="T36" fmla="*/ 34 w 69"/>
                <a:gd name="T37" fmla="*/ 0 h 68"/>
                <a:gd name="T38" fmla="*/ 34 w 69"/>
                <a:gd name="T39" fmla="*/ 0 h 68"/>
                <a:gd name="T40" fmla="*/ 41 w 69"/>
                <a:gd name="T41" fmla="*/ 0 h 68"/>
                <a:gd name="T42" fmla="*/ 47 w 69"/>
                <a:gd name="T43" fmla="*/ 2 h 68"/>
                <a:gd name="T44" fmla="*/ 54 w 69"/>
                <a:gd name="T45" fmla="*/ 5 h 68"/>
                <a:gd name="T46" fmla="*/ 58 w 69"/>
                <a:gd name="T47" fmla="*/ 10 h 68"/>
                <a:gd name="T48" fmla="*/ 62 w 69"/>
                <a:gd name="T49" fmla="*/ 15 h 68"/>
                <a:gd name="T50" fmla="*/ 65 w 69"/>
                <a:gd name="T51" fmla="*/ 20 h 68"/>
                <a:gd name="T52" fmla="*/ 68 w 69"/>
                <a:gd name="T53" fmla="*/ 27 h 68"/>
                <a:gd name="T54" fmla="*/ 69 w 69"/>
                <a:gd name="T55" fmla="*/ 33 h 68"/>
                <a:gd name="T56" fmla="*/ 69 w 69"/>
                <a:gd name="T57" fmla="*/ 33 h 68"/>
                <a:gd name="T58" fmla="*/ 68 w 69"/>
                <a:gd name="T59" fmla="*/ 41 h 68"/>
                <a:gd name="T60" fmla="*/ 65 w 69"/>
                <a:gd name="T61" fmla="*/ 47 h 68"/>
                <a:gd name="T62" fmla="*/ 62 w 69"/>
                <a:gd name="T63" fmla="*/ 53 h 68"/>
                <a:gd name="T64" fmla="*/ 58 w 69"/>
                <a:gd name="T65" fmla="*/ 58 h 68"/>
                <a:gd name="T66" fmla="*/ 54 w 69"/>
                <a:gd name="T67" fmla="*/ 62 h 68"/>
                <a:gd name="T68" fmla="*/ 47 w 69"/>
                <a:gd name="T69" fmla="*/ 64 h 68"/>
                <a:gd name="T70" fmla="*/ 41 w 69"/>
                <a:gd name="T71" fmla="*/ 66 h 68"/>
                <a:gd name="T72" fmla="*/ 34 w 69"/>
                <a:gd name="T7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" h="68">
                  <a:moveTo>
                    <a:pt x="34" y="68"/>
                  </a:moveTo>
                  <a:lnTo>
                    <a:pt x="34" y="68"/>
                  </a:lnTo>
                  <a:lnTo>
                    <a:pt x="28" y="66"/>
                  </a:lnTo>
                  <a:lnTo>
                    <a:pt x="22" y="64"/>
                  </a:lnTo>
                  <a:lnTo>
                    <a:pt x="15" y="62"/>
                  </a:lnTo>
                  <a:lnTo>
                    <a:pt x="11" y="58"/>
                  </a:lnTo>
                  <a:lnTo>
                    <a:pt x="7" y="53"/>
                  </a:lnTo>
                  <a:lnTo>
                    <a:pt x="3" y="47"/>
                  </a:lnTo>
                  <a:lnTo>
                    <a:pt x="1" y="41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27"/>
                  </a:lnTo>
                  <a:lnTo>
                    <a:pt x="3" y="20"/>
                  </a:lnTo>
                  <a:lnTo>
                    <a:pt x="7" y="15"/>
                  </a:lnTo>
                  <a:lnTo>
                    <a:pt x="11" y="10"/>
                  </a:lnTo>
                  <a:lnTo>
                    <a:pt x="15" y="5"/>
                  </a:lnTo>
                  <a:lnTo>
                    <a:pt x="22" y="2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5"/>
                  </a:lnTo>
                  <a:lnTo>
                    <a:pt x="58" y="10"/>
                  </a:lnTo>
                  <a:lnTo>
                    <a:pt x="62" y="15"/>
                  </a:lnTo>
                  <a:lnTo>
                    <a:pt x="65" y="20"/>
                  </a:lnTo>
                  <a:lnTo>
                    <a:pt x="68" y="27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8" y="41"/>
                  </a:lnTo>
                  <a:lnTo>
                    <a:pt x="65" y="47"/>
                  </a:lnTo>
                  <a:lnTo>
                    <a:pt x="62" y="53"/>
                  </a:lnTo>
                  <a:lnTo>
                    <a:pt x="58" y="58"/>
                  </a:lnTo>
                  <a:lnTo>
                    <a:pt x="54" y="62"/>
                  </a:lnTo>
                  <a:lnTo>
                    <a:pt x="47" y="64"/>
                  </a:lnTo>
                  <a:lnTo>
                    <a:pt x="41" y="66"/>
                  </a:lnTo>
                  <a:lnTo>
                    <a:pt x="34" y="6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1" name="Freeform 123">
              <a:extLst>
                <a:ext uri="{FF2B5EF4-FFF2-40B4-BE49-F238E27FC236}">
                  <a16:creationId xmlns:a16="http://schemas.microsoft.com/office/drawing/2014/main" id="{4467F542-5156-4AA2-B167-D7E8AE14CD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05650" y="169863"/>
              <a:ext cx="42863" cy="123825"/>
            </a:xfrm>
            <a:custGeom>
              <a:avLst/>
              <a:gdLst>
                <a:gd name="T0" fmla="*/ 20 w 27"/>
                <a:gd name="T1" fmla="*/ 78 h 78"/>
                <a:gd name="T2" fmla="*/ 20 w 27"/>
                <a:gd name="T3" fmla="*/ 78 h 78"/>
                <a:gd name="T4" fmla="*/ 18 w 27"/>
                <a:gd name="T5" fmla="*/ 77 h 78"/>
                <a:gd name="T6" fmla="*/ 16 w 27"/>
                <a:gd name="T7" fmla="*/ 76 h 78"/>
                <a:gd name="T8" fmla="*/ 16 w 27"/>
                <a:gd name="T9" fmla="*/ 76 h 78"/>
                <a:gd name="T10" fmla="*/ 9 w 27"/>
                <a:gd name="T11" fmla="*/ 67 h 78"/>
                <a:gd name="T12" fmla="*/ 4 w 27"/>
                <a:gd name="T13" fmla="*/ 59 h 78"/>
                <a:gd name="T14" fmla="*/ 1 w 27"/>
                <a:gd name="T15" fmla="*/ 49 h 78"/>
                <a:gd name="T16" fmla="*/ 0 w 27"/>
                <a:gd name="T17" fmla="*/ 38 h 78"/>
                <a:gd name="T18" fmla="*/ 1 w 27"/>
                <a:gd name="T19" fmla="*/ 29 h 78"/>
                <a:gd name="T20" fmla="*/ 4 w 27"/>
                <a:gd name="T21" fmla="*/ 19 h 78"/>
                <a:gd name="T22" fmla="*/ 9 w 27"/>
                <a:gd name="T23" fmla="*/ 9 h 78"/>
                <a:gd name="T24" fmla="*/ 16 w 27"/>
                <a:gd name="T25" fmla="*/ 2 h 78"/>
                <a:gd name="T26" fmla="*/ 16 w 27"/>
                <a:gd name="T27" fmla="*/ 2 h 78"/>
                <a:gd name="T28" fmla="*/ 18 w 27"/>
                <a:gd name="T29" fmla="*/ 0 h 78"/>
                <a:gd name="T30" fmla="*/ 20 w 27"/>
                <a:gd name="T31" fmla="*/ 0 h 78"/>
                <a:gd name="T32" fmla="*/ 22 w 27"/>
                <a:gd name="T33" fmla="*/ 0 h 78"/>
                <a:gd name="T34" fmla="*/ 24 w 27"/>
                <a:gd name="T35" fmla="*/ 2 h 78"/>
                <a:gd name="T36" fmla="*/ 24 w 27"/>
                <a:gd name="T37" fmla="*/ 2 h 78"/>
                <a:gd name="T38" fmla="*/ 26 w 27"/>
                <a:gd name="T39" fmla="*/ 3 h 78"/>
                <a:gd name="T40" fmla="*/ 27 w 27"/>
                <a:gd name="T41" fmla="*/ 6 h 78"/>
                <a:gd name="T42" fmla="*/ 26 w 27"/>
                <a:gd name="T43" fmla="*/ 8 h 78"/>
                <a:gd name="T44" fmla="*/ 24 w 27"/>
                <a:gd name="T45" fmla="*/ 10 h 78"/>
                <a:gd name="T46" fmla="*/ 24 w 27"/>
                <a:gd name="T47" fmla="*/ 10 h 78"/>
                <a:gd name="T48" fmla="*/ 19 w 27"/>
                <a:gd name="T49" fmla="*/ 17 h 78"/>
                <a:gd name="T50" fmla="*/ 16 w 27"/>
                <a:gd name="T51" fmla="*/ 23 h 78"/>
                <a:gd name="T52" fmla="*/ 14 w 27"/>
                <a:gd name="T53" fmla="*/ 31 h 78"/>
                <a:gd name="T54" fmla="*/ 13 w 27"/>
                <a:gd name="T55" fmla="*/ 38 h 78"/>
                <a:gd name="T56" fmla="*/ 14 w 27"/>
                <a:gd name="T57" fmla="*/ 46 h 78"/>
                <a:gd name="T58" fmla="*/ 16 w 27"/>
                <a:gd name="T59" fmla="*/ 53 h 78"/>
                <a:gd name="T60" fmla="*/ 19 w 27"/>
                <a:gd name="T61" fmla="*/ 61 h 78"/>
                <a:gd name="T62" fmla="*/ 24 w 27"/>
                <a:gd name="T63" fmla="*/ 67 h 78"/>
                <a:gd name="T64" fmla="*/ 24 w 27"/>
                <a:gd name="T65" fmla="*/ 67 h 78"/>
                <a:gd name="T66" fmla="*/ 26 w 27"/>
                <a:gd name="T67" fmla="*/ 69 h 78"/>
                <a:gd name="T68" fmla="*/ 27 w 27"/>
                <a:gd name="T69" fmla="*/ 71 h 78"/>
                <a:gd name="T70" fmla="*/ 26 w 27"/>
                <a:gd name="T71" fmla="*/ 74 h 78"/>
                <a:gd name="T72" fmla="*/ 24 w 27"/>
                <a:gd name="T73" fmla="*/ 76 h 78"/>
                <a:gd name="T74" fmla="*/ 24 w 27"/>
                <a:gd name="T75" fmla="*/ 76 h 78"/>
                <a:gd name="T76" fmla="*/ 22 w 27"/>
                <a:gd name="T77" fmla="*/ 77 h 78"/>
                <a:gd name="T78" fmla="*/ 20 w 27"/>
                <a:gd name="T7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7" h="78">
                  <a:moveTo>
                    <a:pt x="20" y="78"/>
                  </a:moveTo>
                  <a:lnTo>
                    <a:pt x="20" y="78"/>
                  </a:lnTo>
                  <a:lnTo>
                    <a:pt x="18" y="77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9" y="67"/>
                  </a:lnTo>
                  <a:lnTo>
                    <a:pt x="4" y="59"/>
                  </a:lnTo>
                  <a:lnTo>
                    <a:pt x="1" y="49"/>
                  </a:lnTo>
                  <a:lnTo>
                    <a:pt x="0" y="38"/>
                  </a:lnTo>
                  <a:lnTo>
                    <a:pt x="1" y="29"/>
                  </a:lnTo>
                  <a:lnTo>
                    <a:pt x="4" y="19"/>
                  </a:lnTo>
                  <a:lnTo>
                    <a:pt x="9" y="9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6" y="3"/>
                  </a:lnTo>
                  <a:lnTo>
                    <a:pt x="27" y="6"/>
                  </a:lnTo>
                  <a:lnTo>
                    <a:pt x="26" y="8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19" y="17"/>
                  </a:lnTo>
                  <a:lnTo>
                    <a:pt x="16" y="23"/>
                  </a:lnTo>
                  <a:lnTo>
                    <a:pt x="14" y="31"/>
                  </a:lnTo>
                  <a:lnTo>
                    <a:pt x="13" y="38"/>
                  </a:lnTo>
                  <a:lnTo>
                    <a:pt x="14" y="46"/>
                  </a:lnTo>
                  <a:lnTo>
                    <a:pt x="16" y="53"/>
                  </a:lnTo>
                  <a:lnTo>
                    <a:pt x="19" y="61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6" y="69"/>
                  </a:lnTo>
                  <a:lnTo>
                    <a:pt x="27" y="71"/>
                  </a:lnTo>
                  <a:lnTo>
                    <a:pt x="26" y="74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2" y="77"/>
                  </a:lnTo>
                  <a:lnTo>
                    <a:pt x="20" y="78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2" name="Freeform 124">
              <a:extLst>
                <a:ext uri="{FF2B5EF4-FFF2-40B4-BE49-F238E27FC236}">
                  <a16:creationId xmlns:a16="http://schemas.microsoft.com/office/drawing/2014/main" id="{4FCD1315-0612-409D-80A6-D0E59C5F99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05650" y="169863"/>
              <a:ext cx="42863" cy="123825"/>
            </a:xfrm>
            <a:custGeom>
              <a:avLst/>
              <a:gdLst>
                <a:gd name="T0" fmla="*/ 20 w 27"/>
                <a:gd name="T1" fmla="*/ 78 h 78"/>
                <a:gd name="T2" fmla="*/ 20 w 27"/>
                <a:gd name="T3" fmla="*/ 78 h 78"/>
                <a:gd name="T4" fmla="*/ 18 w 27"/>
                <a:gd name="T5" fmla="*/ 77 h 78"/>
                <a:gd name="T6" fmla="*/ 16 w 27"/>
                <a:gd name="T7" fmla="*/ 76 h 78"/>
                <a:gd name="T8" fmla="*/ 16 w 27"/>
                <a:gd name="T9" fmla="*/ 76 h 78"/>
                <a:gd name="T10" fmla="*/ 9 w 27"/>
                <a:gd name="T11" fmla="*/ 67 h 78"/>
                <a:gd name="T12" fmla="*/ 4 w 27"/>
                <a:gd name="T13" fmla="*/ 59 h 78"/>
                <a:gd name="T14" fmla="*/ 1 w 27"/>
                <a:gd name="T15" fmla="*/ 49 h 78"/>
                <a:gd name="T16" fmla="*/ 0 w 27"/>
                <a:gd name="T17" fmla="*/ 38 h 78"/>
                <a:gd name="T18" fmla="*/ 1 w 27"/>
                <a:gd name="T19" fmla="*/ 29 h 78"/>
                <a:gd name="T20" fmla="*/ 4 w 27"/>
                <a:gd name="T21" fmla="*/ 19 h 78"/>
                <a:gd name="T22" fmla="*/ 9 w 27"/>
                <a:gd name="T23" fmla="*/ 9 h 78"/>
                <a:gd name="T24" fmla="*/ 16 w 27"/>
                <a:gd name="T25" fmla="*/ 2 h 78"/>
                <a:gd name="T26" fmla="*/ 16 w 27"/>
                <a:gd name="T27" fmla="*/ 2 h 78"/>
                <a:gd name="T28" fmla="*/ 18 w 27"/>
                <a:gd name="T29" fmla="*/ 0 h 78"/>
                <a:gd name="T30" fmla="*/ 20 w 27"/>
                <a:gd name="T31" fmla="*/ 0 h 78"/>
                <a:gd name="T32" fmla="*/ 22 w 27"/>
                <a:gd name="T33" fmla="*/ 0 h 78"/>
                <a:gd name="T34" fmla="*/ 24 w 27"/>
                <a:gd name="T35" fmla="*/ 2 h 78"/>
                <a:gd name="T36" fmla="*/ 24 w 27"/>
                <a:gd name="T37" fmla="*/ 2 h 78"/>
                <a:gd name="T38" fmla="*/ 26 w 27"/>
                <a:gd name="T39" fmla="*/ 3 h 78"/>
                <a:gd name="T40" fmla="*/ 27 w 27"/>
                <a:gd name="T41" fmla="*/ 6 h 78"/>
                <a:gd name="T42" fmla="*/ 26 w 27"/>
                <a:gd name="T43" fmla="*/ 8 h 78"/>
                <a:gd name="T44" fmla="*/ 24 w 27"/>
                <a:gd name="T45" fmla="*/ 10 h 78"/>
                <a:gd name="T46" fmla="*/ 24 w 27"/>
                <a:gd name="T47" fmla="*/ 10 h 78"/>
                <a:gd name="T48" fmla="*/ 19 w 27"/>
                <a:gd name="T49" fmla="*/ 17 h 78"/>
                <a:gd name="T50" fmla="*/ 16 w 27"/>
                <a:gd name="T51" fmla="*/ 23 h 78"/>
                <a:gd name="T52" fmla="*/ 14 w 27"/>
                <a:gd name="T53" fmla="*/ 31 h 78"/>
                <a:gd name="T54" fmla="*/ 13 w 27"/>
                <a:gd name="T55" fmla="*/ 38 h 78"/>
                <a:gd name="T56" fmla="*/ 14 w 27"/>
                <a:gd name="T57" fmla="*/ 46 h 78"/>
                <a:gd name="T58" fmla="*/ 16 w 27"/>
                <a:gd name="T59" fmla="*/ 53 h 78"/>
                <a:gd name="T60" fmla="*/ 19 w 27"/>
                <a:gd name="T61" fmla="*/ 61 h 78"/>
                <a:gd name="T62" fmla="*/ 24 w 27"/>
                <a:gd name="T63" fmla="*/ 67 h 78"/>
                <a:gd name="T64" fmla="*/ 24 w 27"/>
                <a:gd name="T65" fmla="*/ 67 h 78"/>
                <a:gd name="T66" fmla="*/ 26 w 27"/>
                <a:gd name="T67" fmla="*/ 69 h 78"/>
                <a:gd name="T68" fmla="*/ 27 w 27"/>
                <a:gd name="T69" fmla="*/ 71 h 78"/>
                <a:gd name="T70" fmla="*/ 26 w 27"/>
                <a:gd name="T71" fmla="*/ 74 h 78"/>
                <a:gd name="T72" fmla="*/ 24 w 27"/>
                <a:gd name="T73" fmla="*/ 76 h 78"/>
                <a:gd name="T74" fmla="*/ 24 w 27"/>
                <a:gd name="T75" fmla="*/ 76 h 78"/>
                <a:gd name="T76" fmla="*/ 22 w 27"/>
                <a:gd name="T77" fmla="*/ 77 h 78"/>
                <a:gd name="T78" fmla="*/ 20 w 27"/>
                <a:gd name="T7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7" h="78">
                  <a:moveTo>
                    <a:pt x="20" y="78"/>
                  </a:moveTo>
                  <a:lnTo>
                    <a:pt x="20" y="78"/>
                  </a:lnTo>
                  <a:lnTo>
                    <a:pt x="18" y="77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9" y="67"/>
                  </a:lnTo>
                  <a:lnTo>
                    <a:pt x="4" y="59"/>
                  </a:lnTo>
                  <a:lnTo>
                    <a:pt x="1" y="49"/>
                  </a:lnTo>
                  <a:lnTo>
                    <a:pt x="0" y="38"/>
                  </a:lnTo>
                  <a:lnTo>
                    <a:pt x="1" y="29"/>
                  </a:lnTo>
                  <a:lnTo>
                    <a:pt x="4" y="19"/>
                  </a:lnTo>
                  <a:lnTo>
                    <a:pt x="9" y="9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6" y="3"/>
                  </a:lnTo>
                  <a:lnTo>
                    <a:pt x="27" y="6"/>
                  </a:lnTo>
                  <a:lnTo>
                    <a:pt x="26" y="8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19" y="17"/>
                  </a:lnTo>
                  <a:lnTo>
                    <a:pt x="16" y="23"/>
                  </a:lnTo>
                  <a:lnTo>
                    <a:pt x="14" y="31"/>
                  </a:lnTo>
                  <a:lnTo>
                    <a:pt x="13" y="38"/>
                  </a:lnTo>
                  <a:lnTo>
                    <a:pt x="14" y="46"/>
                  </a:lnTo>
                  <a:lnTo>
                    <a:pt x="16" y="53"/>
                  </a:lnTo>
                  <a:lnTo>
                    <a:pt x="19" y="61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6" y="69"/>
                  </a:lnTo>
                  <a:lnTo>
                    <a:pt x="27" y="71"/>
                  </a:lnTo>
                  <a:lnTo>
                    <a:pt x="26" y="74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2" y="77"/>
                  </a:lnTo>
                  <a:lnTo>
                    <a:pt x="20" y="7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3" name="Freeform 125">
              <a:extLst>
                <a:ext uri="{FF2B5EF4-FFF2-40B4-BE49-F238E27FC236}">
                  <a16:creationId xmlns:a16="http://schemas.microsoft.com/office/drawing/2014/main" id="{4F366127-1D5D-49B0-B806-40F8D8916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58025" y="133351"/>
              <a:ext cx="53975" cy="193675"/>
            </a:xfrm>
            <a:custGeom>
              <a:avLst/>
              <a:gdLst>
                <a:gd name="T0" fmla="*/ 29 w 34"/>
                <a:gd name="T1" fmla="*/ 122 h 122"/>
                <a:gd name="T2" fmla="*/ 29 w 34"/>
                <a:gd name="T3" fmla="*/ 122 h 122"/>
                <a:gd name="T4" fmla="*/ 26 w 34"/>
                <a:gd name="T5" fmla="*/ 122 h 122"/>
                <a:gd name="T6" fmla="*/ 23 w 34"/>
                <a:gd name="T7" fmla="*/ 120 h 122"/>
                <a:gd name="T8" fmla="*/ 23 w 34"/>
                <a:gd name="T9" fmla="*/ 120 h 122"/>
                <a:gd name="T10" fmla="*/ 18 w 34"/>
                <a:gd name="T11" fmla="*/ 115 h 122"/>
                <a:gd name="T12" fmla="*/ 13 w 34"/>
                <a:gd name="T13" fmla="*/ 107 h 122"/>
                <a:gd name="T14" fmla="*/ 8 w 34"/>
                <a:gd name="T15" fmla="*/ 101 h 122"/>
                <a:gd name="T16" fmla="*/ 5 w 34"/>
                <a:gd name="T17" fmla="*/ 93 h 122"/>
                <a:gd name="T18" fmla="*/ 3 w 34"/>
                <a:gd name="T19" fmla="*/ 86 h 122"/>
                <a:gd name="T20" fmla="*/ 1 w 34"/>
                <a:gd name="T21" fmla="*/ 77 h 122"/>
                <a:gd name="T22" fmla="*/ 0 w 34"/>
                <a:gd name="T23" fmla="*/ 70 h 122"/>
                <a:gd name="T24" fmla="*/ 0 w 34"/>
                <a:gd name="T25" fmla="*/ 61 h 122"/>
                <a:gd name="T26" fmla="*/ 0 w 34"/>
                <a:gd name="T27" fmla="*/ 54 h 122"/>
                <a:gd name="T28" fmla="*/ 1 w 34"/>
                <a:gd name="T29" fmla="*/ 45 h 122"/>
                <a:gd name="T30" fmla="*/ 3 w 34"/>
                <a:gd name="T31" fmla="*/ 38 h 122"/>
                <a:gd name="T32" fmla="*/ 5 w 34"/>
                <a:gd name="T33" fmla="*/ 30 h 122"/>
                <a:gd name="T34" fmla="*/ 8 w 34"/>
                <a:gd name="T35" fmla="*/ 23 h 122"/>
                <a:gd name="T36" fmla="*/ 13 w 34"/>
                <a:gd name="T37" fmla="*/ 15 h 122"/>
                <a:gd name="T38" fmla="*/ 18 w 34"/>
                <a:gd name="T39" fmla="*/ 9 h 122"/>
                <a:gd name="T40" fmla="*/ 23 w 34"/>
                <a:gd name="T41" fmla="*/ 2 h 122"/>
                <a:gd name="T42" fmla="*/ 23 w 34"/>
                <a:gd name="T43" fmla="*/ 2 h 122"/>
                <a:gd name="T44" fmla="*/ 26 w 34"/>
                <a:gd name="T45" fmla="*/ 1 h 122"/>
                <a:gd name="T46" fmla="*/ 29 w 34"/>
                <a:gd name="T47" fmla="*/ 0 h 122"/>
                <a:gd name="T48" fmla="*/ 31 w 34"/>
                <a:gd name="T49" fmla="*/ 1 h 122"/>
                <a:gd name="T50" fmla="*/ 33 w 34"/>
                <a:gd name="T51" fmla="*/ 2 h 122"/>
                <a:gd name="T52" fmla="*/ 33 w 34"/>
                <a:gd name="T53" fmla="*/ 2 h 122"/>
                <a:gd name="T54" fmla="*/ 34 w 34"/>
                <a:gd name="T55" fmla="*/ 4 h 122"/>
                <a:gd name="T56" fmla="*/ 34 w 34"/>
                <a:gd name="T57" fmla="*/ 7 h 122"/>
                <a:gd name="T58" fmla="*/ 34 w 34"/>
                <a:gd name="T59" fmla="*/ 9 h 122"/>
                <a:gd name="T60" fmla="*/ 33 w 34"/>
                <a:gd name="T61" fmla="*/ 11 h 122"/>
                <a:gd name="T62" fmla="*/ 33 w 34"/>
                <a:gd name="T63" fmla="*/ 11 h 122"/>
                <a:gd name="T64" fmla="*/ 28 w 34"/>
                <a:gd name="T65" fmla="*/ 16 h 122"/>
                <a:gd name="T66" fmla="*/ 23 w 34"/>
                <a:gd name="T67" fmla="*/ 23 h 122"/>
                <a:gd name="T68" fmla="*/ 20 w 34"/>
                <a:gd name="T69" fmla="*/ 28 h 122"/>
                <a:gd name="T70" fmla="*/ 17 w 34"/>
                <a:gd name="T71" fmla="*/ 34 h 122"/>
                <a:gd name="T72" fmla="*/ 15 w 34"/>
                <a:gd name="T73" fmla="*/ 41 h 122"/>
                <a:gd name="T74" fmla="*/ 13 w 34"/>
                <a:gd name="T75" fmla="*/ 48 h 122"/>
                <a:gd name="T76" fmla="*/ 13 w 34"/>
                <a:gd name="T77" fmla="*/ 55 h 122"/>
                <a:gd name="T78" fmla="*/ 12 w 34"/>
                <a:gd name="T79" fmla="*/ 61 h 122"/>
                <a:gd name="T80" fmla="*/ 13 w 34"/>
                <a:gd name="T81" fmla="*/ 69 h 122"/>
                <a:gd name="T82" fmla="*/ 13 w 34"/>
                <a:gd name="T83" fmla="*/ 75 h 122"/>
                <a:gd name="T84" fmla="*/ 15 w 34"/>
                <a:gd name="T85" fmla="*/ 82 h 122"/>
                <a:gd name="T86" fmla="*/ 17 w 34"/>
                <a:gd name="T87" fmla="*/ 88 h 122"/>
                <a:gd name="T88" fmla="*/ 20 w 34"/>
                <a:gd name="T89" fmla="*/ 94 h 122"/>
                <a:gd name="T90" fmla="*/ 23 w 34"/>
                <a:gd name="T91" fmla="*/ 101 h 122"/>
                <a:gd name="T92" fmla="*/ 28 w 34"/>
                <a:gd name="T93" fmla="*/ 106 h 122"/>
                <a:gd name="T94" fmla="*/ 33 w 34"/>
                <a:gd name="T95" fmla="*/ 112 h 122"/>
                <a:gd name="T96" fmla="*/ 33 w 34"/>
                <a:gd name="T97" fmla="*/ 112 h 122"/>
                <a:gd name="T98" fmla="*/ 34 w 34"/>
                <a:gd name="T99" fmla="*/ 114 h 122"/>
                <a:gd name="T100" fmla="*/ 34 w 34"/>
                <a:gd name="T101" fmla="*/ 116 h 122"/>
                <a:gd name="T102" fmla="*/ 34 w 34"/>
                <a:gd name="T103" fmla="*/ 119 h 122"/>
                <a:gd name="T104" fmla="*/ 33 w 34"/>
                <a:gd name="T105" fmla="*/ 120 h 122"/>
                <a:gd name="T106" fmla="*/ 33 w 34"/>
                <a:gd name="T107" fmla="*/ 120 h 122"/>
                <a:gd name="T108" fmla="*/ 31 w 34"/>
                <a:gd name="T109" fmla="*/ 122 h 122"/>
                <a:gd name="T110" fmla="*/ 29 w 34"/>
                <a:gd name="T111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" h="122">
                  <a:moveTo>
                    <a:pt x="29" y="122"/>
                  </a:moveTo>
                  <a:lnTo>
                    <a:pt x="29" y="122"/>
                  </a:lnTo>
                  <a:lnTo>
                    <a:pt x="26" y="122"/>
                  </a:lnTo>
                  <a:lnTo>
                    <a:pt x="23" y="120"/>
                  </a:lnTo>
                  <a:lnTo>
                    <a:pt x="23" y="120"/>
                  </a:lnTo>
                  <a:lnTo>
                    <a:pt x="18" y="115"/>
                  </a:lnTo>
                  <a:lnTo>
                    <a:pt x="13" y="107"/>
                  </a:lnTo>
                  <a:lnTo>
                    <a:pt x="8" y="101"/>
                  </a:lnTo>
                  <a:lnTo>
                    <a:pt x="5" y="93"/>
                  </a:lnTo>
                  <a:lnTo>
                    <a:pt x="3" y="86"/>
                  </a:lnTo>
                  <a:lnTo>
                    <a:pt x="1" y="77"/>
                  </a:lnTo>
                  <a:lnTo>
                    <a:pt x="0" y="70"/>
                  </a:lnTo>
                  <a:lnTo>
                    <a:pt x="0" y="61"/>
                  </a:lnTo>
                  <a:lnTo>
                    <a:pt x="0" y="54"/>
                  </a:lnTo>
                  <a:lnTo>
                    <a:pt x="1" y="45"/>
                  </a:lnTo>
                  <a:lnTo>
                    <a:pt x="3" y="38"/>
                  </a:lnTo>
                  <a:lnTo>
                    <a:pt x="5" y="30"/>
                  </a:lnTo>
                  <a:lnTo>
                    <a:pt x="8" y="23"/>
                  </a:lnTo>
                  <a:lnTo>
                    <a:pt x="13" y="15"/>
                  </a:lnTo>
                  <a:lnTo>
                    <a:pt x="18" y="9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31" y="1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4" y="4"/>
                  </a:lnTo>
                  <a:lnTo>
                    <a:pt x="34" y="7"/>
                  </a:lnTo>
                  <a:lnTo>
                    <a:pt x="34" y="9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28" y="16"/>
                  </a:lnTo>
                  <a:lnTo>
                    <a:pt x="23" y="23"/>
                  </a:lnTo>
                  <a:lnTo>
                    <a:pt x="20" y="28"/>
                  </a:lnTo>
                  <a:lnTo>
                    <a:pt x="17" y="34"/>
                  </a:lnTo>
                  <a:lnTo>
                    <a:pt x="15" y="41"/>
                  </a:lnTo>
                  <a:lnTo>
                    <a:pt x="13" y="48"/>
                  </a:lnTo>
                  <a:lnTo>
                    <a:pt x="13" y="55"/>
                  </a:lnTo>
                  <a:lnTo>
                    <a:pt x="12" y="61"/>
                  </a:lnTo>
                  <a:lnTo>
                    <a:pt x="13" y="69"/>
                  </a:lnTo>
                  <a:lnTo>
                    <a:pt x="13" y="75"/>
                  </a:lnTo>
                  <a:lnTo>
                    <a:pt x="15" y="82"/>
                  </a:lnTo>
                  <a:lnTo>
                    <a:pt x="17" y="88"/>
                  </a:lnTo>
                  <a:lnTo>
                    <a:pt x="20" y="94"/>
                  </a:lnTo>
                  <a:lnTo>
                    <a:pt x="23" y="101"/>
                  </a:lnTo>
                  <a:lnTo>
                    <a:pt x="28" y="106"/>
                  </a:lnTo>
                  <a:lnTo>
                    <a:pt x="33" y="112"/>
                  </a:lnTo>
                  <a:lnTo>
                    <a:pt x="33" y="112"/>
                  </a:lnTo>
                  <a:lnTo>
                    <a:pt x="34" y="114"/>
                  </a:lnTo>
                  <a:lnTo>
                    <a:pt x="34" y="116"/>
                  </a:lnTo>
                  <a:lnTo>
                    <a:pt x="34" y="119"/>
                  </a:lnTo>
                  <a:lnTo>
                    <a:pt x="33" y="120"/>
                  </a:lnTo>
                  <a:lnTo>
                    <a:pt x="33" y="120"/>
                  </a:lnTo>
                  <a:lnTo>
                    <a:pt x="31" y="122"/>
                  </a:lnTo>
                  <a:lnTo>
                    <a:pt x="29" y="122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4" name="Freeform 126">
              <a:extLst>
                <a:ext uri="{FF2B5EF4-FFF2-40B4-BE49-F238E27FC236}">
                  <a16:creationId xmlns:a16="http://schemas.microsoft.com/office/drawing/2014/main" id="{807B201D-0971-4122-B6CE-AECD8273B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58025" y="133351"/>
              <a:ext cx="53975" cy="193675"/>
            </a:xfrm>
            <a:custGeom>
              <a:avLst/>
              <a:gdLst>
                <a:gd name="T0" fmla="*/ 29 w 34"/>
                <a:gd name="T1" fmla="*/ 122 h 122"/>
                <a:gd name="T2" fmla="*/ 29 w 34"/>
                <a:gd name="T3" fmla="*/ 122 h 122"/>
                <a:gd name="T4" fmla="*/ 26 w 34"/>
                <a:gd name="T5" fmla="*/ 122 h 122"/>
                <a:gd name="T6" fmla="*/ 23 w 34"/>
                <a:gd name="T7" fmla="*/ 120 h 122"/>
                <a:gd name="T8" fmla="*/ 23 w 34"/>
                <a:gd name="T9" fmla="*/ 120 h 122"/>
                <a:gd name="T10" fmla="*/ 18 w 34"/>
                <a:gd name="T11" fmla="*/ 115 h 122"/>
                <a:gd name="T12" fmla="*/ 13 w 34"/>
                <a:gd name="T13" fmla="*/ 107 h 122"/>
                <a:gd name="T14" fmla="*/ 8 w 34"/>
                <a:gd name="T15" fmla="*/ 101 h 122"/>
                <a:gd name="T16" fmla="*/ 5 w 34"/>
                <a:gd name="T17" fmla="*/ 93 h 122"/>
                <a:gd name="T18" fmla="*/ 3 w 34"/>
                <a:gd name="T19" fmla="*/ 86 h 122"/>
                <a:gd name="T20" fmla="*/ 1 w 34"/>
                <a:gd name="T21" fmla="*/ 77 h 122"/>
                <a:gd name="T22" fmla="*/ 0 w 34"/>
                <a:gd name="T23" fmla="*/ 70 h 122"/>
                <a:gd name="T24" fmla="*/ 0 w 34"/>
                <a:gd name="T25" fmla="*/ 61 h 122"/>
                <a:gd name="T26" fmla="*/ 0 w 34"/>
                <a:gd name="T27" fmla="*/ 54 h 122"/>
                <a:gd name="T28" fmla="*/ 1 w 34"/>
                <a:gd name="T29" fmla="*/ 45 h 122"/>
                <a:gd name="T30" fmla="*/ 3 w 34"/>
                <a:gd name="T31" fmla="*/ 38 h 122"/>
                <a:gd name="T32" fmla="*/ 5 w 34"/>
                <a:gd name="T33" fmla="*/ 30 h 122"/>
                <a:gd name="T34" fmla="*/ 8 w 34"/>
                <a:gd name="T35" fmla="*/ 23 h 122"/>
                <a:gd name="T36" fmla="*/ 13 w 34"/>
                <a:gd name="T37" fmla="*/ 15 h 122"/>
                <a:gd name="T38" fmla="*/ 18 w 34"/>
                <a:gd name="T39" fmla="*/ 9 h 122"/>
                <a:gd name="T40" fmla="*/ 23 w 34"/>
                <a:gd name="T41" fmla="*/ 2 h 122"/>
                <a:gd name="T42" fmla="*/ 23 w 34"/>
                <a:gd name="T43" fmla="*/ 2 h 122"/>
                <a:gd name="T44" fmla="*/ 26 w 34"/>
                <a:gd name="T45" fmla="*/ 1 h 122"/>
                <a:gd name="T46" fmla="*/ 29 w 34"/>
                <a:gd name="T47" fmla="*/ 0 h 122"/>
                <a:gd name="T48" fmla="*/ 31 w 34"/>
                <a:gd name="T49" fmla="*/ 1 h 122"/>
                <a:gd name="T50" fmla="*/ 33 w 34"/>
                <a:gd name="T51" fmla="*/ 2 h 122"/>
                <a:gd name="T52" fmla="*/ 33 w 34"/>
                <a:gd name="T53" fmla="*/ 2 h 122"/>
                <a:gd name="T54" fmla="*/ 34 w 34"/>
                <a:gd name="T55" fmla="*/ 4 h 122"/>
                <a:gd name="T56" fmla="*/ 34 w 34"/>
                <a:gd name="T57" fmla="*/ 7 h 122"/>
                <a:gd name="T58" fmla="*/ 34 w 34"/>
                <a:gd name="T59" fmla="*/ 9 h 122"/>
                <a:gd name="T60" fmla="*/ 33 w 34"/>
                <a:gd name="T61" fmla="*/ 11 h 122"/>
                <a:gd name="T62" fmla="*/ 33 w 34"/>
                <a:gd name="T63" fmla="*/ 11 h 122"/>
                <a:gd name="T64" fmla="*/ 28 w 34"/>
                <a:gd name="T65" fmla="*/ 16 h 122"/>
                <a:gd name="T66" fmla="*/ 23 w 34"/>
                <a:gd name="T67" fmla="*/ 23 h 122"/>
                <a:gd name="T68" fmla="*/ 20 w 34"/>
                <a:gd name="T69" fmla="*/ 28 h 122"/>
                <a:gd name="T70" fmla="*/ 17 w 34"/>
                <a:gd name="T71" fmla="*/ 34 h 122"/>
                <a:gd name="T72" fmla="*/ 15 w 34"/>
                <a:gd name="T73" fmla="*/ 41 h 122"/>
                <a:gd name="T74" fmla="*/ 13 w 34"/>
                <a:gd name="T75" fmla="*/ 48 h 122"/>
                <a:gd name="T76" fmla="*/ 13 w 34"/>
                <a:gd name="T77" fmla="*/ 55 h 122"/>
                <a:gd name="T78" fmla="*/ 12 w 34"/>
                <a:gd name="T79" fmla="*/ 61 h 122"/>
                <a:gd name="T80" fmla="*/ 13 w 34"/>
                <a:gd name="T81" fmla="*/ 69 h 122"/>
                <a:gd name="T82" fmla="*/ 13 w 34"/>
                <a:gd name="T83" fmla="*/ 75 h 122"/>
                <a:gd name="T84" fmla="*/ 15 w 34"/>
                <a:gd name="T85" fmla="*/ 82 h 122"/>
                <a:gd name="T86" fmla="*/ 17 w 34"/>
                <a:gd name="T87" fmla="*/ 88 h 122"/>
                <a:gd name="T88" fmla="*/ 20 w 34"/>
                <a:gd name="T89" fmla="*/ 94 h 122"/>
                <a:gd name="T90" fmla="*/ 23 w 34"/>
                <a:gd name="T91" fmla="*/ 101 h 122"/>
                <a:gd name="T92" fmla="*/ 28 w 34"/>
                <a:gd name="T93" fmla="*/ 106 h 122"/>
                <a:gd name="T94" fmla="*/ 33 w 34"/>
                <a:gd name="T95" fmla="*/ 112 h 122"/>
                <a:gd name="T96" fmla="*/ 33 w 34"/>
                <a:gd name="T97" fmla="*/ 112 h 122"/>
                <a:gd name="T98" fmla="*/ 34 w 34"/>
                <a:gd name="T99" fmla="*/ 114 h 122"/>
                <a:gd name="T100" fmla="*/ 34 w 34"/>
                <a:gd name="T101" fmla="*/ 116 h 122"/>
                <a:gd name="T102" fmla="*/ 34 w 34"/>
                <a:gd name="T103" fmla="*/ 119 h 122"/>
                <a:gd name="T104" fmla="*/ 33 w 34"/>
                <a:gd name="T105" fmla="*/ 120 h 122"/>
                <a:gd name="T106" fmla="*/ 33 w 34"/>
                <a:gd name="T107" fmla="*/ 120 h 122"/>
                <a:gd name="T108" fmla="*/ 31 w 34"/>
                <a:gd name="T109" fmla="*/ 122 h 122"/>
                <a:gd name="T110" fmla="*/ 29 w 34"/>
                <a:gd name="T111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" h="122">
                  <a:moveTo>
                    <a:pt x="29" y="122"/>
                  </a:moveTo>
                  <a:lnTo>
                    <a:pt x="29" y="122"/>
                  </a:lnTo>
                  <a:lnTo>
                    <a:pt x="26" y="122"/>
                  </a:lnTo>
                  <a:lnTo>
                    <a:pt x="23" y="120"/>
                  </a:lnTo>
                  <a:lnTo>
                    <a:pt x="23" y="120"/>
                  </a:lnTo>
                  <a:lnTo>
                    <a:pt x="18" y="115"/>
                  </a:lnTo>
                  <a:lnTo>
                    <a:pt x="13" y="107"/>
                  </a:lnTo>
                  <a:lnTo>
                    <a:pt x="8" y="101"/>
                  </a:lnTo>
                  <a:lnTo>
                    <a:pt x="5" y="93"/>
                  </a:lnTo>
                  <a:lnTo>
                    <a:pt x="3" y="86"/>
                  </a:lnTo>
                  <a:lnTo>
                    <a:pt x="1" y="77"/>
                  </a:lnTo>
                  <a:lnTo>
                    <a:pt x="0" y="70"/>
                  </a:lnTo>
                  <a:lnTo>
                    <a:pt x="0" y="61"/>
                  </a:lnTo>
                  <a:lnTo>
                    <a:pt x="0" y="54"/>
                  </a:lnTo>
                  <a:lnTo>
                    <a:pt x="1" y="45"/>
                  </a:lnTo>
                  <a:lnTo>
                    <a:pt x="3" y="38"/>
                  </a:lnTo>
                  <a:lnTo>
                    <a:pt x="5" y="30"/>
                  </a:lnTo>
                  <a:lnTo>
                    <a:pt x="8" y="23"/>
                  </a:lnTo>
                  <a:lnTo>
                    <a:pt x="13" y="15"/>
                  </a:lnTo>
                  <a:lnTo>
                    <a:pt x="18" y="9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31" y="1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4" y="4"/>
                  </a:lnTo>
                  <a:lnTo>
                    <a:pt x="34" y="7"/>
                  </a:lnTo>
                  <a:lnTo>
                    <a:pt x="34" y="9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28" y="16"/>
                  </a:lnTo>
                  <a:lnTo>
                    <a:pt x="23" y="23"/>
                  </a:lnTo>
                  <a:lnTo>
                    <a:pt x="20" y="28"/>
                  </a:lnTo>
                  <a:lnTo>
                    <a:pt x="17" y="34"/>
                  </a:lnTo>
                  <a:lnTo>
                    <a:pt x="15" y="41"/>
                  </a:lnTo>
                  <a:lnTo>
                    <a:pt x="13" y="48"/>
                  </a:lnTo>
                  <a:lnTo>
                    <a:pt x="13" y="55"/>
                  </a:lnTo>
                  <a:lnTo>
                    <a:pt x="12" y="61"/>
                  </a:lnTo>
                  <a:lnTo>
                    <a:pt x="13" y="69"/>
                  </a:lnTo>
                  <a:lnTo>
                    <a:pt x="13" y="75"/>
                  </a:lnTo>
                  <a:lnTo>
                    <a:pt x="15" y="82"/>
                  </a:lnTo>
                  <a:lnTo>
                    <a:pt x="17" y="88"/>
                  </a:lnTo>
                  <a:lnTo>
                    <a:pt x="20" y="94"/>
                  </a:lnTo>
                  <a:lnTo>
                    <a:pt x="23" y="101"/>
                  </a:lnTo>
                  <a:lnTo>
                    <a:pt x="28" y="106"/>
                  </a:lnTo>
                  <a:lnTo>
                    <a:pt x="33" y="112"/>
                  </a:lnTo>
                  <a:lnTo>
                    <a:pt x="33" y="112"/>
                  </a:lnTo>
                  <a:lnTo>
                    <a:pt x="34" y="114"/>
                  </a:lnTo>
                  <a:lnTo>
                    <a:pt x="34" y="116"/>
                  </a:lnTo>
                  <a:lnTo>
                    <a:pt x="34" y="119"/>
                  </a:lnTo>
                  <a:lnTo>
                    <a:pt x="33" y="120"/>
                  </a:lnTo>
                  <a:lnTo>
                    <a:pt x="33" y="120"/>
                  </a:lnTo>
                  <a:lnTo>
                    <a:pt x="31" y="122"/>
                  </a:lnTo>
                  <a:lnTo>
                    <a:pt x="29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5" name="Freeform 127">
              <a:extLst>
                <a:ext uri="{FF2B5EF4-FFF2-40B4-BE49-F238E27FC236}">
                  <a16:creationId xmlns:a16="http://schemas.microsoft.com/office/drawing/2014/main" id="{3D114506-692A-4463-BCB1-362EA4A3B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08813" y="100013"/>
              <a:ext cx="69850" cy="263525"/>
            </a:xfrm>
            <a:custGeom>
              <a:avLst/>
              <a:gdLst>
                <a:gd name="T0" fmla="*/ 37 w 44"/>
                <a:gd name="T1" fmla="*/ 166 h 166"/>
                <a:gd name="T2" fmla="*/ 37 w 44"/>
                <a:gd name="T3" fmla="*/ 166 h 166"/>
                <a:gd name="T4" fmla="*/ 35 w 44"/>
                <a:gd name="T5" fmla="*/ 165 h 166"/>
                <a:gd name="T6" fmla="*/ 33 w 44"/>
                <a:gd name="T7" fmla="*/ 164 h 166"/>
                <a:gd name="T8" fmla="*/ 33 w 44"/>
                <a:gd name="T9" fmla="*/ 164 h 166"/>
                <a:gd name="T10" fmla="*/ 25 w 44"/>
                <a:gd name="T11" fmla="*/ 155 h 166"/>
                <a:gd name="T12" fmla="*/ 19 w 44"/>
                <a:gd name="T13" fmla="*/ 147 h 166"/>
                <a:gd name="T14" fmla="*/ 13 w 44"/>
                <a:gd name="T15" fmla="*/ 137 h 166"/>
                <a:gd name="T16" fmla="*/ 8 w 44"/>
                <a:gd name="T17" fmla="*/ 126 h 166"/>
                <a:gd name="T18" fmla="*/ 4 w 44"/>
                <a:gd name="T19" fmla="*/ 115 h 166"/>
                <a:gd name="T20" fmla="*/ 2 w 44"/>
                <a:gd name="T21" fmla="*/ 105 h 166"/>
                <a:gd name="T22" fmla="*/ 0 w 44"/>
                <a:gd name="T23" fmla="*/ 94 h 166"/>
                <a:gd name="T24" fmla="*/ 0 w 44"/>
                <a:gd name="T25" fmla="*/ 82 h 166"/>
                <a:gd name="T26" fmla="*/ 0 w 44"/>
                <a:gd name="T27" fmla="*/ 82 h 166"/>
                <a:gd name="T28" fmla="*/ 0 w 44"/>
                <a:gd name="T29" fmla="*/ 72 h 166"/>
                <a:gd name="T30" fmla="*/ 2 w 44"/>
                <a:gd name="T31" fmla="*/ 60 h 166"/>
                <a:gd name="T32" fmla="*/ 4 w 44"/>
                <a:gd name="T33" fmla="*/ 49 h 166"/>
                <a:gd name="T34" fmla="*/ 8 w 44"/>
                <a:gd name="T35" fmla="*/ 38 h 166"/>
                <a:gd name="T36" fmla="*/ 13 w 44"/>
                <a:gd name="T37" fmla="*/ 29 h 166"/>
                <a:gd name="T38" fmla="*/ 19 w 44"/>
                <a:gd name="T39" fmla="*/ 19 h 166"/>
                <a:gd name="T40" fmla="*/ 25 w 44"/>
                <a:gd name="T41" fmla="*/ 10 h 166"/>
                <a:gd name="T42" fmla="*/ 33 w 44"/>
                <a:gd name="T43" fmla="*/ 2 h 166"/>
                <a:gd name="T44" fmla="*/ 33 w 44"/>
                <a:gd name="T45" fmla="*/ 2 h 166"/>
                <a:gd name="T46" fmla="*/ 35 w 44"/>
                <a:gd name="T47" fmla="*/ 0 h 166"/>
                <a:gd name="T48" fmla="*/ 37 w 44"/>
                <a:gd name="T49" fmla="*/ 0 h 166"/>
                <a:gd name="T50" fmla="*/ 39 w 44"/>
                <a:gd name="T51" fmla="*/ 0 h 166"/>
                <a:gd name="T52" fmla="*/ 42 w 44"/>
                <a:gd name="T53" fmla="*/ 2 h 166"/>
                <a:gd name="T54" fmla="*/ 42 w 44"/>
                <a:gd name="T55" fmla="*/ 2 h 166"/>
                <a:gd name="T56" fmla="*/ 44 w 44"/>
                <a:gd name="T57" fmla="*/ 4 h 166"/>
                <a:gd name="T58" fmla="*/ 44 w 44"/>
                <a:gd name="T59" fmla="*/ 6 h 166"/>
                <a:gd name="T60" fmla="*/ 44 w 44"/>
                <a:gd name="T61" fmla="*/ 8 h 166"/>
                <a:gd name="T62" fmla="*/ 42 w 44"/>
                <a:gd name="T63" fmla="*/ 10 h 166"/>
                <a:gd name="T64" fmla="*/ 42 w 44"/>
                <a:gd name="T65" fmla="*/ 10 h 166"/>
                <a:gd name="T66" fmla="*/ 35 w 44"/>
                <a:gd name="T67" fmla="*/ 18 h 166"/>
                <a:gd name="T68" fmla="*/ 29 w 44"/>
                <a:gd name="T69" fmla="*/ 25 h 166"/>
                <a:gd name="T70" fmla="*/ 24 w 44"/>
                <a:gd name="T71" fmla="*/ 34 h 166"/>
                <a:gd name="T72" fmla="*/ 20 w 44"/>
                <a:gd name="T73" fmla="*/ 44 h 166"/>
                <a:gd name="T74" fmla="*/ 16 w 44"/>
                <a:gd name="T75" fmla="*/ 53 h 166"/>
                <a:gd name="T76" fmla="*/ 14 w 44"/>
                <a:gd name="T77" fmla="*/ 63 h 166"/>
                <a:gd name="T78" fmla="*/ 13 w 44"/>
                <a:gd name="T79" fmla="*/ 73 h 166"/>
                <a:gd name="T80" fmla="*/ 12 w 44"/>
                <a:gd name="T81" fmla="*/ 82 h 166"/>
                <a:gd name="T82" fmla="*/ 12 w 44"/>
                <a:gd name="T83" fmla="*/ 82 h 166"/>
                <a:gd name="T84" fmla="*/ 13 w 44"/>
                <a:gd name="T85" fmla="*/ 93 h 166"/>
                <a:gd name="T86" fmla="*/ 14 w 44"/>
                <a:gd name="T87" fmla="*/ 103 h 166"/>
                <a:gd name="T88" fmla="*/ 16 w 44"/>
                <a:gd name="T89" fmla="*/ 112 h 166"/>
                <a:gd name="T90" fmla="*/ 20 w 44"/>
                <a:gd name="T91" fmla="*/ 122 h 166"/>
                <a:gd name="T92" fmla="*/ 24 w 44"/>
                <a:gd name="T93" fmla="*/ 130 h 166"/>
                <a:gd name="T94" fmla="*/ 29 w 44"/>
                <a:gd name="T95" fmla="*/ 139 h 166"/>
                <a:gd name="T96" fmla="*/ 35 w 44"/>
                <a:gd name="T97" fmla="*/ 148 h 166"/>
                <a:gd name="T98" fmla="*/ 42 w 44"/>
                <a:gd name="T99" fmla="*/ 155 h 166"/>
                <a:gd name="T100" fmla="*/ 42 w 44"/>
                <a:gd name="T101" fmla="*/ 155 h 166"/>
                <a:gd name="T102" fmla="*/ 44 w 44"/>
                <a:gd name="T103" fmla="*/ 157 h 166"/>
                <a:gd name="T104" fmla="*/ 44 w 44"/>
                <a:gd name="T105" fmla="*/ 159 h 166"/>
                <a:gd name="T106" fmla="*/ 44 w 44"/>
                <a:gd name="T107" fmla="*/ 162 h 166"/>
                <a:gd name="T108" fmla="*/ 42 w 44"/>
                <a:gd name="T109" fmla="*/ 164 h 166"/>
                <a:gd name="T110" fmla="*/ 42 w 44"/>
                <a:gd name="T111" fmla="*/ 164 h 166"/>
                <a:gd name="T112" fmla="*/ 39 w 44"/>
                <a:gd name="T113" fmla="*/ 165 h 166"/>
                <a:gd name="T114" fmla="*/ 37 w 44"/>
                <a:gd name="T115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4" h="166">
                  <a:moveTo>
                    <a:pt x="37" y="166"/>
                  </a:moveTo>
                  <a:lnTo>
                    <a:pt x="37" y="166"/>
                  </a:lnTo>
                  <a:lnTo>
                    <a:pt x="35" y="165"/>
                  </a:lnTo>
                  <a:lnTo>
                    <a:pt x="33" y="164"/>
                  </a:lnTo>
                  <a:lnTo>
                    <a:pt x="33" y="164"/>
                  </a:lnTo>
                  <a:lnTo>
                    <a:pt x="25" y="155"/>
                  </a:lnTo>
                  <a:lnTo>
                    <a:pt x="19" y="147"/>
                  </a:lnTo>
                  <a:lnTo>
                    <a:pt x="13" y="137"/>
                  </a:lnTo>
                  <a:lnTo>
                    <a:pt x="8" y="126"/>
                  </a:lnTo>
                  <a:lnTo>
                    <a:pt x="4" y="115"/>
                  </a:lnTo>
                  <a:lnTo>
                    <a:pt x="2" y="105"/>
                  </a:lnTo>
                  <a:lnTo>
                    <a:pt x="0" y="94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72"/>
                  </a:lnTo>
                  <a:lnTo>
                    <a:pt x="2" y="60"/>
                  </a:lnTo>
                  <a:lnTo>
                    <a:pt x="4" y="49"/>
                  </a:lnTo>
                  <a:lnTo>
                    <a:pt x="8" y="38"/>
                  </a:lnTo>
                  <a:lnTo>
                    <a:pt x="13" y="29"/>
                  </a:lnTo>
                  <a:lnTo>
                    <a:pt x="19" y="19"/>
                  </a:lnTo>
                  <a:lnTo>
                    <a:pt x="25" y="10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37" y="0"/>
                  </a:lnTo>
                  <a:lnTo>
                    <a:pt x="39" y="0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4" y="4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5" y="18"/>
                  </a:lnTo>
                  <a:lnTo>
                    <a:pt x="29" y="25"/>
                  </a:lnTo>
                  <a:lnTo>
                    <a:pt x="24" y="34"/>
                  </a:lnTo>
                  <a:lnTo>
                    <a:pt x="20" y="44"/>
                  </a:lnTo>
                  <a:lnTo>
                    <a:pt x="16" y="53"/>
                  </a:lnTo>
                  <a:lnTo>
                    <a:pt x="14" y="63"/>
                  </a:lnTo>
                  <a:lnTo>
                    <a:pt x="13" y="73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3" y="93"/>
                  </a:lnTo>
                  <a:lnTo>
                    <a:pt x="14" y="103"/>
                  </a:lnTo>
                  <a:lnTo>
                    <a:pt x="16" y="112"/>
                  </a:lnTo>
                  <a:lnTo>
                    <a:pt x="20" y="122"/>
                  </a:lnTo>
                  <a:lnTo>
                    <a:pt x="24" y="130"/>
                  </a:lnTo>
                  <a:lnTo>
                    <a:pt x="29" y="139"/>
                  </a:lnTo>
                  <a:lnTo>
                    <a:pt x="35" y="148"/>
                  </a:lnTo>
                  <a:lnTo>
                    <a:pt x="42" y="155"/>
                  </a:lnTo>
                  <a:lnTo>
                    <a:pt x="42" y="155"/>
                  </a:lnTo>
                  <a:lnTo>
                    <a:pt x="44" y="157"/>
                  </a:lnTo>
                  <a:lnTo>
                    <a:pt x="44" y="159"/>
                  </a:lnTo>
                  <a:lnTo>
                    <a:pt x="44" y="162"/>
                  </a:lnTo>
                  <a:lnTo>
                    <a:pt x="42" y="164"/>
                  </a:lnTo>
                  <a:lnTo>
                    <a:pt x="42" y="164"/>
                  </a:lnTo>
                  <a:lnTo>
                    <a:pt x="39" y="165"/>
                  </a:lnTo>
                  <a:lnTo>
                    <a:pt x="37" y="166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6" name="Freeform 128">
              <a:extLst>
                <a:ext uri="{FF2B5EF4-FFF2-40B4-BE49-F238E27FC236}">
                  <a16:creationId xmlns:a16="http://schemas.microsoft.com/office/drawing/2014/main" id="{DBE3844C-BFD2-434F-8B5C-77AF1B102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08813" y="100013"/>
              <a:ext cx="69850" cy="263525"/>
            </a:xfrm>
            <a:custGeom>
              <a:avLst/>
              <a:gdLst>
                <a:gd name="T0" fmla="*/ 37 w 44"/>
                <a:gd name="T1" fmla="*/ 166 h 166"/>
                <a:gd name="T2" fmla="*/ 37 w 44"/>
                <a:gd name="T3" fmla="*/ 166 h 166"/>
                <a:gd name="T4" fmla="*/ 35 w 44"/>
                <a:gd name="T5" fmla="*/ 165 h 166"/>
                <a:gd name="T6" fmla="*/ 33 w 44"/>
                <a:gd name="T7" fmla="*/ 164 h 166"/>
                <a:gd name="T8" fmla="*/ 33 w 44"/>
                <a:gd name="T9" fmla="*/ 164 h 166"/>
                <a:gd name="T10" fmla="*/ 25 w 44"/>
                <a:gd name="T11" fmla="*/ 155 h 166"/>
                <a:gd name="T12" fmla="*/ 19 w 44"/>
                <a:gd name="T13" fmla="*/ 147 h 166"/>
                <a:gd name="T14" fmla="*/ 13 w 44"/>
                <a:gd name="T15" fmla="*/ 137 h 166"/>
                <a:gd name="T16" fmla="*/ 8 w 44"/>
                <a:gd name="T17" fmla="*/ 126 h 166"/>
                <a:gd name="T18" fmla="*/ 4 w 44"/>
                <a:gd name="T19" fmla="*/ 115 h 166"/>
                <a:gd name="T20" fmla="*/ 2 w 44"/>
                <a:gd name="T21" fmla="*/ 105 h 166"/>
                <a:gd name="T22" fmla="*/ 0 w 44"/>
                <a:gd name="T23" fmla="*/ 94 h 166"/>
                <a:gd name="T24" fmla="*/ 0 w 44"/>
                <a:gd name="T25" fmla="*/ 82 h 166"/>
                <a:gd name="T26" fmla="*/ 0 w 44"/>
                <a:gd name="T27" fmla="*/ 82 h 166"/>
                <a:gd name="T28" fmla="*/ 0 w 44"/>
                <a:gd name="T29" fmla="*/ 72 h 166"/>
                <a:gd name="T30" fmla="*/ 2 w 44"/>
                <a:gd name="T31" fmla="*/ 60 h 166"/>
                <a:gd name="T32" fmla="*/ 4 w 44"/>
                <a:gd name="T33" fmla="*/ 49 h 166"/>
                <a:gd name="T34" fmla="*/ 8 w 44"/>
                <a:gd name="T35" fmla="*/ 38 h 166"/>
                <a:gd name="T36" fmla="*/ 13 w 44"/>
                <a:gd name="T37" fmla="*/ 29 h 166"/>
                <a:gd name="T38" fmla="*/ 19 w 44"/>
                <a:gd name="T39" fmla="*/ 19 h 166"/>
                <a:gd name="T40" fmla="*/ 25 w 44"/>
                <a:gd name="T41" fmla="*/ 10 h 166"/>
                <a:gd name="T42" fmla="*/ 33 w 44"/>
                <a:gd name="T43" fmla="*/ 2 h 166"/>
                <a:gd name="T44" fmla="*/ 33 w 44"/>
                <a:gd name="T45" fmla="*/ 2 h 166"/>
                <a:gd name="T46" fmla="*/ 35 w 44"/>
                <a:gd name="T47" fmla="*/ 0 h 166"/>
                <a:gd name="T48" fmla="*/ 37 w 44"/>
                <a:gd name="T49" fmla="*/ 0 h 166"/>
                <a:gd name="T50" fmla="*/ 39 w 44"/>
                <a:gd name="T51" fmla="*/ 0 h 166"/>
                <a:gd name="T52" fmla="*/ 42 w 44"/>
                <a:gd name="T53" fmla="*/ 2 h 166"/>
                <a:gd name="T54" fmla="*/ 42 w 44"/>
                <a:gd name="T55" fmla="*/ 2 h 166"/>
                <a:gd name="T56" fmla="*/ 44 w 44"/>
                <a:gd name="T57" fmla="*/ 4 h 166"/>
                <a:gd name="T58" fmla="*/ 44 w 44"/>
                <a:gd name="T59" fmla="*/ 6 h 166"/>
                <a:gd name="T60" fmla="*/ 44 w 44"/>
                <a:gd name="T61" fmla="*/ 8 h 166"/>
                <a:gd name="T62" fmla="*/ 42 w 44"/>
                <a:gd name="T63" fmla="*/ 10 h 166"/>
                <a:gd name="T64" fmla="*/ 42 w 44"/>
                <a:gd name="T65" fmla="*/ 10 h 166"/>
                <a:gd name="T66" fmla="*/ 35 w 44"/>
                <a:gd name="T67" fmla="*/ 18 h 166"/>
                <a:gd name="T68" fmla="*/ 29 w 44"/>
                <a:gd name="T69" fmla="*/ 25 h 166"/>
                <a:gd name="T70" fmla="*/ 24 w 44"/>
                <a:gd name="T71" fmla="*/ 34 h 166"/>
                <a:gd name="T72" fmla="*/ 20 w 44"/>
                <a:gd name="T73" fmla="*/ 44 h 166"/>
                <a:gd name="T74" fmla="*/ 16 w 44"/>
                <a:gd name="T75" fmla="*/ 53 h 166"/>
                <a:gd name="T76" fmla="*/ 14 w 44"/>
                <a:gd name="T77" fmla="*/ 63 h 166"/>
                <a:gd name="T78" fmla="*/ 13 w 44"/>
                <a:gd name="T79" fmla="*/ 73 h 166"/>
                <a:gd name="T80" fmla="*/ 12 w 44"/>
                <a:gd name="T81" fmla="*/ 82 h 166"/>
                <a:gd name="T82" fmla="*/ 12 w 44"/>
                <a:gd name="T83" fmla="*/ 82 h 166"/>
                <a:gd name="T84" fmla="*/ 13 w 44"/>
                <a:gd name="T85" fmla="*/ 93 h 166"/>
                <a:gd name="T86" fmla="*/ 14 w 44"/>
                <a:gd name="T87" fmla="*/ 103 h 166"/>
                <a:gd name="T88" fmla="*/ 16 w 44"/>
                <a:gd name="T89" fmla="*/ 112 h 166"/>
                <a:gd name="T90" fmla="*/ 20 w 44"/>
                <a:gd name="T91" fmla="*/ 122 h 166"/>
                <a:gd name="T92" fmla="*/ 24 w 44"/>
                <a:gd name="T93" fmla="*/ 130 h 166"/>
                <a:gd name="T94" fmla="*/ 29 w 44"/>
                <a:gd name="T95" fmla="*/ 139 h 166"/>
                <a:gd name="T96" fmla="*/ 35 w 44"/>
                <a:gd name="T97" fmla="*/ 148 h 166"/>
                <a:gd name="T98" fmla="*/ 42 w 44"/>
                <a:gd name="T99" fmla="*/ 155 h 166"/>
                <a:gd name="T100" fmla="*/ 42 w 44"/>
                <a:gd name="T101" fmla="*/ 155 h 166"/>
                <a:gd name="T102" fmla="*/ 44 w 44"/>
                <a:gd name="T103" fmla="*/ 157 h 166"/>
                <a:gd name="T104" fmla="*/ 44 w 44"/>
                <a:gd name="T105" fmla="*/ 159 h 166"/>
                <a:gd name="T106" fmla="*/ 44 w 44"/>
                <a:gd name="T107" fmla="*/ 162 h 166"/>
                <a:gd name="T108" fmla="*/ 42 w 44"/>
                <a:gd name="T109" fmla="*/ 164 h 166"/>
                <a:gd name="T110" fmla="*/ 42 w 44"/>
                <a:gd name="T111" fmla="*/ 164 h 166"/>
                <a:gd name="T112" fmla="*/ 39 w 44"/>
                <a:gd name="T113" fmla="*/ 165 h 166"/>
                <a:gd name="T114" fmla="*/ 37 w 44"/>
                <a:gd name="T115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4" h="166">
                  <a:moveTo>
                    <a:pt x="37" y="166"/>
                  </a:moveTo>
                  <a:lnTo>
                    <a:pt x="37" y="166"/>
                  </a:lnTo>
                  <a:lnTo>
                    <a:pt x="35" y="165"/>
                  </a:lnTo>
                  <a:lnTo>
                    <a:pt x="33" y="164"/>
                  </a:lnTo>
                  <a:lnTo>
                    <a:pt x="33" y="164"/>
                  </a:lnTo>
                  <a:lnTo>
                    <a:pt x="25" y="155"/>
                  </a:lnTo>
                  <a:lnTo>
                    <a:pt x="19" y="147"/>
                  </a:lnTo>
                  <a:lnTo>
                    <a:pt x="13" y="137"/>
                  </a:lnTo>
                  <a:lnTo>
                    <a:pt x="8" y="126"/>
                  </a:lnTo>
                  <a:lnTo>
                    <a:pt x="4" y="115"/>
                  </a:lnTo>
                  <a:lnTo>
                    <a:pt x="2" y="105"/>
                  </a:lnTo>
                  <a:lnTo>
                    <a:pt x="0" y="94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72"/>
                  </a:lnTo>
                  <a:lnTo>
                    <a:pt x="2" y="60"/>
                  </a:lnTo>
                  <a:lnTo>
                    <a:pt x="4" y="49"/>
                  </a:lnTo>
                  <a:lnTo>
                    <a:pt x="8" y="38"/>
                  </a:lnTo>
                  <a:lnTo>
                    <a:pt x="13" y="29"/>
                  </a:lnTo>
                  <a:lnTo>
                    <a:pt x="19" y="19"/>
                  </a:lnTo>
                  <a:lnTo>
                    <a:pt x="25" y="10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37" y="0"/>
                  </a:lnTo>
                  <a:lnTo>
                    <a:pt x="39" y="0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4" y="4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5" y="18"/>
                  </a:lnTo>
                  <a:lnTo>
                    <a:pt x="29" y="25"/>
                  </a:lnTo>
                  <a:lnTo>
                    <a:pt x="24" y="34"/>
                  </a:lnTo>
                  <a:lnTo>
                    <a:pt x="20" y="44"/>
                  </a:lnTo>
                  <a:lnTo>
                    <a:pt x="16" y="53"/>
                  </a:lnTo>
                  <a:lnTo>
                    <a:pt x="14" y="63"/>
                  </a:lnTo>
                  <a:lnTo>
                    <a:pt x="13" y="73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3" y="93"/>
                  </a:lnTo>
                  <a:lnTo>
                    <a:pt x="14" y="103"/>
                  </a:lnTo>
                  <a:lnTo>
                    <a:pt x="16" y="112"/>
                  </a:lnTo>
                  <a:lnTo>
                    <a:pt x="20" y="122"/>
                  </a:lnTo>
                  <a:lnTo>
                    <a:pt x="24" y="130"/>
                  </a:lnTo>
                  <a:lnTo>
                    <a:pt x="29" y="139"/>
                  </a:lnTo>
                  <a:lnTo>
                    <a:pt x="35" y="148"/>
                  </a:lnTo>
                  <a:lnTo>
                    <a:pt x="42" y="155"/>
                  </a:lnTo>
                  <a:lnTo>
                    <a:pt x="42" y="155"/>
                  </a:lnTo>
                  <a:lnTo>
                    <a:pt x="44" y="157"/>
                  </a:lnTo>
                  <a:lnTo>
                    <a:pt x="44" y="159"/>
                  </a:lnTo>
                  <a:lnTo>
                    <a:pt x="44" y="162"/>
                  </a:lnTo>
                  <a:lnTo>
                    <a:pt x="42" y="164"/>
                  </a:lnTo>
                  <a:lnTo>
                    <a:pt x="42" y="164"/>
                  </a:lnTo>
                  <a:lnTo>
                    <a:pt x="39" y="165"/>
                  </a:lnTo>
                  <a:lnTo>
                    <a:pt x="37" y="1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7" name="Freeform 129">
              <a:extLst>
                <a:ext uri="{FF2B5EF4-FFF2-40B4-BE49-F238E27FC236}">
                  <a16:creationId xmlns:a16="http://schemas.microsoft.com/office/drawing/2014/main" id="{74C43BAB-90F3-4691-A196-610C50831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48513" y="263526"/>
              <a:ext cx="79375" cy="346075"/>
            </a:xfrm>
            <a:custGeom>
              <a:avLst/>
              <a:gdLst>
                <a:gd name="T0" fmla="*/ 6 w 50"/>
                <a:gd name="T1" fmla="*/ 218 h 218"/>
                <a:gd name="T2" fmla="*/ 6 w 50"/>
                <a:gd name="T3" fmla="*/ 218 h 218"/>
                <a:gd name="T4" fmla="*/ 5 w 50"/>
                <a:gd name="T5" fmla="*/ 218 h 218"/>
                <a:gd name="T6" fmla="*/ 5 w 50"/>
                <a:gd name="T7" fmla="*/ 218 h 218"/>
                <a:gd name="T8" fmla="*/ 3 w 50"/>
                <a:gd name="T9" fmla="*/ 217 h 218"/>
                <a:gd name="T10" fmla="*/ 1 w 50"/>
                <a:gd name="T11" fmla="*/ 216 h 218"/>
                <a:gd name="T12" fmla="*/ 0 w 50"/>
                <a:gd name="T13" fmla="*/ 214 h 218"/>
                <a:gd name="T14" fmla="*/ 0 w 50"/>
                <a:gd name="T15" fmla="*/ 211 h 218"/>
                <a:gd name="T16" fmla="*/ 37 w 50"/>
                <a:gd name="T17" fmla="*/ 5 h 218"/>
                <a:gd name="T18" fmla="*/ 37 w 50"/>
                <a:gd name="T19" fmla="*/ 5 h 218"/>
                <a:gd name="T20" fmla="*/ 38 w 50"/>
                <a:gd name="T21" fmla="*/ 3 h 218"/>
                <a:gd name="T22" fmla="*/ 40 w 50"/>
                <a:gd name="T23" fmla="*/ 1 h 218"/>
                <a:gd name="T24" fmla="*/ 42 w 50"/>
                <a:gd name="T25" fmla="*/ 0 h 218"/>
                <a:gd name="T26" fmla="*/ 45 w 50"/>
                <a:gd name="T27" fmla="*/ 0 h 218"/>
                <a:gd name="T28" fmla="*/ 45 w 50"/>
                <a:gd name="T29" fmla="*/ 0 h 218"/>
                <a:gd name="T30" fmla="*/ 47 w 50"/>
                <a:gd name="T31" fmla="*/ 1 h 218"/>
                <a:gd name="T32" fmla="*/ 49 w 50"/>
                <a:gd name="T33" fmla="*/ 3 h 218"/>
                <a:gd name="T34" fmla="*/ 50 w 50"/>
                <a:gd name="T35" fmla="*/ 5 h 218"/>
                <a:gd name="T36" fmla="*/ 50 w 50"/>
                <a:gd name="T37" fmla="*/ 7 h 218"/>
                <a:gd name="T38" fmla="*/ 12 w 50"/>
                <a:gd name="T39" fmla="*/ 214 h 218"/>
                <a:gd name="T40" fmla="*/ 12 w 50"/>
                <a:gd name="T41" fmla="*/ 214 h 218"/>
                <a:gd name="T42" fmla="*/ 11 w 50"/>
                <a:gd name="T43" fmla="*/ 215 h 218"/>
                <a:gd name="T44" fmla="*/ 10 w 50"/>
                <a:gd name="T45" fmla="*/ 217 h 218"/>
                <a:gd name="T46" fmla="*/ 8 w 50"/>
                <a:gd name="T47" fmla="*/ 218 h 218"/>
                <a:gd name="T48" fmla="*/ 6 w 50"/>
                <a:gd name="T49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" h="218">
                  <a:moveTo>
                    <a:pt x="6" y="218"/>
                  </a:moveTo>
                  <a:lnTo>
                    <a:pt x="6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3" y="217"/>
                  </a:lnTo>
                  <a:lnTo>
                    <a:pt x="1" y="216"/>
                  </a:lnTo>
                  <a:lnTo>
                    <a:pt x="0" y="214"/>
                  </a:lnTo>
                  <a:lnTo>
                    <a:pt x="0" y="211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8" y="3"/>
                  </a:lnTo>
                  <a:lnTo>
                    <a:pt x="40" y="1"/>
                  </a:lnTo>
                  <a:lnTo>
                    <a:pt x="42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7" y="1"/>
                  </a:lnTo>
                  <a:lnTo>
                    <a:pt x="49" y="3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12" y="214"/>
                  </a:lnTo>
                  <a:lnTo>
                    <a:pt x="12" y="214"/>
                  </a:lnTo>
                  <a:lnTo>
                    <a:pt x="11" y="215"/>
                  </a:lnTo>
                  <a:lnTo>
                    <a:pt x="10" y="217"/>
                  </a:lnTo>
                  <a:lnTo>
                    <a:pt x="8" y="218"/>
                  </a:lnTo>
                  <a:lnTo>
                    <a:pt x="6" y="218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8" name="Freeform 130">
              <a:extLst>
                <a:ext uri="{FF2B5EF4-FFF2-40B4-BE49-F238E27FC236}">
                  <a16:creationId xmlns:a16="http://schemas.microsoft.com/office/drawing/2014/main" id="{812A4BB8-DF54-4A45-AA96-527750709E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48513" y="263526"/>
              <a:ext cx="79375" cy="346075"/>
            </a:xfrm>
            <a:custGeom>
              <a:avLst/>
              <a:gdLst>
                <a:gd name="T0" fmla="*/ 6 w 50"/>
                <a:gd name="T1" fmla="*/ 218 h 218"/>
                <a:gd name="T2" fmla="*/ 6 w 50"/>
                <a:gd name="T3" fmla="*/ 218 h 218"/>
                <a:gd name="T4" fmla="*/ 5 w 50"/>
                <a:gd name="T5" fmla="*/ 218 h 218"/>
                <a:gd name="T6" fmla="*/ 5 w 50"/>
                <a:gd name="T7" fmla="*/ 218 h 218"/>
                <a:gd name="T8" fmla="*/ 3 w 50"/>
                <a:gd name="T9" fmla="*/ 217 h 218"/>
                <a:gd name="T10" fmla="*/ 1 w 50"/>
                <a:gd name="T11" fmla="*/ 216 h 218"/>
                <a:gd name="T12" fmla="*/ 0 w 50"/>
                <a:gd name="T13" fmla="*/ 214 h 218"/>
                <a:gd name="T14" fmla="*/ 0 w 50"/>
                <a:gd name="T15" fmla="*/ 211 h 218"/>
                <a:gd name="T16" fmla="*/ 37 w 50"/>
                <a:gd name="T17" fmla="*/ 5 h 218"/>
                <a:gd name="T18" fmla="*/ 37 w 50"/>
                <a:gd name="T19" fmla="*/ 5 h 218"/>
                <a:gd name="T20" fmla="*/ 38 w 50"/>
                <a:gd name="T21" fmla="*/ 3 h 218"/>
                <a:gd name="T22" fmla="*/ 40 w 50"/>
                <a:gd name="T23" fmla="*/ 1 h 218"/>
                <a:gd name="T24" fmla="*/ 42 w 50"/>
                <a:gd name="T25" fmla="*/ 0 h 218"/>
                <a:gd name="T26" fmla="*/ 45 w 50"/>
                <a:gd name="T27" fmla="*/ 0 h 218"/>
                <a:gd name="T28" fmla="*/ 45 w 50"/>
                <a:gd name="T29" fmla="*/ 0 h 218"/>
                <a:gd name="T30" fmla="*/ 47 w 50"/>
                <a:gd name="T31" fmla="*/ 1 h 218"/>
                <a:gd name="T32" fmla="*/ 49 w 50"/>
                <a:gd name="T33" fmla="*/ 3 h 218"/>
                <a:gd name="T34" fmla="*/ 50 w 50"/>
                <a:gd name="T35" fmla="*/ 5 h 218"/>
                <a:gd name="T36" fmla="*/ 50 w 50"/>
                <a:gd name="T37" fmla="*/ 7 h 218"/>
                <a:gd name="T38" fmla="*/ 12 w 50"/>
                <a:gd name="T39" fmla="*/ 214 h 218"/>
                <a:gd name="T40" fmla="*/ 12 w 50"/>
                <a:gd name="T41" fmla="*/ 214 h 218"/>
                <a:gd name="T42" fmla="*/ 11 w 50"/>
                <a:gd name="T43" fmla="*/ 215 h 218"/>
                <a:gd name="T44" fmla="*/ 10 w 50"/>
                <a:gd name="T45" fmla="*/ 217 h 218"/>
                <a:gd name="T46" fmla="*/ 8 w 50"/>
                <a:gd name="T47" fmla="*/ 218 h 218"/>
                <a:gd name="T48" fmla="*/ 6 w 50"/>
                <a:gd name="T49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" h="218">
                  <a:moveTo>
                    <a:pt x="6" y="218"/>
                  </a:moveTo>
                  <a:lnTo>
                    <a:pt x="6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3" y="217"/>
                  </a:lnTo>
                  <a:lnTo>
                    <a:pt x="1" y="216"/>
                  </a:lnTo>
                  <a:lnTo>
                    <a:pt x="0" y="214"/>
                  </a:lnTo>
                  <a:lnTo>
                    <a:pt x="0" y="211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8" y="3"/>
                  </a:lnTo>
                  <a:lnTo>
                    <a:pt x="40" y="1"/>
                  </a:lnTo>
                  <a:lnTo>
                    <a:pt x="42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7" y="1"/>
                  </a:lnTo>
                  <a:lnTo>
                    <a:pt x="49" y="3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12" y="214"/>
                  </a:lnTo>
                  <a:lnTo>
                    <a:pt x="12" y="214"/>
                  </a:lnTo>
                  <a:lnTo>
                    <a:pt x="11" y="215"/>
                  </a:lnTo>
                  <a:lnTo>
                    <a:pt x="10" y="217"/>
                  </a:lnTo>
                  <a:lnTo>
                    <a:pt x="8" y="218"/>
                  </a:lnTo>
                  <a:lnTo>
                    <a:pt x="6" y="2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9" name="Freeform 131">
              <a:extLst>
                <a:ext uri="{FF2B5EF4-FFF2-40B4-BE49-F238E27FC236}">
                  <a16:creationId xmlns:a16="http://schemas.microsoft.com/office/drawing/2014/main" id="{AC7C221A-9366-471F-93BC-C1A7B1D71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8525" y="263526"/>
              <a:ext cx="79375" cy="346075"/>
            </a:xfrm>
            <a:custGeom>
              <a:avLst/>
              <a:gdLst>
                <a:gd name="T0" fmla="*/ 44 w 50"/>
                <a:gd name="T1" fmla="*/ 218 h 218"/>
                <a:gd name="T2" fmla="*/ 44 w 50"/>
                <a:gd name="T3" fmla="*/ 218 h 218"/>
                <a:gd name="T4" fmla="*/ 42 w 50"/>
                <a:gd name="T5" fmla="*/ 218 h 218"/>
                <a:gd name="T6" fmla="*/ 39 w 50"/>
                <a:gd name="T7" fmla="*/ 217 h 218"/>
                <a:gd name="T8" fmla="*/ 38 w 50"/>
                <a:gd name="T9" fmla="*/ 215 h 218"/>
                <a:gd name="T10" fmla="*/ 37 w 50"/>
                <a:gd name="T11" fmla="*/ 214 h 218"/>
                <a:gd name="T12" fmla="*/ 0 w 50"/>
                <a:gd name="T13" fmla="*/ 7 h 218"/>
                <a:gd name="T14" fmla="*/ 0 w 50"/>
                <a:gd name="T15" fmla="*/ 7 h 218"/>
                <a:gd name="T16" fmla="*/ 0 w 50"/>
                <a:gd name="T17" fmla="*/ 5 h 218"/>
                <a:gd name="T18" fmla="*/ 1 w 50"/>
                <a:gd name="T19" fmla="*/ 3 h 218"/>
                <a:gd name="T20" fmla="*/ 2 w 50"/>
                <a:gd name="T21" fmla="*/ 1 h 218"/>
                <a:gd name="T22" fmla="*/ 5 w 50"/>
                <a:gd name="T23" fmla="*/ 0 h 218"/>
                <a:gd name="T24" fmla="*/ 5 w 50"/>
                <a:gd name="T25" fmla="*/ 0 h 218"/>
                <a:gd name="T26" fmla="*/ 7 w 50"/>
                <a:gd name="T27" fmla="*/ 0 h 218"/>
                <a:gd name="T28" fmla="*/ 9 w 50"/>
                <a:gd name="T29" fmla="*/ 1 h 218"/>
                <a:gd name="T30" fmla="*/ 12 w 50"/>
                <a:gd name="T31" fmla="*/ 3 h 218"/>
                <a:gd name="T32" fmla="*/ 12 w 50"/>
                <a:gd name="T33" fmla="*/ 5 h 218"/>
                <a:gd name="T34" fmla="*/ 50 w 50"/>
                <a:gd name="T35" fmla="*/ 211 h 218"/>
                <a:gd name="T36" fmla="*/ 50 w 50"/>
                <a:gd name="T37" fmla="*/ 211 h 218"/>
                <a:gd name="T38" fmla="*/ 50 w 50"/>
                <a:gd name="T39" fmla="*/ 214 h 218"/>
                <a:gd name="T40" fmla="*/ 49 w 50"/>
                <a:gd name="T41" fmla="*/ 216 h 218"/>
                <a:gd name="T42" fmla="*/ 47 w 50"/>
                <a:gd name="T43" fmla="*/ 217 h 218"/>
                <a:gd name="T44" fmla="*/ 45 w 50"/>
                <a:gd name="T45" fmla="*/ 218 h 218"/>
                <a:gd name="T46" fmla="*/ 45 w 50"/>
                <a:gd name="T47" fmla="*/ 218 h 218"/>
                <a:gd name="T48" fmla="*/ 44 w 50"/>
                <a:gd name="T49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" h="218">
                  <a:moveTo>
                    <a:pt x="44" y="218"/>
                  </a:moveTo>
                  <a:lnTo>
                    <a:pt x="44" y="218"/>
                  </a:lnTo>
                  <a:lnTo>
                    <a:pt x="42" y="218"/>
                  </a:lnTo>
                  <a:lnTo>
                    <a:pt x="39" y="217"/>
                  </a:lnTo>
                  <a:lnTo>
                    <a:pt x="38" y="215"/>
                  </a:lnTo>
                  <a:lnTo>
                    <a:pt x="37" y="214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5"/>
                  </a:lnTo>
                  <a:lnTo>
                    <a:pt x="1" y="3"/>
                  </a:lnTo>
                  <a:lnTo>
                    <a:pt x="2" y="1"/>
                  </a:lnTo>
                  <a:lnTo>
                    <a:pt x="5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9" y="1"/>
                  </a:lnTo>
                  <a:lnTo>
                    <a:pt x="12" y="3"/>
                  </a:lnTo>
                  <a:lnTo>
                    <a:pt x="12" y="5"/>
                  </a:lnTo>
                  <a:lnTo>
                    <a:pt x="50" y="211"/>
                  </a:lnTo>
                  <a:lnTo>
                    <a:pt x="50" y="211"/>
                  </a:lnTo>
                  <a:lnTo>
                    <a:pt x="50" y="214"/>
                  </a:lnTo>
                  <a:lnTo>
                    <a:pt x="49" y="216"/>
                  </a:lnTo>
                  <a:lnTo>
                    <a:pt x="47" y="217"/>
                  </a:lnTo>
                  <a:lnTo>
                    <a:pt x="45" y="218"/>
                  </a:lnTo>
                  <a:lnTo>
                    <a:pt x="45" y="218"/>
                  </a:lnTo>
                  <a:lnTo>
                    <a:pt x="44" y="218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0" name="Freeform 132">
              <a:extLst>
                <a:ext uri="{FF2B5EF4-FFF2-40B4-BE49-F238E27FC236}">
                  <a16:creationId xmlns:a16="http://schemas.microsoft.com/office/drawing/2014/main" id="{5869E2A7-E9BB-4744-A791-1E2241762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8525" y="263526"/>
              <a:ext cx="79375" cy="346075"/>
            </a:xfrm>
            <a:custGeom>
              <a:avLst/>
              <a:gdLst>
                <a:gd name="T0" fmla="*/ 44 w 50"/>
                <a:gd name="T1" fmla="*/ 218 h 218"/>
                <a:gd name="T2" fmla="*/ 44 w 50"/>
                <a:gd name="T3" fmla="*/ 218 h 218"/>
                <a:gd name="T4" fmla="*/ 42 w 50"/>
                <a:gd name="T5" fmla="*/ 218 h 218"/>
                <a:gd name="T6" fmla="*/ 39 w 50"/>
                <a:gd name="T7" fmla="*/ 217 h 218"/>
                <a:gd name="T8" fmla="*/ 38 w 50"/>
                <a:gd name="T9" fmla="*/ 215 h 218"/>
                <a:gd name="T10" fmla="*/ 37 w 50"/>
                <a:gd name="T11" fmla="*/ 214 h 218"/>
                <a:gd name="T12" fmla="*/ 0 w 50"/>
                <a:gd name="T13" fmla="*/ 7 h 218"/>
                <a:gd name="T14" fmla="*/ 0 w 50"/>
                <a:gd name="T15" fmla="*/ 7 h 218"/>
                <a:gd name="T16" fmla="*/ 0 w 50"/>
                <a:gd name="T17" fmla="*/ 5 h 218"/>
                <a:gd name="T18" fmla="*/ 1 w 50"/>
                <a:gd name="T19" fmla="*/ 3 h 218"/>
                <a:gd name="T20" fmla="*/ 2 w 50"/>
                <a:gd name="T21" fmla="*/ 1 h 218"/>
                <a:gd name="T22" fmla="*/ 5 w 50"/>
                <a:gd name="T23" fmla="*/ 0 h 218"/>
                <a:gd name="T24" fmla="*/ 5 w 50"/>
                <a:gd name="T25" fmla="*/ 0 h 218"/>
                <a:gd name="T26" fmla="*/ 7 w 50"/>
                <a:gd name="T27" fmla="*/ 0 h 218"/>
                <a:gd name="T28" fmla="*/ 9 w 50"/>
                <a:gd name="T29" fmla="*/ 1 h 218"/>
                <a:gd name="T30" fmla="*/ 12 w 50"/>
                <a:gd name="T31" fmla="*/ 3 h 218"/>
                <a:gd name="T32" fmla="*/ 12 w 50"/>
                <a:gd name="T33" fmla="*/ 5 h 218"/>
                <a:gd name="T34" fmla="*/ 50 w 50"/>
                <a:gd name="T35" fmla="*/ 211 h 218"/>
                <a:gd name="T36" fmla="*/ 50 w 50"/>
                <a:gd name="T37" fmla="*/ 211 h 218"/>
                <a:gd name="T38" fmla="*/ 50 w 50"/>
                <a:gd name="T39" fmla="*/ 214 h 218"/>
                <a:gd name="T40" fmla="*/ 49 w 50"/>
                <a:gd name="T41" fmla="*/ 216 h 218"/>
                <a:gd name="T42" fmla="*/ 47 w 50"/>
                <a:gd name="T43" fmla="*/ 217 h 218"/>
                <a:gd name="T44" fmla="*/ 45 w 50"/>
                <a:gd name="T45" fmla="*/ 218 h 218"/>
                <a:gd name="T46" fmla="*/ 45 w 50"/>
                <a:gd name="T47" fmla="*/ 218 h 218"/>
                <a:gd name="T48" fmla="*/ 44 w 50"/>
                <a:gd name="T49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" h="218">
                  <a:moveTo>
                    <a:pt x="44" y="218"/>
                  </a:moveTo>
                  <a:lnTo>
                    <a:pt x="44" y="218"/>
                  </a:lnTo>
                  <a:lnTo>
                    <a:pt x="42" y="218"/>
                  </a:lnTo>
                  <a:lnTo>
                    <a:pt x="39" y="217"/>
                  </a:lnTo>
                  <a:lnTo>
                    <a:pt x="38" y="215"/>
                  </a:lnTo>
                  <a:lnTo>
                    <a:pt x="37" y="214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5"/>
                  </a:lnTo>
                  <a:lnTo>
                    <a:pt x="1" y="3"/>
                  </a:lnTo>
                  <a:lnTo>
                    <a:pt x="2" y="1"/>
                  </a:lnTo>
                  <a:lnTo>
                    <a:pt x="5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9" y="1"/>
                  </a:lnTo>
                  <a:lnTo>
                    <a:pt x="12" y="3"/>
                  </a:lnTo>
                  <a:lnTo>
                    <a:pt x="12" y="5"/>
                  </a:lnTo>
                  <a:lnTo>
                    <a:pt x="50" y="211"/>
                  </a:lnTo>
                  <a:lnTo>
                    <a:pt x="50" y="211"/>
                  </a:lnTo>
                  <a:lnTo>
                    <a:pt x="50" y="214"/>
                  </a:lnTo>
                  <a:lnTo>
                    <a:pt x="49" y="216"/>
                  </a:lnTo>
                  <a:lnTo>
                    <a:pt x="47" y="217"/>
                  </a:lnTo>
                  <a:lnTo>
                    <a:pt x="45" y="218"/>
                  </a:lnTo>
                  <a:lnTo>
                    <a:pt x="45" y="218"/>
                  </a:lnTo>
                  <a:lnTo>
                    <a:pt x="44" y="21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1" name="Freeform 133">
              <a:extLst>
                <a:ext uri="{FF2B5EF4-FFF2-40B4-BE49-F238E27FC236}">
                  <a16:creationId xmlns:a16="http://schemas.microsoft.com/office/drawing/2014/main" id="{F1945D3F-D0FE-4772-B253-A6F71A795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94550" y="360363"/>
              <a:ext cx="87313" cy="17463"/>
            </a:xfrm>
            <a:custGeom>
              <a:avLst/>
              <a:gdLst>
                <a:gd name="T0" fmla="*/ 49 w 55"/>
                <a:gd name="T1" fmla="*/ 11 h 11"/>
                <a:gd name="T2" fmla="*/ 6 w 55"/>
                <a:gd name="T3" fmla="*/ 11 h 11"/>
                <a:gd name="T4" fmla="*/ 6 w 55"/>
                <a:gd name="T5" fmla="*/ 11 h 11"/>
                <a:gd name="T6" fmla="*/ 4 w 55"/>
                <a:gd name="T7" fmla="*/ 11 h 11"/>
                <a:gd name="T8" fmla="*/ 2 w 55"/>
                <a:gd name="T9" fmla="*/ 10 h 11"/>
                <a:gd name="T10" fmla="*/ 1 w 55"/>
                <a:gd name="T11" fmla="*/ 8 h 11"/>
                <a:gd name="T12" fmla="*/ 0 w 55"/>
                <a:gd name="T13" fmla="*/ 5 h 11"/>
                <a:gd name="T14" fmla="*/ 0 w 55"/>
                <a:gd name="T15" fmla="*/ 5 h 11"/>
                <a:gd name="T16" fmla="*/ 1 w 55"/>
                <a:gd name="T17" fmla="*/ 3 h 11"/>
                <a:gd name="T18" fmla="*/ 2 w 55"/>
                <a:gd name="T19" fmla="*/ 1 h 11"/>
                <a:gd name="T20" fmla="*/ 4 w 55"/>
                <a:gd name="T21" fmla="*/ 0 h 11"/>
                <a:gd name="T22" fmla="*/ 6 w 55"/>
                <a:gd name="T23" fmla="*/ 0 h 11"/>
                <a:gd name="T24" fmla="*/ 49 w 55"/>
                <a:gd name="T25" fmla="*/ 0 h 11"/>
                <a:gd name="T26" fmla="*/ 49 w 55"/>
                <a:gd name="T27" fmla="*/ 0 h 11"/>
                <a:gd name="T28" fmla="*/ 51 w 55"/>
                <a:gd name="T29" fmla="*/ 0 h 11"/>
                <a:gd name="T30" fmla="*/ 53 w 55"/>
                <a:gd name="T31" fmla="*/ 1 h 11"/>
                <a:gd name="T32" fmla="*/ 54 w 55"/>
                <a:gd name="T33" fmla="*/ 3 h 11"/>
                <a:gd name="T34" fmla="*/ 55 w 55"/>
                <a:gd name="T35" fmla="*/ 5 h 11"/>
                <a:gd name="T36" fmla="*/ 55 w 55"/>
                <a:gd name="T37" fmla="*/ 5 h 11"/>
                <a:gd name="T38" fmla="*/ 54 w 55"/>
                <a:gd name="T39" fmla="*/ 8 h 11"/>
                <a:gd name="T40" fmla="*/ 53 w 55"/>
                <a:gd name="T41" fmla="*/ 10 h 11"/>
                <a:gd name="T42" fmla="*/ 51 w 55"/>
                <a:gd name="T43" fmla="*/ 11 h 11"/>
                <a:gd name="T44" fmla="*/ 49 w 55"/>
                <a:gd name="T4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" h="11">
                  <a:moveTo>
                    <a:pt x="49" y="11"/>
                  </a:moveTo>
                  <a:lnTo>
                    <a:pt x="6" y="11"/>
                  </a:lnTo>
                  <a:lnTo>
                    <a:pt x="6" y="11"/>
                  </a:lnTo>
                  <a:lnTo>
                    <a:pt x="4" y="11"/>
                  </a:lnTo>
                  <a:lnTo>
                    <a:pt x="2" y="10"/>
                  </a:lnTo>
                  <a:lnTo>
                    <a:pt x="1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3"/>
                  </a:lnTo>
                  <a:lnTo>
                    <a:pt x="2" y="1"/>
                  </a:lnTo>
                  <a:lnTo>
                    <a:pt x="4" y="0"/>
                  </a:lnTo>
                  <a:lnTo>
                    <a:pt x="6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51" y="0"/>
                  </a:lnTo>
                  <a:lnTo>
                    <a:pt x="53" y="1"/>
                  </a:lnTo>
                  <a:lnTo>
                    <a:pt x="54" y="3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4" y="8"/>
                  </a:lnTo>
                  <a:lnTo>
                    <a:pt x="53" y="10"/>
                  </a:lnTo>
                  <a:lnTo>
                    <a:pt x="51" y="11"/>
                  </a:lnTo>
                  <a:lnTo>
                    <a:pt x="49" y="11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2" name="Freeform 134">
              <a:extLst>
                <a:ext uri="{FF2B5EF4-FFF2-40B4-BE49-F238E27FC236}">
                  <a16:creationId xmlns:a16="http://schemas.microsoft.com/office/drawing/2014/main" id="{01C5A0C2-1555-41F5-80CD-A455C3F2B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94550" y="360363"/>
              <a:ext cx="87313" cy="17463"/>
            </a:xfrm>
            <a:custGeom>
              <a:avLst/>
              <a:gdLst>
                <a:gd name="T0" fmla="*/ 49 w 55"/>
                <a:gd name="T1" fmla="*/ 11 h 11"/>
                <a:gd name="T2" fmla="*/ 6 w 55"/>
                <a:gd name="T3" fmla="*/ 11 h 11"/>
                <a:gd name="T4" fmla="*/ 6 w 55"/>
                <a:gd name="T5" fmla="*/ 11 h 11"/>
                <a:gd name="T6" fmla="*/ 4 w 55"/>
                <a:gd name="T7" fmla="*/ 11 h 11"/>
                <a:gd name="T8" fmla="*/ 2 w 55"/>
                <a:gd name="T9" fmla="*/ 10 h 11"/>
                <a:gd name="T10" fmla="*/ 1 w 55"/>
                <a:gd name="T11" fmla="*/ 8 h 11"/>
                <a:gd name="T12" fmla="*/ 0 w 55"/>
                <a:gd name="T13" fmla="*/ 5 h 11"/>
                <a:gd name="T14" fmla="*/ 0 w 55"/>
                <a:gd name="T15" fmla="*/ 5 h 11"/>
                <a:gd name="T16" fmla="*/ 1 w 55"/>
                <a:gd name="T17" fmla="*/ 3 h 11"/>
                <a:gd name="T18" fmla="*/ 2 w 55"/>
                <a:gd name="T19" fmla="*/ 1 h 11"/>
                <a:gd name="T20" fmla="*/ 4 w 55"/>
                <a:gd name="T21" fmla="*/ 0 h 11"/>
                <a:gd name="T22" fmla="*/ 6 w 55"/>
                <a:gd name="T23" fmla="*/ 0 h 11"/>
                <a:gd name="T24" fmla="*/ 49 w 55"/>
                <a:gd name="T25" fmla="*/ 0 h 11"/>
                <a:gd name="T26" fmla="*/ 49 w 55"/>
                <a:gd name="T27" fmla="*/ 0 h 11"/>
                <a:gd name="T28" fmla="*/ 51 w 55"/>
                <a:gd name="T29" fmla="*/ 0 h 11"/>
                <a:gd name="T30" fmla="*/ 53 w 55"/>
                <a:gd name="T31" fmla="*/ 1 h 11"/>
                <a:gd name="T32" fmla="*/ 54 w 55"/>
                <a:gd name="T33" fmla="*/ 3 h 11"/>
                <a:gd name="T34" fmla="*/ 55 w 55"/>
                <a:gd name="T35" fmla="*/ 5 h 11"/>
                <a:gd name="T36" fmla="*/ 55 w 55"/>
                <a:gd name="T37" fmla="*/ 5 h 11"/>
                <a:gd name="T38" fmla="*/ 54 w 55"/>
                <a:gd name="T39" fmla="*/ 8 h 11"/>
                <a:gd name="T40" fmla="*/ 53 w 55"/>
                <a:gd name="T41" fmla="*/ 10 h 11"/>
                <a:gd name="T42" fmla="*/ 51 w 55"/>
                <a:gd name="T43" fmla="*/ 11 h 11"/>
                <a:gd name="T44" fmla="*/ 49 w 55"/>
                <a:gd name="T4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" h="11">
                  <a:moveTo>
                    <a:pt x="49" y="11"/>
                  </a:moveTo>
                  <a:lnTo>
                    <a:pt x="6" y="11"/>
                  </a:lnTo>
                  <a:lnTo>
                    <a:pt x="6" y="11"/>
                  </a:lnTo>
                  <a:lnTo>
                    <a:pt x="4" y="11"/>
                  </a:lnTo>
                  <a:lnTo>
                    <a:pt x="2" y="10"/>
                  </a:lnTo>
                  <a:lnTo>
                    <a:pt x="1" y="8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3"/>
                  </a:lnTo>
                  <a:lnTo>
                    <a:pt x="2" y="1"/>
                  </a:lnTo>
                  <a:lnTo>
                    <a:pt x="4" y="0"/>
                  </a:lnTo>
                  <a:lnTo>
                    <a:pt x="6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51" y="0"/>
                  </a:lnTo>
                  <a:lnTo>
                    <a:pt x="53" y="1"/>
                  </a:lnTo>
                  <a:lnTo>
                    <a:pt x="54" y="3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4" y="8"/>
                  </a:lnTo>
                  <a:lnTo>
                    <a:pt x="53" y="10"/>
                  </a:lnTo>
                  <a:lnTo>
                    <a:pt x="51" y="11"/>
                  </a:lnTo>
                  <a:lnTo>
                    <a:pt x="49" y="1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3" name="Freeform 135">
              <a:extLst>
                <a:ext uri="{FF2B5EF4-FFF2-40B4-BE49-F238E27FC236}">
                  <a16:creationId xmlns:a16="http://schemas.microsoft.com/office/drawing/2014/main" id="{7760EEC5-D9B4-40D4-A695-F25D9F9C5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81850" y="455613"/>
              <a:ext cx="112713" cy="20638"/>
            </a:xfrm>
            <a:custGeom>
              <a:avLst/>
              <a:gdLst>
                <a:gd name="T0" fmla="*/ 64 w 71"/>
                <a:gd name="T1" fmla="*/ 13 h 13"/>
                <a:gd name="T2" fmla="*/ 6 w 71"/>
                <a:gd name="T3" fmla="*/ 13 h 13"/>
                <a:gd name="T4" fmla="*/ 6 w 71"/>
                <a:gd name="T5" fmla="*/ 13 h 13"/>
                <a:gd name="T6" fmla="*/ 4 w 71"/>
                <a:gd name="T7" fmla="*/ 11 h 13"/>
                <a:gd name="T8" fmla="*/ 2 w 71"/>
                <a:gd name="T9" fmla="*/ 10 h 13"/>
                <a:gd name="T10" fmla="*/ 1 w 71"/>
                <a:gd name="T11" fmla="*/ 8 h 13"/>
                <a:gd name="T12" fmla="*/ 0 w 71"/>
                <a:gd name="T13" fmla="*/ 6 h 13"/>
                <a:gd name="T14" fmla="*/ 0 w 71"/>
                <a:gd name="T15" fmla="*/ 6 h 13"/>
                <a:gd name="T16" fmla="*/ 1 w 71"/>
                <a:gd name="T17" fmla="*/ 3 h 13"/>
                <a:gd name="T18" fmla="*/ 2 w 71"/>
                <a:gd name="T19" fmla="*/ 2 h 13"/>
                <a:gd name="T20" fmla="*/ 4 w 71"/>
                <a:gd name="T21" fmla="*/ 0 h 13"/>
                <a:gd name="T22" fmla="*/ 6 w 71"/>
                <a:gd name="T23" fmla="*/ 0 h 13"/>
                <a:gd name="T24" fmla="*/ 64 w 71"/>
                <a:gd name="T25" fmla="*/ 0 h 13"/>
                <a:gd name="T26" fmla="*/ 64 w 71"/>
                <a:gd name="T27" fmla="*/ 0 h 13"/>
                <a:gd name="T28" fmla="*/ 66 w 71"/>
                <a:gd name="T29" fmla="*/ 0 h 13"/>
                <a:gd name="T30" fmla="*/ 69 w 71"/>
                <a:gd name="T31" fmla="*/ 2 h 13"/>
                <a:gd name="T32" fmla="*/ 70 w 71"/>
                <a:gd name="T33" fmla="*/ 3 h 13"/>
                <a:gd name="T34" fmla="*/ 71 w 71"/>
                <a:gd name="T35" fmla="*/ 6 h 13"/>
                <a:gd name="T36" fmla="*/ 71 w 71"/>
                <a:gd name="T37" fmla="*/ 6 h 13"/>
                <a:gd name="T38" fmla="*/ 70 w 71"/>
                <a:gd name="T39" fmla="*/ 8 h 13"/>
                <a:gd name="T40" fmla="*/ 69 w 71"/>
                <a:gd name="T41" fmla="*/ 10 h 13"/>
                <a:gd name="T42" fmla="*/ 66 w 71"/>
                <a:gd name="T43" fmla="*/ 11 h 13"/>
                <a:gd name="T44" fmla="*/ 64 w 71"/>
                <a:gd name="T4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1" h="13">
                  <a:moveTo>
                    <a:pt x="64" y="13"/>
                  </a:moveTo>
                  <a:lnTo>
                    <a:pt x="6" y="13"/>
                  </a:lnTo>
                  <a:lnTo>
                    <a:pt x="6" y="13"/>
                  </a:lnTo>
                  <a:lnTo>
                    <a:pt x="4" y="11"/>
                  </a:lnTo>
                  <a:lnTo>
                    <a:pt x="2" y="10"/>
                  </a:lnTo>
                  <a:lnTo>
                    <a:pt x="1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3"/>
                  </a:lnTo>
                  <a:lnTo>
                    <a:pt x="2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6" y="0"/>
                  </a:lnTo>
                  <a:lnTo>
                    <a:pt x="69" y="2"/>
                  </a:lnTo>
                  <a:lnTo>
                    <a:pt x="70" y="3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70" y="8"/>
                  </a:lnTo>
                  <a:lnTo>
                    <a:pt x="69" y="10"/>
                  </a:lnTo>
                  <a:lnTo>
                    <a:pt x="66" y="11"/>
                  </a:lnTo>
                  <a:lnTo>
                    <a:pt x="64" y="13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4" name="Freeform 136">
              <a:extLst>
                <a:ext uri="{FF2B5EF4-FFF2-40B4-BE49-F238E27FC236}">
                  <a16:creationId xmlns:a16="http://schemas.microsoft.com/office/drawing/2014/main" id="{DC6EC208-5F7D-4D81-A58F-702AF0143D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81850" y="455613"/>
              <a:ext cx="112713" cy="20638"/>
            </a:xfrm>
            <a:custGeom>
              <a:avLst/>
              <a:gdLst>
                <a:gd name="T0" fmla="*/ 64 w 71"/>
                <a:gd name="T1" fmla="*/ 13 h 13"/>
                <a:gd name="T2" fmla="*/ 6 w 71"/>
                <a:gd name="T3" fmla="*/ 13 h 13"/>
                <a:gd name="T4" fmla="*/ 6 w 71"/>
                <a:gd name="T5" fmla="*/ 13 h 13"/>
                <a:gd name="T6" fmla="*/ 4 w 71"/>
                <a:gd name="T7" fmla="*/ 11 h 13"/>
                <a:gd name="T8" fmla="*/ 2 w 71"/>
                <a:gd name="T9" fmla="*/ 10 h 13"/>
                <a:gd name="T10" fmla="*/ 1 w 71"/>
                <a:gd name="T11" fmla="*/ 8 h 13"/>
                <a:gd name="T12" fmla="*/ 0 w 71"/>
                <a:gd name="T13" fmla="*/ 6 h 13"/>
                <a:gd name="T14" fmla="*/ 0 w 71"/>
                <a:gd name="T15" fmla="*/ 6 h 13"/>
                <a:gd name="T16" fmla="*/ 1 w 71"/>
                <a:gd name="T17" fmla="*/ 3 h 13"/>
                <a:gd name="T18" fmla="*/ 2 w 71"/>
                <a:gd name="T19" fmla="*/ 2 h 13"/>
                <a:gd name="T20" fmla="*/ 4 w 71"/>
                <a:gd name="T21" fmla="*/ 0 h 13"/>
                <a:gd name="T22" fmla="*/ 6 w 71"/>
                <a:gd name="T23" fmla="*/ 0 h 13"/>
                <a:gd name="T24" fmla="*/ 64 w 71"/>
                <a:gd name="T25" fmla="*/ 0 h 13"/>
                <a:gd name="T26" fmla="*/ 64 w 71"/>
                <a:gd name="T27" fmla="*/ 0 h 13"/>
                <a:gd name="T28" fmla="*/ 66 w 71"/>
                <a:gd name="T29" fmla="*/ 0 h 13"/>
                <a:gd name="T30" fmla="*/ 69 w 71"/>
                <a:gd name="T31" fmla="*/ 2 h 13"/>
                <a:gd name="T32" fmla="*/ 70 w 71"/>
                <a:gd name="T33" fmla="*/ 3 h 13"/>
                <a:gd name="T34" fmla="*/ 71 w 71"/>
                <a:gd name="T35" fmla="*/ 6 h 13"/>
                <a:gd name="T36" fmla="*/ 71 w 71"/>
                <a:gd name="T37" fmla="*/ 6 h 13"/>
                <a:gd name="T38" fmla="*/ 70 w 71"/>
                <a:gd name="T39" fmla="*/ 8 h 13"/>
                <a:gd name="T40" fmla="*/ 69 w 71"/>
                <a:gd name="T41" fmla="*/ 10 h 13"/>
                <a:gd name="T42" fmla="*/ 66 w 71"/>
                <a:gd name="T43" fmla="*/ 11 h 13"/>
                <a:gd name="T44" fmla="*/ 64 w 71"/>
                <a:gd name="T4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1" h="13">
                  <a:moveTo>
                    <a:pt x="64" y="13"/>
                  </a:moveTo>
                  <a:lnTo>
                    <a:pt x="6" y="13"/>
                  </a:lnTo>
                  <a:lnTo>
                    <a:pt x="6" y="13"/>
                  </a:lnTo>
                  <a:lnTo>
                    <a:pt x="4" y="11"/>
                  </a:lnTo>
                  <a:lnTo>
                    <a:pt x="2" y="10"/>
                  </a:lnTo>
                  <a:lnTo>
                    <a:pt x="1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3"/>
                  </a:lnTo>
                  <a:lnTo>
                    <a:pt x="2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6" y="0"/>
                  </a:lnTo>
                  <a:lnTo>
                    <a:pt x="69" y="2"/>
                  </a:lnTo>
                  <a:lnTo>
                    <a:pt x="70" y="3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70" y="8"/>
                  </a:lnTo>
                  <a:lnTo>
                    <a:pt x="69" y="10"/>
                  </a:lnTo>
                  <a:lnTo>
                    <a:pt x="66" y="11"/>
                  </a:lnTo>
                  <a:lnTo>
                    <a:pt x="64" y="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5" name="Freeform 137">
              <a:extLst>
                <a:ext uri="{FF2B5EF4-FFF2-40B4-BE49-F238E27FC236}">
                  <a16:creationId xmlns:a16="http://schemas.microsoft.com/office/drawing/2014/main" id="{81ED258C-E4A5-469D-9E38-AB48EC718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58038" y="550863"/>
              <a:ext cx="160338" cy="20638"/>
            </a:xfrm>
            <a:custGeom>
              <a:avLst/>
              <a:gdLst>
                <a:gd name="T0" fmla="*/ 94 w 101"/>
                <a:gd name="T1" fmla="*/ 13 h 13"/>
                <a:gd name="T2" fmla="*/ 6 w 101"/>
                <a:gd name="T3" fmla="*/ 13 h 13"/>
                <a:gd name="T4" fmla="*/ 6 w 101"/>
                <a:gd name="T5" fmla="*/ 13 h 13"/>
                <a:gd name="T6" fmla="*/ 4 w 101"/>
                <a:gd name="T7" fmla="*/ 11 h 13"/>
                <a:gd name="T8" fmla="*/ 2 w 101"/>
                <a:gd name="T9" fmla="*/ 10 h 13"/>
                <a:gd name="T10" fmla="*/ 0 w 101"/>
                <a:gd name="T11" fmla="*/ 8 h 13"/>
                <a:gd name="T12" fmla="*/ 0 w 101"/>
                <a:gd name="T13" fmla="*/ 6 h 13"/>
                <a:gd name="T14" fmla="*/ 0 w 101"/>
                <a:gd name="T15" fmla="*/ 6 h 13"/>
                <a:gd name="T16" fmla="*/ 0 w 101"/>
                <a:gd name="T17" fmla="*/ 4 h 13"/>
                <a:gd name="T18" fmla="*/ 2 w 101"/>
                <a:gd name="T19" fmla="*/ 2 h 13"/>
                <a:gd name="T20" fmla="*/ 4 w 101"/>
                <a:gd name="T21" fmla="*/ 1 h 13"/>
                <a:gd name="T22" fmla="*/ 6 w 101"/>
                <a:gd name="T23" fmla="*/ 0 h 13"/>
                <a:gd name="T24" fmla="*/ 94 w 101"/>
                <a:gd name="T25" fmla="*/ 0 h 13"/>
                <a:gd name="T26" fmla="*/ 94 w 101"/>
                <a:gd name="T27" fmla="*/ 0 h 13"/>
                <a:gd name="T28" fmla="*/ 96 w 101"/>
                <a:gd name="T29" fmla="*/ 1 h 13"/>
                <a:gd name="T30" fmla="*/ 99 w 101"/>
                <a:gd name="T31" fmla="*/ 2 h 13"/>
                <a:gd name="T32" fmla="*/ 100 w 101"/>
                <a:gd name="T33" fmla="*/ 4 h 13"/>
                <a:gd name="T34" fmla="*/ 101 w 101"/>
                <a:gd name="T35" fmla="*/ 6 h 13"/>
                <a:gd name="T36" fmla="*/ 101 w 101"/>
                <a:gd name="T37" fmla="*/ 6 h 13"/>
                <a:gd name="T38" fmla="*/ 100 w 101"/>
                <a:gd name="T39" fmla="*/ 8 h 13"/>
                <a:gd name="T40" fmla="*/ 99 w 101"/>
                <a:gd name="T41" fmla="*/ 10 h 13"/>
                <a:gd name="T42" fmla="*/ 96 w 101"/>
                <a:gd name="T43" fmla="*/ 11 h 13"/>
                <a:gd name="T44" fmla="*/ 94 w 101"/>
                <a:gd name="T4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1" h="13">
                  <a:moveTo>
                    <a:pt x="94" y="13"/>
                  </a:moveTo>
                  <a:lnTo>
                    <a:pt x="6" y="13"/>
                  </a:lnTo>
                  <a:lnTo>
                    <a:pt x="6" y="13"/>
                  </a:lnTo>
                  <a:lnTo>
                    <a:pt x="4" y="11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6" y="1"/>
                  </a:lnTo>
                  <a:lnTo>
                    <a:pt x="99" y="2"/>
                  </a:lnTo>
                  <a:lnTo>
                    <a:pt x="100" y="4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0" y="8"/>
                  </a:lnTo>
                  <a:lnTo>
                    <a:pt x="99" y="10"/>
                  </a:lnTo>
                  <a:lnTo>
                    <a:pt x="96" y="11"/>
                  </a:lnTo>
                  <a:lnTo>
                    <a:pt x="94" y="13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6" name="Freeform 138">
              <a:extLst>
                <a:ext uri="{FF2B5EF4-FFF2-40B4-BE49-F238E27FC236}">
                  <a16:creationId xmlns:a16="http://schemas.microsoft.com/office/drawing/2014/main" id="{BE71BA69-DFE4-4A16-8154-8E9D8D07A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58038" y="550863"/>
              <a:ext cx="160338" cy="20638"/>
            </a:xfrm>
            <a:custGeom>
              <a:avLst/>
              <a:gdLst>
                <a:gd name="T0" fmla="*/ 94 w 101"/>
                <a:gd name="T1" fmla="*/ 13 h 13"/>
                <a:gd name="T2" fmla="*/ 6 w 101"/>
                <a:gd name="T3" fmla="*/ 13 h 13"/>
                <a:gd name="T4" fmla="*/ 6 w 101"/>
                <a:gd name="T5" fmla="*/ 13 h 13"/>
                <a:gd name="T6" fmla="*/ 4 w 101"/>
                <a:gd name="T7" fmla="*/ 11 h 13"/>
                <a:gd name="T8" fmla="*/ 2 w 101"/>
                <a:gd name="T9" fmla="*/ 10 h 13"/>
                <a:gd name="T10" fmla="*/ 0 w 101"/>
                <a:gd name="T11" fmla="*/ 8 h 13"/>
                <a:gd name="T12" fmla="*/ 0 w 101"/>
                <a:gd name="T13" fmla="*/ 6 h 13"/>
                <a:gd name="T14" fmla="*/ 0 w 101"/>
                <a:gd name="T15" fmla="*/ 6 h 13"/>
                <a:gd name="T16" fmla="*/ 0 w 101"/>
                <a:gd name="T17" fmla="*/ 4 h 13"/>
                <a:gd name="T18" fmla="*/ 2 w 101"/>
                <a:gd name="T19" fmla="*/ 2 h 13"/>
                <a:gd name="T20" fmla="*/ 4 w 101"/>
                <a:gd name="T21" fmla="*/ 1 h 13"/>
                <a:gd name="T22" fmla="*/ 6 w 101"/>
                <a:gd name="T23" fmla="*/ 0 h 13"/>
                <a:gd name="T24" fmla="*/ 94 w 101"/>
                <a:gd name="T25" fmla="*/ 0 h 13"/>
                <a:gd name="T26" fmla="*/ 94 w 101"/>
                <a:gd name="T27" fmla="*/ 0 h 13"/>
                <a:gd name="T28" fmla="*/ 96 w 101"/>
                <a:gd name="T29" fmla="*/ 1 h 13"/>
                <a:gd name="T30" fmla="*/ 99 w 101"/>
                <a:gd name="T31" fmla="*/ 2 h 13"/>
                <a:gd name="T32" fmla="*/ 100 w 101"/>
                <a:gd name="T33" fmla="*/ 4 h 13"/>
                <a:gd name="T34" fmla="*/ 101 w 101"/>
                <a:gd name="T35" fmla="*/ 6 h 13"/>
                <a:gd name="T36" fmla="*/ 101 w 101"/>
                <a:gd name="T37" fmla="*/ 6 h 13"/>
                <a:gd name="T38" fmla="*/ 100 w 101"/>
                <a:gd name="T39" fmla="*/ 8 h 13"/>
                <a:gd name="T40" fmla="*/ 99 w 101"/>
                <a:gd name="T41" fmla="*/ 10 h 13"/>
                <a:gd name="T42" fmla="*/ 96 w 101"/>
                <a:gd name="T43" fmla="*/ 11 h 13"/>
                <a:gd name="T44" fmla="*/ 94 w 101"/>
                <a:gd name="T4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1" h="13">
                  <a:moveTo>
                    <a:pt x="94" y="13"/>
                  </a:moveTo>
                  <a:lnTo>
                    <a:pt x="6" y="13"/>
                  </a:lnTo>
                  <a:lnTo>
                    <a:pt x="6" y="13"/>
                  </a:lnTo>
                  <a:lnTo>
                    <a:pt x="4" y="11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6" y="1"/>
                  </a:lnTo>
                  <a:lnTo>
                    <a:pt x="99" y="2"/>
                  </a:lnTo>
                  <a:lnTo>
                    <a:pt x="100" y="4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0" y="8"/>
                  </a:lnTo>
                  <a:lnTo>
                    <a:pt x="99" y="10"/>
                  </a:lnTo>
                  <a:lnTo>
                    <a:pt x="96" y="11"/>
                  </a:lnTo>
                  <a:lnTo>
                    <a:pt x="94" y="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37" name="Group 336">
            <a:extLst>
              <a:ext uri="{FF2B5EF4-FFF2-40B4-BE49-F238E27FC236}">
                <a16:creationId xmlns:a16="http://schemas.microsoft.com/office/drawing/2014/main" id="{CFFF4C25-4B06-4AAD-832E-6F8BF8595975}"/>
              </a:ext>
            </a:extLst>
          </p:cNvPr>
          <p:cNvGrpSpPr/>
          <p:nvPr/>
        </p:nvGrpSpPr>
        <p:grpSpPr>
          <a:xfrm>
            <a:off x="11713604" y="4874734"/>
            <a:ext cx="211545" cy="196126"/>
            <a:chOff x="13835063" y="163513"/>
            <a:chExt cx="544513" cy="504825"/>
          </a:xfrm>
        </p:grpSpPr>
        <p:sp>
          <p:nvSpPr>
            <p:cNvPr id="338" name="Freeform 22">
              <a:extLst>
                <a:ext uri="{FF2B5EF4-FFF2-40B4-BE49-F238E27FC236}">
                  <a16:creationId xmlns:a16="http://schemas.microsoft.com/office/drawing/2014/main" id="{33ACF8AE-9F03-4E72-B558-49D6DBE230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835063" y="163513"/>
              <a:ext cx="544513" cy="504825"/>
            </a:xfrm>
            <a:custGeom>
              <a:avLst/>
              <a:gdLst>
                <a:gd name="T0" fmla="*/ 297 w 343"/>
                <a:gd name="T1" fmla="*/ 287 h 318"/>
                <a:gd name="T2" fmla="*/ 296 w 343"/>
                <a:gd name="T3" fmla="*/ 290 h 318"/>
                <a:gd name="T4" fmla="*/ 292 w 343"/>
                <a:gd name="T5" fmla="*/ 298 h 318"/>
                <a:gd name="T6" fmla="*/ 283 w 343"/>
                <a:gd name="T7" fmla="*/ 304 h 318"/>
                <a:gd name="T8" fmla="*/ 220 w 343"/>
                <a:gd name="T9" fmla="*/ 304 h 318"/>
                <a:gd name="T10" fmla="*/ 220 w 343"/>
                <a:gd name="T11" fmla="*/ 197 h 318"/>
                <a:gd name="T12" fmla="*/ 218 w 343"/>
                <a:gd name="T13" fmla="*/ 185 h 318"/>
                <a:gd name="T14" fmla="*/ 211 w 343"/>
                <a:gd name="T15" fmla="*/ 176 h 318"/>
                <a:gd name="T16" fmla="*/ 203 w 343"/>
                <a:gd name="T17" fmla="*/ 171 h 318"/>
                <a:gd name="T18" fmla="*/ 191 w 343"/>
                <a:gd name="T19" fmla="*/ 169 h 318"/>
                <a:gd name="T20" fmla="*/ 150 w 343"/>
                <a:gd name="T21" fmla="*/ 169 h 318"/>
                <a:gd name="T22" fmla="*/ 139 w 343"/>
                <a:gd name="T23" fmla="*/ 171 h 318"/>
                <a:gd name="T24" fmla="*/ 130 w 343"/>
                <a:gd name="T25" fmla="*/ 176 h 318"/>
                <a:gd name="T26" fmla="*/ 123 w 343"/>
                <a:gd name="T27" fmla="*/ 185 h 318"/>
                <a:gd name="T28" fmla="*/ 121 w 343"/>
                <a:gd name="T29" fmla="*/ 197 h 318"/>
                <a:gd name="T30" fmla="*/ 61 w 343"/>
                <a:gd name="T31" fmla="*/ 304 h 318"/>
                <a:gd name="T32" fmla="*/ 58 w 343"/>
                <a:gd name="T33" fmla="*/ 304 h 318"/>
                <a:gd name="T34" fmla="*/ 50 w 343"/>
                <a:gd name="T35" fmla="*/ 298 h 318"/>
                <a:gd name="T36" fmla="*/ 46 w 343"/>
                <a:gd name="T37" fmla="*/ 287 h 318"/>
                <a:gd name="T38" fmla="*/ 46 w 343"/>
                <a:gd name="T39" fmla="*/ 138 h 318"/>
                <a:gd name="T40" fmla="*/ 164 w 343"/>
                <a:gd name="T41" fmla="*/ 18 h 318"/>
                <a:gd name="T42" fmla="*/ 167 w 343"/>
                <a:gd name="T43" fmla="*/ 15 h 318"/>
                <a:gd name="T44" fmla="*/ 175 w 343"/>
                <a:gd name="T45" fmla="*/ 15 h 318"/>
                <a:gd name="T46" fmla="*/ 297 w 343"/>
                <a:gd name="T47" fmla="*/ 135 h 318"/>
                <a:gd name="T48" fmla="*/ 297 w 343"/>
                <a:gd name="T49" fmla="*/ 138 h 318"/>
                <a:gd name="T50" fmla="*/ 134 w 343"/>
                <a:gd name="T51" fmla="*/ 304 h 318"/>
                <a:gd name="T52" fmla="*/ 134 w 343"/>
                <a:gd name="T53" fmla="*/ 197 h 318"/>
                <a:gd name="T54" fmla="*/ 135 w 343"/>
                <a:gd name="T55" fmla="*/ 190 h 318"/>
                <a:gd name="T56" fmla="*/ 145 w 343"/>
                <a:gd name="T57" fmla="*/ 183 h 318"/>
                <a:gd name="T58" fmla="*/ 191 w 343"/>
                <a:gd name="T59" fmla="*/ 182 h 318"/>
                <a:gd name="T60" fmla="*/ 197 w 343"/>
                <a:gd name="T61" fmla="*/ 183 h 318"/>
                <a:gd name="T62" fmla="*/ 205 w 343"/>
                <a:gd name="T63" fmla="*/ 190 h 318"/>
                <a:gd name="T64" fmla="*/ 206 w 343"/>
                <a:gd name="T65" fmla="*/ 304 h 318"/>
                <a:gd name="T66" fmla="*/ 188 w 343"/>
                <a:gd name="T67" fmla="*/ 8 h 318"/>
                <a:gd name="T68" fmla="*/ 180 w 343"/>
                <a:gd name="T69" fmla="*/ 3 h 318"/>
                <a:gd name="T70" fmla="*/ 172 w 343"/>
                <a:gd name="T71" fmla="*/ 0 h 318"/>
                <a:gd name="T72" fmla="*/ 167 w 343"/>
                <a:gd name="T73" fmla="*/ 2 h 318"/>
                <a:gd name="T74" fmla="*/ 159 w 343"/>
                <a:gd name="T75" fmla="*/ 5 h 318"/>
                <a:gd name="T76" fmla="*/ 1 w 343"/>
                <a:gd name="T77" fmla="*/ 161 h 318"/>
                <a:gd name="T78" fmla="*/ 0 w 343"/>
                <a:gd name="T79" fmla="*/ 163 h 318"/>
                <a:gd name="T80" fmla="*/ 0 w 343"/>
                <a:gd name="T81" fmla="*/ 169 h 318"/>
                <a:gd name="T82" fmla="*/ 1 w 343"/>
                <a:gd name="T83" fmla="*/ 171 h 318"/>
                <a:gd name="T84" fmla="*/ 7 w 343"/>
                <a:gd name="T85" fmla="*/ 172 h 318"/>
                <a:gd name="T86" fmla="*/ 12 w 343"/>
                <a:gd name="T87" fmla="*/ 171 h 318"/>
                <a:gd name="T88" fmla="*/ 33 w 343"/>
                <a:gd name="T89" fmla="*/ 287 h 318"/>
                <a:gd name="T90" fmla="*/ 33 w 343"/>
                <a:gd name="T91" fmla="*/ 293 h 318"/>
                <a:gd name="T92" fmla="*/ 38 w 343"/>
                <a:gd name="T93" fmla="*/ 304 h 318"/>
                <a:gd name="T94" fmla="*/ 45 w 343"/>
                <a:gd name="T95" fmla="*/ 312 h 318"/>
                <a:gd name="T96" fmla="*/ 56 w 343"/>
                <a:gd name="T97" fmla="*/ 317 h 318"/>
                <a:gd name="T98" fmla="*/ 280 w 343"/>
                <a:gd name="T99" fmla="*/ 318 h 318"/>
                <a:gd name="T100" fmla="*/ 286 w 343"/>
                <a:gd name="T101" fmla="*/ 317 h 318"/>
                <a:gd name="T102" fmla="*/ 297 w 343"/>
                <a:gd name="T103" fmla="*/ 312 h 318"/>
                <a:gd name="T104" fmla="*/ 304 w 343"/>
                <a:gd name="T105" fmla="*/ 304 h 318"/>
                <a:gd name="T106" fmla="*/ 309 w 343"/>
                <a:gd name="T107" fmla="*/ 293 h 318"/>
                <a:gd name="T108" fmla="*/ 310 w 343"/>
                <a:gd name="T109" fmla="*/ 148 h 318"/>
                <a:gd name="T110" fmla="*/ 332 w 343"/>
                <a:gd name="T111" fmla="*/ 171 h 318"/>
                <a:gd name="T112" fmla="*/ 337 w 343"/>
                <a:gd name="T113" fmla="*/ 172 h 318"/>
                <a:gd name="T114" fmla="*/ 339 w 343"/>
                <a:gd name="T115" fmla="*/ 172 h 318"/>
                <a:gd name="T116" fmla="*/ 341 w 343"/>
                <a:gd name="T117" fmla="*/ 171 h 318"/>
                <a:gd name="T118" fmla="*/ 343 w 343"/>
                <a:gd name="T119" fmla="*/ 165 h 318"/>
                <a:gd name="T120" fmla="*/ 341 w 343"/>
                <a:gd name="T121" fmla="*/ 161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3" h="318">
                  <a:moveTo>
                    <a:pt x="297" y="138"/>
                  </a:moveTo>
                  <a:lnTo>
                    <a:pt x="297" y="287"/>
                  </a:lnTo>
                  <a:lnTo>
                    <a:pt x="297" y="287"/>
                  </a:lnTo>
                  <a:lnTo>
                    <a:pt x="296" y="290"/>
                  </a:lnTo>
                  <a:lnTo>
                    <a:pt x="295" y="293"/>
                  </a:lnTo>
                  <a:lnTo>
                    <a:pt x="292" y="298"/>
                  </a:lnTo>
                  <a:lnTo>
                    <a:pt x="286" y="303"/>
                  </a:lnTo>
                  <a:lnTo>
                    <a:pt x="283" y="304"/>
                  </a:lnTo>
                  <a:lnTo>
                    <a:pt x="280" y="304"/>
                  </a:lnTo>
                  <a:lnTo>
                    <a:pt x="220" y="304"/>
                  </a:lnTo>
                  <a:lnTo>
                    <a:pt x="220" y="197"/>
                  </a:lnTo>
                  <a:lnTo>
                    <a:pt x="220" y="197"/>
                  </a:lnTo>
                  <a:lnTo>
                    <a:pt x="219" y="190"/>
                  </a:lnTo>
                  <a:lnTo>
                    <a:pt x="218" y="185"/>
                  </a:lnTo>
                  <a:lnTo>
                    <a:pt x="214" y="180"/>
                  </a:lnTo>
                  <a:lnTo>
                    <a:pt x="211" y="176"/>
                  </a:lnTo>
                  <a:lnTo>
                    <a:pt x="207" y="173"/>
                  </a:lnTo>
                  <a:lnTo>
                    <a:pt x="203" y="171"/>
                  </a:lnTo>
                  <a:lnTo>
                    <a:pt x="197" y="169"/>
                  </a:lnTo>
                  <a:lnTo>
                    <a:pt x="191" y="169"/>
                  </a:lnTo>
                  <a:lnTo>
                    <a:pt x="150" y="169"/>
                  </a:lnTo>
                  <a:lnTo>
                    <a:pt x="150" y="169"/>
                  </a:lnTo>
                  <a:lnTo>
                    <a:pt x="145" y="169"/>
                  </a:lnTo>
                  <a:lnTo>
                    <a:pt x="139" y="171"/>
                  </a:lnTo>
                  <a:lnTo>
                    <a:pt x="134" y="173"/>
                  </a:lnTo>
                  <a:lnTo>
                    <a:pt x="130" y="176"/>
                  </a:lnTo>
                  <a:lnTo>
                    <a:pt x="127" y="180"/>
                  </a:lnTo>
                  <a:lnTo>
                    <a:pt x="123" y="185"/>
                  </a:lnTo>
                  <a:lnTo>
                    <a:pt x="121" y="190"/>
                  </a:lnTo>
                  <a:lnTo>
                    <a:pt x="121" y="197"/>
                  </a:lnTo>
                  <a:lnTo>
                    <a:pt x="121" y="304"/>
                  </a:lnTo>
                  <a:lnTo>
                    <a:pt x="61" y="304"/>
                  </a:lnTo>
                  <a:lnTo>
                    <a:pt x="61" y="304"/>
                  </a:lnTo>
                  <a:lnTo>
                    <a:pt x="58" y="304"/>
                  </a:lnTo>
                  <a:lnTo>
                    <a:pt x="56" y="303"/>
                  </a:lnTo>
                  <a:lnTo>
                    <a:pt x="50" y="298"/>
                  </a:lnTo>
                  <a:lnTo>
                    <a:pt x="47" y="293"/>
                  </a:lnTo>
                  <a:lnTo>
                    <a:pt x="46" y="287"/>
                  </a:lnTo>
                  <a:lnTo>
                    <a:pt x="46" y="138"/>
                  </a:lnTo>
                  <a:lnTo>
                    <a:pt x="46" y="138"/>
                  </a:lnTo>
                  <a:lnTo>
                    <a:pt x="46" y="137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7" y="15"/>
                  </a:lnTo>
                  <a:lnTo>
                    <a:pt x="172" y="14"/>
                  </a:lnTo>
                  <a:lnTo>
                    <a:pt x="175" y="15"/>
                  </a:lnTo>
                  <a:lnTo>
                    <a:pt x="179" y="18"/>
                  </a:lnTo>
                  <a:lnTo>
                    <a:pt x="297" y="135"/>
                  </a:lnTo>
                  <a:lnTo>
                    <a:pt x="297" y="135"/>
                  </a:lnTo>
                  <a:lnTo>
                    <a:pt x="297" y="138"/>
                  </a:lnTo>
                  <a:close/>
                  <a:moveTo>
                    <a:pt x="206" y="304"/>
                  </a:moveTo>
                  <a:lnTo>
                    <a:pt x="134" y="304"/>
                  </a:lnTo>
                  <a:lnTo>
                    <a:pt x="134" y="197"/>
                  </a:lnTo>
                  <a:lnTo>
                    <a:pt x="134" y="197"/>
                  </a:lnTo>
                  <a:lnTo>
                    <a:pt x="134" y="193"/>
                  </a:lnTo>
                  <a:lnTo>
                    <a:pt x="135" y="190"/>
                  </a:lnTo>
                  <a:lnTo>
                    <a:pt x="139" y="186"/>
                  </a:lnTo>
                  <a:lnTo>
                    <a:pt x="145" y="183"/>
                  </a:lnTo>
                  <a:lnTo>
                    <a:pt x="150" y="182"/>
                  </a:lnTo>
                  <a:lnTo>
                    <a:pt x="191" y="182"/>
                  </a:lnTo>
                  <a:lnTo>
                    <a:pt x="191" y="182"/>
                  </a:lnTo>
                  <a:lnTo>
                    <a:pt x="197" y="183"/>
                  </a:lnTo>
                  <a:lnTo>
                    <a:pt x="202" y="186"/>
                  </a:lnTo>
                  <a:lnTo>
                    <a:pt x="205" y="190"/>
                  </a:lnTo>
                  <a:lnTo>
                    <a:pt x="206" y="197"/>
                  </a:lnTo>
                  <a:lnTo>
                    <a:pt x="206" y="304"/>
                  </a:lnTo>
                  <a:close/>
                  <a:moveTo>
                    <a:pt x="188" y="8"/>
                  </a:moveTo>
                  <a:lnTo>
                    <a:pt x="188" y="8"/>
                  </a:lnTo>
                  <a:lnTo>
                    <a:pt x="184" y="5"/>
                  </a:lnTo>
                  <a:lnTo>
                    <a:pt x="180" y="3"/>
                  </a:lnTo>
                  <a:lnTo>
                    <a:pt x="176" y="2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67" y="2"/>
                  </a:lnTo>
                  <a:lnTo>
                    <a:pt x="163" y="3"/>
                  </a:lnTo>
                  <a:lnTo>
                    <a:pt x="159" y="5"/>
                  </a:lnTo>
                  <a:lnTo>
                    <a:pt x="155" y="8"/>
                  </a:lnTo>
                  <a:lnTo>
                    <a:pt x="1" y="161"/>
                  </a:lnTo>
                  <a:lnTo>
                    <a:pt x="1" y="161"/>
                  </a:lnTo>
                  <a:lnTo>
                    <a:pt x="0" y="163"/>
                  </a:lnTo>
                  <a:lnTo>
                    <a:pt x="0" y="165"/>
                  </a:lnTo>
                  <a:lnTo>
                    <a:pt x="0" y="169"/>
                  </a:lnTo>
                  <a:lnTo>
                    <a:pt x="1" y="171"/>
                  </a:lnTo>
                  <a:lnTo>
                    <a:pt x="1" y="171"/>
                  </a:lnTo>
                  <a:lnTo>
                    <a:pt x="4" y="172"/>
                  </a:lnTo>
                  <a:lnTo>
                    <a:pt x="7" y="172"/>
                  </a:lnTo>
                  <a:lnTo>
                    <a:pt x="9" y="172"/>
                  </a:lnTo>
                  <a:lnTo>
                    <a:pt x="12" y="171"/>
                  </a:lnTo>
                  <a:lnTo>
                    <a:pt x="33" y="149"/>
                  </a:lnTo>
                  <a:lnTo>
                    <a:pt x="33" y="287"/>
                  </a:lnTo>
                  <a:lnTo>
                    <a:pt x="33" y="287"/>
                  </a:lnTo>
                  <a:lnTo>
                    <a:pt x="33" y="293"/>
                  </a:lnTo>
                  <a:lnTo>
                    <a:pt x="35" y="298"/>
                  </a:lnTo>
                  <a:lnTo>
                    <a:pt x="38" y="304"/>
                  </a:lnTo>
                  <a:lnTo>
                    <a:pt x="41" y="308"/>
                  </a:lnTo>
                  <a:lnTo>
                    <a:pt x="45" y="312"/>
                  </a:lnTo>
                  <a:lnTo>
                    <a:pt x="50" y="314"/>
                  </a:lnTo>
                  <a:lnTo>
                    <a:pt x="56" y="317"/>
                  </a:lnTo>
                  <a:lnTo>
                    <a:pt x="61" y="318"/>
                  </a:lnTo>
                  <a:lnTo>
                    <a:pt x="280" y="318"/>
                  </a:lnTo>
                  <a:lnTo>
                    <a:pt x="280" y="318"/>
                  </a:lnTo>
                  <a:lnTo>
                    <a:pt x="286" y="317"/>
                  </a:lnTo>
                  <a:lnTo>
                    <a:pt x="292" y="314"/>
                  </a:lnTo>
                  <a:lnTo>
                    <a:pt x="297" y="312"/>
                  </a:lnTo>
                  <a:lnTo>
                    <a:pt x="301" y="308"/>
                  </a:lnTo>
                  <a:lnTo>
                    <a:pt x="304" y="304"/>
                  </a:lnTo>
                  <a:lnTo>
                    <a:pt x="308" y="298"/>
                  </a:lnTo>
                  <a:lnTo>
                    <a:pt x="309" y="293"/>
                  </a:lnTo>
                  <a:lnTo>
                    <a:pt x="310" y="287"/>
                  </a:lnTo>
                  <a:lnTo>
                    <a:pt x="310" y="148"/>
                  </a:lnTo>
                  <a:lnTo>
                    <a:pt x="332" y="171"/>
                  </a:lnTo>
                  <a:lnTo>
                    <a:pt x="332" y="171"/>
                  </a:lnTo>
                  <a:lnTo>
                    <a:pt x="334" y="172"/>
                  </a:lnTo>
                  <a:lnTo>
                    <a:pt x="337" y="172"/>
                  </a:lnTo>
                  <a:lnTo>
                    <a:pt x="337" y="172"/>
                  </a:lnTo>
                  <a:lnTo>
                    <a:pt x="339" y="172"/>
                  </a:lnTo>
                  <a:lnTo>
                    <a:pt x="341" y="171"/>
                  </a:lnTo>
                  <a:lnTo>
                    <a:pt x="341" y="171"/>
                  </a:lnTo>
                  <a:lnTo>
                    <a:pt x="343" y="169"/>
                  </a:lnTo>
                  <a:lnTo>
                    <a:pt x="343" y="165"/>
                  </a:lnTo>
                  <a:lnTo>
                    <a:pt x="343" y="163"/>
                  </a:lnTo>
                  <a:lnTo>
                    <a:pt x="341" y="161"/>
                  </a:lnTo>
                  <a:lnTo>
                    <a:pt x="188" y="8"/>
                  </a:lnTo>
                  <a:close/>
                </a:path>
              </a:pathLst>
            </a:custGeom>
            <a:solidFill>
              <a:srgbClr val="003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9" name="Freeform 23">
              <a:extLst>
                <a:ext uri="{FF2B5EF4-FFF2-40B4-BE49-F238E27FC236}">
                  <a16:creationId xmlns:a16="http://schemas.microsoft.com/office/drawing/2014/main" id="{17C9D093-8B62-407D-B947-A0E1A9B2DC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08088" y="185738"/>
              <a:ext cx="398463" cy="460375"/>
            </a:xfrm>
            <a:custGeom>
              <a:avLst/>
              <a:gdLst>
                <a:gd name="T0" fmla="*/ 251 w 251"/>
                <a:gd name="T1" fmla="*/ 124 h 290"/>
                <a:gd name="T2" fmla="*/ 251 w 251"/>
                <a:gd name="T3" fmla="*/ 273 h 290"/>
                <a:gd name="T4" fmla="*/ 251 w 251"/>
                <a:gd name="T5" fmla="*/ 273 h 290"/>
                <a:gd name="T6" fmla="*/ 250 w 251"/>
                <a:gd name="T7" fmla="*/ 276 h 290"/>
                <a:gd name="T8" fmla="*/ 249 w 251"/>
                <a:gd name="T9" fmla="*/ 279 h 290"/>
                <a:gd name="T10" fmla="*/ 246 w 251"/>
                <a:gd name="T11" fmla="*/ 284 h 290"/>
                <a:gd name="T12" fmla="*/ 240 w 251"/>
                <a:gd name="T13" fmla="*/ 289 h 290"/>
                <a:gd name="T14" fmla="*/ 237 w 251"/>
                <a:gd name="T15" fmla="*/ 290 h 290"/>
                <a:gd name="T16" fmla="*/ 234 w 251"/>
                <a:gd name="T17" fmla="*/ 290 h 290"/>
                <a:gd name="T18" fmla="*/ 174 w 251"/>
                <a:gd name="T19" fmla="*/ 290 h 290"/>
                <a:gd name="T20" fmla="*/ 174 w 251"/>
                <a:gd name="T21" fmla="*/ 183 h 290"/>
                <a:gd name="T22" fmla="*/ 174 w 251"/>
                <a:gd name="T23" fmla="*/ 183 h 290"/>
                <a:gd name="T24" fmla="*/ 173 w 251"/>
                <a:gd name="T25" fmla="*/ 176 h 290"/>
                <a:gd name="T26" fmla="*/ 172 w 251"/>
                <a:gd name="T27" fmla="*/ 171 h 290"/>
                <a:gd name="T28" fmla="*/ 168 w 251"/>
                <a:gd name="T29" fmla="*/ 166 h 290"/>
                <a:gd name="T30" fmla="*/ 165 w 251"/>
                <a:gd name="T31" fmla="*/ 162 h 290"/>
                <a:gd name="T32" fmla="*/ 161 w 251"/>
                <a:gd name="T33" fmla="*/ 159 h 290"/>
                <a:gd name="T34" fmla="*/ 157 w 251"/>
                <a:gd name="T35" fmla="*/ 157 h 290"/>
                <a:gd name="T36" fmla="*/ 151 w 251"/>
                <a:gd name="T37" fmla="*/ 155 h 290"/>
                <a:gd name="T38" fmla="*/ 145 w 251"/>
                <a:gd name="T39" fmla="*/ 155 h 290"/>
                <a:gd name="T40" fmla="*/ 104 w 251"/>
                <a:gd name="T41" fmla="*/ 155 h 290"/>
                <a:gd name="T42" fmla="*/ 104 w 251"/>
                <a:gd name="T43" fmla="*/ 155 h 290"/>
                <a:gd name="T44" fmla="*/ 99 w 251"/>
                <a:gd name="T45" fmla="*/ 155 h 290"/>
                <a:gd name="T46" fmla="*/ 93 w 251"/>
                <a:gd name="T47" fmla="*/ 157 h 290"/>
                <a:gd name="T48" fmla="*/ 88 w 251"/>
                <a:gd name="T49" fmla="*/ 159 h 290"/>
                <a:gd name="T50" fmla="*/ 84 w 251"/>
                <a:gd name="T51" fmla="*/ 162 h 290"/>
                <a:gd name="T52" fmla="*/ 81 w 251"/>
                <a:gd name="T53" fmla="*/ 166 h 290"/>
                <a:gd name="T54" fmla="*/ 77 w 251"/>
                <a:gd name="T55" fmla="*/ 171 h 290"/>
                <a:gd name="T56" fmla="*/ 75 w 251"/>
                <a:gd name="T57" fmla="*/ 176 h 290"/>
                <a:gd name="T58" fmla="*/ 75 w 251"/>
                <a:gd name="T59" fmla="*/ 183 h 290"/>
                <a:gd name="T60" fmla="*/ 75 w 251"/>
                <a:gd name="T61" fmla="*/ 290 h 290"/>
                <a:gd name="T62" fmla="*/ 15 w 251"/>
                <a:gd name="T63" fmla="*/ 290 h 290"/>
                <a:gd name="T64" fmla="*/ 15 w 251"/>
                <a:gd name="T65" fmla="*/ 290 h 290"/>
                <a:gd name="T66" fmla="*/ 12 w 251"/>
                <a:gd name="T67" fmla="*/ 290 h 290"/>
                <a:gd name="T68" fmla="*/ 10 w 251"/>
                <a:gd name="T69" fmla="*/ 289 h 290"/>
                <a:gd name="T70" fmla="*/ 4 w 251"/>
                <a:gd name="T71" fmla="*/ 284 h 290"/>
                <a:gd name="T72" fmla="*/ 1 w 251"/>
                <a:gd name="T73" fmla="*/ 279 h 290"/>
                <a:gd name="T74" fmla="*/ 0 w 251"/>
                <a:gd name="T75" fmla="*/ 273 h 290"/>
                <a:gd name="T76" fmla="*/ 0 w 251"/>
                <a:gd name="T77" fmla="*/ 124 h 290"/>
                <a:gd name="T78" fmla="*/ 0 w 251"/>
                <a:gd name="T79" fmla="*/ 124 h 290"/>
                <a:gd name="T80" fmla="*/ 0 w 251"/>
                <a:gd name="T81" fmla="*/ 123 h 290"/>
                <a:gd name="T82" fmla="*/ 118 w 251"/>
                <a:gd name="T83" fmla="*/ 4 h 290"/>
                <a:gd name="T84" fmla="*/ 118 w 251"/>
                <a:gd name="T85" fmla="*/ 4 h 290"/>
                <a:gd name="T86" fmla="*/ 121 w 251"/>
                <a:gd name="T87" fmla="*/ 1 h 290"/>
                <a:gd name="T88" fmla="*/ 126 w 251"/>
                <a:gd name="T89" fmla="*/ 0 h 290"/>
                <a:gd name="T90" fmla="*/ 129 w 251"/>
                <a:gd name="T91" fmla="*/ 1 h 290"/>
                <a:gd name="T92" fmla="*/ 133 w 251"/>
                <a:gd name="T93" fmla="*/ 4 h 290"/>
                <a:gd name="T94" fmla="*/ 251 w 251"/>
                <a:gd name="T95" fmla="*/ 121 h 290"/>
                <a:gd name="T96" fmla="*/ 251 w 251"/>
                <a:gd name="T97" fmla="*/ 121 h 290"/>
                <a:gd name="T98" fmla="*/ 251 w 251"/>
                <a:gd name="T99" fmla="*/ 124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1" h="290">
                  <a:moveTo>
                    <a:pt x="251" y="124"/>
                  </a:moveTo>
                  <a:lnTo>
                    <a:pt x="251" y="273"/>
                  </a:lnTo>
                  <a:lnTo>
                    <a:pt x="251" y="273"/>
                  </a:lnTo>
                  <a:lnTo>
                    <a:pt x="250" y="276"/>
                  </a:lnTo>
                  <a:lnTo>
                    <a:pt x="249" y="279"/>
                  </a:lnTo>
                  <a:lnTo>
                    <a:pt x="246" y="284"/>
                  </a:lnTo>
                  <a:lnTo>
                    <a:pt x="240" y="289"/>
                  </a:lnTo>
                  <a:lnTo>
                    <a:pt x="237" y="290"/>
                  </a:lnTo>
                  <a:lnTo>
                    <a:pt x="234" y="290"/>
                  </a:lnTo>
                  <a:lnTo>
                    <a:pt x="174" y="290"/>
                  </a:lnTo>
                  <a:lnTo>
                    <a:pt x="174" y="183"/>
                  </a:lnTo>
                  <a:lnTo>
                    <a:pt x="174" y="183"/>
                  </a:lnTo>
                  <a:lnTo>
                    <a:pt x="173" y="176"/>
                  </a:lnTo>
                  <a:lnTo>
                    <a:pt x="172" y="171"/>
                  </a:lnTo>
                  <a:lnTo>
                    <a:pt x="168" y="166"/>
                  </a:lnTo>
                  <a:lnTo>
                    <a:pt x="165" y="162"/>
                  </a:lnTo>
                  <a:lnTo>
                    <a:pt x="161" y="159"/>
                  </a:lnTo>
                  <a:lnTo>
                    <a:pt x="157" y="157"/>
                  </a:lnTo>
                  <a:lnTo>
                    <a:pt x="151" y="155"/>
                  </a:lnTo>
                  <a:lnTo>
                    <a:pt x="145" y="155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99" y="155"/>
                  </a:lnTo>
                  <a:lnTo>
                    <a:pt x="93" y="157"/>
                  </a:lnTo>
                  <a:lnTo>
                    <a:pt x="88" y="159"/>
                  </a:lnTo>
                  <a:lnTo>
                    <a:pt x="84" y="162"/>
                  </a:lnTo>
                  <a:lnTo>
                    <a:pt x="81" y="166"/>
                  </a:lnTo>
                  <a:lnTo>
                    <a:pt x="77" y="171"/>
                  </a:lnTo>
                  <a:lnTo>
                    <a:pt x="75" y="176"/>
                  </a:lnTo>
                  <a:lnTo>
                    <a:pt x="75" y="183"/>
                  </a:lnTo>
                  <a:lnTo>
                    <a:pt x="75" y="290"/>
                  </a:lnTo>
                  <a:lnTo>
                    <a:pt x="15" y="290"/>
                  </a:lnTo>
                  <a:lnTo>
                    <a:pt x="15" y="290"/>
                  </a:lnTo>
                  <a:lnTo>
                    <a:pt x="12" y="290"/>
                  </a:lnTo>
                  <a:lnTo>
                    <a:pt x="10" y="289"/>
                  </a:lnTo>
                  <a:lnTo>
                    <a:pt x="4" y="284"/>
                  </a:lnTo>
                  <a:lnTo>
                    <a:pt x="1" y="279"/>
                  </a:lnTo>
                  <a:lnTo>
                    <a:pt x="0" y="273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3"/>
                  </a:lnTo>
                  <a:lnTo>
                    <a:pt x="118" y="4"/>
                  </a:lnTo>
                  <a:lnTo>
                    <a:pt x="118" y="4"/>
                  </a:lnTo>
                  <a:lnTo>
                    <a:pt x="121" y="1"/>
                  </a:lnTo>
                  <a:lnTo>
                    <a:pt x="126" y="0"/>
                  </a:lnTo>
                  <a:lnTo>
                    <a:pt x="129" y="1"/>
                  </a:lnTo>
                  <a:lnTo>
                    <a:pt x="133" y="4"/>
                  </a:lnTo>
                  <a:lnTo>
                    <a:pt x="251" y="121"/>
                  </a:lnTo>
                  <a:lnTo>
                    <a:pt x="251" y="121"/>
                  </a:lnTo>
                  <a:lnTo>
                    <a:pt x="251" y="12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0" name="Freeform 24">
              <a:extLst>
                <a:ext uri="{FF2B5EF4-FFF2-40B4-BE49-F238E27FC236}">
                  <a16:creationId xmlns:a16="http://schemas.microsoft.com/office/drawing/2014/main" id="{8AB95BFF-A971-4DA4-8597-0A619852A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47788" y="452438"/>
              <a:ext cx="114300" cy="193675"/>
            </a:xfrm>
            <a:custGeom>
              <a:avLst/>
              <a:gdLst>
                <a:gd name="T0" fmla="*/ 72 w 72"/>
                <a:gd name="T1" fmla="*/ 122 h 122"/>
                <a:gd name="T2" fmla="*/ 0 w 72"/>
                <a:gd name="T3" fmla="*/ 122 h 122"/>
                <a:gd name="T4" fmla="*/ 0 w 72"/>
                <a:gd name="T5" fmla="*/ 15 h 122"/>
                <a:gd name="T6" fmla="*/ 0 w 72"/>
                <a:gd name="T7" fmla="*/ 15 h 122"/>
                <a:gd name="T8" fmla="*/ 0 w 72"/>
                <a:gd name="T9" fmla="*/ 11 h 122"/>
                <a:gd name="T10" fmla="*/ 1 w 72"/>
                <a:gd name="T11" fmla="*/ 8 h 122"/>
                <a:gd name="T12" fmla="*/ 5 w 72"/>
                <a:gd name="T13" fmla="*/ 4 h 122"/>
                <a:gd name="T14" fmla="*/ 11 w 72"/>
                <a:gd name="T15" fmla="*/ 1 h 122"/>
                <a:gd name="T16" fmla="*/ 16 w 72"/>
                <a:gd name="T17" fmla="*/ 0 h 122"/>
                <a:gd name="T18" fmla="*/ 57 w 72"/>
                <a:gd name="T19" fmla="*/ 0 h 122"/>
                <a:gd name="T20" fmla="*/ 57 w 72"/>
                <a:gd name="T21" fmla="*/ 0 h 122"/>
                <a:gd name="T22" fmla="*/ 63 w 72"/>
                <a:gd name="T23" fmla="*/ 1 h 122"/>
                <a:gd name="T24" fmla="*/ 68 w 72"/>
                <a:gd name="T25" fmla="*/ 4 h 122"/>
                <a:gd name="T26" fmla="*/ 71 w 72"/>
                <a:gd name="T27" fmla="*/ 8 h 122"/>
                <a:gd name="T28" fmla="*/ 72 w 72"/>
                <a:gd name="T29" fmla="*/ 15 h 122"/>
                <a:gd name="T30" fmla="*/ 72 w 72"/>
                <a:gd name="T31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2" h="122">
                  <a:moveTo>
                    <a:pt x="72" y="122"/>
                  </a:moveTo>
                  <a:lnTo>
                    <a:pt x="0" y="12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1" y="8"/>
                  </a:lnTo>
                  <a:lnTo>
                    <a:pt x="5" y="4"/>
                  </a:lnTo>
                  <a:lnTo>
                    <a:pt x="11" y="1"/>
                  </a:lnTo>
                  <a:lnTo>
                    <a:pt x="16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63" y="1"/>
                  </a:lnTo>
                  <a:lnTo>
                    <a:pt x="68" y="4"/>
                  </a:lnTo>
                  <a:lnTo>
                    <a:pt x="71" y="8"/>
                  </a:lnTo>
                  <a:lnTo>
                    <a:pt x="72" y="15"/>
                  </a:lnTo>
                  <a:lnTo>
                    <a:pt x="72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1" name="Freeform 25">
              <a:extLst>
                <a:ext uri="{FF2B5EF4-FFF2-40B4-BE49-F238E27FC236}">
                  <a16:creationId xmlns:a16="http://schemas.microsoft.com/office/drawing/2014/main" id="{30B31CE0-179C-44D8-B6C5-669161267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35063" y="163513"/>
              <a:ext cx="544513" cy="504825"/>
            </a:xfrm>
            <a:custGeom>
              <a:avLst/>
              <a:gdLst>
                <a:gd name="T0" fmla="*/ 188 w 343"/>
                <a:gd name="T1" fmla="*/ 8 h 318"/>
                <a:gd name="T2" fmla="*/ 188 w 343"/>
                <a:gd name="T3" fmla="*/ 8 h 318"/>
                <a:gd name="T4" fmla="*/ 184 w 343"/>
                <a:gd name="T5" fmla="*/ 5 h 318"/>
                <a:gd name="T6" fmla="*/ 180 w 343"/>
                <a:gd name="T7" fmla="*/ 3 h 318"/>
                <a:gd name="T8" fmla="*/ 176 w 343"/>
                <a:gd name="T9" fmla="*/ 2 h 318"/>
                <a:gd name="T10" fmla="*/ 172 w 343"/>
                <a:gd name="T11" fmla="*/ 0 h 318"/>
                <a:gd name="T12" fmla="*/ 172 w 343"/>
                <a:gd name="T13" fmla="*/ 0 h 318"/>
                <a:gd name="T14" fmla="*/ 167 w 343"/>
                <a:gd name="T15" fmla="*/ 2 h 318"/>
                <a:gd name="T16" fmla="*/ 163 w 343"/>
                <a:gd name="T17" fmla="*/ 3 h 318"/>
                <a:gd name="T18" fmla="*/ 159 w 343"/>
                <a:gd name="T19" fmla="*/ 5 h 318"/>
                <a:gd name="T20" fmla="*/ 155 w 343"/>
                <a:gd name="T21" fmla="*/ 8 h 318"/>
                <a:gd name="T22" fmla="*/ 1 w 343"/>
                <a:gd name="T23" fmla="*/ 161 h 318"/>
                <a:gd name="T24" fmla="*/ 1 w 343"/>
                <a:gd name="T25" fmla="*/ 161 h 318"/>
                <a:gd name="T26" fmla="*/ 0 w 343"/>
                <a:gd name="T27" fmla="*/ 163 h 318"/>
                <a:gd name="T28" fmla="*/ 0 w 343"/>
                <a:gd name="T29" fmla="*/ 165 h 318"/>
                <a:gd name="T30" fmla="*/ 0 w 343"/>
                <a:gd name="T31" fmla="*/ 169 h 318"/>
                <a:gd name="T32" fmla="*/ 1 w 343"/>
                <a:gd name="T33" fmla="*/ 171 h 318"/>
                <a:gd name="T34" fmla="*/ 1 w 343"/>
                <a:gd name="T35" fmla="*/ 171 h 318"/>
                <a:gd name="T36" fmla="*/ 4 w 343"/>
                <a:gd name="T37" fmla="*/ 172 h 318"/>
                <a:gd name="T38" fmla="*/ 7 w 343"/>
                <a:gd name="T39" fmla="*/ 172 h 318"/>
                <a:gd name="T40" fmla="*/ 9 w 343"/>
                <a:gd name="T41" fmla="*/ 172 h 318"/>
                <a:gd name="T42" fmla="*/ 12 w 343"/>
                <a:gd name="T43" fmla="*/ 171 h 318"/>
                <a:gd name="T44" fmla="*/ 33 w 343"/>
                <a:gd name="T45" fmla="*/ 149 h 318"/>
                <a:gd name="T46" fmla="*/ 33 w 343"/>
                <a:gd name="T47" fmla="*/ 287 h 318"/>
                <a:gd name="T48" fmla="*/ 33 w 343"/>
                <a:gd name="T49" fmla="*/ 287 h 318"/>
                <a:gd name="T50" fmla="*/ 33 w 343"/>
                <a:gd name="T51" fmla="*/ 293 h 318"/>
                <a:gd name="T52" fmla="*/ 35 w 343"/>
                <a:gd name="T53" fmla="*/ 298 h 318"/>
                <a:gd name="T54" fmla="*/ 38 w 343"/>
                <a:gd name="T55" fmla="*/ 304 h 318"/>
                <a:gd name="T56" fmla="*/ 41 w 343"/>
                <a:gd name="T57" fmla="*/ 308 h 318"/>
                <a:gd name="T58" fmla="*/ 45 w 343"/>
                <a:gd name="T59" fmla="*/ 312 h 318"/>
                <a:gd name="T60" fmla="*/ 50 w 343"/>
                <a:gd name="T61" fmla="*/ 314 h 318"/>
                <a:gd name="T62" fmla="*/ 56 w 343"/>
                <a:gd name="T63" fmla="*/ 317 h 318"/>
                <a:gd name="T64" fmla="*/ 61 w 343"/>
                <a:gd name="T65" fmla="*/ 318 h 318"/>
                <a:gd name="T66" fmla="*/ 280 w 343"/>
                <a:gd name="T67" fmla="*/ 318 h 318"/>
                <a:gd name="T68" fmla="*/ 280 w 343"/>
                <a:gd name="T69" fmla="*/ 318 h 318"/>
                <a:gd name="T70" fmla="*/ 286 w 343"/>
                <a:gd name="T71" fmla="*/ 317 h 318"/>
                <a:gd name="T72" fmla="*/ 292 w 343"/>
                <a:gd name="T73" fmla="*/ 314 h 318"/>
                <a:gd name="T74" fmla="*/ 297 w 343"/>
                <a:gd name="T75" fmla="*/ 312 h 318"/>
                <a:gd name="T76" fmla="*/ 301 w 343"/>
                <a:gd name="T77" fmla="*/ 308 h 318"/>
                <a:gd name="T78" fmla="*/ 304 w 343"/>
                <a:gd name="T79" fmla="*/ 304 h 318"/>
                <a:gd name="T80" fmla="*/ 308 w 343"/>
                <a:gd name="T81" fmla="*/ 298 h 318"/>
                <a:gd name="T82" fmla="*/ 309 w 343"/>
                <a:gd name="T83" fmla="*/ 293 h 318"/>
                <a:gd name="T84" fmla="*/ 310 w 343"/>
                <a:gd name="T85" fmla="*/ 287 h 318"/>
                <a:gd name="T86" fmla="*/ 310 w 343"/>
                <a:gd name="T87" fmla="*/ 148 h 318"/>
                <a:gd name="T88" fmla="*/ 332 w 343"/>
                <a:gd name="T89" fmla="*/ 171 h 318"/>
                <a:gd name="T90" fmla="*/ 332 w 343"/>
                <a:gd name="T91" fmla="*/ 171 h 318"/>
                <a:gd name="T92" fmla="*/ 334 w 343"/>
                <a:gd name="T93" fmla="*/ 172 h 318"/>
                <a:gd name="T94" fmla="*/ 337 w 343"/>
                <a:gd name="T95" fmla="*/ 172 h 318"/>
                <a:gd name="T96" fmla="*/ 337 w 343"/>
                <a:gd name="T97" fmla="*/ 172 h 318"/>
                <a:gd name="T98" fmla="*/ 339 w 343"/>
                <a:gd name="T99" fmla="*/ 172 h 318"/>
                <a:gd name="T100" fmla="*/ 341 w 343"/>
                <a:gd name="T101" fmla="*/ 171 h 318"/>
                <a:gd name="T102" fmla="*/ 341 w 343"/>
                <a:gd name="T103" fmla="*/ 171 h 318"/>
                <a:gd name="T104" fmla="*/ 343 w 343"/>
                <a:gd name="T105" fmla="*/ 169 h 318"/>
                <a:gd name="T106" fmla="*/ 343 w 343"/>
                <a:gd name="T107" fmla="*/ 165 h 318"/>
                <a:gd name="T108" fmla="*/ 343 w 343"/>
                <a:gd name="T109" fmla="*/ 163 h 318"/>
                <a:gd name="T110" fmla="*/ 341 w 343"/>
                <a:gd name="T111" fmla="*/ 161 h 318"/>
                <a:gd name="T112" fmla="*/ 188 w 343"/>
                <a:gd name="T113" fmla="*/ 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43" h="318">
                  <a:moveTo>
                    <a:pt x="188" y="8"/>
                  </a:moveTo>
                  <a:lnTo>
                    <a:pt x="188" y="8"/>
                  </a:lnTo>
                  <a:lnTo>
                    <a:pt x="184" y="5"/>
                  </a:lnTo>
                  <a:lnTo>
                    <a:pt x="180" y="3"/>
                  </a:lnTo>
                  <a:lnTo>
                    <a:pt x="176" y="2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67" y="2"/>
                  </a:lnTo>
                  <a:lnTo>
                    <a:pt x="163" y="3"/>
                  </a:lnTo>
                  <a:lnTo>
                    <a:pt x="159" y="5"/>
                  </a:lnTo>
                  <a:lnTo>
                    <a:pt x="155" y="8"/>
                  </a:lnTo>
                  <a:lnTo>
                    <a:pt x="1" y="161"/>
                  </a:lnTo>
                  <a:lnTo>
                    <a:pt x="1" y="161"/>
                  </a:lnTo>
                  <a:lnTo>
                    <a:pt x="0" y="163"/>
                  </a:lnTo>
                  <a:lnTo>
                    <a:pt x="0" y="165"/>
                  </a:lnTo>
                  <a:lnTo>
                    <a:pt x="0" y="169"/>
                  </a:lnTo>
                  <a:lnTo>
                    <a:pt x="1" y="171"/>
                  </a:lnTo>
                  <a:lnTo>
                    <a:pt x="1" y="171"/>
                  </a:lnTo>
                  <a:lnTo>
                    <a:pt x="4" y="172"/>
                  </a:lnTo>
                  <a:lnTo>
                    <a:pt x="7" y="172"/>
                  </a:lnTo>
                  <a:lnTo>
                    <a:pt x="9" y="172"/>
                  </a:lnTo>
                  <a:lnTo>
                    <a:pt x="12" y="171"/>
                  </a:lnTo>
                  <a:lnTo>
                    <a:pt x="33" y="149"/>
                  </a:lnTo>
                  <a:lnTo>
                    <a:pt x="33" y="287"/>
                  </a:lnTo>
                  <a:lnTo>
                    <a:pt x="33" y="287"/>
                  </a:lnTo>
                  <a:lnTo>
                    <a:pt x="33" y="293"/>
                  </a:lnTo>
                  <a:lnTo>
                    <a:pt x="35" y="298"/>
                  </a:lnTo>
                  <a:lnTo>
                    <a:pt x="38" y="304"/>
                  </a:lnTo>
                  <a:lnTo>
                    <a:pt x="41" y="308"/>
                  </a:lnTo>
                  <a:lnTo>
                    <a:pt x="45" y="312"/>
                  </a:lnTo>
                  <a:lnTo>
                    <a:pt x="50" y="314"/>
                  </a:lnTo>
                  <a:lnTo>
                    <a:pt x="56" y="317"/>
                  </a:lnTo>
                  <a:lnTo>
                    <a:pt x="61" y="318"/>
                  </a:lnTo>
                  <a:lnTo>
                    <a:pt x="280" y="318"/>
                  </a:lnTo>
                  <a:lnTo>
                    <a:pt x="280" y="318"/>
                  </a:lnTo>
                  <a:lnTo>
                    <a:pt x="286" y="317"/>
                  </a:lnTo>
                  <a:lnTo>
                    <a:pt x="292" y="314"/>
                  </a:lnTo>
                  <a:lnTo>
                    <a:pt x="297" y="312"/>
                  </a:lnTo>
                  <a:lnTo>
                    <a:pt x="301" y="308"/>
                  </a:lnTo>
                  <a:lnTo>
                    <a:pt x="304" y="304"/>
                  </a:lnTo>
                  <a:lnTo>
                    <a:pt x="308" y="298"/>
                  </a:lnTo>
                  <a:lnTo>
                    <a:pt x="309" y="293"/>
                  </a:lnTo>
                  <a:lnTo>
                    <a:pt x="310" y="287"/>
                  </a:lnTo>
                  <a:lnTo>
                    <a:pt x="310" y="148"/>
                  </a:lnTo>
                  <a:lnTo>
                    <a:pt x="332" y="171"/>
                  </a:lnTo>
                  <a:lnTo>
                    <a:pt x="332" y="171"/>
                  </a:lnTo>
                  <a:lnTo>
                    <a:pt x="334" y="172"/>
                  </a:lnTo>
                  <a:lnTo>
                    <a:pt x="337" y="172"/>
                  </a:lnTo>
                  <a:lnTo>
                    <a:pt x="337" y="172"/>
                  </a:lnTo>
                  <a:lnTo>
                    <a:pt x="339" y="172"/>
                  </a:lnTo>
                  <a:lnTo>
                    <a:pt x="341" y="171"/>
                  </a:lnTo>
                  <a:lnTo>
                    <a:pt x="341" y="171"/>
                  </a:lnTo>
                  <a:lnTo>
                    <a:pt x="343" y="169"/>
                  </a:lnTo>
                  <a:lnTo>
                    <a:pt x="343" y="165"/>
                  </a:lnTo>
                  <a:lnTo>
                    <a:pt x="343" y="163"/>
                  </a:lnTo>
                  <a:lnTo>
                    <a:pt x="341" y="161"/>
                  </a:lnTo>
                  <a:lnTo>
                    <a:pt x="188" y="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32" name="Group 431">
            <a:extLst>
              <a:ext uri="{FF2B5EF4-FFF2-40B4-BE49-F238E27FC236}">
                <a16:creationId xmlns:a16="http://schemas.microsoft.com/office/drawing/2014/main" id="{2696FE75-925D-4952-9F44-49AF80616E5A}"/>
              </a:ext>
            </a:extLst>
          </p:cNvPr>
          <p:cNvGrpSpPr/>
          <p:nvPr/>
        </p:nvGrpSpPr>
        <p:grpSpPr>
          <a:xfrm>
            <a:off x="631578" y="1506362"/>
            <a:ext cx="11023672" cy="2872830"/>
            <a:chOff x="631578" y="1506361"/>
            <a:chExt cx="11023672" cy="4432660"/>
          </a:xfrm>
        </p:grpSpPr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28DD3318-3DD6-401C-BB57-3C98F42D487B}"/>
                </a:ext>
              </a:extLst>
            </p:cNvPr>
            <p:cNvSpPr/>
            <p:nvPr/>
          </p:nvSpPr>
          <p:spPr>
            <a:xfrm>
              <a:off x="631578" y="1512782"/>
              <a:ext cx="4542766" cy="2386758"/>
            </a:xfrm>
            <a:custGeom>
              <a:avLst/>
              <a:gdLst>
                <a:gd name="connsiteX0" fmla="*/ 4194629 w 4194629"/>
                <a:gd name="connsiteY0" fmla="*/ 0 h 2975429"/>
                <a:gd name="connsiteX1" fmla="*/ 0 w 4194629"/>
                <a:gd name="connsiteY1" fmla="*/ 0 h 2975429"/>
                <a:gd name="connsiteX2" fmla="*/ 0 w 4194629"/>
                <a:gd name="connsiteY2" fmla="*/ 2975429 h 297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94629" h="2975429">
                  <a:moveTo>
                    <a:pt x="4194629" y="0"/>
                  </a:moveTo>
                  <a:lnTo>
                    <a:pt x="0" y="0"/>
                  </a:lnTo>
                  <a:lnTo>
                    <a:pt x="0" y="2975429"/>
                  </a:lnTo>
                </a:path>
              </a:pathLst>
            </a:custGeom>
            <a:noFill/>
            <a:ln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1D8E6769-2A1F-4DE3-8CC7-0EE00348F7C9}"/>
                </a:ext>
              </a:extLst>
            </p:cNvPr>
            <p:cNvSpPr/>
            <p:nvPr/>
          </p:nvSpPr>
          <p:spPr>
            <a:xfrm>
              <a:off x="1865421" y="1647622"/>
              <a:ext cx="3294925" cy="4114850"/>
            </a:xfrm>
            <a:custGeom>
              <a:avLst/>
              <a:gdLst>
                <a:gd name="connsiteX0" fmla="*/ 4194629 w 4194629"/>
                <a:gd name="connsiteY0" fmla="*/ 0 h 2975429"/>
                <a:gd name="connsiteX1" fmla="*/ 0 w 4194629"/>
                <a:gd name="connsiteY1" fmla="*/ 0 h 2975429"/>
                <a:gd name="connsiteX2" fmla="*/ 0 w 4194629"/>
                <a:gd name="connsiteY2" fmla="*/ 2975429 h 297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94629" h="2975429">
                  <a:moveTo>
                    <a:pt x="4194629" y="0"/>
                  </a:moveTo>
                  <a:lnTo>
                    <a:pt x="0" y="0"/>
                  </a:lnTo>
                  <a:lnTo>
                    <a:pt x="0" y="2975429"/>
                  </a:lnTo>
                </a:path>
              </a:pathLst>
            </a:custGeom>
            <a:noFill/>
            <a:ln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B12186D7-E802-41E2-A585-C9FD4B8130BA}"/>
                </a:ext>
              </a:extLst>
            </p:cNvPr>
            <p:cNvSpPr/>
            <p:nvPr/>
          </p:nvSpPr>
          <p:spPr>
            <a:xfrm>
              <a:off x="3097464" y="1800022"/>
              <a:ext cx="2062883" cy="2082518"/>
            </a:xfrm>
            <a:custGeom>
              <a:avLst/>
              <a:gdLst>
                <a:gd name="connsiteX0" fmla="*/ 4194629 w 4194629"/>
                <a:gd name="connsiteY0" fmla="*/ 0 h 2975429"/>
                <a:gd name="connsiteX1" fmla="*/ 0 w 4194629"/>
                <a:gd name="connsiteY1" fmla="*/ 0 h 2975429"/>
                <a:gd name="connsiteX2" fmla="*/ 0 w 4194629"/>
                <a:gd name="connsiteY2" fmla="*/ 2975429 h 297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94629" h="2975429">
                  <a:moveTo>
                    <a:pt x="4194629" y="0"/>
                  </a:moveTo>
                  <a:lnTo>
                    <a:pt x="0" y="0"/>
                  </a:lnTo>
                  <a:lnTo>
                    <a:pt x="0" y="2975429"/>
                  </a:lnTo>
                </a:path>
              </a:pathLst>
            </a:custGeom>
            <a:noFill/>
            <a:ln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8B672983-6BCF-414A-8FF9-FF5B3849C7A9}"/>
                </a:ext>
              </a:extLst>
            </p:cNvPr>
            <p:cNvSpPr/>
            <p:nvPr/>
          </p:nvSpPr>
          <p:spPr>
            <a:xfrm>
              <a:off x="4358375" y="1952420"/>
              <a:ext cx="801972" cy="3885188"/>
            </a:xfrm>
            <a:custGeom>
              <a:avLst/>
              <a:gdLst>
                <a:gd name="connsiteX0" fmla="*/ 4194629 w 4194629"/>
                <a:gd name="connsiteY0" fmla="*/ 0 h 2975429"/>
                <a:gd name="connsiteX1" fmla="*/ 0 w 4194629"/>
                <a:gd name="connsiteY1" fmla="*/ 0 h 2975429"/>
                <a:gd name="connsiteX2" fmla="*/ 0 w 4194629"/>
                <a:gd name="connsiteY2" fmla="*/ 2975429 h 297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94629" h="2975429">
                  <a:moveTo>
                    <a:pt x="4194629" y="0"/>
                  </a:moveTo>
                  <a:lnTo>
                    <a:pt x="0" y="0"/>
                  </a:lnTo>
                  <a:lnTo>
                    <a:pt x="0" y="2975429"/>
                  </a:lnTo>
                </a:path>
              </a:pathLst>
            </a:custGeom>
            <a:noFill/>
            <a:ln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D3BF9F01-50BA-4FA5-ACBB-D4877171681D}"/>
                </a:ext>
              </a:extLst>
            </p:cNvPr>
            <p:cNvSpPr/>
            <p:nvPr/>
          </p:nvSpPr>
          <p:spPr>
            <a:xfrm flipH="1">
              <a:off x="6327802" y="2118376"/>
              <a:ext cx="421289" cy="3719232"/>
            </a:xfrm>
            <a:custGeom>
              <a:avLst/>
              <a:gdLst>
                <a:gd name="connsiteX0" fmla="*/ 4194629 w 4194629"/>
                <a:gd name="connsiteY0" fmla="*/ 0 h 2975429"/>
                <a:gd name="connsiteX1" fmla="*/ 0 w 4194629"/>
                <a:gd name="connsiteY1" fmla="*/ 0 h 2975429"/>
                <a:gd name="connsiteX2" fmla="*/ 0 w 4194629"/>
                <a:gd name="connsiteY2" fmla="*/ 2975429 h 297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94629" h="2975429">
                  <a:moveTo>
                    <a:pt x="4194629" y="0"/>
                  </a:moveTo>
                  <a:lnTo>
                    <a:pt x="0" y="0"/>
                  </a:lnTo>
                  <a:lnTo>
                    <a:pt x="0" y="2975429"/>
                  </a:lnTo>
                </a:path>
              </a:pathLst>
            </a:custGeom>
            <a:noFill/>
            <a:ln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F19CC7F1-7FBB-4BAA-A8CA-401FE6FB9D0E}"/>
                </a:ext>
              </a:extLst>
            </p:cNvPr>
            <p:cNvSpPr/>
            <p:nvPr/>
          </p:nvSpPr>
          <p:spPr>
            <a:xfrm flipH="1">
              <a:off x="7112484" y="1506361"/>
              <a:ext cx="4542766" cy="4432660"/>
            </a:xfrm>
            <a:custGeom>
              <a:avLst/>
              <a:gdLst>
                <a:gd name="connsiteX0" fmla="*/ 4194629 w 4194629"/>
                <a:gd name="connsiteY0" fmla="*/ 0 h 2975429"/>
                <a:gd name="connsiteX1" fmla="*/ 0 w 4194629"/>
                <a:gd name="connsiteY1" fmla="*/ 0 h 2975429"/>
                <a:gd name="connsiteX2" fmla="*/ 0 w 4194629"/>
                <a:gd name="connsiteY2" fmla="*/ 2975429 h 297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94629" h="2975429">
                  <a:moveTo>
                    <a:pt x="4194629" y="0"/>
                  </a:moveTo>
                  <a:lnTo>
                    <a:pt x="0" y="0"/>
                  </a:lnTo>
                  <a:lnTo>
                    <a:pt x="0" y="2975429"/>
                  </a:lnTo>
                </a:path>
              </a:pathLst>
            </a:custGeom>
            <a:noFill/>
            <a:ln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4CB1EB4B-8251-4B76-9825-7F11EC279A17}"/>
                </a:ext>
              </a:extLst>
            </p:cNvPr>
            <p:cNvSpPr/>
            <p:nvPr/>
          </p:nvSpPr>
          <p:spPr>
            <a:xfrm flipH="1">
              <a:off x="7126481" y="1641202"/>
              <a:ext cx="3327039" cy="2251918"/>
            </a:xfrm>
            <a:custGeom>
              <a:avLst/>
              <a:gdLst>
                <a:gd name="connsiteX0" fmla="*/ 4194629 w 4194629"/>
                <a:gd name="connsiteY0" fmla="*/ 0 h 2975429"/>
                <a:gd name="connsiteX1" fmla="*/ 0 w 4194629"/>
                <a:gd name="connsiteY1" fmla="*/ 0 h 2975429"/>
                <a:gd name="connsiteX2" fmla="*/ 0 w 4194629"/>
                <a:gd name="connsiteY2" fmla="*/ 2975429 h 297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94629" h="2975429">
                  <a:moveTo>
                    <a:pt x="4194629" y="0"/>
                  </a:moveTo>
                  <a:lnTo>
                    <a:pt x="0" y="0"/>
                  </a:lnTo>
                  <a:lnTo>
                    <a:pt x="0" y="2975429"/>
                  </a:lnTo>
                </a:path>
              </a:pathLst>
            </a:custGeom>
            <a:noFill/>
            <a:ln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4E31049F-E8BC-411C-8DDF-5FD53935FF3A}"/>
                </a:ext>
              </a:extLst>
            </p:cNvPr>
            <p:cNvSpPr/>
            <p:nvPr/>
          </p:nvSpPr>
          <p:spPr>
            <a:xfrm flipH="1">
              <a:off x="7126478" y="1811407"/>
              <a:ext cx="2080005" cy="4082277"/>
            </a:xfrm>
            <a:custGeom>
              <a:avLst/>
              <a:gdLst>
                <a:gd name="connsiteX0" fmla="*/ 4194629 w 4194629"/>
                <a:gd name="connsiteY0" fmla="*/ 0 h 2975429"/>
                <a:gd name="connsiteX1" fmla="*/ 0 w 4194629"/>
                <a:gd name="connsiteY1" fmla="*/ 0 h 2975429"/>
                <a:gd name="connsiteX2" fmla="*/ 0 w 4194629"/>
                <a:gd name="connsiteY2" fmla="*/ 2975429 h 297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94629" h="2975429">
                  <a:moveTo>
                    <a:pt x="4194629" y="0"/>
                  </a:moveTo>
                  <a:lnTo>
                    <a:pt x="0" y="0"/>
                  </a:lnTo>
                  <a:lnTo>
                    <a:pt x="0" y="2975429"/>
                  </a:lnTo>
                </a:path>
              </a:pathLst>
            </a:custGeom>
            <a:noFill/>
            <a:ln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F2D8AAD0-EFCC-4416-8B43-E251F3BD2C55}"/>
                </a:ext>
              </a:extLst>
            </p:cNvPr>
            <p:cNvSpPr/>
            <p:nvPr/>
          </p:nvSpPr>
          <p:spPr>
            <a:xfrm flipH="1">
              <a:off x="7126481" y="1952421"/>
              <a:ext cx="856738" cy="1923698"/>
            </a:xfrm>
            <a:custGeom>
              <a:avLst/>
              <a:gdLst>
                <a:gd name="connsiteX0" fmla="*/ 4194629 w 4194629"/>
                <a:gd name="connsiteY0" fmla="*/ 0 h 2975429"/>
                <a:gd name="connsiteX1" fmla="*/ 0 w 4194629"/>
                <a:gd name="connsiteY1" fmla="*/ 0 h 2975429"/>
                <a:gd name="connsiteX2" fmla="*/ 0 w 4194629"/>
                <a:gd name="connsiteY2" fmla="*/ 2975429 h 297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94629" h="2975429">
                  <a:moveTo>
                    <a:pt x="4194629" y="0"/>
                  </a:moveTo>
                  <a:lnTo>
                    <a:pt x="0" y="0"/>
                  </a:lnTo>
                  <a:lnTo>
                    <a:pt x="0" y="2975429"/>
                  </a:lnTo>
                </a:path>
              </a:pathLst>
            </a:custGeom>
            <a:noFill/>
            <a:ln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45" name="Freeform: Shape 444">
              <a:extLst>
                <a:ext uri="{FF2B5EF4-FFF2-40B4-BE49-F238E27FC236}">
                  <a16:creationId xmlns:a16="http://schemas.microsoft.com/office/drawing/2014/main" id="{819ADF84-9FB9-49A2-B6AB-4D0A00BF73C7}"/>
                </a:ext>
              </a:extLst>
            </p:cNvPr>
            <p:cNvSpPr/>
            <p:nvPr/>
          </p:nvSpPr>
          <p:spPr>
            <a:xfrm>
              <a:off x="5534974" y="2125021"/>
              <a:ext cx="306732" cy="1764164"/>
            </a:xfrm>
            <a:custGeom>
              <a:avLst/>
              <a:gdLst>
                <a:gd name="connsiteX0" fmla="*/ 4194629 w 4194629"/>
                <a:gd name="connsiteY0" fmla="*/ 0 h 2975429"/>
                <a:gd name="connsiteX1" fmla="*/ 0 w 4194629"/>
                <a:gd name="connsiteY1" fmla="*/ 0 h 2975429"/>
                <a:gd name="connsiteX2" fmla="*/ 0 w 4194629"/>
                <a:gd name="connsiteY2" fmla="*/ 2975429 h 297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194629" h="2975429">
                  <a:moveTo>
                    <a:pt x="4194629" y="0"/>
                  </a:moveTo>
                  <a:lnTo>
                    <a:pt x="0" y="0"/>
                  </a:lnTo>
                  <a:lnTo>
                    <a:pt x="0" y="2975429"/>
                  </a:lnTo>
                </a:path>
              </a:pathLst>
            </a:custGeom>
            <a:noFill/>
            <a:ln>
              <a:solidFill>
                <a:schemeClr val="bg2"/>
              </a:solidFill>
              <a:tailEnd type="oval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426" name="Group 425">
            <a:extLst>
              <a:ext uri="{FF2B5EF4-FFF2-40B4-BE49-F238E27FC236}">
                <a16:creationId xmlns:a16="http://schemas.microsoft.com/office/drawing/2014/main" id="{314419BB-78CC-48F8-991D-A2383CC26B0F}"/>
              </a:ext>
            </a:extLst>
          </p:cNvPr>
          <p:cNvGrpSpPr/>
          <p:nvPr/>
        </p:nvGrpSpPr>
        <p:grpSpPr>
          <a:xfrm>
            <a:off x="5116231" y="3276150"/>
            <a:ext cx="576219" cy="547524"/>
            <a:chOff x="-4611570" y="2110127"/>
            <a:chExt cx="1309944" cy="1244712"/>
          </a:xfrm>
        </p:grpSpPr>
        <p:sp>
          <p:nvSpPr>
            <p:cNvPr id="40" name="Freeform 5">
              <a:extLst>
                <a:ext uri="{FF2B5EF4-FFF2-40B4-BE49-F238E27FC236}">
                  <a16:creationId xmlns:a16="http://schemas.microsoft.com/office/drawing/2014/main" id="{F53B2407-353F-413C-8D4F-A07A4E3837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458773" y="3070987"/>
              <a:ext cx="109309" cy="109309"/>
            </a:xfrm>
            <a:custGeom>
              <a:avLst/>
              <a:gdLst>
                <a:gd name="T0" fmla="*/ 93 w 186"/>
                <a:gd name="T1" fmla="*/ 111 h 186"/>
                <a:gd name="T2" fmla="*/ 86 w 186"/>
                <a:gd name="T3" fmla="*/ 109 h 186"/>
                <a:gd name="T4" fmla="*/ 75 w 186"/>
                <a:gd name="T5" fmla="*/ 100 h 186"/>
                <a:gd name="T6" fmla="*/ 74 w 186"/>
                <a:gd name="T7" fmla="*/ 93 h 186"/>
                <a:gd name="T8" fmla="*/ 74 w 186"/>
                <a:gd name="T9" fmla="*/ 88 h 186"/>
                <a:gd name="T10" fmla="*/ 80 w 186"/>
                <a:gd name="T11" fmla="*/ 79 h 186"/>
                <a:gd name="T12" fmla="*/ 89 w 186"/>
                <a:gd name="T13" fmla="*/ 74 h 186"/>
                <a:gd name="T14" fmla="*/ 93 w 186"/>
                <a:gd name="T15" fmla="*/ 74 h 186"/>
                <a:gd name="T16" fmla="*/ 100 w 186"/>
                <a:gd name="T17" fmla="*/ 75 h 186"/>
                <a:gd name="T18" fmla="*/ 110 w 186"/>
                <a:gd name="T19" fmla="*/ 85 h 186"/>
                <a:gd name="T20" fmla="*/ 111 w 186"/>
                <a:gd name="T21" fmla="*/ 93 h 186"/>
                <a:gd name="T22" fmla="*/ 111 w 186"/>
                <a:gd name="T23" fmla="*/ 96 h 186"/>
                <a:gd name="T24" fmla="*/ 106 w 186"/>
                <a:gd name="T25" fmla="*/ 106 h 186"/>
                <a:gd name="T26" fmla="*/ 96 w 186"/>
                <a:gd name="T27" fmla="*/ 110 h 186"/>
                <a:gd name="T28" fmla="*/ 93 w 186"/>
                <a:gd name="T29" fmla="*/ 111 h 186"/>
                <a:gd name="T30" fmla="*/ 93 w 186"/>
                <a:gd name="T31" fmla="*/ 0 h 186"/>
                <a:gd name="T32" fmla="*/ 74 w 186"/>
                <a:gd name="T33" fmla="*/ 1 h 186"/>
                <a:gd name="T34" fmla="*/ 57 w 186"/>
                <a:gd name="T35" fmla="*/ 7 h 186"/>
                <a:gd name="T36" fmla="*/ 41 w 186"/>
                <a:gd name="T37" fmla="*/ 15 h 186"/>
                <a:gd name="T38" fmla="*/ 27 w 186"/>
                <a:gd name="T39" fmla="*/ 27 h 186"/>
                <a:gd name="T40" fmla="*/ 16 w 186"/>
                <a:gd name="T41" fmla="*/ 41 h 186"/>
                <a:gd name="T42" fmla="*/ 7 w 186"/>
                <a:gd name="T43" fmla="*/ 56 h 186"/>
                <a:gd name="T44" fmla="*/ 2 w 186"/>
                <a:gd name="T45" fmla="*/ 73 h 186"/>
                <a:gd name="T46" fmla="*/ 0 w 186"/>
                <a:gd name="T47" fmla="*/ 93 h 186"/>
                <a:gd name="T48" fmla="*/ 0 w 186"/>
                <a:gd name="T49" fmla="*/ 102 h 186"/>
                <a:gd name="T50" fmla="*/ 5 w 186"/>
                <a:gd name="T51" fmla="*/ 120 h 186"/>
                <a:gd name="T52" fmla="*/ 12 w 186"/>
                <a:gd name="T53" fmla="*/ 137 h 186"/>
                <a:gd name="T54" fmla="*/ 21 w 186"/>
                <a:gd name="T55" fmla="*/ 151 h 186"/>
                <a:gd name="T56" fmla="*/ 34 w 186"/>
                <a:gd name="T57" fmla="*/ 164 h 186"/>
                <a:gd name="T58" fmla="*/ 49 w 186"/>
                <a:gd name="T59" fmla="*/ 174 h 186"/>
                <a:gd name="T60" fmla="*/ 65 w 186"/>
                <a:gd name="T61" fmla="*/ 181 h 186"/>
                <a:gd name="T62" fmla="*/ 84 w 186"/>
                <a:gd name="T63" fmla="*/ 185 h 186"/>
                <a:gd name="T64" fmla="*/ 93 w 186"/>
                <a:gd name="T65" fmla="*/ 186 h 186"/>
                <a:gd name="T66" fmla="*/ 111 w 186"/>
                <a:gd name="T67" fmla="*/ 183 h 186"/>
                <a:gd name="T68" fmla="*/ 129 w 186"/>
                <a:gd name="T69" fmla="*/ 178 h 186"/>
                <a:gd name="T70" fmla="*/ 145 w 186"/>
                <a:gd name="T71" fmla="*/ 170 h 186"/>
                <a:gd name="T72" fmla="*/ 159 w 186"/>
                <a:gd name="T73" fmla="*/ 158 h 186"/>
                <a:gd name="T74" fmla="*/ 170 w 186"/>
                <a:gd name="T75" fmla="*/ 144 h 186"/>
                <a:gd name="T76" fmla="*/ 179 w 186"/>
                <a:gd name="T77" fmla="*/ 129 h 186"/>
                <a:gd name="T78" fmla="*/ 183 w 186"/>
                <a:gd name="T79" fmla="*/ 111 h 186"/>
                <a:gd name="T80" fmla="*/ 186 w 186"/>
                <a:gd name="T81" fmla="*/ 93 h 186"/>
                <a:gd name="T82" fmla="*/ 186 w 186"/>
                <a:gd name="T83" fmla="*/ 82 h 186"/>
                <a:gd name="T84" fmla="*/ 181 w 186"/>
                <a:gd name="T85" fmla="*/ 65 h 186"/>
                <a:gd name="T86" fmla="*/ 174 w 186"/>
                <a:gd name="T87" fmla="*/ 48 h 186"/>
                <a:gd name="T88" fmla="*/ 165 w 186"/>
                <a:gd name="T89" fmla="*/ 34 h 186"/>
                <a:gd name="T90" fmla="*/ 152 w 186"/>
                <a:gd name="T91" fmla="*/ 21 h 186"/>
                <a:gd name="T92" fmla="*/ 137 w 186"/>
                <a:gd name="T93" fmla="*/ 10 h 186"/>
                <a:gd name="T94" fmla="*/ 121 w 186"/>
                <a:gd name="T95" fmla="*/ 3 h 186"/>
                <a:gd name="T96" fmla="*/ 102 w 186"/>
                <a:gd name="T97" fmla="*/ 0 h 186"/>
                <a:gd name="T98" fmla="*/ 93 w 186"/>
                <a:gd name="T99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6" h="186">
                  <a:moveTo>
                    <a:pt x="93" y="111"/>
                  </a:moveTo>
                  <a:lnTo>
                    <a:pt x="93" y="111"/>
                  </a:lnTo>
                  <a:lnTo>
                    <a:pt x="89" y="110"/>
                  </a:lnTo>
                  <a:lnTo>
                    <a:pt x="86" y="109"/>
                  </a:lnTo>
                  <a:lnTo>
                    <a:pt x="80" y="106"/>
                  </a:lnTo>
                  <a:lnTo>
                    <a:pt x="75" y="100"/>
                  </a:lnTo>
                  <a:lnTo>
                    <a:pt x="74" y="96"/>
                  </a:lnTo>
                  <a:lnTo>
                    <a:pt x="74" y="93"/>
                  </a:lnTo>
                  <a:lnTo>
                    <a:pt x="74" y="93"/>
                  </a:lnTo>
                  <a:lnTo>
                    <a:pt x="74" y="88"/>
                  </a:lnTo>
                  <a:lnTo>
                    <a:pt x="75" y="85"/>
                  </a:lnTo>
                  <a:lnTo>
                    <a:pt x="80" y="79"/>
                  </a:lnTo>
                  <a:lnTo>
                    <a:pt x="86" y="75"/>
                  </a:lnTo>
                  <a:lnTo>
                    <a:pt x="89" y="74"/>
                  </a:lnTo>
                  <a:lnTo>
                    <a:pt x="93" y="74"/>
                  </a:lnTo>
                  <a:lnTo>
                    <a:pt x="93" y="74"/>
                  </a:lnTo>
                  <a:lnTo>
                    <a:pt x="96" y="74"/>
                  </a:lnTo>
                  <a:lnTo>
                    <a:pt x="100" y="75"/>
                  </a:lnTo>
                  <a:lnTo>
                    <a:pt x="106" y="79"/>
                  </a:lnTo>
                  <a:lnTo>
                    <a:pt x="110" y="85"/>
                  </a:lnTo>
                  <a:lnTo>
                    <a:pt x="111" y="88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11" y="96"/>
                  </a:lnTo>
                  <a:lnTo>
                    <a:pt x="110" y="100"/>
                  </a:lnTo>
                  <a:lnTo>
                    <a:pt x="106" y="106"/>
                  </a:lnTo>
                  <a:lnTo>
                    <a:pt x="100" y="109"/>
                  </a:lnTo>
                  <a:lnTo>
                    <a:pt x="96" y="110"/>
                  </a:lnTo>
                  <a:lnTo>
                    <a:pt x="93" y="111"/>
                  </a:lnTo>
                  <a:lnTo>
                    <a:pt x="93" y="111"/>
                  </a:lnTo>
                  <a:close/>
                  <a:moveTo>
                    <a:pt x="93" y="0"/>
                  </a:moveTo>
                  <a:lnTo>
                    <a:pt x="93" y="0"/>
                  </a:lnTo>
                  <a:lnTo>
                    <a:pt x="84" y="0"/>
                  </a:lnTo>
                  <a:lnTo>
                    <a:pt x="74" y="1"/>
                  </a:lnTo>
                  <a:lnTo>
                    <a:pt x="65" y="3"/>
                  </a:lnTo>
                  <a:lnTo>
                    <a:pt x="57" y="7"/>
                  </a:lnTo>
                  <a:lnTo>
                    <a:pt x="49" y="10"/>
                  </a:lnTo>
                  <a:lnTo>
                    <a:pt x="41" y="15"/>
                  </a:lnTo>
                  <a:lnTo>
                    <a:pt x="34" y="21"/>
                  </a:lnTo>
                  <a:lnTo>
                    <a:pt x="27" y="27"/>
                  </a:lnTo>
                  <a:lnTo>
                    <a:pt x="21" y="34"/>
                  </a:lnTo>
                  <a:lnTo>
                    <a:pt x="16" y="41"/>
                  </a:lnTo>
                  <a:lnTo>
                    <a:pt x="12" y="48"/>
                  </a:lnTo>
                  <a:lnTo>
                    <a:pt x="7" y="56"/>
                  </a:lnTo>
                  <a:lnTo>
                    <a:pt x="5" y="65"/>
                  </a:lnTo>
                  <a:lnTo>
                    <a:pt x="2" y="73"/>
                  </a:lnTo>
                  <a:lnTo>
                    <a:pt x="0" y="82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102"/>
                  </a:lnTo>
                  <a:lnTo>
                    <a:pt x="2" y="111"/>
                  </a:lnTo>
                  <a:lnTo>
                    <a:pt x="5" y="120"/>
                  </a:lnTo>
                  <a:lnTo>
                    <a:pt x="7" y="129"/>
                  </a:lnTo>
                  <a:lnTo>
                    <a:pt x="12" y="137"/>
                  </a:lnTo>
                  <a:lnTo>
                    <a:pt x="16" y="144"/>
                  </a:lnTo>
                  <a:lnTo>
                    <a:pt x="21" y="151"/>
                  </a:lnTo>
                  <a:lnTo>
                    <a:pt x="27" y="158"/>
                  </a:lnTo>
                  <a:lnTo>
                    <a:pt x="34" y="164"/>
                  </a:lnTo>
                  <a:lnTo>
                    <a:pt x="41" y="170"/>
                  </a:lnTo>
                  <a:lnTo>
                    <a:pt x="49" y="174"/>
                  </a:lnTo>
                  <a:lnTo>
                    <a:pt x="57" y="178"/>
                  </a:lnTo>
                  <a:lnTo>
                    <a:pt x="65" y="181"/>
                  </a:lnTo>
                  <a:lnTo>
                    <a:pt x="74" y="183"/>
                  </a:lnTo>
                  <a:lnTo>
                    <a:pt x="84" y="185"/>
                  </a:lnTo>
                  <a:lnTo>
                    <a:pt x="93" y="186"/>
                  </a:lnTo>
                  <a:lnTo>
                    <a:pt x="93" y="186"/>
                  </a:lnTo>
                  <a:lnTo>
                    <a:pt x="102" y="185"/>
                  </a:lnTo>
                  <a:lnTo>
                    <a:pt x="111" y="183"/>
                  </a:lnTo>
                  <a:lnTo>
                    <a:pt x="121" y="181"/>
                  </a:lnTo>
                  <a:lnTo>
                    <a:pt x="129" y="178"/>
                  </a:lnTo>
                  <a:lnTo>
                    <a:pt x="137" y="174"/>
                  </a:lnTo>
                  <a:lnTo>
                    <a:pt x="145" y="170"/>
                  </a:lnTo>
                  <a:lnTo>
                    <a:pt x="152" y="164"/>
                  </a:lnTo>
                  <a:lnTo>
                    <a:pt x="159" y="158"/>
                  </a:lnTo>
                  <a:lnTo>
                    <a:pt x="165" y="151"/>
                  </a:lnTo>
                  <a:lnTo>
                    <a:pt x="170" y="144"/>
                  </a:lnTo>
                  <a:lnTo>
                    <a:pt x="174" y="137"/>
                  </a:lnTo>
                  <a:lnTo>
                    <a:pt x="179" y="129"/>
                  </a:lnTo>
                  <a:lnTo>
                    <a:pt x="181" y="120"/>
                  </a:lnTo>
                  <a:lnTo>
                    <a:pt x="183" y="111"/>
                  </a:lnTo>
                  <a:lnTo>
                    <a:pt x="186" y="102"/>
                  </a:lnTo>
                  <a:lnTo>
                    <a:pt x="186" y="93"/>
                  </a:lnTo>
                  <a:lnTo>
                    <a:pt x="186" y="93"/>
                  </a:lnTo>
                  <a:lnTo>
                    <a:pt x="186" y="82"/>
                  </a:lnTo>
                  <a:lnTo>
                    <a:pt x="183" y="73"/>
                  </a:lnTo>
                  <a:lnTo>
                    <a:pt x="181" y="65"/>
                  </a:lnTo>
                  <a:lnTo>
                    <a:pt x="179" y="56"/>
                  </a:lnTo>
                  <a:lnTo>
                    <a:pt x="174" y="48"/>
                  </a:lnTo>
                  <a:lnTo>
                    <a:pt x="170" y="41"/>
                  </a:lnTo>
                  <a:lnTo>
                    <a:pt x="165" y="34"/>
                  </a:lnTo>
                  <a:lnTo>
                    <a:pt x="159" y="27"/>
                  </a:lnTo>
                  <a:lnTo>
                    <a:pt x="152" y="21"/>
                  </a:lnTo>
                  <a:lnTo>
                    <a:pt x="145" y="15"/>
                  </a:lnTo>
                  <a:lnTo>
                    <a:pt x="137" y="10"/>
                  </a:lnTo>
                  <a:lnTo>
                    <a:pt x="129" y="7"/>
                  </a:lnTo>
                  <a:lnTo>
                    <a:pt x="121" y="3"/>
                  </a:lnTo>
                  <a:lnTo>
                    <a:pt x="111" y="1"/>
                  </a:lnTo>
                  <a:lnTo>
                    <a:pt x="102" y="0"/>
                  </a:lnTo>
                  <a:lnTo>
                    <a:pt x="93" y="0"/>
                  </a:lnTo>
                  <a:lnTo>
                    <a:pt x="9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69" name="Freeform 6">
              <a:extLst>
                <a:ext uri="{FF2B5EF4-FFF2-40B4-BE49-F238E27FC236}">
                  <a16:creationId xmlns:a16="http://schemas.microsoft.com/office/drawing/2014/main" id="{9CF9A5BF-FBB0-49D8-B83F-85E321B81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40742" y="3136220"/>
              <a:ext cx="65820" cy="65820"/>
            </a:xfrm>
            <a:custGeom>
              <a:avLst/>
              <a:gdLst>
                <a:gd name="T0" fmla="*/ 38 w 112"/>
                <a:gd name="T1" fmla="*/ 0 h 112"/>
                <a:gd name="T2" fmla="*/ 75 w 112"/>
                <a:gd name="T3" fmla="*/ 0 h 112"/>
                <a:gd name="T4" fmla="*/ 75 w 112"/>
                <a:gd name="T5" fmla="*/ 0 h 112"/>
                <a:gd name="T6" fmla="*/ 82 w 112"/>
                <a:gd name="T7" fmla="*/ 0 h 112"/>
                <a:gd name="T8" fmla="*/ 89 w 112"/>
                <a:gd name="T9" fmla="*/ 3 h 112"/>
                <a:gd name="T10" fmla="*/ 96 w 112"/>
                <a:gd name="T11" fmla="*/ 6 h 112"/>
                <a:gd name="T12" fmla="*/ 101 w 112"/>
                <a:gd name="T13" fmla="*/ 11 h 112"/>
                <a:gd name="T14" fmla="*/ 106 w 112"/>
                <a:gd name="T15" fmla="*/ 17 h 112"/>
                <a:gd name="T16" fmla="*/ 108 w 112"/>
                <a:gd name="T17" fmla="*/ 23 h 112"/>
                <a:gd name="T18" fmla="*/ 111 w 112"/>
                <a:gd name="T19" fmla="*/ 29 h 112"/>
                <a:gd name="T20" fmla="*/ 112 w 112"/>
                <a:gd name="T21" fmla="*/ 38 h 112"/>
                <a:gd name="T22" fmla="*/ 112 w 112"/>
                <a:gd name="T23" fmla="*/ 75 h 112"/>
                <a:gd name="T24" fmla="*/ 112 w 112"/>
                <a:gd name="T25" fmla="*/ 75 h 112"/>
                <a:gd name="T26" fmla="*/ 111 w 112"/>
                <a:gd name="T27" fmla="*/ 82 h 112"/>
                <a:gd name="T28" fmla="*/ 108 w 112"/>
                <a:gd name="T29" fmla="*/ 89 h 112"/>
                <a:gd name="T30" fmla="*/ 106 w 112"/>
                <a:gd name="T31" fmla="*/ 95 h 112"/>
                <a:gd name="T32" fmla="*/ 101 w 112"/>
                <a:gd name="T33" fmla="*/ 100 h 112"/>
                <a:gd name="T34" fmla="*/ 96 w 112"/>
                <a:gd name="T35" fmla="*/ 105 h 112"/>
                <a:gd name="T36" fmla="*/ 89 w 112"/>
                <a:gd name="T37" fmla="*/ 108 h 112"/>
                <a:gd name="T38" fmla="*/ 82 w 112"/>
                <a:gd name="T39" fmla="*/ 111 h 112"/>
                <a:gd name="T40" fmla="*/ 75 w 112"/>
                <a:gd name="T41" fmla="*/ 112 h 112"/>
                <a:gd name="T42" fmla="*/ 38 w 112"/>
                <a:gd name="T43" fmla="*/ 112 h 112"/>
                <a:gd name="T44" fmla="*/ 38 w 112"/>
                <a:gd name="T45" fmla="*/ 112 h 112"/>
                <a:gd name="T46" fmla="*/ 31 w 112"/>
                <a:gd name="T47" fmla="*/ 111 h 112"/>
                <a:gd name="T48" fmla="*/ 24 w 112"/>
                <a:gd name="T49" fmla="*/ 108 h 112"/>
                <a:gd name="T50" fmla="*/ 17 w 112"/>
                <a:gd name="T51" fmla="*/ 105 h 112"/>
                <a:gd name="T52" fmla="*/ 11 w 112"/>
                <a:gd name="T53" fmla="*/ 100 h 112"/>
                <a:gd name="T54" fmla="*/ 6 w 112"/>
                <a:gd name="T55" fmla="*/ 95 h 112"/>
                <a:gd name="T56" fmla="*/ 4 w 112"/>
                <a:gd name="T57" fmla="*/ 89 h 112"/>
                <a:gd name="T58" fmla="*/ 2 w 112"/>
                <a:gd name="T59" fmla="*/ 82 h 112"/>
                <a:gd name="T60" fmla="*/ 0 w 112"/>
                <a:gd name="T61" fmla="*/ 75 h 112"/>
                <a:gd name="T62" fmla="*/ 0 w 112"/>
                <a:gd name="T63" fmla="*/ 38 h 112"/>
                <a:gd name="T64" fmla="*/ 0 w 112"/>
                <a:gd name="T65" fmla="*/ 38 h 112"/>
                <a:gd name="T66" fmla="*/ 2 w 112"/>
                <a:gd name="T67" fmla="*/ 29 h 112"/>
                <a:gd name="T68" fmla="*/ 4 w 112"/>
                <a:gd name="T69" fmla="*/ 23 h 112"/>
                <a:gd name="T70" fmla="*/ 6 w 112"/>
                <a:gd name="T71" fmla="*/ 17 h 112"/>
                <a:gd name="T72" fmla="*/ 11 w 112"/>
                <a:gd name="T73" fmla="*/ 11 h 112"/>
                <a:gd name="T74" fmla="*/ 17 w 112"/>
                <a:gd name="T75" fmla="*/ 6 h 112"/>
                <a:gd name="T76" fmla="*/ 24 w 112"/>
                <a:gd name="T77" fmla="*/ 3 h 112"/>
                <a:gd name="T78" fmla="*/ 31 w 112"/>
                <a:gd name="T79" fmla="*/ 0 h 112"/>
                <a:gd name="T80" fmla="*/ 38 w 112"/>
                <a:gd name="T81" fmla="*/ 0 h 112"/>
                <a:gd name="T82" fmla="*/ 38 w 112"/>
                <a:gd name="T8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2" h="112">
                  <a:moveTo>
                    <a:pt x="38" y="0"/>
                  </a:moveTo>
                  <a:lnTo>
                    <a:pt x="75" y="0"/>
                  </a:lnTo>
                  <a:lnTo>
                    <a:pt x="75" y="0"/>
                  </a:lnTo>
                  <a:lnTo>
                    <a:pt x="82" y="0"/>
                  </a:lnTo>
                  <a:lnTo>
                    <a:pt x="89" y="3"/>
                  </a:lnTo>
                  <a:lnTo>
                    <a:pt x="96" y="6"/>
                  </a:lnTo>
                  <a:lnTo>
                    <a:pt x="101" y="11"/>
                  </a:lnTo>
                  <a:lnTo>
                    <a:pt x="106" y="17"/>
                  </a:lnTo>
                  <a:lnTo>
                    <a:pt x="108" y="23"/>
                  </a:lnTo>
                  <a:lnTo>
                    <a:pt x="111" y="29"/>
                  </a:lnTo>
                  <a:lnTo>
                    <a:pt x="112" y="38"/>
                  </a:lnTo>
                  <a:lnTo>
                    <a:pt x="112" y="75"/>
                  </a:lnTo>
                  <a:lnTo>
                    <a:pt x="112" y="75"/>
                  </a:lnTo>
                  <a:lnTo>
                    <a:pt x="111" y="82"/>
                  </a:lnTo>
                  <a:lnTo>
                    <a:pt x="108" y="89"/>
                  </a:lnTo>
                  <a:lnTo>
                    <a:pt x="106" y="95"/>
                  </a:lnTo>
                  <a:lnTo>
                    <a:pt x="101" y="100"/>
                  </a:lnTo>
                  <a:lnTo>
                    <a:pt x="96" y="105"/>
                  </a:lnTo>
                  <a:lnTo>
                    <a:pt x="89" y="108"/>
                  </a:lnTo>
                  <a:lnTo>
                    <a:pt x="82" y="111"/>
                  </a:lnTo>
                  <a:lnTo>
                    <a:pt x="75" y="112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1" y="111"/>
                  </a:lnTo>
                  <a:lnTo>
                    <a:pt x="24" y="108"/>
                  </a:lnTo>
                  <a:lnTo>
                    <a:pt x="17" y="105"/>
                  </a:lnTo>
                  <a:lnTo>
                    <a:pt x="11" y="100"/>
                  </a:lnTo>
                  <a:lnTo>
                    <a:pt x="6" y="95"/>
                  </a:lnTo>
                  <a:lnTo>
                    <a:pt x="4" y="89"/>
                  </a:lnTo>
                  <a:lnTo>
                    <a:pt x="2" y="82"/>
                  </a:lnTo>
                  <a:lnTo>
                    <a:pt x="0" y="75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4" y="23"/>
                  </a:lnTo>
                  <a:lnTo>
                    <a:pt x="6" y="17"/>
                  </a:lnTo>
                  <a:lnTo>
                    <a:pt x="11" y="11"/>
                  </a:lnTo>
                  <a:lnTo>
                    <a:pt x="17" y="6"/>
                  </a:lnTo>
                  <a:lnTo>
                    <a:pt x="24" y="3"/>
                  </a:lnTo>
                  <a:lnTo>
                    <a:pt x="31" y="0"/>
                  </a:lnTo>
                  <a:lnTo>
                    <a:pt x="38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" name="Freeform 7">
              <a:extLst>
                <a:ext uri="{FF2B5EF4-FFF2-40B4-BE49-F238E27FC236}">
                  <a16:creationId xmlns:a16="http://schemas.microsoft.com/office/drawing/2014/main" id="{9571D905-8D7B-40AF-938A-B25D124902DC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31433" y="3136220"/>
              <a:ext cx="65820" cy="65820"/>
            </a:xfrm>
            <a:custGeom>
              <a:avLst/>
              <a:gdLst>
                <a:gd name="T0" fmla="*/ 37 w 112"/>
                <a:gd name="T1" fmla="*/ 0 h 112"/>
                <a:gd name="T2" fmla="*/ 75 w 112"/>
                <a:gd name="T3" fmla="*/ 0 h 112"/>
                <a:gd name="T4" fmla="*/ 75 w 112"/>
                <a:gd name="T5" fmla="*/ 0 h 112"/>
                <a:gd name="T6" fmla="*/ 81 w 112"/>
                <a:gd name="T7" fmla="*/ 0 h 112"/>
                <a:gd name="T8" fmla="*/ 88 w 112"/>
                <a:gd name="T9" fmla="*/ 3 h 112"/>
                <a:gd name="T10" fmla="*/ 95 w 112"/>
                <a:gd name="T11" fmla="*/ 6 h 112"/>
                <a:gd name="T12" fmla="*/ 101 w 112"/>
                <a:gd name="T13" fmla="*/ 11 h 112"/>
                <a:gd name="T14" fmla="*/ 106 w 112"/>
                <a:gd name="T15" fmla="*/ 17 h 112"/>
                <a:gd name="T16" fmla="*/ 108 w 112"/>
                <a:gd name="T17" fmla="*/ 23 h 112"/>
                <a:gd name="T18" fmla="*/ 110 w 112"/>
                <a:gd name="T19" fmla="*/ 29 h 112"/>
                <a:gd name="T20" fmla="*/ 112 w 112"/>
                <a:gd name="T21" fmla="*/ 38 h 112"/>
                <a:gd name="T22" fmla="*/ 112 w 112"/>
                <a:gd name="T23" fmla="*/ 75 h 112"/>
                <a:gd name="T24" fmla="*/ 112 w 112"/>
                <a:gd name="T25" fmla="*/ 75 h 112"/>
                <a:gd name="T26" fmla="*/ 110 w 112"/>
                <a:gd name="T27" fmla="*/ 82 h 112"/>
                <a:gd name="T28" fmla="*/ 108 w 112"/>
                <a:gd name="T29" fmla="*/ 89 h 112"/>
                <a:gd name="T30" fmla="*/ 106 w 112"/>
                <a:gd name="T31" fmla="*/ 95 h 112"/>
                <a:gd name="T32" fmla="*/ 101 w 112"/>
                <a:gd name="T33" fmla="*/ 100 h 112"/>
                <a:gd name="T34" fmla="*/ 95 w 112"/>
                <a:gd name="T35" fmla="*/ 105 h 112"/>
                <a:gd name="T36" fmla="*/ 88 w 112"/>
                <a:gd name="T37" fmla="*/ 108 h 112"/>
                <a:gd name="T38" fmla="*/ 81 w 112"/>
                <a:gd name="T39" fmla="*/ 111 h 112"/>
                <a:gd name="T40" fmla="*/ 75 w 112"/>
                <a:gd name="T41" fmla="*/ 112 h 112"/>
                <a:gd name="T42" fmla="*/ 37 w 112"/>
                <a:gd name="T43" fmla="*/ 112 h 112"/>
                <a:gd name="T44" fmla="*/ 37 w 112"/>
                <a:gd name="T45" fmla="*/ 112 h 112"/>
                <a:gd name="T46" fmla="*/ 30 w 112"/>
                <a:gd name="T47" fmla="*/ 111 h 112"/>
                <a:gd name="T48" fmla="*/ 23 w 112"/>
                <a:gd name="T49" fmla="*/ 108 h 112"/>
                <a:gd name="T50" fmla="*/ 16 w 112"/>
                <a:gd name="T51" fmla="*/ 105 h 112"/>
                <a:gd name="T52" fmla="*/ 11 w 112"/>
                <a:gd name="T53" fmla="*/ 100 h 112"/>
                <a:gd name="T54" fmla="*/ 6 w 112"/>
                <a:gd name="T55" fmla="*/ 95 h 112"/>
                <a:gd name="T56" fmla="*/ 4 w 112"/>
                <a:gd name="T57" fmla="*/ 89 h 112"/>
                <a:gd name="T58" fmla="*/ 1 w 112"/>
                <a:gd name="T59" fmla="*/ 82 h 112"/>
                <a:gd name="T60" fmla="*/ 0 w 112"/>
                <a:gd name="T61" fmla="*/ 75 h 112"/>
                <a:gd name="T62" fmla="*/ 0 w 112"/>
                <a:gd name="T63" fmla="*/ 38 h 112"/>
                <a:gd name="T64" fmla="*/ 0 w 112"/>
                <a:gd name="T65" fmla="*/ 38 h 112"/>
                <a:gd name="T66" fmla="*/ 1 w 112"/>
                <a:gd name="T67" fmla="*/ 29 h 112"/>
                <a:gd name="T68" fmla="*/ 4 w 112"/>
                <a:gd name="T69" fmla="*/ 23 h 112"/>
                <a:gd name="T70" fmla="*/ 6 w 112"/>
                <a:gd name="T71" fmla="*/ 17 h 112"/>
                <a:gd name="T72" fmla="*/ 11 w 112"/>
                <a:gd name="T73" fmla="*/ 11 h 112"/>
                <a:gd name="T74" fmla="*/ 16 w 112"/>
                <a:gd name="T75" fmla="*/ 6 h 112"/>
                <a:gd name="T76" fmla="*/ 23 w 112"/>
                <a:gd name="T77" fmla="*/ 3 h 112"/>
                <a:gd name="T78" fmla="*/ 30 w 112"/>
                <a:gd name="T79" fmla="*/ 0 h 112"/>
                <a:gd name="T80" fmla="*/ 37 w 112"/>
                <a:gd name="T81" fmla="*/ 0 h 112"/>
                <a:gd name="T82" fmla="*/ 37 w 112"/>
                <a:gd name="T8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2" h="112">
                  <a:moveTo>
                    <a:pt x="37" y="0"/>
                  </a:moveTo>
                  <a:lnTo>
                    <a:pt x="75" y="0"/>
                  </a:lnTo>
                  <a:lnTo>
                    <a:pt x="75" y="0"/>
                  </a:lnTo>
                  <a:lnTo>
                    <a:pt x="81" y="0"/>
                  </a:lnTo>
                  <a:lnTo>
                    <a:pt x="88" y="3"/>
                  </a:lnTo>
                  <a:lnTo>
                    <a:pt x="95" y="6"/>
                  </a:lnTo>
                  <a:lnTo>
                    <a:pt x="101" y="11"/>
                  </a:lnTo>
                  <a:lnTo>
                    <a:pt x="106" y="17"/>
                  </a:lnTo>
                  <a:lnTo>
                    <a:pt x="108" y="23"/>
                  </a:lnTo>
                  <a:lnTo>
                    <a:pt x="110" y="29"/>
                  </a:lnTo>
                  <a:lnTo>
                    <a:pt x="112" y="38"/>
                  </a:lnTo>
                  <a:lnTo>
                    <a:pt x="112" y="75"/>
                  </a:lnTo>
                  <a:lnTo>
                    <a:pt x="112" y="75"/>
                  </a:lnTo>
                  <a:lnTo>
                    <a:pt x="110" y="82"/>
                  </a:lnTo>
                  <a:lnTo>
                    <a:pt x="108" y="89"/>
                  </a:lnTo>
                  <a:lnTo>
                    <a:pt x="106" y="95"/>
                  </a:lnTo>
                  <a:lnTo>
                    <a:pt x="101" y="100"/>
                  </a:lnTo>
                  <a:lnTo>
                    <a:pt x="95" y="105"/>
                  </a:lnTo>
                  <a:lnTo>
                    <a:pt x="88" y="108"/>
                  </a:lnTo>
                  <a:lnTo>
                    <a:pt x="81" y="111"/>
                  </a:lnTo>
                  <a:lnTo>
                    <a:pt x="75" y="112"/>
                  </a:lnTo>
                  <a:lnTo>
                    <a:pt x="37" y="112"/>
                  </a:lnTo>
                  <a:lnTo>
                    <a:pt x="37" y="112"/>
                  </a:lnTo>
                  <a:lnTo>
                    <a:pt x="30" y="111"/>
                  </a:lnTo>
                  <a:lnTo>
                    <a:pt x="23" y="108"/>
                  </a:lnTo>
                  <a:lnTo>
                    <a:pt x="16" y="105"/>
                  </a:lnTo>
                  <a:lnTo>
                    <a:pt x="11" y="100"/>
                  </a:lnTo>
                  <a:lnTo>
                    <a:pt x="6" y="95"/>
                  </a:lnTo>
                  <a:lnTo>
                    <a:pt x="4" y="89"/>
                  </a:lnTo>
                  <a:lnTo>
                    <a:pt x="1" y="82"/>
                  </a:lnTo>
                  <a:lnTo>
                    <a:pt x="0" y="75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1" y="29"/>
                  </a:lnTo>
                  <a:lnTo>
                    <a:pt x="4" y="23"/>
                  </a:lnTo>
                  <a:lnTo>
                    <a:pt x="6" y="17"/>
                  </a:lnTo>
                  <a:lnTo>
                    <a:pt x="11" y="11"/>
                  </a:lnTo>
                  <a:lnTo>
                    <a:pt x="16" y="6"/>
                  </a:lnTo>
                  <a:lnTo>
                    <a:pt x="23" y="3"/>
                  </a:lnTo>
                  <a:lnTo>
                    <a:pt x="30" y="0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7" name="Freeform 8">
              <a:extLst>
                <a:ext uri="{FF2B5EF4-FFF2-40B4-BE49-F238E27FC236}">
                  <a16:creationId xmlns:a16="http://schemas.microsoft.com/office/drawing/2014/main" id="{BFAC43C7-AD95-4108-A948-838B9B544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22124" y="3136220"/>
              <a:ext cx="65233" cy="65820"/>
            </a:xfrm>
            <a:custGeom>
              <a:avLst/>
              <a:gdLst>
                <a:gd name="T0" fmla="*/ 37 w 111"/>
                <a:gd name="T1" fmla="*/ 0 h 112"/>
                <a:gd name="T2" fmla="*/ 74 w 111"/>
                <a:gd name="T3" fmla="*/ 0 h 112"/>
                <a:gd name="T4" fmla="*/ 74 w 111"/>
                <a:gd name="T5" fmla="*/ 0 h 112"/>
                <a:gd name="T6" fmla="*/ 81 w 111"/>
                <a:gd name="T7" fmla="*/ 0 h 112"/>
                <a:gd name="T8" fmla="*/ 88 w 111"/>
                <a:gd name="T9" fmla="*/ 3 h 112"/>
                <a:gd name="T10" fmla="*/ 95 w 111"/>
                <a:gd name="T11" fmla="*/ 6 h 112"/>
                <a:gd name="T12" fmla="*/ 101 w 111"/>
                <a:gd name="T13" fmla="*/ 11 h 112"/>
                <a:gd name="T14" fmla="*/ 106 w 111"/>
                <a:gd name="T15" fmla="*/ 17 h 112"/>
                <a:gd name="T16" fmla="*/ 108 w 111"/>
                <a:gd name="T17" fmla="*/ 23 h 112"/>
                <a:gd name="T18" fmla="*/ 110 w 111"/>
                <a:gd name="T19" fmla="*/ 29 h 112"/>
                <a:gd name="T20" fmla="*/ 111 w 111"/>
                <a:gd name="T21" fmla="*/ 38 h 112"/>
                <a:gd name="T22" fmla="*/ 111 w 111"/>
                <a:gd name="T23" fmla="*/ 75 h 112"/>
                <a:gd name="T24" fmla="*/ 111 w 111"/>
                <a:gd name="T25" fmla="*/ 75 h 112"/>
                <a:gd name="T26" fmla="*/ 110 w 111"/>
                <a:gd name="T27" fmla="*/ 82 h 112"/>
                <a:gd name="T28" fmla="*/ 108 w 111"/>
                <a:gd name="T29" fmla="*/ 89 h 112"/>
                <a:gd name="T30" fmla="*/ 106 w 111"/>
                <a:gd name="T31" fmla="*/ 95 h 112"/>
                <a:gd name="T32" fmla="*/ 101 w 111"/>
                <a:gd name="T33" fmla="*/ 100 h 112"/>
                <a:gd name="T34" fmla="*/ 95 w 111"/>
                <a:gd name="T35" fmla="*/ 105 h 112"/>
                <a:gd name="T36" fmla="*/ 88 w 111"/>
                <a:gd name="T37" fmla="*/ 108 h 112"/>
                <a:gd name="T38" fmla="*/ 81 w 111"/>
                <a:gd name="T39" fmla="*/ 111 h 112"/>
                <a:gd name="T40" fmla="*/ 74 w 111"/>
                <a:gd name="T41" fmla="*/ 112 h 112"/>
                <a:gd name="T42" fmla="*/ 37 w 111"/>
                <a:gd name="T43" fmla="*/ 112 h 112"/>
                <a:gd name="T44" fmla="*/ 37 w 111"/>
                <a:gd name="T45" fmla="*/ 112 h 112"/>
                <a:gd name="T46" fmla="*/ 30 w 111"/>
                <a:gd name="T47" fmla="*/ 111 h 112"/>
                <a:gd name="T48" fmla="*/ 23 w 111"/>
                <a:gd name="T49" fmla="*/ 108 h 112"/>
                <a:gd name="T50" fmla="*/ 16 w 111"/>
                <a:gd name="T51" fmla="*/ 105 h 112"/>
                <a:gd name="T52" fmla="*/ 10 w 111"/>
                <a:gd name="T53" fmla="*/ 100 h 112"/>
                <a:gd name="T54" fmla="*/ 6 w 111"/>
                <a:gd name="T55" fmla="*/ 95 h 112"/>
                <a:gd name="T56" fmla="*/ 3 w 111"/>
                <a:gd name="T57" fmla="*/ 89 h 112"/>
                <a:gd name="T58" fmla="*/ 1 w 111"/>
                <a:gd name="T59" fmla="*/ 82 h 112"/>
                <a:gd name="T60" fmla="*/ 0 w 111"/>
                <a:gd name="T61" fmla="*/ 75 h 112"/>
                <a:gd name="T62" fmla="*/ 0 w 111"/>
                <a:gd name="T63" fmla="*/ 38 h 112"/>
                <a:gd name="T64" fmla="*/ 0 w 111"/>
                <a:gd name="T65" fmla="*/ 38 h 112"/>
                <a:gd name="T66" fmla="*/ 1 w 111"/>
                <a:gd name="T67" fmla="*/ 29 h 112"/>
                <a:gd name="T68" fmla="*/ 3 w 111"/>
                <a:gd name="T69" fmla="*/ 23 h 112"/>
                <a:gd name="T70" fmla="*/ 6 w 111"/>
                <a:gd name="T71" fmla="*/ 17 h 112"/>
                <a:gd name="T72" fmla="*/ 10 w 111"/>
                <a:gd name="T73" fmla="*/ 11 h 112"/>
                <a:gd name="T74" fmla="*/ 16 w 111"/>
                <a:gd name="T75" fmla="*/ 6 h 112"/>
                <a:gd name="T76" fmla="*/ 23 w 111"/>
                <a:gd name="T77" fmla="*/ 3 h 112"/>
                <a:gd name="T78" fmla="*/ 30 w 111"/>
                <a:gd name="T79" fmla="*/ 0 h 112"/>
                <a:gd name="T80" fmla="*/ 37 w 111"/>
                <a:gd name="T81" fmla="*/ 0 h 112"/>
                <a:gd name="T82" fmla="*/ 37 w 111"/>
                <a:gd name="T8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1" h="112">
                  <a:moveTo>
                    <a:pt x="37" y="0"/>
                  </a:moveTo>
                  <a:lnTo>
                    <a:pt x="74" y="0"/>
                  </a:lnTo>
                  <a:lnTo>
                    <a:pt x="74" y="0"/>
                  </a:lnTo>
                  <a:lnTo>
                    <a:pt x="81" y="0"/>
                  </a:lnTo>
                  <a:lnTo>
                    <a:pt x="88" y="3"/>
                  </a:lnTo>
                  <a:lnTo>
                    <a:pt x="95" y="6"/>
                  </a:lnTo>
                  <a:lnTo>
                    <a:pt x="101" y="11"/>
                  </a:lnTo>
                  <a:lnTo>
                    <a:pt x="106" y="17"/>
                  </a:lnTo>
                  <a:lnTo>
                    <a:pt x="108" y="23"/>
                  </a:lnTo>
                  <a:lnTo>
                    <a:pt x="110" y="29"/>
                  </a:lnTo>
                  <a:lnTo>
                    <a:pt x="111" y="38"/>
                  </a:lnTo>
                  <a:lnTo>
                    <a:pt x="111" y="75"/>
                  </a:lnTo>
                  <a:lnTo>
                    <a:pt x="111" y="75"/>
                  </a:lnTo>
                  <a:lnTo>
                    <a:pt x="110" y="82"/>
                  </a:lnTo>
                  <a:lnTo>
                    <a:pt x="108" y="89"/>
                  </a:lnTo>
                  <a:lnTo>
                    <a:pt x="106" y="95"/>
                  </a:lnTo>
                  <a:lnTo>
                    <a:pt x="101" y="100"/>
                  </a:lnTo>
                  <a:lnTo>
                    <a:pt x="95" y="105"/>
                  </a:lnTo>
                  <a:lnTo>
                    <a:pt x="88" y="108"/>
                  </a:lnTo>
                  <a:lnTo>
                    <a:pt x="81" y="111"/>
                  </a:lnTo>
                  <a:lnTo>
                    <a:pt x="74" y="112"/>
                  </a:lnTo>
                  <a:lnTo>
                    <a:pt x="37" y="112"/>
                  </a:lnTo>
                  <a:lnTo>
                    <a:pt x="37" y="112"/>
                  </a:lnTo>
                  <a:lnTo>
                    <a:pt x="30" y="111"/>
                  </a:lnTo>
                  <a:lnTo>
                    <a:pt x="23" y="108"/>
                  </a:lnTo>
                  <a:lnTo>
                    <a:pt x="16" y="105"/>
                  </a:lnTo>
                  <a:lnTo>
                    <a:pt x="10" y="100"/>
                  </a:lnTo>
                  <a:lnTo>
                    <a:pt x="6" y="95"/>
                  </a:lnTo>
                  <a:lnTo>
                    <a:pt x="3" y="89"/>
                  </a:lnTo>
                  <a:lnTo>
                    <a:pt x="1" y="82"/>
                  </a:lnTo>
                  <a:lnTo>
                    <a:pt x="0" y="75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1" y="29"/>
                  </a:lnTo>
                  <a:lnTo>
                    <a:pt x="3" y="23"/>
                  </a:lnTo>
                  <a:lnTo>
                    <a:pt x="6" y="17"/>
                  </a:lnTo>
                  <a:lnTo>
                    <a:pt x="10" y="11"/>
                  </a:lnTo>
                  <a:lnTo>
                    <a:pt x="16" y="6"/>
                  </a:lnTo>
                  <a:lnTo>
                    <a:pt x="23" y="3"/>
                  </a:lnTo>
                  <a:lnTo>
                    <a:pt x="30" y="0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8" name="Freeform 9">
              <a:extLst>
                <a:ext uri="{FF2B5EF4-FFF2-40B4-BE49-F238E27FC236}">
                  <a16:creationId xmlns:a16="http://schemas.microsoft.com/office/drawing/2014/main" id="{FDBC3F01-7768-44A8-A114-313FF09081D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93540" y="2699572"/>
              <a:ext cx="44076" cy="87565"/>
            </a:xfrm>
            <a:custGeom>
              <a:avLst/>
              <a:gdLst>
                <a:gd name="T0" fmla="*/ 0 w 75"/>
                <a:gd name="T1" fmla="*/ 0 h 149"/>
                <a:gd name="T2" fmla="*/ 75 w 75"/>
                <a:gd name="T3" fmla="*/ 0 h 149"/>
                <a:gd name="T4" fmla="*/ 75 w 75"/>
                <a:gd name="T5" fmla="*/ 149 h 149"/>
                <a:gd name="T6" fmla="*/ 0 w 75"/>
                <a:gd name="T7" fmla="*/ 149 h 149"/>
                <a:gd name="T8" fmla="*/ 0 w 75"/>
                <a:gd name="T9" fmla="*/ 0 h 149"/>
                <a:gd name="T10" fmla="*/ 0 w 75"/>
                <a:gd name="T1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149">
                  <a:moveTo>
                    <a:pt x="0" y="0"/>
                  </a:moveTo>
                  <a:lnTo>
                    <a:pt x="75" y="0"/>
                  </a:lnTo>
                  <a:lnTo>
                    <a:pt x="75" y="149"/>
                  </a:lnTo>
                  <a:lnTo>
                    <a:pt x="0" y="14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9" name="Freeform 10">
              <a:extLst>
                <a:ext uri="{FF2B5EF4-FFF2-40B4-BE49-F238E27FC236}">
                  <a16:creationId xmlns:a16="http://schemas.microsoft.com/office/drawing/2014/main" id="{A46CBB6E-CB2F-4467-A251-D559CB7870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305975" y="2699572"/>
              <a:ext cx="43489" cy="87565"/>
            </a:xfrm>
            <a:custGeom>
              <a:avLst/>
              <a:gdLst>
                <a:gd name="T0" fmla="*/ 0 w 74"/>
                <a:gd name="T1" fmla="*/ 0 h 149"/>
                <a:gd name="T2" fmla="*/ 74 w 74"/>
                <a:gd name="T3" fmla="*/ 0 h 149"/>
                <a:gd name="T4" fmla="*/ 74 w 74"/>
                <a:gd name="T5" fmla="*/ 149 h 149"/>
                <a:gd name="T6" fmla="*/ 0 w 74"/>
                <a:gd name="T7" fmla="*/ 149 h 149"/>
                <a:gd name="T8" fmla="*/ 0 w 74"/>
                <a:gd name="T9" fmla="*/ 0 h 149"/>
                <a:gd name="T10" fmla="*/ 0 w 74"/>
                <a:gd name="T1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49">
                  <a:moveTo>
                    <a:pt x="0" y="0"/>
                  </a:moveTo>
                  <a:lnTo>
                    <a:pt x="74" y="0"/>
                  </a:lnTo>
                  <a:lnTo>
                    <a:pt x="74" y="149"/>
                  </a:lnTo>
                  <a:lnTo>
                    <a:pt x="0" y="14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0" name="Freeform 11">
              <a:extLst>
                <a:ext uri="{FF2B5EF4-FFF2-40B4-BE49-F238E27FC236}">
                  <a16:creationId xmlns:a16="http://schemas.microsoft.com/office/drawing/2014/main" id="{3A67F754-5CB4-489C-9937-25FB7A1A2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18410" y="2699572"/>
              <a:ext cx="43489" cy="87565"/>
            </a:xfrm>
            <a:custGeom>
              <a:avLst/>
              <a:gdLst>
                <a:gd name="T0" fmla="*/ 0 w 74"/>
                <a:gd name="T1" fmla="*/ 0 h 149"/>
                <a:gd name="T2" fmla="*/ 74 w 74"/>
                <a:gd name="T3" fmla="*/ 0 h 149"/>
                <a:gd name="T4" fmla="*/ 74 w 74"/>
                <a:gd name="T5" fmla="*/ 149 h 149"/>
                <a:gd name="T6" fmla="*/ 0 w 74"/>
                <a:gd name="T7" fmla="*/ 149 h 149"/>
                <a:gd name="T8" fmla="*/ 0 w 74"/>
                <a:gd name="T9" fmla="*/ 0 h 149"/>
                <a:gd name="T10" fmla="*/ 0 w 74"/>
                <a:gd name="T1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49">
                  <a:moveTo>
                    <a:pt x="0" y="0"/>
                  </a:moveTo>
                  <a:lnTo>
                    <a:pt x="74" y="0"/>
                  </a:lnTo>
                  <a:lnTo>
                    <a:pt x="74" y="149"/>
                  </a:lnTo>
                  <a:lnTo>
                    <a:pt x="0" y="14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1" name="Freeform 12">
              <a:extLst>
                <a:ext uri="{FF2B5EF4-FFF2-40B4-BE49-F238E27FC236}">
                  <a16:creationId xmlns:a16="http://schemas.microsoft.com/office/drawing/2014/main" id="{66364F82-75CA-4C89-977F-A8D88F6FD5D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31433" y="2699572"/>
              <a:ext cx="44076" cy="87565"/>
            </a:xfrm>
            <a:custGeom>
              <a:avLst/>
              <a:gdLst>
                <a:gd name="T0" fmla="*/ 0 w 75"/>
                <a:gd name="T1" fmla="*/ 0 h 149"/>
                <a:gd name="T2" fmla="*/ 75 w 75"/>
                <a:gd name="T3" fmla="*/ 0 h 149"/>
                <a:gd name="T4" fmla="*/ 75 w 75"/>
                <a:gd name="T5" fmla="*/ 149 h 149"/>
                <a:gd name="T6" fmla="*/ 0 w 75"/>
                <a:gd name="T7" fmla="*/ 149 h 149"/>
                <a:gd name="T8" fmla="*/ 0 w 75"/>
                <a:gd name="T9" fmla="*/ 0 h 149"/>
                <a:gd name="T10" fmla="*/ 0 w 75"/>
                <a:gd name="T1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149">
                  <a:moveTo>
                    <a:pt x="0" y="0"/>
                  </a:moveTo>
                  <a:lnTo>
                    <a:pt x="75" y="0"/>
                  </a:lnTo>
                  <a:lnTo>
                    <a:pt x="75" y="149"/>
                  </a:lnTo>
                  <a:lnTo>
                    <a:pt x="0" y="14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2" name="Freeform 13">
              <a:extLst>
                <a:ext uri="{FF2B5EF4-FFF2-40B4-BE49-F238E27FC236}">
                  <a16:creationId xmlns:a16="http://schemas.microsoft.com/office/drawing/2014/main" id="{6A573ED7-83A0-4512-AFA5-AC4C57A2F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74922" y="2481542"/>
              <a:ext cx="43489" cy="86977"/>
            </a:xfrm>
            <a:custGeom>
              <a:avLst/>
              <a:gdLst>
                <a:gd name="T0" fmla="*/ 0 w 74"/>
                <a:gd name="T1" fmla="*/ 0 h 148"/>
                <a:gd name="T2" fmla="*/ 74 w 74"/>
                <a:gd name="T3" fmla="*/ 0 h 148"/>
                <a:gd name="T4" fmla="*/ 74 w 74"/>
                <a:gd name="T5" fmla="*/ 148 h 148"/>
                <a:gd name="T6" fmla="*/ 0 w 74"/>
                <a:gd name="T7" fmla="*/ 148 h 148"/>
                <a:gd name="T8" fmla="*/ 0 w 74"/>
                <a:gd name="T9" fmla="*/ 0 h 148"/>
                <a:gd name="T10" fmla="*/ 0 w 74"/>
                <a:gd name="T11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48">
                  <a:moveTo>
                    <a:pt x="0" y="0"/>
                  </a:moveTo>
                  <a:lnTo>
                    <a:pt x="74" y="0"/>
                  </a:lnTo>
                  <a:lnTo>
                    <a:pt x="74" y="148"/>
                  </a:lnTo>
                  <a:lnTo>
                    <a:pt x="0" y="14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3" name="Freeform 14">
              <a:extLst>
                <a:ext uri="{FF2B5EF4-FFF2-40B4-BE49-F238E27FC236}">
                  <a16:creationId xmlns:a16="http://schemas.microsoft.com/office/drawing/2014/main" id="{78FA63E1-9A9D-4260-8109-8596C7BC2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87357" y="2481542"/>
              <a:ext cx="43489" cy="86977"/>
            </a:xfrm>
            <a:custGeom>
              <a:avLst/>
              <a:gdLst>
                <a:gd name="T0" fmla="*/ 0 w 74"/>
                <a:gd name="T1" fmla="*/ 0 h 148"/>
                <a:gd name="T2" fmla="*/ 74 w 74"/>
                <a:gd name="T3" fmla="*/ 0 h 148"/>
                <a:gd name="T4" fmla="*/ 74 w 74"/>
                <a:gd name="T5" fmla="*/ 148 h 148"/>
                <a:gd name="T6" fmla="*/ 0 w 74"/>
                <a:gd name="T7" fmla="*/ 148 h 148"/>
                <a:gd name="T8" fmla="*/ 0 w 74"/>
                <a:gd name="T9" fmla="*/ 0 h 148"/>
                <a:gd name="T10" fmla="*/ 0 w 74"/>
                <a:gd name="T11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48">
                  <a:moveTo>
                    <a:pt x="0" y="0"/>
                  </a:moveTo>
                  <a:lnTo>
                    <a:pt x="74" y="0"/>
                  </a:lnTo>
                  <a:lnTo>
                    <a:pt x="74" y="148"/>
                  </a:lnTo>
                  <a:lnTo>
                    <a:pt x="0" y="14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4" name="Freeform 15">
              <a:extLst>
                <a:ext uri="{FF2B5EF4-FFF2-40B4-BE49-F238E27FC236}">
                  <a16:creationId xmlns:a16="http://schemas.microsoft.com/office/drawing/2014/main" id="{A206E31D-CDD5-4A54-901A-98ED3464A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4000380" y="2481542"/>
              <a:ext cx="43489" cy="86977"/>
            </a:xfrm>
            <a:custGeom>
              <a:avLst/>
              <a:gdLst>
                <a:gd name="T0" fmla="*/ 0 w 74"/>
                <a:gd name="T1" fmla="*/ 0 h 148"/>
                <a:gd name="T2" fmla="*/ 74 w 74"/>
                <a:gd name="T3" fmla="*/ 0 h 148"/>
                <a:gd name="T4" fmla="*/ 74 w 74"/>
                <a:gd name="T5" fmla="*/ 148 h 148"/>
                <a:gd name="T6" fmla="*/ 0 w 74"/>
                <a:gd name="T7" fmla="*/ 148 h 148"/>
                <a:gd name="T8" fmla="*/ 0 w 74"/>
                <a:gd name="T9" fmla="*/ 0 h 148"/>
                <a:gd name="T10" fmla="*/ 0 w 74"/>
                <a:gd name="T11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48">
                  <a:moveTo>
                    <a:pt x="0" y="0"/>
                  </a:moveTo>
                  <a:lnTo>
                    <a:pt x="74" y="0"/>
                  </a:lnTo>
                  <a:lnTo>
                    <a:pt x="74" y="148"/>
                  </a:lnTo>
                  <a:lnTo>
                    <a:pt x="0" y="14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5" name="Freeform 16">
              <a:extLst>
                <a:ext uri="{FF2B5EF4-FFF2-40B4-BE49-F238E27FC236}">
                  <a16:creationId xmlns:a16="http://schemas.microsoft.com/office/drawing/2014/main" id="{51396319-9C81-484C-BAE5-6DC9431A6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12815" y="2481542"/>
              <a:ext cx="43489" cy="86977"/>
            </a:xfrm>
            <a:custGeom>
              <a:avLst/>
              <a:gdLst>
                <a:gd name="T0" fmla="*/ 0 w 74"/>
                <a:gd name="T1" fmla="*/ 0 h 148"/>
                <a:gd name="T2" fmla="*/ 74 w 74"/>
                <a:gd name="T3" fmla="*/ 0 h 148"/>
                <a:gd name="T4" fmla="*/ 74 w 74"/>
                <a:gd name="T5" fmla="*/ 148 h 148"/>
                <a:gd name="T6" fmla="*/ 0 w 74"/>
                <a:gd name="T7" fmla="*/ 148 h 148"/>
                <a:gd name="T8" fmla="*/ 0 w 74"/>
                <a:gd name="T9" fmla="*/ 0 h 148"/>
                <a:gd name="T10" fmla="*/ 0 w 74"/>
                <a:gd name="T11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48">
                  <a:moveTo>
                    <a:pt x="0" y="0"/>
                  </a:moveTo>
                  <a:lnTo>
                    <a:pt x="74" y="0"/>
                  </a:lnTo>
                  <a:lnTo>
                    <a:pt x="74" y="148"/>
                  </a:lnTo>
                  <a:lnTo>
                    <a:pt x="0" y="14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6" name="Freeform 17">
              <a:extLst>
                <a:ext uri="{FF2B5EF4-FFF2-40B4-BE49-F238E27FC236}">
                  <a16:creationId xmlns:a16="http://schemas.microsoft.com/office/drawing/2014/main" id="{FDAA5E85-BEC5-4074-BF15-58E5C2CC8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4218410" y="2918190"/>
              <a:ext cx="43489" cy="87565"/>
            </a:xfrm>
            <a:custGeom>
              <a:avLst/>
              <a:gdLst>
                <a:gd name="T0" fmla="*/ 0 w 74"/>
                <a:gd name="T1" fmla="*/ 0 h 149"/>
                <a:gd name="T2" fmla="*/ 74 w 74"/>
                <a:gd name="T3" fmla="*/ 0 h 149"/>
                <a:gd name="T4" fmla="*/ 74 w 74"/>
                <a:gd name="T5" fmla="*/ 149 h 149"/>
                <a:gd name="T6" fmla="*/ 0 w 74"/>
                <a:gd name="T7" fmla="*/ 149 h 149"/>
                <a:gd name="T8" fmla="*/ 0 w 74"/>
                <a:gd name="T9" fmla="*/ 0 h 149"/>
                <a:gd name="T10" fmla="*/ 0 w 74"/>
                <a:gd name="T1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49">
                  <a:moveTo>
                    <a:pt x="0" y="0"/>
                  </a:moveTo>
                  <a:lnTo>
                    <a:pt x="74" y="0"/>
                  </a:lnTo>
                  <a:lnTo>
                    <a:pt x="74" y="149"/>
                  </a:lnTo>
                  <a:lnTo>
                    <a:pt x="0" y="14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7" name="Freeform 18">
              <a:extLst>
                <a:ext uri="{FF2B5EF4-FFF2-40B4-BE49-F238E27FC236}">
                  <a16:creationId xmlns:a16="http://schemas.microsoft.com/office/drawing/2014/main" id="{FEAF946C-CA7E-42F4-94BE-A9A482E03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-4131433" y="2918190"/>
              <a:ext cx="44076" cy="87565"/>
            </a:xfrm>
            <a:custGeom>
              <a:avLst/>
              <a:gdLst>
                <a:gd name="T0" fmla="*/ 0 w 75"/>
                <a:gd name="T1" fmla="*/ 0 h 149"/>
                <a:gd name="T2" fmla="*/ 75 w 75"/>
                <a:gd name="T3" fmla="*/ 0 h 149"/>
                <a:gd name="T4" fmla="*/ 75 w 75"/>
                <a:gd name="T5" fmla="*/ 149 h 149"/>
                <a:gd name="T6" fmla="*/ 0 w 75"/>
                <a:gd name="T7" fmla="*/ 149 h 149"/>
                <a:gd name="T8" fmla="*/ 0 w 75"/>
                <a:gd name="T9" fmla="*/ 0 h 149"/>
                <a:gd name="T10" fmla="*/ 0 w 75"/>
                <a:gd name="T1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149">
                  <a:moveTo>
                    <a:pt x="0" y="0"/>
                  </a:moveTo>
                  <a:lnTo>
                    <a:pt x="75" y="0"/>
                  </a:lnTo>
                  <a:lnTo>
                    <a:pt x="75" y="149"/>
                  </a:lnTo>
                  <a:lnTo>
                    <a:pt x="0" y="14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8" name="Freeform 19">
              <a:extLst>
                <a:ext uri="{FF2B5EF4-FFF2-40B4-BE49-F238E27FC236}">
                  <a16:creationId xmlns:a16="http://schemas.microsoft.com/office/drawing/2014/main" id="{FE445ADC-081B-4F14-938E-14FE61FF1EA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56892" y="2918190"/>
              <a:ext cx="44076" cy="87565"/>
            </a:xfrm>
            <a:custGeom>
              <a:avLst/>
              <a:gdLst>
                <a:gd name="T0" fmla="*/ 0 w 75"/>
                <a:gd name="T1" fmla="*/ 0 h 149"/>
                <a:gd name="T2" fmla="*/ 75 w 75"/>
                <a:gd name="T3" fmla="*/ 0 h 149"/>
                <a:gd name="T4" fmla="*/ 75 w 75"/>
                <a:gd name="T5" fmla="*/ 149 h 149"/>
                <a:gd name="T6" fmla="*/ 0 w 75"/>
                <a:gd name="T7" fmla="*/ 149 h 149"/>
                <a:gd name="T8" fmla="*/ 0 w 75"/>
                <a:gd name="T9" fmla="*/ 0 h 149"/>
                <a:gd name="T10" fmla="*/ 0 w 75"/>
                <a:gd name="T1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149">
                  <a:moveTo>
                    <a:pt x="0" y="0"/>
                  </a:moveTo>
                  <a:lnTo>
                    <a:pt x="75" y="0"/>
                  </a:lnTo>
                  <a:lnTo>
                    <a:pt x="75" y="149"/>
                  </a:lnTo>
                  <a:lnTo>
                    <a:pt x="0" y="14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9" name="Freeform 20">
              <a:extLst>
                <a:ext uri="{FF2B5EF4-FFF2-40B4-BE49-F238E27FC236}">
                  <a16:creationId xmlns:a16="http://schemas.microsoft.com/office/drawing/2014/main" id="{252850DE-6AB2-4216-BAF3-423A2D99C2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69327" y="2918190"/>
              <a:ext cx="43489" cy="87565"/>
            </a:xfrm>
            <a:custGeom>
              <a:avLst/>
              <a:gdLst>
                <a:gd name="T0" fmla="*/ 0 w 74"/>
                <a:gd name="T1" fmla="*/ 0 h 149"/>
                <a:gd name="T2" fmla="*/ 74 w 74"/>
                <a:gd name="T3" fmla="*/ 0 h 149"/>
                <a:gd name="T4" fmla="*/ 74 w 74"/>
                <a:gd name="T5" fmla="*/ 149 h 149"/>
                <a:gd name="T6" fmla="*/ 0 w 74"/>
                <a:gd name="T7" fmla="*/ 149 h 149"/>
                <a:gd name="T8" fmla="*/ 0 w 74"/>
                <a:gd name="T9" fmla="*/ 0 h 149"/>
                <a:gd name="T10" fmla="*/ 0 w 74"/>
                <a:gd name="T1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49">
                  <a:moveTo>
                    <a:pt x="0" y="0"/>
                  </a:moveTo>
                  <a:lnTo>
                    <a:pt x="74" y="0"/>
                  </a:lnTo>
                  <a:lnTo>
                    <a:pt x="74" y="149"/>
                  </a:lnTo>
                  <a:lnTo>
                    <a:pt x="0" y="14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0" name="Freeform 21">
              <a:extLst>
                <a:ext uri="{FF2B5EF4-FFF2-40B4-BE49-F238E27FC236}">
                  <a16:creationId xmlns:a16="http://schemas.microsoft.com/office/drawing/2014/main" id="{0A6E0A44-B9F8-4FA8-B0D6-DDC0210A4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81762" y="2918190"/>
              <a:ext cx="43489" cy="87565"/>
            </a:xfrm>
            <a:custGeom>
              <a:avLst/>
              <a:gdLst>
                <a:gd name="T0" fmla="*/ 0 w 74"/>
                <a:gd name="T1" fmla="*/ 0 h 149"/>
                <a:gd name="T2" fmla="*/ 74 w 74"/>
                <a:gd name="T3" fmla="*/ 0 h 149"/>
                <a:gd name="T4" fmla="*/ 74 w 74"/>
                <a:gd name="T5" fmla="*/ 149 h 149"/>
                <a:gd name="T6" fmla="*/ 0 w 74"/>
                <a:gd name="T7" fmla="*/ 149 h 149"/>
                <a:gd name="T8" fmla="*/ 0 w 74"/>
                <a:gd name="T9" fmla="*/ 0 h 149"/>
                <a:gd name="T10" fmla="*/ 0 w 74"/>
                <a:gd name="T1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49">
                  <a:moveTo>
                    <a:pt x="0" y="0"/>
                  </a:moveTo>
                  <a:lnTo>
                    <a:pt x="74" y="0"/>
                  </a:lnTo>
                  <a:lnTo>
                    <a:pt x="74" y="149"/>
                  </a:lnTo>
                  <a:lnTo>
                    <a:pt x="0" y="14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1" name="Freeform 22">
              <a:extLst>
                <a:ext uri="{FF2B5EF4-FFF2-40B4-BE49-F238E27FC236}">
                  <a16:creationId xmlns:a16="http://schemas.microsoft.com/office/drawing/2014/main" id="{D7B1365C-8AD7-400C-B051-DD4C571A8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94785" y="2918190"/>
              <a:ext cx="43489" cy="87565"/>
            </a:xfrm>
            <a:custGeom>
              <a:avLst/>
              <a:gdLst>
                <a:gd name="T0" fmla="*/ 0 w 74"/>
                <a:gd name="T1" fmla="*/ 0 h 149"/>
                <a:gd name="T2" fmla="*/ 74 w 74"/>
                <a:gd name="T3" fmla="*/ 0 h 149"/>
                <a:gd name="T4" fmla="*/ 74 w 74"/>
                <a:gd name="T5" fmla="*/ 149 h 149"/>
                <a:gd name="T6" fmla="*/ 0 w 74"/>
                <a:gd name="T7" fmla="*/ 149 h 149"/>
                <a:gd name="T8" fmla="*/ 0 w 74"/>
                <a:gd name="T9" fmla="*/ 0 h 149"/>
                <a:gd name="T10" fmla="*/ 0 w 74"/>
                <a:gd name="T1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49">
                  <a:moveTo>
                    <a:pt x="0" y="0"/>
                  </a:moveTo>
                  <a:lnTo>
                    <a:pt x="74" y="0"/>
                  </a:lnTo>
                  <a:lnTo>
                    <a:pt x="74" y="149"/>
                  </a:lnTo>
                  <a:lnTo>
                    <a:pt x="0" y="14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2" name="Freeform 23">
              <a:extLst>
                <a:ext uri="{FF2B5EF4-FFF2-40B4-BE49-F238E27FC236}">
                  <a16:creationId xmlns:a16="http://schemas.microsoft.com/office/drawing/2014/main" id="{CA14AF2F-2494-4625-A0FB-188D29159CE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956892" y="2699572"/>
              <a:ext cx="44076" cy="87565"/>
            </a:xfrm>
            <a:custGeom>
              <a:avLst/>
              <a:gdLst>
                <a:gd name="T0" fmla="*/ 0 w 75"/>
                <a:gd name="T1" fmla="*/ 0 h 149"/>
                <a:gd name="T2" fmla="*/ 75 w 75"/>
                <a:gd name="T3" fmla="*/ 0 h 149"/>
                <a:gd name="T4" fmla="*/ 75 w 75"/>
                <a:gd name="T5" fmla="*/ 149 h 149"/>
                <a:gd name="T6" fmla="*/ 0 w 75"/>
                <a:gd name="T7" fmla="*/ 149 h 149"/>
                <a:gd name="T8" fmla="*/ 0 w 75"/>
                <a:gd name="T9" fmla="*/ 0 h 149"/>
                <a:gd name="T10" fmla="*/ 0 w 75"/>
                <a:gd name="T1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149">
                  <a:moveTo>
                    <a:pt x="0" y="0"/>
                  </a:moveTo>
                  <a:lnTo>
                    <a:pt x="75" y="0"/>
                  </a:lnTo>
                  <a:lnTo>
                    <a:pt x="75" y="149"/>
                  </a:lnTo>
                  <a:lnTo>
                    <a:pt x="0" y="14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3" name="Freeform 24">
              <a:extLst>
                <a:ext uri="{FF2B5EF4-FFF2-40B4-BE49-F238E27FC236}">
                  <a16:creationId xmlns:a16="http://schemas.microsoft.com/office/drawing/2014/main" id="{0ABCAD93-5CEA-4009-97C4-31CDFBD9355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69327" y="2699572"/>
              <a:ext cx="43489" cy="87565"/>
            </a:xfrm>
            <a:custGeom>
              <a:avLst/>
              <a:gdLst>
                <a:gd name="T0" fmla="*/ 0 w 74"/>
                <a:gd name="T1" fmla="*/ 0 h 149"/>
                <a:gd name="T2" fmla="*/ 74 w 74"/>
                <a:gd name="T3" fmla="*/ 0 h 149"/>
                <a:gd name="T4" fmla="*/ 74 w 74"/>
                <a:gd name="T5" fmla="*/ 149 h 149"/>
                <a:gd name="T6" fmla="*/ 0 w 74"/>
                <a:gd name="T7" fmla="*/ 149 h 149"/>
                <a:gd name="T8" fmla="*/ 0 w 74"/>
                <a:gd name="T9" fmla="*/ 0 h 149"/>
                <a:gd name="T10" fmla="*/ 0 w 74"/>
                <a:gd name="T1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49">
                  <a:moveTo>
                    <a:pt x="0" y="0"/>
                  </a:moveTo>
                  <a:lnTo>
                    <a:pt x="74" y="0"/>
                  </a:lnTo>
                  <a:lnTo>
                    <a:pt x="74" y="149"/>
                  </a:lnTo>
                  <a:lnTo>
                    <a:pt x="0" y="14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4" name="Freeform 25">
              <a:extLst>
                <a:ext uri="{FF2B5EF4-FFF2-40B4-BE49-F238E27FC236}">
                  <a16:creationId xmlns:a16="http://schemas.microsoft.com/office/drawing/2014/main" id="{CD1B090A-59CC-4A21-9184-359102760ED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781762" y="2699572"/>
              <a:ext cx="43489" cy="87565"/>
            </a:xfrm>
            <a:custGeom>
              <a:avLst/>
              <a:gdLst>
                <a:gd name="T0" fmla="*/ 0 w 74"/>
                <a:gd name="T1" fmla="*/ 0 h 149"/>
                <a:gd name="T2" fmla="*/ 74 w 74"/>
                <a:gd name="T3" fmla="*/ 0 h 149"/>
                <a:gd name="T4" fmla="*/ 74 w 74"/>
                <a:gd name="T5" fmla="*/ 149 h 149"/>
                <a:gd name="T6" fmla="*/ 0 w 74"/>
                <a:gd name="T7" fmla="*/ 149 h 149"/>
                <a:gd name="T8" fmla="*/ 0 w 74"/>
                <a:gd name="T9" fmla="*/ 0 h 149"/>
                <a:gd name="T10" fmla="*/ 0 w 74"/>
                <a:gd name="T1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49">
                  <a:moveTo>
                    <a:pt x="0" y="0"/>
                  </a:moveTo>
                  <a:lnTo>
                    <a:pt x="74" y="0"/>
                  </a:lnTo>
                  <a:lnTo>
                    <a:pt x="74" y="149"/>
                  </a:lnTo>
                  <a:lnTo>
                    <a:pt x="0" y="14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5" name="Freeform 26">
              <a:extLst>
                <a:ext uri="{FF2B5EF4-FFF2-40B4-BE49-F238E27FC236}">
                  <a16:creationId xmlns:a16="http://schemas.microsoft.com/office/drawing/2014/main" id="{6A3D92EB-D069-4079-8CEF-19291A131AB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94785" y="2699572"/>
              <a:ext cx="43489" cy="87565"/>
            </a:xfrm>
            <a:custGeom>
              <a:avLst/>
              <a:gdLst>
                <a:gd name="T0" fmla="*/ 0 w 74"/>
                <a:gd name="T1" fmla="*/ 0 h 149"/>
                <a:gd name="T2" fmla="*/ 74 w 74"/>
                <a:gd name="T3" fmla="*/ 0 h 149"/>
                <a:gd name="T4" fmla="*/ 74 w 74"/>
                <a:gd name="T5" fmla="*/ 149 h 149"/>
                <a:gd name="T6" fmla="*/ 0 w 74"/>
                <a:gd name="T7" fmla="*/ 149 h 149"/>
                <a:gd name="T8" fmla="*/ 0 w 74"/>
                <a:gd name="T9" fmla="*/ 0 h 149"/>
                <a:gd name="T10" fmla="*/ 0 w 74"/>
                <a:gd name="T1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49">
                  <a:moveTo>
                    <a:pt x="0" y="0"/>
                  </a:moveTo>
                  <a:lnTo>
                    <a:pt x="74" y="0"/>
                  </a:lnTo>
                  <a:lnTo>
                    <a:pt x="74" y="149"/>
                  </a:lnTo>
                  <a:lnTo>
                    <a:pt x="0" y="14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6" name="Freeform 27">
              <a:extLst>
                <a:ext uri="{FF2B5EF4-FFF2-40B4-BE49-F238E27FC236}">
                  <a16:creationId xmlns:a16="http://schemas.microsoft.com/office/drawing/2014/main" id="{20E279C2-E9E1-493D-9FA8-BD17E3E967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4611570" y="2110127"/>
              <a:ext cx="1309944" cy="1244712"/>
            </a:xfrm>
            <a:custGeom>
              <a:avLst/>
              <a:gdLst>
                <a:gd name="T0" fmla="*/ 1894 w 2229"/>
                <a:gd name="T1" fmla="*/ 669 h 2118"/>
                <a:gd name="T2" fmla="*/ 2154 w 2229"/>
                <a:gd name="T3" fmla="*/ 557 h 2118"/>
                <a:gd name="T4" fmla="*/ 1783 w 2229"/>
                <a:gd name="T5" fmla="*/ 1598 h 2118"/>
                <a:gd name="T6" fmla="*/ 2043 w 2229"/>
                <a:gd name="T7" fmla="*/ 1598 h 2118"/>
                <a:gd name="T8" fmla="*/ 537 w 2229"/>
                <a:gd name="T9" fmla="*/ 1561 h 2118"/>
                <a:gd name="T10" fmla="*/ 614 w 2229"/>
                <a:gd name="T11" fmla="*/ 1668 h 2118"/>
                <a:gd name="T12" fmla="*/ 2154 w 2229"/>
                <a:gd name="T13" fmla="*/ 2044 h 2118"/>
                <a:gd name="T14" fmla="*/ 966 w 2229"/>
                <a:gd name="T15" fmla="*/ 1598 h 2118"/>
                <a:gd name="T16" fmla="*/ 520 w 2229"/>
                <a:gd name="T17" fmla="*/ 1375 h 2118"/>
                <a:gd name="T18" fmla="*/ 371 w 2229"/>
                <a:gd name="T19" fmla="*/ 1375 h 2118"/>
                <a:gd name="T20" fmla="*/ 297 w 2229"/>
                <a:gd name="T21" fmla="*/ 1301 h 2118"/>
                <a:gd name="T22" fmla="*/ 297 w 2229"/>
                <a:gd name="T23" fmla="*/ 1226 h 2118"/>
                <a:gd name="T24" fmla="*/ 1337 w 2229"/>
                <a:gd name="T25" fmla="*/ 557 h 2118"/>
                <a:gd name="T26" fmla="*/ 669 w 2229"/>
                <a:gd name="T27" fmla="*/ 557 h 2118"/>
                <a:gd name="T28" fmla="*/ 1709 w 2229"/>
                <a:gd name="T29" fmla="*/ 929 h 2118"/>
                <a:gd name="T30" fmla="*/ 1040 w 2229"/>
                <a:gd name="T31" fmla="*/ 1301 h 2118"/>
                <a:gd name="T32" fmla="*/ 1040 w 2229"/>
                <a:gd name="T33" fmla="*/ 1598 h 2118"/>
                <a:gd name="T34" fmla="*/ 2080 w 2229"/>
                <a:gd name="T35" fmla="*/ 0 h 2118"/>
                <a:gd name="T36" fmla="*/ 1894 w 2229"/>
                <a:gd name="T37" fmla="*/ 74 h 2118"/>
                <a:gd name="T38" fmla="*/ 1709 w 2229"/>
                <a:gd name="T39" fmla="*/ 297 h 2118"/>
                <a:gd name="T40" fmla="*/ 1627 w 2229"/>
                <a:gd name="T41" fmla="*/ 483 h 2118"/>
                <a:gd name="T42" fmla="*/ 1603 w 2229"/>
                <a:gd name="T43" fmla="*/ 499 h 2118"/>
                <a:gd name="T44" fmla="*/ 1597 w 2229"/>
                <a:gd name="T45" fmla="*/ 743 h 2118"/>
                <a:gd name="T46" fmla="*/ 1603 w 2229"/>
                <a:gd name="T47" fmla="*/ 763 h 2118"/>
                <a:gd name="T48" fmla="*/ 1627 w 2229"/>
                <a:gd name="T49" fmla="*/ 779 h 2118"/>
                <a:gd name="T50" fmla="*/ 1412 w 2229"/>
                <a:gd name="T51" fmla="*/ 855 h 2118"/>
                <a:gd name="T52" fmla="*/ 1408 w 2229"/>
                <a:gd name="T53" fmla="*/ 505 h 2118"/>
                <a:gd name="T54" fmla="*/ 1388 w 2229"/>
                <a:gd name="T55" fmla="*/ 485 h 2118"/>
                <a:gd name="T56" fmla="*/ 631 w 2229"/>
                <a:gd name="T57" fmla="*/ 483 h 2118"/>
                <a:gd name="T58" fmla="*/ 605 w 2229"/>
                <a:gd name="T59" fmla="*/ 494 h 2118"/>
                <a:gd name="T60" fmla="*/ 594 w 2229"/>
                <a:gd name="T61" fmla="*/ 520 h 2118"/>
                <a:gd name="T62" fmla="*/ 253 w 2229"/>
                <a:gd name="T63" fmla="*/ 855 h 2118"/>
                <a:gd name="T64" fmla="*/ 229 w 2229"/>
                <a:gd name="T65" fmla="*/ 871 h 2118"/>
                <a:gd name="T66" fmla="*/ 223 w 2229"/>
                <a:gd name="T67" fmla="*/ 1486 h 2118"/>
                <a:gd name="T68" fmla="*/ 23 w 2229"/>
                <a:gd name="T69" fmla="*/ 1489 h 2118"/>
                <a:gd name="T70" fmla="*/ 3 w 2229"/>
                <a:gd name="T71" fmla="*/ 1508 h 2118"/>
                <a:gd name="T72" fmla="*/ 1 w 2229"/>
                <a:gd name="T73" fmla="*/ 1530 h 2118"/>
                <a:gd name="T74" fmla="*/ 228 w 2229"/>
                <a:gd name="T75" fmla="*/ 2099 h 2118"/>
                <a:gd name="T76" fmla="*/ 244 w 2229"/>
                <a:gd name="T77" fmla="*/ 2113 h 2118"/>
                <a:gd name="T78" fmla="*/ 2192 w 2229"/>
                <a:gd name="T79" fmla="*/ 2118 h 2118"/>
                <a:gd name="T80" fmla="*/ 2213 w 2229"/>
                <a:gd name="T81" fmla="*/ 2111 h 2118"/>
                <a:gd name="T82" fmla="*/ 2228 w 2229"/>
                <a:gd name="T83" fmla="*/ 2088 h 2118"/>
                <a:gd name="T84" fmla="*/ 2228 w 2229"/>
                <a:gd name="T85" fmla="*/ 1627 h 2118"/>
                <a:gd name="T86" fmla="*/ 2213 w 2229"/>
                <a:gd name="T87" fmla="*/ 1604 h 2118"/>
                <a:gd name="T88" fmla="*/ 2117 w 2229"/>
                <a:gd name="T89" fmla="*/ 1598 h 2118"/>
                <a:gd name="T90" fmla="*/ 2199 w 2229"/>
                <a:gd name="T91" fmla="*/ 779 h 2118"/>
                <a:gd name="T92" fmla="*/ 2223 w 2229"/>
                <a:gd name="T93" fmla="*/ 763 h 2118"/>
                <a:gd name="T94" fmla="*/ 2229 w 2229"/>
                <a:gd name="T95" fmla="*/ 520 h 2118"/>
                <a:gd name="T96" fmla="*/ 2223 w 2229"/>
                <a:gd name="T97" fmla="*/ 499 h 2118"/>
                <a:gd name="T98" fmla="*/ 2199 w 2229"/>
                <a:gd name="T99" fmla="*/ 483 h 2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29" h="2118">
                  <a:moveTo>
                    <a:pt x="2154" y="706"/>
                  </a:moveTo>
                  <a:lnTo>
                    <a:pt x="1672" y="706"/>
                  </a:lnTo>
                  <a:lnTo>
                    <a:pt x="1672" y="669"/>
                  </a:lnTo>
                  <a:lnTo>
                    <a:pt x="1894" y="669"/>
                  </a:lnTo>
                  <a:lnTo>
                    <a:pt x="1894" y="595"/>
                  </a:lnTo>
                  <a:lnTo>
                    <a:pt x="1672" y="595"/>
                  </a:lnTo>
                  <a:lnTo>
                    <a:pt x="1672" y="557"/>
                  </a:lnTo>
                  <a:lnTo>
                    <a:pt x="2154" y="557"/>
                  </a:lnTo>
                  <a:lnTo>
                    <a:pt x="2154" y="706"/>
                  </a:lnTo>
                  <a:lnTo>
                    <a:pt x="2154" y="706"/>
                  </a:lnTo>
                  <a:close/>
                  <a:moveTo>
                    <a:pt x="2043" y="1598"/>
                  </a:moveTo>
                  <a:lnTo>
                    <a:pt x="1783" y="1598"/>
                  </a:lnTo>
                  <a:lnTo>
                    <a:pt x="1783" y="780"/>
                  </a:lnTo>
                  <a:lnTo>
                    <a:pt x="2043" y="780"/>
                  </a:lnTo>
                  <a:lnTo>
                    <a:pt x="2043" y="1598"/>
                  </a:lnTo>
                  <a:lnTo>
                    <a:pt x="2043" y="1598"/>
                  </a:lnTo>
                  <a:close/>
                  <a:moveTo>
                    <a:pt x="2154" y="2044"/>
                  </a:moveTo>
                  <a:lnTo>
                    <a:pt x="286" y="2044"/>
                  </a:lnTo>
                  <a:lnTo>
                    <a:pt x="92" y="1561"/>
                  </a:lnTo>
                  <a:lnTo>
                    <a:pt x="537" y="1561"/>
                  </a:lnTo>
                  <a:lnTo>
                    <a:pt x="600" y="1655"/>
                  </a:lnTo>
                  <a:lnTo>
                    <a:pt x="600" y="1655"/>
                  </a:lnTo>
                  <a:lnTo>
                    <a:pt x="606" y="1662"/>
                  </a:lnTo>
                  <a:lnTo>
                    <a:pt x="614" y="1668"/>
                  </a:lnTo>
                  <a:lnTo>
                    <a:pt x="622" y="1671"/>
                  </a:lnTo>
                  <a:lnTo>
                    <a:pt x="631" y="1672"/>
                  </a:lnTo>
                  <a:lnTo>
                    <a:pt x="2154" y="1672"/>
                  </a:lnTo>
                  <a:lnTo>
                    <a:pt x="2154" y="2044"/>
                  </a:lnTo>
                  <a:lnTo>
                    <a:pt x="2154" y="2044"/>
                  </a:lnTo>
                  <a:close/>
                  <a:moveTo>
                    <a:pt x="297" y="1301"/>
                  </a:moveTo>
                  <a:lnTo>
                    <a:pt x="966" y="1301"/>
                  </a:lnTo>
                  <a:lnTo>
                    <a:pt x="966" y="1598"/>
                  </a:lnTo>
                  <a:lnTo>
                    <a:pt x="651" y="1598"/>
                  </a:lnTo>
                  <a:lnTo>
                    <a:pt x="594" y="1512"/>
                  </a:lnTo>
                  <a:lnTo>
                    <a:pt x="594" y="1375"/>
                  </a:lnTo>
                  <a:lnTo>
                    <a:pt x="520" y="1375"/>
                  </a:lnTo>
                  <a:lnTo>
                    <a:pt x="520" y="1486"/>
                  </a:lnTo>
                  <a:lnTo>
                    <a:pt x="446" y="1486"/>
                  </a:lnTo>
                  <a:lnTo>
                    <a:pt x="446" y="1375"/>
                  </a:lnTo>
                  <a:lnTo>
                    <a:pt x="371" y="1375"/>
                  </a:lnTo>
                  <a:lnTo>
                    <a:pt x="371" y="1486"/>
                  </a:lnTo>
                  <a:lnTo>
                    <a:pt x="297" y="1486"/>
                  </a:lnTo>
                  <a:lnTo>
                    <a:pt x="297" y="1301"/>
                  </a:lnTo>
                  <a:lnTo>
                    <a:pt x="297" y="1301"/>
                  </a:lnTo>
                  <a:close/>
                  <a:moveTo>
                    <a:pt x="297" y="929"/>
                  </a:moveTo>
                  <a:lnTo>
                    <a:pt x="966" y="929"/>
                  </a:lnTo>
                  <a:lnTo>
                    <a:pt x="966" y="1226"/>
                  </a:lnTo>
                  <a:lnTo>
                    <a:pt x="297" y="1226"/>
                  </a:lnTo>
                  <a:lnTo>
                    <a:pt x="297" y="929"/>
                  </a:lnTo>
                  <a:lnTo>
                    <a:pt x="297" y="929"/>
                  </a:lnTo>
                  <a:close/>
                  <a:moveTo>
                    <a:pt x="669" y="557"/>
                  </a:moveTo>
                  <a:lnTo>
                    <a:pt x="1337" y="557"/>
                  </a:lnTo>
                  <a:lnTo>
                    <a:pt x="1337" y="855"/>
                  </a:lnTo>
                  <a:lnTo>
                    <a:pt x="669" y="855"/>
                  </a:lnTo>
                  <a:lnTo>
                    <a:pt x="669" y="557"/>
                  </a:lnTo>
                  <a:lnTo>
                    <a:pt x="669" y="557"/>
                  </a:lnTo>
                  <a:close/>
                  <a:moveTo>
                    <a:pt x="1709" y="1226"/>
                  </a:moveTo>
                  <a:lnTo>
                    <a:pt x="1040" y="1226"/>
                  </a:lnTo>
                  <a:lnTo>
                    <a:pt x="1040" y="929"/>
                  </a:lnTo>
                  <a:lnTo>
                    <a:pt x="1709" y="929"/>
                  </a:lnTo>
                  <a:lnTo>
                    <a:pt x="1709" y="1226"/>
                  </a:lnTo>
                  <a:lnTo>
                    <a:pt x="1709" y="1226"/>
                  </a:lnTo>
                  <a:close/>
                  <a:moveTo>
                    <a:pt x="1040" y="1598"/>
                  </a:moveTo>
                  <a:lnTo>
                    <a:pt x="1040" y="1301"/>
                  </a:lnTo>
                  <a:lnTo>
                    <a:pt x="1709" y="1301"/>
                  </a:lnTo>
                  <a:lnTo>
                    <a:pt x="1709" y="1598"/>
                  </a:lnTo>
                  <a:lnTo>
                    <a:pt x="1040" y="1598"/>
                  </a:lnTo>
                  <a:lnTo>
                    <a:pt x="1040" y="1598"/>
                  </a:lnTo>
                  <a:close/>
                  <a:moveTo>
                    <a:pt x="2192" y="483"/>
                  </a:moveTo>
                  <a:lnTo>
                    <a:pt x="2154" y="483"/>
                  </a:lnTo>
                  <a:lnTo>
                    <a:pt x="2154" y="0"/>
                  </a:lnTo>
                  <a:lnTo>
                    <a:pt x="2080" y="0"/>
                  </a:lnTo>
                  <a:lnTo>
                    <a:pt x="2080" y="483"/>
                  </a:lnTo>
                  <a:lnTo>
                    <a:pt x="1969" y="483"/>
                  </a:lnTo>
                  <a:lnTo>
                    <a:pt x="1969" y="74"/>
                  </a:lnTo>
                  <a:lnTo>
                    <a:pt x="1894" y="74"/>
                  </a:lnTo>
                  <a:lnTo>
                    <a:pt x="1894" y="483"/>
                  </a:lnTo>
                  <a:lnTo>
                    <a:pt x="1783" y="483"/>
                  </a:lnTo>
                  <a:lnTo>
                    <a:pt x="1783" y="297"/>
                  </a:lnTo>
                  <a:lnTo>
                    <a:pt x="1709" y="297"/>
                  </a:lnTo>
                  <a:lnTo>
                    <a:pt x="1709" y="483"/>
                  </a:lnTo>
                  <a:lnTo>
                    <a:pt x="1634" y="483"/>
                  </a:lnTo>
                  <a:lnTo>
                    <a:pt x="1634" y="483"/>
                  </a:lnTo>
                  <a:lnTo>
                    <a:pt x="1627" y="483"/>
                  </a:lnTo>
                  <a:lnTo>
                    <a:pt x="1621" y="485"/>
                  </a:lnTo>
                  <a:lnTo>
                    <a:pt x="1614" y="489"/>
                  </a:lnTo>
                  <a:lnTo>
                    <a:pt x="1608" y="494"/>
                  </a:lnTo>
                  <a:lnTo>
                    <a:pt x="1603" y="499"/>
                  </a:lnTo>
                  <a:lnTo>
                    <a:pt x="1601" y="505"/>
                  </a:lnTo>
                  <a:lnTo>
                    <a:pt x="1598" y="512"/>
                  </a:lnTo>
                  <a:lnTo>
                    <a:pt x="1597" y="520"/>
                  </a:lnTo>
                  <a:lnTo>
                    <a:pt x="1597" y="743"/>
                  </a:lnTo>
                  <a:lnTo>
                    <a:pt x="1597" y="743"/>
                  </a:lnTo>
                  <a:lnTo>
                    <a:pt x="1598" y="750"/>
                  </a:lnTo>
                  <a:lnTo>
                    <a:pt x="1601" y="757"/>
                  </a:lnTo>
                  <a:lnTo>
                    <a:pt x="1603" y="763"/>
                  </a:lnTo>
                  <a:lnTo>
                    <a:pt x="1608" y="769"/>
                  </a:lnTo>
                  <a:lnTo>
                    <a:pt x="1614" y="773"/>
                  </a:lnTo>
                  <a:lnTo>
                    <a:pt x="1621" y="777"/>
                  </a:lnTo>
                  <a:lnTo>
                    <a:pt x="1627" y="779"/>
                  </a:lnTo>
                  <a:lnTo>
                    <a:pt x="1634" y="780"/>
                  </a:lnTo>
                  <a:lnTo>
                    <a:pt x="1709" y="780"/>
                  </a:lnTo>
                  <a:lnTo>
                    <a:pt x="1709" y="855"/>
                  </a:lnTo>
                  <a:lnTo>
                    <a:pt x="1412" y="855"/>
                  </a:lnTo>
                  <a:lnTo>
                    <a:pt x="1412" y="520"/>
                  </a:lnTo>
                  <a:lnTo>
                    <a:pt x="1412" y="520"/>
                  </a:lnTo>
                  <a:lnTo>
                    <a:pt x="1410" y="512"/>
                  </a:lnTo>
                  <a:lnTo>
                    <a:pt x="1408" y="505"/>
                  </a:lnTo>
                  <a:lnTo>
                    <a:pt x="1406" y="499"/>
                  </a:lnTo>
                  <a:lnTo>
                    <a:pt x="1401" y="494"/>
                  </a:lnTo>
                  <a:lnTo>
                    <a:pt x="1395" y="489"/>
                  </a:lnTo>
                  <a:lnTo>
                    <a:pt x="1388" y="485"/>
                  </a:lnTo>
                  <a:lnTo>
                    <a:pt x="1381" y="483"/>
                  </a:lnTo>
                  <a:lnTo>
                    <a:pt x="1374" y="483"/>
                  </a:lnTo>
                  <a:lnTo>
                    <a:pt x="631" y="483"/>
                  </a:lnTo>
                  <a:lnTo>
                    <a:pt x="631" y="483"/>
                  </a:lnTo>
                  <a:lnTo>
                    <a:pt x="625" y="483"/>
                  </a:lnTo>
                  <a:lnTo>
                    <a:pt x="618" y="485"/>
                  </a:lnTo>
                  <a:lnTo>
                    <a:pt x="611" y="489"/>
                  </a:lnTo>
                  <a:lnTo>
                    <a:pt x="605" y="494"/>
                  </a:lnTo>
                  <a:lnTo>
                    <a:pt x="600" y="499"/>
                  </a:lnTo>
                  <a:lnTo>
                    <a:pt x="598" y="505"/>
                  </a:lnTo>
                  <a:lnTo>
                    <a:pt x="596" y="512"/>
                  </a:lnTo>
                  <a:lnTo>
                    <a:pt x="594" y="520"/>
                  </a:lnTo>
                  <a:lnTo>
                    <a:pt x="594" y="855"/>
                  </a:lnTo>
                  <a:lnTo>
                    <a:pt x="260" y="855"/>
                  </a:lnTo>
                  <a:lnTo>
                    <a:pt x="260" y="855"/>
                  </a:lnTo>
                  <a:lnTo>
                    <a:pt x="253" y="855"/>
                  </a:lnTo>
                  <a:lnTo>
                    <a:pt x="246" y="857"/>
                  </a:lnTo>
                  <a:lnTo>
                    <a:pt x="239" y="861"/>
                  </a:lnTo>
                  <a:lnTo>
                    <a:pt x="233" y="865"/>
                  </a:lnTo>
                  <a:lnTo>
                    <a:pt x="229" y="871"/>
                  </a:lnTo>
                  <a:lnTo>
                    <a:pt x="226" y="877"/>
                  </a:lnTo>
                  <a:lnTo>
                    <a:pt x="224" y="884"/>
                  </a:lnTo>
                  <a:lnTo>
                    <a:pt x="223" y="892"/>
                  </a:lnTo>
                  <a:lnTo>
                    <a:pt x="223" y="1486"/>
                  </a:lnTo>
                  <a:lnTo>
                    <a:pt x="37" y="1486"/>
                  </a:lnTo>
                  <a:lnTo>
                    <a:pt x="37" y="1486"/>
                  </a:lnTo>
                  <a:lnTo>
                    <a:pt x="30" y="1486"/>
                  </a:lnTo>
                  <a:lnTo>
                    <a:pt x="23" y="1489"/>
                  </a:lnTo>
                  <a:lnTo>
                    <a:pt x="16" y="1492"/>
                  </a:lnTo>
                  <a:lnTo>
                    <a:pt x="10" y="1497"/>
                  </a:lnTo>
                  <a:lnTo>
                    <a:pt x="6" y="1503"/>
                  </a:lnTo>
                  <a:lnTo>
                    <a:pt x="3" y="1508"/>
                  </a:lnTo>
                  <a:lnTo>
                    <a:pt x="1" y="1515"/>
                  </a:lnTo>
                  <a:lnTo>
                    <a:pt x="0" y="1524"/>
                  </a:lnTo>
                  <a:lnTo>
                    <a:pt x="0" y="1524"/>
                  </a:lnTo>
                  <a:lnTo>
                    <a:pt x="1" y="1530"/>
                  </a:lnTo>
                  <a:lnTo>
                    <a:pt x="2" y="1536"/>
                  </a:lnTo>
                  <a:lnTo>
                    <a:pt x="225" y="2094"/>
                  </a:lnTo>
                  <a:lnTo>
                    <a:pt x="225" y="2094"/>
                  </a:lnTo>
                  <a:lnTo>
                    <a:pt x="228" y="2099"/>
                  </a:lnTo>
                  <a:lnTo>
                    <a:pt x="231" y="2104"/>
                  </a:lnTo>
                  <a:lnTo>
                    <a:pt x="234" y="2108"/>
                  </a:lnTo>
                  <a:lnTo>
                    <a:pt x="239" y="2111"/>
                  </a:lnTo>
                  <a:lnTo>
                    <a:pt x="244" y="2113"/>
                  </a:lnTo>
                  <a:lnTo>
                    <a:pt x="250" y="2116"/>
                  </a:lnTo>
                  <a:lnTo>
                    <a:pt x="254" y="2117"/>
                  </a:lnTo>
                  <a:lnTo>
                    <a:pt x="260" y="2118"/>
                  </a:lnTo>
                  <a:lnTo>
                    <a:pt x="2192" y="2118"/>
                  </a:lnTo>
                  <a:lnTo>
                    <a:pt x="2192" y="2118"/>
                  </a:lnTo>
                  <a:lnTo>
                    <a:pt x="2199" y="2117"/>
                  </a:lnTo>
                  <a:lnTo>
                    <a:pt x="2206" y="2115"/>
                  </a:lnTo>
                  <a:lnTo>
                    <a:pt x="2213" y="2111"/>
                  </a:lnTo>
                  <a:lnTo>
                    <a:pt x="2218" y="2106"/>
                  </a:lnTo>
                  <a:lnTo>
                    <a:pt x="2223" y="2101"/>
                  </a:lnTo>
                  <a:lnTo>
                    <a:pt x="2225" y="2095"/>
                  </a:lnTo>
                  <a:lnTo>
                    <a:pt x="2228" y="2088"/>
                  </a:lnTo>
                  <a:lnTo>
                    <a:pt x="2229" y="2081"/>
                  </a:lnTo>
                  <a:lnTo>
                    <a:pt x="2229" y="1635"/>
                  </a:lnTo>
                  <a:lnTo>
                    <a:pt x="2229" y="1635"/>
                  </a:lnTo>
                  <a:lnTo>
                    <a:pt x="2228" y="1627"/>
                  </a:lnTo>
                  <a:lnTo>
                    <a:pt x="2225" y="1620"/>
                  </a:lnTo>
                  <a:lnTo>
                    <a:pt x="2223" y="1614"/>
                  </a:lnTo>
                  <a:lnTo>
                    <a:pt x="2218" y="1608"/>
                  </a:lnTo>
                  <a:lnTo>
                    <a:pt x="2213" y="1604"/>
                  </a:lnTo>
                  <a:lnTo>
                    <a:pt x="2206" y="1600"/>
                  </a:lnTo>
                  <a:lnTo>
                    <a:pt x="2199" y="1598"/>
                  </a:lnTo>
                  <a:lnTo>
                    <a:pt x="2192" y="1598"/>
                  </a:lnTo>
                  <a:lnTo>
                    <a:pt x="2117" y="1598"/>
                  </a:lnTo>
                  <a:lnTo>
                    <a:pt x="2117" y="780"/>
                  </a:lnTo>
                  <a:lnTo>
                    <a:pt x="2192" y="780"/>
                  </a:lnTo>
                  <a:lnTo>
                    <a:pt x="2192" y="780"/>
                  </a:lnTo>
                  <a:lnTo>
                    <a:pt x="2199" y="779"/>
                  </a:lnTo>
                  <a:lnTo>
                    <a:pt x="2206" y="777"/>
                  </a:lnTo>
                  <a:lnTo>
                    <a:pt x="2213" y="773"/>
                  </a:lnTo>
                  <a:lnTo>
                    <a:pt x="2218" y="769"/>
                  </a:lnTo>
                  <a:lnTo>
                    <a:pt x="2223" y="763"/>
                  </a:lnTo>
                  <a:lnTo>
                    <a:pt x="2225" y="757"/>
                  </a:lnTo>
                  <a:lnTo>
                    <a:pt x="2228" y="750"/>
                  </a:lnTo>
                  <a:lnTo>
                    <a:pt x="2229" y="743"/>
                  </a:lnTo>
                  <a:lnTo>
                    <a:pt x="2229" y="520"/>
                  </a:lnTo>
                  <a:lnTo>
                    <a:pt x="2229" y="520"/>
                  </a:lnTo>
                  <a:lnTo>
                    <a:pt x="2228" y="512"/>
                  </a:lnTo>
                  <a:lnTo>
                    <a:pt x="2225" y="505"/>
                  </a:lnTo>
                  <a:lnTo>
                    <a:pt x="2223" y="499"/>
                  </a:lnTo>
                  <a:lnTo>
                    <a:pt x="2218" y="494"/>
                  </a:lnTo>
                  <a:lnTo>
                    <a:pt x="2213" y="489"/>
                  </a:lnTo>
                  <a:lnTo>
                    <a:pt x="2206" y="485"/>
                  </a:lnTo>
                  <a:lnTo>
                    <a:pt x="2199" y="483"/>
                  </a:lnTo>
                  <a:lnTo>
                    <a:pt x="2192" y="483"/>
                  </a:lnTo>
                  <a:lnTo>
                    <a:pt x="2192" y="48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7" name="Freeform 28">
              <a:extLst>
                <a:ext uri="{FF2B5EF4-FFF2-40B4-BE49-F238E27FC236}">
                  <a16:creationId xmlns:a16="http://schemas.microsoft.com/office/drawing/2014/main" id="{E40DB536-3B26-436C-A789-636A0C022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0244" y="2612595"/>
              <a:ext cx="65820" cy="43489"/>
            </a:xfrm>
            <a:custGeom>
              <a:avLst/>
              <a:gdLst>
                <a:gd name="T0" fmla="*/ 0 w 112"/>
                <a:gd name="T1" fmla="*/ 0 h 74"/>
                <a:gd name="T2" fmla="*/ 112 w 112"/>
                <a:gd name="T3" fmla="*/ 0 h 74"/>
                <a:gd name="T4" fmla="*/ 112 w 112"/>
                <a:gd name="T5" fmla="*/ 74 h 74"/>
                <a:gd name="T6" fmla="*/ 0 w 112"/>
                <a:gd name="T7" fmla="*/ 74 h 74"/>
                <a:gd name="T8" fmla="*/ 0 w 112"/>
                <a:gd name="T9" fmla="*/ 0 h 74"/>
                <a:gd name="T10" fmla="*/ 0 w 112"/>
                <a:gd name="T1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74">
                  <a:moveTo>
                    <a:pt x="0" y="0"/>
                  </a:moveTo>
                  <a:lnTo>
                    <a:pt x="112" y="0"/>
                  </a:lnTo>
                  <a:lnTo>
                    <a:pt x="112" y="74"/>
                  </a:lnTo>
                  <a:lnTo>
                    <a:pt x="0" y="7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8" name="Freeform 29">
              <a:extLst>
                <a:ext uri="{FF2B5EF4-FFF2-40B4-BE49-F238E27FC236}">
                  <a16:creationId xmlns:a16="http://schemas.microsoft.com/office/drawing/2014/main" id="{D4C656AD-A366-4BC9-9A0D-BF640220B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0244" y="2699572"/>
              <a:ext cx="65820" cy="44076"/>
            </a:xfrm>
            <a:custGeom>
              <a:avLst/>
              <a:gdLst>
                <a:gd name="T0" fmla="*/ 0 w 112"/>
                <a:gd name="T1" fmla="*/ 0 h 75"/>
                <a:gd name="T2" fmla="*/ 112 w 112"/>
                <a:gd name="T3" fmla="*/ 0 h 75"/>
                <a:gd name="T4" fmla="*/ 112 w 112"/>
                <a:gd name="T5" fmla="*/ 75 h 75"/>
                <a:gd name="T6" fmla="*/ 0 w 112"/>
                <a:gd name="T7" fmla="*/ 75 h 75"/>
                <a:gd name="T8" fmla="*/ 0 w 112"/>
                <a:gd name="T9" fmla="*/ 0 h 75"/>
                <a:gd name="T10" fmla="*/ 0 w 112"/>
                <a:gd name="T11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75">
                  <a:moveTo>
                    <a:pt x="0" y="0"/>
                  </a:moveTo>
                  <a:lnTo>
                    <a:pt x="112" y="0"/>
                  </a:lnTo>
                  <a:lnTo>
                    <a:pt x="112" y="75"/>
                  </a:lnTo>
                  <a:lnTo>
                    <a:pt x="0" y="7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9" name="Freeform 30">
              <a:extLst>
                <a:ext uri="{FF2B5EF4-FFF2-40B4-BE49-F238E27FC236}">
                  <a16:creationId xmlns:a16="http://schemas.microsoft.com/office/drawing/2014/main" id="{BCCC0232-A191-459B-8B20-6E1C96E05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520244" y="2787137"/>
              <a:ext cx="65820" cy="43489"/>
            </a:xfrm>
            <a:custGeom>
              <a:avLst/>
              <a:gdLst>
                <a:gd name="T0" fmla="*/ 0 w 112"/>
                <a:gd name="T1" fmla="*/ 0 h 74"/>
                <a:gd name="T2" fmla="*/ 112 w 112"/>
                <a:gd name="T3" fmla="*/ 0 h 74"/>
                <a:gd name="T4" fmla="*/ 112 w 112"/>
                <a:gd name="T5" fmla="*/ 74 h 74"/>
                <a:gd name="T6" fmla="*/ 0 w 112"/>
                <a:gd name="T7" fmla="*/ 74 h 74"/>
                <a:gd name="T8" fmla="*/ 0 w 112"/>
                <a:gd name="T9" fmla="*/ 0 h 74"/>
                <a:gd name="T10" fmla="*/ 0 w 112"/>
                <a:gd name="T1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74">
                  <a:moveTo>
                    <a:pt x="0" y="0"/>
                  </a:moveTo>
                  <a:lnTo>
                    <a:pt x="112" y="0"/>
                  </a:lnTo>
                  <a:lnTo>
                    <a:pt x="112" y="74"/>
                  </a:lnTo>
                  <a:lnTo>
                    <a:pt x="0" y="7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28" name="Group 427">
            <a:extLst>
              <a:ext uri="{FF2B5EF4-FFF2-40B4-BE49-F238E27FC236}">
                <a16:creationId xmlns:a16="http://schemas.microsoft.com/office/drawing/2014/main" id="{BC1D1831-001F-46C8-B3F7-AF3E002E8172}"/>
              </a:ext>
            </a:extLst>
          </p:cNvPr>
          <p:cNvGrpSpPr/>
          <p:nvPr/>
        </p:nvGrpSpPr>
        <p:grpSpPr>
          <a:xfrm>
            <a:off x="2616614" y="3344937"/>
            <a:ext cx="440231" cy="440422"/>
            <a:chOff x="2246841" y="4127657"/>
            <a:chExt cx="517946" cy="518171"/>
          </a:xfrm>
        </p:grpSpPr>
        <p:sp>
          <p:nvSpPr>
            <p:cNvPr id="390" name="Freeform 31">
              <a:extLst>
                <a:ext uri="{FF2B5EF4-FFF2-40B4-BE49-F238E27FC236}">
                  <a16:creationId xmlns:a16="http://schemas.microsoft.com/office/drawing/2014/main" id="{3E48F12A-3454-42F6-B919-016C85B26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8144" y="4629185"/>
              <a:ext cx="16643" cy="16643"/>
            </a:xfrm>
            <a:custGeom>
              <a:avLst/>
              <a:gdLst>
                <a:gd name="T0" fmla="*/ 0 w 74"/>
                <a:gd name="T1" fmla="*/ 0 h 74"/>
                <a:gd name="T2" fmla="*/ 74 w 74"/>
                <a:gd name="T3" fmla="*/ 0 h 74"/>
                <a:gd name="T4" fmla="*/ 74 w 74"/>
                <a:gd name="T5" fmla="*/ 74 h 74"/>
                <a:gd name="T6" fmla="*/ 0 w 74"/>
                <a:gd name="T7" fmla="*/ 74 h 74"/>
                <a:gd name="T8" fmla="*/ 0 w 74"/>
                <a:gd name="T9" fmla="*/ 0 h 74"/>
                <a:gd name="T10" fmla="*/ 0 w 74"/>
                <a:gd name="T1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74">
                  <a:moveTo>
                    <a:pt x="0" y="0"/>
                  </a:moveTo>
                  <a:lnTo>
                    <a:pt x="74" y="0"/>
                  </a:lnTo>
                  <a:lnTo>
                    <a:pt x="74" y="74"/>
                  </a:lnTo>
                  <a:lnTo>
                    <a:pt x="0" y="7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1" name="Freeform 32">
              <a:extLst>
                <a:ext uri="{FF2B5EF4-FFF2-40B4-BE49-F238E27FC236}">
                  <a16:creationId xmlns:a16="http://schemas.microsoft.com/office/drawing/2014/main" id="{D392B6AF-3304-4389-864B-41F36D6013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46841" y="4127657"/>
              <a:ext cx="517946" cy="518170"/>
            </a:xfrm>
            <a:custGeom>
              <a:avLst/>
              <a:gdLst>
                <a:gd name="T0" fmla="*/ 2155 w 2303"/>
                <a:gd name="T1" fmla="*/ 1152 h 2304"/>
                <a:gd name="T2" fmla="*/ 2155 w 2303"/>
                <a:gd name="T3" fmla="*/ 1226 h 2304"/>
                <a:gd name="T4" fmla="*/ 335 w 2303"/>
                <a:gd name="T5" fmla="*/ 1635 h 2304"/>
                <a:gd name="T6" fmla="*/ 2229 w 2303"/>
                <a:gd name="T7" fmla="*/ 1784 h 2304"/>
                <a:gd name="T8" fmla="*/ 2006 w 2303"/>
                <a:gd name="T9" fmla="*/ 2230 h 2304"/>
                <a:gd name="T10" fmla="*/ 1709 w 2303"/>
                <a:gd name="T11" fmla="*/ 2081 h 2304"/>
                <a:gd name="T12" fmla="*/ 855 w 2303"/>
                <a:gd name="T13" fmla="*/ 2081 h 2304"/>
                <a:gd name="T14" fmla="*/ 557 w 2303"/>
                <a:gd name="T15" fmla="*/ 2230 h 2304"/>
                <a:gd name="T16" fmla="*/ 557 w 2303"/>
                <a:gd name="T17" fmla="*/ 1858 h 2304"/>
                <a:gd name="T18" fmla="*/ 929 w 2303"/>
                <a:gd name="T19" fmla="*/ 2230 h 2304"/>
                <a:gd name="T20" fmla="*/ 186 w 2303"/>
                <a:gd name="T21" fmla="*/ 1068 h 2304"/>
                <a:gd name="T22" fmla="*/ 260 w 2303"/>
                <a:gd name="T23" fmla="*/ 1561 h 2304"/>
                <a:gd name="T24" fmla="*/ 186 w 2303"/>
                <a:gd name="T25" fmla="*/ 1068 h 2304"/>
                <a:gd name="T26" fmla="*/ 76 w 2303"/>
                <a:gd name="T27" fmla="*/ 877 h 2304"/>
                <a:gd name="T28" fmla="*/ 97 w 2303"/>
                <a:gd name="T29" fmla="*/ 838 h 2304"/>
                <a:gd name="T30" fmla="*/ 134 w 2303"/>
                <a:gd name="T31" fmla="*/ 819 h 2304"/>
                <a:gd name="T32" fmla="*/ 164 w 2303"/>
                <a:gd name="T33" fmla="*/ 819 h 2304"/>
                <a:gd name="T34" fmla="*/ 201 w 2303"/>
                <a:gd name="T35" fmla="*/ 838 h 2304"/>
                <a:gd name="T36" fmla="*/ 221 w 2303"/>
                <a:gd name="T37" fmla="*/ 877 h 2304"/>
                <a:gd name="T38" fmla="*/ 221 w 2303"/>
                <a:gd name="T39" fmla="*/ 906 h 2304"/>
                <a:gd name="T40" fmla="*/ 201 w 2303"/>
                <a:gd name="T41" fmla="*/ 944 h 2304"/>
                <a:gd name="T42" fmla="*/ 164 w 2303"/>
                <a:gd name="T43" fmla="*/ 964 h 2304"/>
                <a:gd name="T44" fmla="*/ 134 w 2303"/>
                <a:gd name="T45" fmla="*/ 964 h 2304"/>
                <a:gd name="T46" fmla="*/ 97 w 2303"/>
                <a:gd name="T47" fmla="*/ 944 h 2304"/>
                <a:gd name="T48" fmla="*/ 76 w 2303"/>
                <a:gd name="T49" fmla="*/ 906 h 2304"/>
                <a:gd name="T50" fmla="*/ 649 w 2303"/>
                <a:gd name="T51" fmla="*/ 1412 h 2304"/>
                <a:gd name="T52" fmla="*/ 454 w 2303"/>
                <a:gd name="T53" fmla="*/ 1180 h 2304"/>
                <a:gd name="T54" fmla="*/ 454 w 2303"/>
                <a:gd name="T55" fmla="*/ 1180 h 2304"/>
                <a:gd name="T56" fmla="*/ 251 w 2303"/>
                <a:gd name="T57" fmla="*/ 999 h 2304"/>
                <a:gd name="T58" fmla="*/ 614 w 2303"/>
                <a:gd name="T59" fmla="*/ 1561 h 2304"/>
                <a:gd name="T60" fmla="*/ 614 w 2303"/>
                <a:gd name="T61" fmla="*/ 1561 h 2304"/>
                <a:gd name="T62" fmla="*/ 1040 w 2303"/>
                <a:gd name="T63" fmla="*/ 1241 h 2304"/>
                <a:gd name="T64" fmla="*/ 1304 w 2303"/>
                <a:gd name="T65" fmla="*/ 223 h 2304"/>
                <a:gd name="T66" fmla="*/ 1375 w 2303"/>
                <a:gd name="T67" fmla="*/ 149 h 2304"/>
                <a:gd name="T68" fmla="*/ 1410 w 2303"/>
                <a:gd name="T69" fmla="*/ 1226 h 2304"/>
                <a:gd name="T70" fmla="*/ 1328 w 2303"/>
                <a:gd name="T71" fmla="*/ 1152 h 2304"/>
                <a:gd name="T72" fmla="*/ 1117 w 2303"/>
                <a:gd name="T73" fmla="*/ 515 h 2304"/>
                <a:gd name="T74" fmla="*/ 1357 w 2303"/>
                <a:gd name="T75" fmla="*/ 727 h 2304"/>
                <a:gd name="T76" fmla="*/ 1370 w 2303"/>
                <a:gd name="T77" fmla="*/ 855 h 2304"/>
                <a:gd name="T78" fmla="*/ 2303 w 2303"/>
                <a:gd name="T79" fmla="*/ 818 h 2304"/>
                <a:gd name="T80" fmla="*/ 1635 w 2303"/>
                <a:gd name="T81" fmla="*/ 1152 h 2304"/>
                <a:gd name="T82" fmla="*/ 1520 w 2303"/>
                <a:gd name="T83" fmla="*/ 1561 h 2304"/>
                <a:gd name="T84" fmla="*/ 1003 w 2303"/>
                <a:gd name="T85" fmla="*/ 223 h 2304"/>
                <a:gd name="T86" fmla="*/ 295 w 2303"/>
                <a:gd name="T87" fmla="*/ 876 h 2304"/>
                <a:gd name="T88" fmla="*/ 273 w 2303"/>
                <a:gd name="T89" fmla="*/ 812 h 2304"/>
                <a:gd name="T90" fmla="*/ 227 w 2303"/>
                <a:gd name="T91" fmla="*/ 765 h 2304"/>
                <a:gd name="T92" fmla="*/ 163 w 2303"/>
                <a:gd name="T93" fmla="*/ 743 h 2304"/>
                <a:gd name="T94" fmla="*/ 105 w 2303"/>
                <a:gd name="T95" fmla="*/ 749 h 2304"/>
                <a:gd name="T96" fmla="*/ 43 w 2303"/>
                <a:gd name="T97" fmla="*/ 786 h 2304"/>
                <a:gd name="T98" fmla="*/ 7 w 2303"/>
                <a:gd name="T99" fmla="*/ 847 h 2304"/>
                <a:gd name="T100" fmla="*/ 0 w 2303"/>
                <a:gd name="T101" fmla="*/ 905 h 2304"/>
                <a:gd name="T102" fmla="*/ 19 w 2303"/>
                <a:gd name="T103" fmla="*/ 963 h 2304"/>
                <a:gd name="T104" fmla="*/ 57 w 2303"/>
                <a:gd name="T105" fmla="*/ 1008 h 2304"/>
                <a:gd name="T106" fmla="*/ 112 w 2303"/>
                <a:gd name="T107" fmla="*/ 1035 h 2304"/>
                <a:gd name="T108" fmla="*/ 2155 w 2303"/>
                <a:gd name="T109" fmla="*/ 2230 h 2304"/>
                <a:gd name="T110" fmla="*/ 2229 w 2303"/>
                <a:gd name="T111" fmla="*/ 1561 h 2304"/>
                <a:gd name="T112" fmla="*/ 2229 w 2303"/>
                <a:gd name="T113" fmla="*/ 818 h 2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03" h="2304">
                  <a:moveTo>
                    <a:pt x="2155" y="1152"/>
                  </a:moveTo>
                  <a:lnTo>
                    <a:pt x="1709" y="1152"/>
                  </a:lnTo>
                  <a:lnTo>
                    <a:pt x="1709" y="818"/>
                  </a:lnTo>
                  <a:lnTo>
                    <a:pt x="2155" y="818"/>
                  </a:lnTo>
                  <a:lnTo>
                    <a:pt x="2155" y="1152"/>
                  </a:lnTo>
                  <a:lnTo>
                    <a:pt x="2155" y="1152"/>
                  </a:lnTo>
                  <a:close/>
                  <a:moveTo>
                    <a:pt x="2155" y="1561"/>
                  </a:moveTo>
                  <a:lnTo>
                    <a:pt x="1709" y="1561"/>
                  </a:lnTo>
                  <a:lnTo>
                    <a:pt x="1709" y="1226"/>
                  </a:lnTo>
                  <a:lnTo>
                    <a:pt x="2155" y="1226"/>
                  </a:lnTo>
                  <a:lnTo>
                    <a:pt x="2155" y="1561"/>
                  </a:lnTo>
                  <a:lnTo>
                    <a:pt x="2155" y="1561"/>
                  </a:lnTo>
                  <a:close/>
                  <a:moveTo>
                    <a:pt x="2229" y="1784"/>
                  </a:moveTo>
                  <a:lnTo>
                    <a:pt x="335" y="1784"/>
                  </a:lnTo>
                  <a:lnTo>
                    <a:pt x="335" y="1635"/>
                  </a:lnTo>
                  <a:lnTo>
                    <a:pt x="924" y="1635"/>
                  </a:lnTo>
                  <a:lnTo>
                    <a:pt x="1527" y="1635"/>
                  </a:lnTo>
                  <a:lnTo>
                    <a:pt x="2229" y="1635"/>
                  </a:lnTo>
                  <a:lnTo>
                    <a:pt x="2229" y="1784"/>
                  </a:lnTo>
                  <a:lnTo>
                    <a:pt x="2229" y="1784"/>
                  </a:lnTo>
                  <a:close/>
                  <a:moveTo>
                    <a:pt x="2006" y="2081"/>
                  </a:moveTo>
                  <a:lnTo>
                    <a:pt x="1969" y="2081"/>
                  </a:lnTo>
                  <a:lnTo>
                    <a:pt x="1969" y="2155"/>
                  </a:lnTo>
                  <a:lnTo>
                    <a:pt x="2006" y="2155"/>
                  </a:lnTo>
                  <a:lnTo>
                    <a:pt x="2006" y="2230"/>
                  </a:lnTo>
                  <a:lnTo>
                    <a:pt x="1709" y="2230"/>
                  </a:lnTo>
                  <a:lnTo>
                    <a:pt x="1709" y="2155"/>
                  </a:lnTo>
                  <a:lnTo>
                    <a:pt x="1895" y="2155"/>
                  </a:lnTo>
                  <a:lnTo>
                    <a:pt x="1895" y="2081"/>
                  </a:lnTo>
                  <a:lnTo>
                    <a:pt x="1709" y="2081"/>
                  </a:lnTo>
                  <a:lnTo>
                    <a:pt x="1709" y="1858"/>
                  </a:lnTo>
                  <a:lnTo>
                    <a:pt x="2006" y="1858"/>
                  </a:lnTo>
                  <a:lnTo>
                    <a:pt x="2006" y="2081"/>
                  </a:lnTo>
                  <a:lnTo>
                    <a:pt x="2006" y="2081"/>
                  </a:lnTo>
                  <a:close/>
                  <a:moveTo>
                    <a:pt x="855" y="2081"/>
                  </a:moveTo>
                  <a:lnTo>
                    <a:pt x="817" y="2081"/>
                  </a:lnTo>
                  <a:lnTo>
                    <a:pt x="817" y="2155"/>
                  </a:lnTo>
                  <a:lnTo>
                    <a:pt x="855" y="2155"/>
                  </a:lnTo>
                  <a:lnTo>
                    <a:pt x="855" y="2230"/>
                  </a:lnTo>
                  <a:lnTo>
                    <a:pt x="557" y="2230"/>
                  </a:lnTo>
                  <a:lnTo>
                    <a:pt x="557" y="2155"/>
                  </a:lnTo>
                  <a:lnTo>
                    <a:pt x="743" y="2155"/>
                  </a:lnTo>
                  <a:lnTo>
                    <a:pt x="743" y="2081"/>
                  </a:lnTo>
                  <a:lnTo>
                    <a:pt x="557" y="2081"/>
                  </a:lnTo>
                  <a:lnTo>
                    <a:pt x="557" y="1858"/>
                  </a:lnTo>
                  <a:lnTo>
                    <a:pt x="855" y="1858"/>
                  </a:lnTo>
                  <a:lnTo>
                    <a:pt x="855" y="2081"/>
                  </a:lnTo>
                  <a:lnTo>
                    <a:pt x="855" y="2081"/>
                  </a:lnTo>
                  <a:close/>
                  <a:moveTo>
                    <a:pt x="1635" y="2230"/>
                  </a:moveTo>
                  <a:lnTo>
                    <a:pt x="929" y="2230"/>
                  </a:lnTo>
                  <a:lnTo>
                    <a:pt x="929" y="1858"/>
                  </a:lnTo>
                  <a:lnTo>
                    <a:pt x="1635" y="1858"/>
                  </a:lnTo>
                  <a:lnTo>
                    <a:pt x="1635" y="2230"/>
                  </a:lnTo>
                  <a:lnTo>
                    <a:pt x="1635" y="2230"/>
                  </a:lnTo>
                  <a:close/>
                  <a:moveTo>
                    <a:pt x="186" y="1068"/>
                  </a:moveTo>
                  <a:lnTo>
                    <a:pt x="411" y="1397"/>
                  </a:lnTo>
                  <a:lnTo>
                    <a:pt x="411" y="1398"/>
                  </a:lnTo>
                  <a:lnTo>
                    <a:pt x="412" y="1398"/>
                  </a:lnTo>
                  <a:lnTo>
                    <a:pt x="524" y="1561"/>
                  </a:lnTo>
                  <a:lnTo>
                    <a:pt x="260" y="1561"/>
                  </a:lnTo>
                  <a:lnTo>
                    <a:pt x="260" y="1858"/>
                  </a:lnTo>
                  <a:lnTo>
                    <a:pt x="483" y="1858"/>
                  </a:lnTo>
                  <a:lnTo>
                    <a:pt x="483" y="2230"/>
                  </a:lnTo>
                  <a:lnTo>
                    <a:pt x="186" y="2230"/>
                  </a:lnTo>
                  <a:lnTo>
                    <a:pt x="186" y="1068"/>
                  </a:lnTo>
                  <a:lnTo>
                    <a:pt x="186" y="1068"/>
                  </a:lnTo>
                  <a:close/>
                  <a:moveTo>
                    <a:pt x="75" y="892"/>
                  </a:moveTo>
                  <a:lnTo>
                    <a:pt x="75" y="892"/>
                  </a:lnTo>
                  <a:lnTo>
                    <a:pt x="75" y="884"/>
                  </a:lnTo>
                  <a:lnTo>
                    <a:pt x="76" y="877"/>
                  </a:lnTo>
                  <a:lnTo>
                    <a:pt x="78" y="869"/>
                  </a:lnTo>
                  <a:lnTo>
                    <a:pt x="80" y="863"/>
                  </a:lnTo>
                  <a:lnTo>
                    <a:pt x="84" y="856"/>
                  </a:lnTo>
                  <a:lnTo>
                    <a:pt x="87" y="850"/>
                  </a:lnTo>
                  <a:lnTo>
                    <a:pt x="97" y="838"/>
                  </a:lnTo>
                  <a:lnTo>
                    <a:pt x="107" y="829"/>
                  </a:lnTo>
                  <a:lnTo>
                    <a:pt x="113" y="826"/>
                  </a:lnTo>
                  <a:lnTo>
                    <a:pt x="120" y="823"/>
                  </a:lnTo>
                  <a:lnTo>
                    <a:pt x="127" y="820"/>
                  </a:lnTo>
                  <a:lnTo>
                    <a:pt x="134" y="819"/>
                  </a:lnTo>
                  <a:lnTo>
                    <a:pt x="141" y="818"/>
                  </a:lnTo>
                  <a:lnTo>
                    <a:pt x="149" y="818"/>
                  </a:lnTo>
                  <a:lnTo>
                    <a:pt x="149" y="818"/>
                  </a:lnTo>
                  <a:lnTo>
                    <a:pt x="156" y="818"/>
                  </a:lnTo>
                  <a:lnTo>
                    <a:pt x="164" y="819"/>
                  </a:lnTo>
                  <a:lnTo>
                    <a:pt x="171" y="820"/>
                  </a:lnTo>
                  <a:lnTo>
                    <a:pt x="178" y="823"/>
                  </a:lnTo>
                  <a:lnTo>
                    <a:pt x="184" y="826"/>
                  </a:lnTo>
                  <a:lnTo>
                    <a:pt x="191" y="829"/>
                  </a:lnTo>
                  <a:lnTo>
                    <a:pt x="201" y="838"/>
                  </a:lnTo>
                  <a:lnTo>
                    <a:pt x="210" y="850"/>
                  </a:lnTo>
                  <a:lnTo>
                    <a:pt x="214" y="856"/>
                  </a:lnTo>
                  <a:lnTo>
                    <a:pt x="217" y="863"/>
                  </a:lnTo>
                  <a:lnTo>
                    <a:pt x="220" y="869"/>
                  </a:lnTo>
                  <a:lnTo>
                    <a:pt x="221" y="877"/>
                  </a:lnTo>
                  <a:lnTo>
                    <a:pt x="222" y="884"/>
                  </a:lnTo>
                  <a:lnTo>
                    <a:pt x="223" y="892"/>
                  </a:lnTo>
                  <a:lnTo>
                    <a:pt x="223" y="892"/>
                  </a:lnTo>
                  <a:lnTo>
                    <a:pt x="222" y="899"/>
                  </a:lnTo>
                  <a:lnTo>
                    <a:pt x="221" y="906"/>
                  </a:lnTo>
                  <a:lnTo>
                    <a:pt x="220" y="914"/>
                  </a:lnTo>
                  <a:lnTo>
                    <a:pt x="217" y="920"/>
                  </a:lnTo>
                  <a:lnTo>
                    <a:pt x="214" y="927"/>
                  </a:lnTo>
                  <a:lnTo>
                    <a:pt x="210" y="933"/>
                  </a:lnTo>
                  <a:lnTo>
                    <a:pt x="201" y="944"/>
                  </a:lnTo>
                  <a:lnTo>
                    <a:pt x="191" y="953"/>
                  </a:lnTo>
                  <a:lnTo>
                    <a:pt x="184" y="957"/>
                  </a:lnTo>
                  <a:lnTo>
                    <a:pt x="178" y="959"/>
                  </a:lnTo>
                  <a:lnTo>
                    <a:pt x="171" y="963"/>
                  </a:lnTo>
                  <a:lnTo>
                    <a:pt x="164" y="964"/>
                  </a:lnTo>
                  <a:lnTo>
                    <a:pt x="156" y="965"/>
                  </a:lnTo>
                  <a:lnTo>
                    <a:pt x="149" y="966"/>
                  </a:lnTo>
                  <a:lnTo>
                    <a:pt x="149" y="966"/>
                  </a:lnTo>
                  <a:lnTo>
                    <a:pt x="141" y="965"/>
                  </a:lnTo>
                  <a:lnTo>
                    <a:pt x="134" y="964"/>
                  </a:lnTo>
                  <a:lnTo>
                    <a:pt x="127" y="963"/>
                  </a:lnTo>
                  <a:lnTo>
                    <a:pt x="120" y="959"/>
                  </a:lnTo>
                  <a:lnTo>
                    <a:pt x="113" y="957"/>
                  </a:lnTo>
                  <a:lnTo>
                    <a:pt x="107" y="953"/>
                  </a:lnTo>
                  <a:lnTo>
                    <a:pt x="97" y="944"/>
                  </a:lnTo>
                  <a:lnTo>
                    <a:pt x="87" y="933"/>
                  </a:lnTo>
                  <a:lnTo>
                    <a:pt x="84" y="927"/>
                  </a:lnTo>
                  <a:lnTo>
                    <a:pt x="80" y="920"/>
                  </a:lnTo>
                  <a:lnTo>
                    <a:pt x="78" y="914"/>
                  </a:lnTo>
                  <a:lnTo>
                    <a:pt x="76" y="906"/>
                  </a:lnTo>
                  <a:lnTo>
                    <a:pt x="75" y="899"/>
                  </a:lnTo>
                  <a:lnTo>
                    <a:pt x="75" y="892"/>
                  </a:lnTo>
                  <a:lnTo>
                    <a:pt x="75" y="892"/>
                  </a:lnTo>
                  <a:close/>
                  <a:moveTo>
                    <a:pt x="539" y="1280"/>
                  </a:moveTo>
                  <a:lnTo>
                    <a:pt x="649" y="1412"/>
                  </a:lnTo>
                  <a:lnTo>
                    <a:pt x="512" y="1412"/>
                  </a:lnTo>
                  <a:lnTo>
                    <a:pt x="495" y="1388"/>
                  </a:lnTo>
                  <a:lnTo>
                    <a:pt x="539" y="1280"/>
                  </a:lnTo>
                  <a:lnTo>
                    <a:pt x="539" y="1280"/>
                  </a:lnTo>
                  <a:close/>
                  <a:moveTo>
                    <a:pt x="454" y="1180"/>
                  </a:moveTo>
                  <a:lnTo>
                    <a:pt x="484" y="1216"/>
                  </a:lnTo>
                  <a:lnTo>
                    <a:pt x="445" y="1315"/>
                  </a:lnTo>
                  <a:lnTo>
                    <a:pt x="310" y="1117"/>
                  </a:lnTo>
                  <a:lnTo>
                    <a:pt x="454" y="1180"/>
                  </a:lnTo>
                  <a:lnTo>
                    <a:pt x="454" y="1180"/>
                  </a:lnTo>
                  <a:close/>
                  <a:moveTo>
                    <a:pt x="275" y="967"/>
                  </a:moveTo>
                  <a:lnTo>
                    <a:pt x="347" y="1053"/>
                  </a:lnTo>
                  <a:lnTo>
                    <a:pt x="241" y="1007"/>
                  </a:lnTo>
                  <a:lnTo>
                    <a:pt x="241" y="1007"/>
                  </a:lnTo>
                  <a:lnTo>
                    <a:pt x="251" y="999"/>
                  </a:lnTo>
                  <a:lnTo>
                    <a:pt x="260" y="988"/>
                  </a:lnTo>
                  <a:lnTo>
                    <a:pt x="268" y="979"/>
                  </a:lnTo>
                  <a:lnTo>
                    <a:pt x="275" y="967"/>
                  </a:lnTo>
                  <a:lnTo>
                    <a:pt x="275" y="967"/>
                  </a:lnTo>
                  <a:close/>
                  <a:moveTo>
                    <a:pt x="614" y="1561"/>
                  </a:moveTo>
                  <a:lnTo>
                    <a:pt x="563" y="1486"/>
                  </a:lnTo>
                  <a:lnTo>
                    <a:pt x="712" y="1486"/>
                  </a:lnTo>
                  <a:lnTo>
                    <a:pt x="775" y="1561"/>
                  </a:lnTo>
                  <a:lnTo>
                    <a:pt x="614" y="1561"/>
                  </a:lnTo>
                  <a:lnTo>
                    <a:pt x="614" y="1561"/>
                  </a:lnTo>
                  <a:close/>
                  <a:moveTo>
                    <a:pt x="1040" y="1241"/>
                  </a:moveTo>
                  <a:lnTo>
                    <a:pt x="1360" y="1561"/>
                  </a:lnTo>
                  <a:lnTo>
                    <a:pt x="1007" y="1561"/>
                  </a:lnTo>
                  <a:lnTo>
                    <a:pt x="1040" y="1241"/>
                  </a:lnTo>
                  <a:lnTo>
                    <a:pt x="1040" y="1241"/>
                  </a:lnTo>
                  <a:close/>
                  <a:moveTo>
                    <a:pt x="1304" y="223"/>
                  </a:moveTo>
                  <a:lnTo>
                    <a:pt x="1324" y="409"/>
                  </a:lnTo>
                  <a:lnTo>
                    <a:pt x="1129" y="409"/>
                  </a:lnTo>
                  <a:lnTo>
                    <a:pt x="1148" y="223"/>
                  </a:lnTo>
                  <a:lnTo>
                    <a:pt x="1304" y="223"/>
                  </a:lnTo>
                  <a:lnTo>
                    <a:pt x="1304" y="223"/>
                  </a:lnTo>
                  <a:close/>
                  <a:moveTo>
                    <a:pt x="1078" y="149"/>
                  </a:moveTo>
                  <a:lnTo>
                    <a:pt x="1078" y="74"/>
                  </a:lnTo>
                  <a:lnTo>
                    <a:pt x="1375" y="74"/>
                  </a:lnTo>
                  <a:lnTo>
                    <a:pt x="1375" y="149"/>
                  </a:lnTo>
                  <a:lnTo>
                    <a:pt x="1371" y="149"/>
                  </a:lnTo>
                  <a:lnTo>
                    <a:pt x="1081" y="149"/>
                  </a:lnTo>
                  <a:lnTo>
                    <a:pt x="1078" y="149"/>
                  </a:lnTo>
                  <a:lnTo>
                    <a:pt x="1078" y="149"/>
                  </a:lnTo>
                  <a:close/>
                  <a:moveTo>
                    <a:pt x="1410" y="1226"/>
                  </a:moveTo>
                  <a:lnTo>
                    <a:pt x="1442" y="1539"/>
                  </a:lnTo>
                  <a:lnTo>
                    <a:pt x="1130" y="1226"/>
                  </a:lnTo>
                  <a:lnTo>
                    <a:pt x="1410" y="1226"/>
                  </a:lnTo>
                  <a:lnTo>
                    <a:pt x="1410" y="1226"/>
                  </a:lnTo>
                  <a:close/>
                  <a:moveTo>
                    <a:pt x="1328" y="1152"/>
                  </a:moveTo>
                  <a:lnTo>
                    <a:pt x="1050" y="1152"/>
                  </a:lnTo>
                  <a:lnTo>
                    <a:pt x="1079" y="874"/>
                  </a:lnTo>
                  <a:lnTo>
                    <a:pt x="1328" y="1152"/>
                  </a:lnTo>
                  <a:lnTo>
                    <a:pt x="1328" y="1152"/>
                  </a:lnTo>
                  <a:close/>
                  <a:moveTo>
                    <a:pt x="1117" y="515"/>
                  </a:moveTo>
                  <a:lnTo>
                    <a:pt x="1303" y="780"/>
                  </a:lnTo>
                  <a:lnTo>
                    <a:pt x="1089" y="780"/>
                  </a:lnTo>
                  <a:lnTo>
                    <a:pt x="1117" y="515"/>
                  </a:lnTo>
                  <a:lnTo>
                    <a:pt x="1117" y="515"/>
                  </a:lnTo>
                  <a:close/>
                  <a:moveTo>
                    <a:pt x="1357" y="727"/>
                  </a:moveTo>
                  <a:lnTo>
                    <a:pt x="1185" y="483"/>
                  </a:lnTo>
                  <a:lnTo>
                    <a:pt x="1332" y="483"/>
                  </a:lnTo>
                  <a:lnTo>
                    <a:pt x="1357" y="727"/>
                  </a:lnTo>
                  <a:lnTo>
                    <a:pt x="1357" y="727"/>
                  </a:lnTo>
                  <a:close/>
                  <a:moveTo>
                    <a:pt x="1370" y="855"/>
                  </a:moveTo>
                  <a:lnTo>
                    <a:pt x="1398" y="1118"/>
                  </a:lnTo>
                  <a:lnTo>
                    <a:pt x="1161" y="855"/>
                  </a:lnTo>
                  <a:lnTo>
                    <a:pt x="1370" y="855"/>
                  </a:lnTo>
                  <a:lnTo>
                    <a:pt x="1370" y="855"/>
                  </a:lnTo>
                  <a:close/>
                  <a:moveTo>
                    <a:pt x="2303" y="818"/>
                  </a:moveTo>
                  <a:lnTo>
                    <a:pt x="2303" y="743"/>
                  </a:lnTo>
                  <a:lnTo>
                    <a:pt x="1560" y="743"/>
                  </a:lnTo>
                  <a:lnTo>
                    <a:pt x="1560" y="818"/>
                  </a:lnTo>
                  <a:lnTo>
                    <a:pt x="1635" y="818"/>
                  </a:lnTo>
                  <a:lnTo>
                    <a:pt x="1635" y="1152"/>
                  </a:lnTo>
                  <a:lnTo>
                    <a:pt x="1560" y="1152"/>
                  </a:lnTo>
                  <a:lnTo>
                    <a:pt x="1560" y="1226"/>
                  </a:lnTo>
                  <a:lnTo>
                    <a:pt x="1635" y="1226"/>
                  </a:lnTo>
                  <a:lnTo>
                    <a:pt x="1635" y="1561"/>
                  </a:lnTo>
                  <a:lnTo>
                    <a:pt x="1520" y="1561"/>
                  </a:lnTo>
                  <a:lnTo>
                    <a:pt x="1378" y="223"/>
                  </a:lnTo>
                  <a:lnTo>
                    <a:pt x="1449" y="223"/>
                  </a:lnTo>
                  <a:lnTo>
                    <a:pt x="1449" y="0"/>
                  </a:lnTo>
                  <a:lnTo>
                    <a:pt x="1003" y="0"/>
                  </a:lnTo>
                  <a:lnTo>
                    <a:pt x="1003" y="223"/>
                  </a:lnTo>
                  <a:lnTo>
                    <a:pt x="1073" y="223"/>
                  </a:lnTo>
                  <a:lnTo>
                    <a:pt x="932" y="1561"/>
                  </a:lnTo>
                  <a:lnTo>
                    <a:pt x="872" y="1561"/>
                  </a:lnTo>
                  <a:lnTo>
                    <a:pt x="295" y="876"/>
                  </a:lnTo>
                  <a:lnTo>
                    <a:pt x="295" y="876"/>
                  </a:lnTo>
                  <a:lnTo>
                    <a:pt x="294" y="862"/>
                  </a:lnTo>
                  <a:lnTo>
                    <a:pt x="290" y="849"/>
                  </a:lnTo>
                  <a:lnTo>
                    <a:pt x="286" y="836"/>
                  </a:lnTo>
                  <a:lnTo>
                    <a:pt x="280" y="823"/>
                  </a:lnTo>
                  <a:lnTo>
                    <a:pt x="273" y="812"/>
                  </a:lnTo>
                  <a:lnTo>
                    <a:pt x="266" y="801"/>
                  </a:lnTo>
                  <a:lnTo>
                    <a:pt x="257" y="791"/>
                  </a:lnTo>
                  <a:lnTo>
                    <a:pt x="248" y="782"/>
                  </a:lnTo>
                  <a:lnTo>
                    <a:pt x="238" y="772"/>
                  </a:lnTo>
                  <a:lnTo>
                    <a:pt x="227" y="765"/>
                  </a:lnTo>
                  <a:lnTo>
                    <a:pt x="215" y="758"/>
                  </a:lnTo>
                  <a:lnTo>
                    <a:pt x="203" y="753"/>
                  </a:lnTo>
                  <a:lnTo>
                    <a:pt x="189" y="749"/>
                  </a:lnTo>
                  <a:lnTo>
                    <a:pt x="177" y="746"/>
                  </a:lnTo>
                  <a:lnTo>
                    <a:pt x="163" y="743"/>
                  </a:lnTo>
                  <a:lnTo>
                    <a:pt x="149" y="743"/>
                  </a:lnTo>
                  <a:lnTo>
                    <a:pt x="149" y="743"/>
                  </a:lnTo>
                  <a:lnTo>
                    <a:pt x="134" y="743"/>
                  </a:lnTo>
                  <a:lnTo>
                    <a:pt x="119" y="746"/>
                  </a:lnTo>
                  <a:lnTo>
                    <a:pt x="105" y="749"/>
                  </a:lnTo>
                  <a:lnTo>
                    <a:pt x="91" y="755"/>
                  </a:lnTo>
                  <a:lnTo>
                    <a:pt x="78" y="761"/>
                  </a:lnTo>
                  <a:lnTo>
                    <a:pt x="65" y="768"/>
                  </a:lnTo>
                  <a:lnTo>
                    <a:pt x="54" y="777"/>
                  </a:lnTo>
                  <a:lnTo>
                    <a:pt x="43" y="786"/>
                  </a:lnTo>
                  <a:lnTo>
                    <a:pt x="34" y="797"/>
                  </a:lnTo>
                  <a:lnTo>
                    <a:pt x="26" y="808"/>
                  </a:lnTo>
                  <a:lnTo>
                    <a:pt x="18" y="821"/>
                  </a:lnTo>
                  <a:lnTo>
                    <a:pt x="12" y="834"/>
                  </a:lnTo>
                  <a:lnTo>
                    <a:pt x="7" y="847"/>
                  </a:lnTo>
                  <a:lnTo>
                    <a:pt x="3" y="862"/>
                  </a:lnTo>
                  <a:lnTo>
                    <a:pt x="0" y="876"/>
                  </a:lnTo>
                  <a:lnTo>
                    <a:pt x="0" y="892"/>
                  </a:lnTo>
                  <a:lnTo>
                    <a:pt x="0" y="892"/>
                  </a:lnTo>
                  <a:lnTo>
                    <a:pt x="0" y="905"/>
                  </a:lnTo>
                  <a:lnTo>
                    <a:pt x="3" y="916"/>
                  </a:lnTo>
                  <a:lnTo>
                    <a:pt x="5" y="929"/>
                  </a:lnTo>
                  <a:lnTo>
                    <a:pt x="8" y="941"/>
                  </a:lnTo>
                  <a:lnTo>
                    <a:pt x="13" y="952"/>
                  </a:lnTo>
                  <a:lnTo>
                    <a:pt x="19" y="963"/>
                  </a:lnTo>
                  <a:lnTo>
                    <a:pt x="25" y="973"/>
                  </a:lnTo>
                  <a:lnTo>
                    <a:pt x="32" y="982"/>
                  </a:lnTo>
                  <a:lnTo>
                    <a:pt x="40" y="992"/>
                  </a:lnTo>
                  <a:lnTo>
                    <a:pt x="48" y="1000"/>
                  </a:lnTo>
                  <a:lnTo>
                    <a:pt x="57" y="1008"/>
                  </a:lnTo>
                  <a:lnTo>
                    <a:pt x="68" y="1015"/>
                  </a:lnTo>
                  <a:lnTo>
                    <a:pt x="77" y="1021"/>
                  </a:lnTo>
                  <a:lnTo>
                    <a:pt x="88" y="1027"/>
                  </a:lnTo>
                  <a:lnTo>
                    <a:pt x="100" y="1031"/>
                  </a:lnTo>
                  <a:lnTo>
                    <a:pt x="112" y="1035"/>
                  </a:lnTo>
                  <a:lnTo>
                    <a:pt x="112" y="2230"/>
                  </a:lnTo>
                  <a:lnTo>
                    <a:pt x="0" y="2230"/>
                  </a:lnTo>
                  <a:lnTo>
                    <a:pt x="0" y="2304"/>
                  </a:lnTo>
                  <a:lnTo>
                    <a:pt x="2155" y="2304"/>
                  </a:lnTo>
                  <a:lnTo>
                    <a:pt x="2155" y="2230"/>
                  </a:lnTo>
                  <a:lnTo>
                    <a:pt x="2080" y="2230"/>
                  </a:lnTo>
                  <a:lnTo>
                    <a:pt x="2080" y="1858"/>
                  </a:lnTo>
                  <a:lnTo>
                    <a:pt x="2303" y="1858"/>
                  </a:lnTo>
                  <a:lnTo>
                    <a:pt x="2303" y="1561"/>
                  </a:lnTo>
                  <a:lnTo>
                    <a:pt x="2229" y="1561"/>
                  </a:lnTo>
                  <a:lnTo>
                    <a:pt x="2229" y="1226"/>
                  </a:lnTo>
                  <a:lnTo>
                    <a:pt x="2303" y="1226"/>
                  </a:lnTo>
                  <a:lnTo>
                    <a:pt x="2303" y="1152"/>
                  </a:lnTo>
                  <a:lnTo>
                    <a:pt x="2229" y="1152"/>
                  </a:lnTo>
                  <a:lnTo>
                    <a:pt x="2229" y="818"/>
                  </a:lnTo>
                  <a:lnTo>
                    <a:pt x="2303" y="818"/>
                  </a:lnTo>
                  <a:lnTo>
                    <a:pt x="2303" y="81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2" name="Freeform 33">
              <a:extLst>
                <a:ext uri="{FF2B5EF4-FFF2-40B4-BE49-F238E27FC236}">
                  <a16:creationId xmlns:a16="http://schemas.microsoft.com/office/drawing/2014/main" id="{A4475BD0-2D5D-44B2-A147-B218286FF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7838" y="4328268"/>
              <a:ext cx="16867" cy="16643"/>
            </a:xfrm>
            <a:custGeom>
              <a:avLst/>
              <a:gdLst>
                <a:gd name="T0" fmla="*/ 0 w 75"/>
                <a:gd name="T1" fmla="*/ 0 h 74"/>
                <a:gd name="T2" fmla="*/ 75 w 75"/>
                <a:gd name="T3" fmla="*/ 0 h 74"/>
                <a:gd name="T4" fmla="*/ 75 w 75"/>
                <a:gd name="T5" fmla="*/ 74 h 74"/>
                <a:gd name="T6" fmla="*/ 0 w 75"/>
                <a:gd name="T7" fmla="*/ 74 h 74"/>
                <a:gd name="T8" fmla="*/ 0 w 75"/>
                <a:gd name="T9" fmla="*/ 0 h 74"/>
                <a:gd name="T10" fmla="*/ 0 w 75"/>
                <a:gd name="T1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74">
                  <a:moveTo>
                    <a:pt x="0" y="0"/>
                  </a:moveTo>
                  <a:lnTo>
                    <a:pt x="75" y="0"/>
                  </a:lnTo>
                  <a:lnTo>
                    <a:pt x="75" y="74"/>
                  </a:lnTo>
                  <a:lnTo>
                    <a:pt x="0" y="7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3" name="Freeform 34">
              <a:extLst>
                <a:ext uri="{FF2B5EF4-FFF2-40B4-BE49-F238E27FC236}">
                  <a16:creationId xmlns:a16="http://schemas.microsoft.com/office/drawing/2014/main" id="{D4EE7B87-6840-4F18-B0CE-10D7B225F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349" y="4328268"/>
              <a:ext cx="16643" cy="16643"/>
            </a:xfrm>
            <a:custGeom>
              <a:avLst/>
              <a:gdLst>
                <a:gd name="T0" fmla="*/ 0 w 74"/>
                <a:gd name="T1" fmla="*/ 0 h 74"/>
                <a:gd name="T2" fmla="*/ 74 w 74"/>
                <a:gd name="T3" fmla="*/ 0 h 74"/>
                <a:gd name="T4" fmla="*/ 74 w 74"/>
                <a:gd name="T5" fmla="*/ 74 h 74"/>
                <a:gd name="T6" fmla="*/ 0 w 74"/>
                <a:gd name="T7" fmla="*/ 74 h 74"/>
                <a:gd name="T8" fmla="*/ 0 w 74"/>
                <a:gd name="T9" fmla="*/ 0 h 74"/>
                <a:gd name="T10" fmla="*/ 0 w 74"/>
                <a:gd name="T1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74">
                  <a:moveTo>
                    <a:pt x="0" y="0"/>
                  </a:moveTo>
                  <a:lnTo>
                    <a:pt x="74" y="0"/>
                  </a:lnTo>
                  <a:lnTo>
                    <a:pt x="74" y="74"/>
                  </a:lnTo>
                  <a:lnTo>
                    <a:pt x="0" y="7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4" name="Freeform 35">
              <a:extLst>
                <a:ext uri="{FF2B5EF4-FFF2-40B4-BE49-F238E27FC236}">
                  <a16:creationId xmlns:a16="http://schemas.microsoft.com/office/drawing/2014/main" id="{C4202B54-EF72-4094-BC06-782CF55B6B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7991" y="4445217"/>
              <a:ext cx="16643" cy="16643"/>
            </a:xfrm>
            <a:custGeom>
              <a:avLst/>
              <a:gdLst>
                <a:gd name="T0" fmla="*/ 0 w 74"/>
                <a:gd name="T1" fmla="*/ 0 h 74"/>
                <a:gd name="T2" fmla="*/ 74 w 74"/>
                <a:gd name="T3" fmla="*/ 0 h 74"/>
                <a:gd name="T4" fmla="*/ 74 w 74"/>
                <a:gd name="T5" fmla="*/ 74 h 74"/>
                <a:gd name="T6" fmla="*/ 0 w 74"/>
                <a:gd name="T7" fmla="*/ 74 h 74"/>
                <a:gd name="T8" fmla="*/ 0 w 74"/>
                <a:gd name="T9" fmla="*/ 0 h 74"/>
                <a:gd name="T10" fmla="*/ 0 w 74"/>
                <a:gd name="T1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74">
                  <a:moveTo>
                    <a:pt x="0" y="0"/>
                  </a:moveTo>
                  <a:lnTo>
                    <a:pt x="74" y="0"/>
                  </a:lnTo>
                  <a:lnTo>
                    <a:pt x="74" y="74"/>
                  </a:lnTo>
                  <a:lnTo>
                    <a:pt x="0" y="7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5" name="Freeform 36">
              <a:extLst>
                <a:ext uri="{FF2B5EF4-FFF2-40B4-BE49-F238E27FC236}">
                  <a16:creationId xmlns:a16="http://schemas.microsoft.com/office/drawing/2014/main" id="{92B8254C-61BC-426B-A9F1-1EDFC7248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4706" y="4445217"/>
              <a:ext cx="16643" cy="16643"/>
            </a:xfrm>
            <a:custGeom>
              <a:avLst/>
              <a:gdLst>
                <a:gd name="T0" fmla="*/ 0 w 74"/>
                <a:gd name="T1" fmla="*/ 0 h 74"/>
                <a:gd name="T2" fmla="*/ 74 w 74"/>
                <a:gd name="T3" fmla="*/ 0 h 74"/>
                <a:gd name="T4" fmla="*/ 74 w 74"/>
                <a:gd name="T5" fmla="*/ 74 h 74"/>
                <a:gd name="T6" fmla="*/ 0 w 74"/>
                <a:gd name="T7" fmla="*/ 74 h 74"/>
                <a:gd name="T8" fmla="*/ 0 w 74"/>
                <a:gd name="T9" fmla="*/ 0 h 74"/>
                <a:gd name="T10" fmla="*/ 0 w 74"/>
                <a:gd name="T11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74">
                  <a:moveTo>
                    <a:pt x="0" y="0"/>
                  </a:moveTo>
                  <a:lnTo>
                    <a:pt x="74" y="0"/>
                  </a:lnTo>
                  <a:lnTo>
                    <a:pt x="74" y="74"/>
                  </a:lnTo>
                  <a:lnTo>
                    <a:pt x="0" y="7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429" name="Group 428">
            <a:extLst>
              <a:ext uri="{FF2B5EF4-FFF2-40B4-BE49-F238E27FC236}">
                <a16:creationId xmlns:a16="http://schemas.microsoft.com/office/drawing/2014/main" id="{CC8D773E-CAE9-4DFF-840B-4BF3C17E345A}"/>
              </a:ext>
            </a:extLst>
          </p:cNvPr>
          <p:cNvGrpSpPr/>
          <p:nvPr/>
        </p:nvGrpSpPr>
        <p:grpSpPr>
          <a:xfrm>
            <a:off x="3114381" y="3287416"/>
            <a:ext cx="421468" cy="463148"/>
            <a:chOff x="2918844" y="4119336"/>
            <a:chExt cx="486684" cy="534813"/>
          </a:xfrm>
        </p:grpSpPr>
        <p:sp>
          <p:nvSpPr>
            <p:cNvPr id="396" name="Freeform 37">
              <a:extLst>
                <a:ext uri="{FF2B5EF4-FFF2-40B4-BE49-F238E27FC236}">
                  <a16:creationId xmlns:a16="http://schemas.microsoft.com/office/drawing/2014/main" id="{3523E9E2-D030-4EE8-B470-A5F836888C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18844" y="4119336"/>
              <a:ext cx="486684" cy="534813"/>
            </a:xfrm>
            <a:custGeom>
              <a:avLst/>
              <a:gdLst>
                <a:gd name="T0" fmla="*/ 1602 w 2164"/>
                <a:gd name="T1" fmla="*/ 2297 h 2378"/>
                <a:gd name="T2" fmla="*/ 561 w 2164"/>
                <a:gd name="T3" fmla="*/ 2231 h 2378"/>
                <a:gd name="T4" fmla="*/ 543 w 2164"/>
                <a:gd name="T5" fmla="*/ 2197 h 2378"/>
                <a:gd name="T6" fmla="*/ 512 w 2164"/>
                <a:gd name="T7" fmla="*/ 2191 h 2378"/>
                <a:gd name="T8" fmla="*/ 484 w 2164"/>
                <a:gd name="T9" fmla="*/ 2215 h 2378"/>
                <a:gd name="T10" fmla="*/ 454 w 2164"/>
                <a:gd name="T11" fmla="*/ 2163 h 2378"/>
                <a:gd name="T12" fmla="*/ 187 w 2164"/>
                <a:gd name="T13" fmla="*/ 828 h 2378"/>
                <a:gd name="T14" fmla="*/ 668 w 2164"/>
                <a:gd name="T15" fmla="*/ 2297 h 2378"/>
                <a:gd name="T16" fmla="*/ 661 w 2164"/>
                <a:gd name="T17" fmla="*/ 2102 h 2378"/>
                <a:gd name="T18" fmla="*/ 627 w 2164"/>
                <a:gd name="T19" fmla="*/ 2083 h 2378"/>
                <a:gd name="T20" fmla="*/ 391 w 2164"/>
                <a:gd name="T21" fmla="*/ 2090 h 2378"/>
                <a:gd name="T22" fmla="*/ 374 w 2164"/>
                <a:gd name="T23" fmla="*/ 2124 h 2378"/>
                <a:gd name="T24" fmla="*/ 561 w 2164"/>
                <a:gd name="T25" fmla="*/ 454 h 2378"/>
                <a:gd name="T26" fmla="*/ 1055 w 2164"/>
                <a:gd name="T27" fmla="*/ 1095 h 2378"/>
                <a:gd name="T28" fmla="*/ 1083 w 2164"/>
                <a:gd name="T29" fmla="*/ 1083 h 2378"/>
                <a:gd name="T30" fmla="*/ 1095 w 2164"/>
                <a:gd name="T31" fmla="*/ 1054 h 2378"/>
                <a:gd name="T32" fmla="*/ 1077 w 2164"/>
                <a:gd name="T33" fmla="*/ 1022 h 2378"/>
                <a:gd name="T34" fmla="*/ 935 w 2164"/>
                <a:gd name="T35" fmla="*/ 881 h 2378"/>
                <a:gd name="T36" fmla="*/ 1077 w 2164"/>
                <a:gd name="T37" fmla="*/ 874 h 2378"/>
                <a:gd name="T38" fmla="*/ 1095 w 2164"/>
                <a:gd name="T39" fmla="*/ 841 h 2378"/>
                <a:gd name="T40" fmla="*/ 1083 w 2164"/>
                <a:gd name="T41" fmla="*/ 813 h 2378"/>
                <a:gd name="T42" fmla="*/ 935 w 2164"/>
                <a:gd name="T43" fmla="*/ 801 h 2378"/>
                <a:gd name="T44" fmla="*/ 928 w 2164"/>
                <a:gd name="T45" fmla="*/ 765 h 2378"/>
                <a:gd name="T46" fmla="*/ 895 w 2164"/>
                <a:gd name="T47" fmla="*/ 748 h 2378"/>
                <a:gd name="T48" fmla="*/ 1068 w 2164"/>
                <a:gd name="T49" fmla="*/ 240 h 2378"/>
                <a:gd name="T50" fmla="*/ 1308 w 2164"/>
                <a:gd name="T51" fmla="*/ 240 h 2378"/>
                <a:gd name="T52" fmla="*/ 1682 w 2164"/>
                <a:gd name="T53" fmla="*/ 1216 h 2378"/>
                <a:gd name="T54" fmla="*/ 1671 w 2164"/>
                <a:gd name="T55" fmla="*/ 1187 h 2378"/>
                <a:gd name="T56" fmla="*/ 1643 w 2164"/>
                <a:gd name="T57" fmla="*/ 1175 h 2378"/>
                <a:gd name="T58" fmla="*/ 1609 w 2164"/>
                <a:gd name="T59" fmla="*/ 1192 h 2378"/>
                <a:gd name="T60" fmla="*/ 1522 w 2164"/>
                <a:gd name="T61" fmla="*/ 1228 h 2378"/>
                <a:gd name="T62" fmla="*/ 1515 w 2164"/>
                <a:gd name="T63" fmla="*/ 1192 h 2378"/>
                <a:gd name="T64" fmla="*/ 1483 w 2164"/>
                <a:gd name="T65" fmla="*/ 1175 h 2378"/>
                <a:gd name="T66" fmla="*/ 1454 w 2164"/>
                <a:gd name="T67" fmla="*/ 1187 h 2378"/>
                <a:gd name="T68" fmla="*/ 1442 w 2164"/>
                <a:gd name="T69" fmla="*/ 1228 h 2378"/>
                <a:gd name="T70" fmla="*/ 2123 w 2164"/>
                <a:gd name="T71" fmla="*/ 2297 h 2378"/>
                <a:gd name="T72" fmla="*/ 2054 w 2164"/>
                <a:gd name="T73" fmla="*/ 185 h 2378"/>
                <a:gd name="T74" fmla="*/ 2025 w 2164"/>
                <a:gd name="T75" fmla="*/ 160 h 2378"/>
                <a:gd name="T76" fmla="*/ 1253 w 2164"/>
                <a:gd name="T77" fmla="*/ 163 h 2378"/>
                <a:gd name="T78" fmla="*/ 1230 w 2164"/>
                <a:gd name="T79" fmla="*/ 192 h 2378"/>
                <a:gd name="T80" fmla="*/ 1148 w 2164"/>
                <a:gd name="T81" fmla="*/ 200 h 2378"/>
                <a:gd name="T82" fmla="*/ 1131 w 2164"/>
                <a:gd name="T83" fmla="*/ 166 h 2378"/>
                <a:gd name="T84" fmla="*/ 935 w 2164"/>
                <a:gd name="T85" fmla="*/ 39 h 2378"/>
                <a:gd name="T86" fmla="*/ 923 w 2164"/>
                <a:gd name="T87" fmla="*/ 12 h 2378"/>
                <a:gd name="T88" fmla="*/ 895 w 2164"/>
                <a:gd name="T89" fmla="*/ 0 h 2378"/>
                <a:gd name="T90" fmla="*/ 862 w 2164"/>
                <a:gd name="T91" fmla="*/ 17 h 2378"/>
                <a:gd name="T92" fmla="*/ 680 w 2164"/>
                <a:gd name="T93" fmla="*/ 160 h 2378"/>
                <a:gd name="T94" fmla="*/ 653 w 2164"/>
                <a:gd name="T95" fmla="*/ 172 h 2378"/>
                <a:gd name="T96" fmla="*/ 641 w 2164"/>
                <a:gd name="T97" fmla="*/ 374 h 2378"/>
                <a:gd name="T98" fmla="*/ 498 w 2164"/>
                <a:gd name="T99" fmla="*/ 381 h 2378"/>
                <a:gd name="T100" fmla="*/ 481 w 2164"/>
                <a:gd name="T101" fmla="*/ 413 h 2378"/>
                <a:gd name="T102" fmla="*/ 131 w 2164"/>
                <a:gd name="T103" fmla="*/ 751 h 2378"/>
                <a:gd name="T104" fmla="*/ 107 w 2164"/>
                <a:gd name="T105" fmla="*/ 779 h 2378"/>
                <a:gd name="T106" fmla="*/ 32 w 2164"/>
                <a:gd name="T107" fmla="*/ 2298 h 2378"/>
                <a:gd name="T108" fmla="*/ 3 w 2164"/>
                <a:gd name="T109" fmla="*/ 2322 h 2378"/>
                <a:gd name="T110" fmla="*/ 3 w 2164"/>
                <a:gd name="T111" fmla="*/ 2352 h 2378"/>
                <a:gd name="T112" fmla="*/ 32 w 2164"/>
                <a:gd name="T113" fmla="*/ 2377 h 2378"/>
                <a:gd name="T114" fmla="*/ 2138 w 2164"/>
                <a:gd name="T115" fmla="*/ 2375 h 2378"/>
                <a:gd name="T116" fmla="*/ 2163 w 2164"/>
                <a:gd name="T117" fmla="*/ 2345 h 2378"/>
                <a:gd name="T118" fmla="*/ 2157 w 2164"/>
                <a:gd name="T119" fmla="*/ 2315 h 2378"/>
                <a:gd name="T120" fmla="*/ 2123 w 2164"/>
                <a:gd name="T121" fmla="*/ 2297 h 2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64" h="2378">
                  <a:moveTo>
                    <a:pt x="935" y="2297"/>
                  </a:moveTo>
                  <a:lnTo>
                    <a:pt x="935" y="1338"/>
                  </a:lnTo>
                  <a:lnTo>
                    <a:pt x="935" y="1309"/>
                  </a:lnTo>
                  <a:lnTo>
                    <a:pt x="1602" y="1309"/>
                  </a:lnTo>
                  <a:lnTo>
                    <a:pt x="1602" y="2297"/>
                  </a:lnTo>
                  <a:lnTo>
                    <a:pt x="935" y="2297"/>
                  </a:lnTo>
                  <a:lnTo>
                    <a:pt x="935" y="2297"/>
                  </a:lnTo>
                  <a:close/>
                  <a:moveTo>
                    <a:pt x="561" y="2297"/>
                  </a:moveTo>
                  <a:lnTo>
                    <a:pt x="561" y="2231"/>
                  </a:lnTo>
                  <a:lnTo>
                    <a:pt x="561" y="2231"/>
                  </a:lnTo>
                  <a:lnTo>
                    <a:pt x="560" y="2222"/>
                  </a:lnTo>
                  <a:lnTo>
                    <a:pt x="557" y="2215"/>
                  </a:lnTo>
                  <a:lnTo>
                    <a:pt x="554" y="2208"/>
                  </a:lnTo>
                  <a:lnTo>
                    <a:pt x="549" y="2203"/>
                  </a:lnTo>
                  <a:lnTo>
                    <a:pt x="543" y="2197"/>
                  </a:lnTo>
                  <a:lnTo>
                    <a:pt x="537" y="2193"/>
                  </a:lnTo>
                  <a:lnTo>
                    <a:pt x="528" y="2191"/>
                  </a:lnTo>
                  <a:lnTo>
                    <a:pt x="520" y="2190"/>
                  </a:lnTo>
                  <a:lnTo>
                    <a:pt x="520" y="2190"/>
                  </a:lnTo>
                  <a:lnTo>
                    <a:pt x="512" y="2191"/>
                  </a:lnTo>
                  <a:lnTo>
                    <a:pt x="505" y="2193"/>
                  </a:lnTo>
                  <a:lnTo>
                    <a:pt x="498" y="2197"/>
                  </a:lnTo>
                  <a:lnTo>
                    <a:pt x="492" y="2203"/>
                  </a:lnTo>
                  <a:lnTo>
                    <a:pt x="488" y="2208"/>
                  </a:lnTo>
                  <a:lnTo>
                    <a:pt x="484" y="2215"/>
                  </a:lnTo>
                  <a:lnTo>
                    <a:pt x="482" y="2222"/>
                  </a:lnTo>
                  <a:lnTo>
                    <a:pt x="481" y="2231"/>
                  </a:lnTo>
                  <a:lnTo>
                    <a:pt x="481" y="2297"/>
                  </a:lnTo>
                  <a:lnTo>
                    <a:pt x="454" y="2297"/>
                  </a:lnTo>
                  <a:lnTo>
                    <a:pt x="454" y="2163"/>
                  </a:lnTo>
                  <a:lnTo>
                    <a:pt x="588" y="2163"/>
                  </a:lnTo>
                  <a:lnTo>
                    <a:pt x="588" y="2297"/>
                  </a:lnTo>
                  <a:lnTo>
                    <a:pt x="561" y="2297"/>
                  </a:lnTo>
                  <a:lnTo>
                    <a:pt x="561" y="2297"/>
                  </a:lnTo>
                  <a:close/>
                  <a:moveTo>
                    <a:pt x="187" y="828"/>
                  </a:moveTo>
                  <a:lnTo>
                    <a:pt x="855" y="828"/>
                  </a:lnTo>
                  <a:lnTo>
                    <a:pt x="855" y="1269"/>
                  </a:lnTo>
                  <a:lnTo>
                    <a:pt x="855" y="1338"/>
                  </a:lnTo>
                  <a:lnTo>
                    <a:pt x="855" y="2297"/>
                  </a:lnTo>
                  <a:lnTo>
                    <a:pt x="668" y="2297"/>
                  </a:lnTo>
                  <a:lnTo>
                    <a:pt x="668" y="2124"/>
                  </a:lnTo>
                  <a:lnTo>
                    <a:pt x="668" y="2124"/>
                  </a:lnTo>
                  <a:lnTo>
                    <a:pt x="667" y="2116"/>
                  </a:lnTo>
                  <a:lnTo>
                    <a:pt x="664" y="2107"/>
                  </a:lnTo>
                  <a:lnTo>
                    <a:pt x="661" y="2102"/>
                  </a:lnTo>
                  <a:lnTo>
                    <a:pt x="656" y="2095"/>
                  </a:lnTo>
                  <a:lnTo>
                    <a:pt x="650" y="2090"/>
                  </a:lnTo>
                  <a:lnTo>
                    <a:pt x="643" y="2087"/>
                  </a:lnTo>
                  <a:lnTo>
                    <a:pt x="635" y="2084"/>
                  </a:lnTo>
                  <a:lnTo>
                    <a:pt x="627" y="2083"/>
                  </a:lnTo>
                  <a:lnTo>
                    <a:pt x="413" y="2083"/>
                  </a:lnTo>
                  <a:lnTo>
                    <a:pt x="413" y="2083"/>
                  </a:lnTo>
                  <a:lnTo>
                    <a:pt x="405" y="2084"/>
                  </a:lnTo>
                  <a:lnTo>
                    <a:pt x="398" y="2087"/>
                  </a:lnTo>
                  <a:lnTo>
                    <a:pt x="391" y="2090"/>
                  </a:lnTo>
                  <a:lnTo>
                    <a:pt x="386" y="2095"/>
                  </a:lnTo>
                  <a:lnTo>
                    <a:pt x="381" y="2102"/>
                  </a:lnTo>
                  <a:lnTo>
                    <a:pt x="377" y="2107"/>
                  </a:lnTo>
                  <a:lnTo>
                    <a:pt x="375" y="2116"/>
                  </a:lnTo>
                  <a:lnTo>
                    <a:pt x="374" y="2124"/>
                  </a:lnTo>
                  <a:lnTo>
                    <a:pt x="374" y="2297"/>
                  </a:lnTo>
                  <a:lnTo>
                    <a:pt x="187" y="2297"/>
                  </a:lnTo>
                  <a:lnTo>
                    <a:pt x="187" y="828"/>
                  </a:lnTo>
                  <a:lnTo>
                    <a:pt x="187" y="828"/>
                  </a:lnTo>
                  <a:close/>
                  <a:moveTo>
                    <a:pt x="561" y="454"/>
                  </a:moveTo>
                  <a:lnTo>
                    <a:pt x="1228" y="454"/>
                  </a:lnTo>
                  <a:lnTo>
                    <a:pt x="1228" y="1228"/>
                  </a:lnTo>
                  <a:lnTo>
                    <a:pt x="935" y="1228"/>
                  </a:lnTo>
                  <a:lnTo>
                    <a:pt x="935" y="1095"/>
                  </a:lnTo>
                  <a:lnTo>
                    <a:pt x="1055" y="1095"/>
                  </a:lnTo>
                  <a:lnTo>
                    <a:pt x="1055" y="1095"/>
                  </a:lnTo>
                  <a:lnTo>
                    <a:pt x="1064" y="1094"/>
                  </a:lnTo>
                  <a:lnTo>
                    <a:pt x="1071" y="1091"/>
                  </a:lnTo>
                  <a:lnTo>
                    <a:pt x="1077" y="1088"/>
                  </a:lnTo>
                  <a:lnTo>
                    <a:pt x="1083" y="1083"/>
                  </a:lnTo>
                  <a:lnTo>
                    <a:pt x="1088" y="1078"/>
                  </a:lnTo>
                  <a:lnTo>
                    <a:pt x="1091" y="1071"/>
                  </a:lnTo>
                  <a:lnTo>
                    <a:pt x="1094" y="1062"/>
                  </a:lnTo>
                  <a:lnTo>
                    <a:pt x="1095" y="1054"/>
                  </a:lnTo>
                  <a:lnTo>
                    <a:pt x="1095" y="1054"/>
                  </a:lnTo>
                  <a:lnTo>
                    <a:pt x="1094" y="1046"/>
                  </a:lnTo>
                  <a:lnTo>
                    <a:pt x="1091" y="1039"/>
                  </a:lnTo>
                  <a:lnTo>
                    <a:pt x="1088" y="1032"/>
                  </a:lnTo>
                  <a:lnTo>
                    <a:pt x="1083" y="1026"/>
                  </a:lnTo>
                  <a:lnTo>
                    <a:pt x="1077" y="1022"/>
                  </a:lnTo>
                  <a:lnTo>
                    <a:pt x="1071" y="1018"/>
                  </a:lnTo>
                  <a:lnTo>
                    <a:pt x="1064" y="1016"/>
                  </a:lnTo>
                  <a:lnTo>
                    <a:pt x="1055" y="1015"/>
                  </a:lnTo>
                  <a:lnTo>
                    <a:pt x="935" y="1015"/>
                  </a:lnTo>
                  <a:lnTo>
                    <a:pt x="935" y="881"/>
                  </a:lnTo>
                  <a:lnTo>
                    <a:pt x="1055" y="881"/>
                  </a:lnTo>
                  <a:lnTo>
                    <a:pt x="1055" y="881"/>
                  </a:lnTo>
                  <a:lnTo>
                    <a:pt x="1064" y="880"/>
                  </a:lnTo>
                  <a:lnTo>
                    <a:pt x="1071" y="878"/>
                  </a:lnTo>
                  <a:lnTo>
                    <a:pt x="1077" y="874"/>
                  </a:lnTo>
                  <a:lnTo>
                    <a:pt x="1083" y="870"/>
                  </a:lnTo>
                  <a:lnTo>
                    <a:pt x="1088" y="864"/>
                  </a:lnTo>
                  <a:lnTo>
                    <a:pt x="1091" y="857"/>
                  </a:lnTo>
                  <a:lnTo>
                    <a:pt x="1094" y="849"/>
                  </a:lnTo>
                  <a:lnTo>
                    <a:pt x="1095" y="841"/>
                  </a:lnTo>
                  <a:lnTo>
                    <a:pt x="1095" y="841"/>
                  </a:lnTo>
                  <a:lnTo>
                    <a:pt x="1094" y="833"/>
                  </a:lnTo>
                  <a:lnTo>
                    <a:pt x="1091" y="826"/>
                  </a:lnTo>
                  <a:lnTo>
                    <a:pt x="1088" y="819"/>
                  </a:lnTo>
                  <a:lnTo>
                    <a:pt x="1083" y="813"/>
                  </a:lnTo>
                  <a:lnTo>
                    <a:pt x="1077" y="808"/>
                  </a:lnTo>
                  <a:lnTo>
                    <a:pt x="1071" y="805"/>
                  </a:lnTo>
                  <a:lnTo>
                    <a:pt x="1064" y="802"/>
                  </a:lnTo>
                  <a:lnTo>
                    <a:pt x="1055" y="801"/>
                  </a:lnTo>
                  <a:lnTo>
                    <a:pt x="935" y="801"/>
                  </a:lnTo>
                  <a:lnTo>
                    <a:pt x="935" y="787"/>
                  </a:lnTo>
                  <a:lnTo>
                    <a:pt x="935" y="787"/>
                  </a:lnTo>
                  <a:lnTo>
                    <a:pt x="934" y="779"/>
                  </a:lnTo>
                  <a:lnTo>
                    <a:pt x="931" y="772"/>
                  </a:lnTo>
                  <a:lnTo>
                    <a:pt x="928" y="765"/>
                  </a:lnTo>
                  <a:lnTo>
                    <a:pt x="923" y="759"/>
                  </a:lnTo>
                  <a:lnTo>
                    <a:pt x="917" y="755"/>
                  </a:lnTo>
                  <a:lnTo>
                    <a:pt x="910" y="751"/>
                  </a:lnTo>
                  <a:lnTo>
                    <a:pt x="902" y="749"/>
                  </a:lnTo>
                  <a:lnTo>
                    <a:pt x="895" y="748"/>
                  </a:lnTo>
                  <a:lnTo>
                    <a:pt x="561" y="748"/>
                  </a:lnTo>
                  <a:lnTo>
                    <a:pt x="561" y="454"/>
                  </a:lnTo>
                  <a:lnTo>
                    <a:pt x="561" y="454"/>
                  </a:lnTo>
                  <a:close/>
                  <a:moveTo>
                    <a:pt x="721" y="240"/>
                  </a:moveTo>
                  <a:lnTo>
                    <a:pt x="1068" y="240"/>
                  </a:lnTo>
                  <a:lnTo>
                    <a:pt x="1068" y="374"/>
                  </a:lnTo>
                  <a:lnTo>
                    <a:pt x="721" y="374"/>
                  </a:lnTo>
                  <a:lnTo>
                    <a:pt x="721" y="240"/>
                  </a:lnTo>
                  <a:lnTo>
                    <a:pt x="721" y="240"/>
                  </a:lnTo>
                  <a:close/>
                  <a:moveTo>
                    <a:pt x="1308" y="240"/>
                  </a:moveTo>
                  <a:lnTo>
                    <a:pt x="1976" y="240"/>
                  </a:lnTo>
                  <a:lnTo>
                    <a:pt x="1976" y="2297"/>
                  </a:lnTo>
                  <a:lnTo>
                    <a:pt x="1682" y="2297"/>
                  </a:lnTo>
                  <a:lnTo>
                    <a:pt x="1682" y="1269"/>
                  </a:lnTo>
                  <a:lnTo>
                    <a:pt x="1682" y="1216"/>
                  </a:lnTo>
                  <a:lnTo>
                    <a:pt x="1682" y="1216"/>
                  </a:lnTo>
                  <a:lnTo>
                    <a:pt x="1682" y="1208"/>
                  </a:lnTo>
                  <a:lnTo>
                    <a:pt x="1680" y="1199"/>
                  </a:lnTo>
                  <a:lnTo>
                    <a:pt x="1675" y="1192"/>
                  </a:lnTo>
                  <a:lnTo>
                    <a:pt x="1671" y="1187"/>
                  </a:lnTo>
                  <a:lnTo>
                    <a:pt x="1665" y="1182"/>
                  </a:lnTo>
                  <a:lnTo>
                    <a:pt x="1658" y="1179"/>
                  </a:lnTo>
                  <a:lnTo>
                    <a:pt x="1651" y="1176"/>
                  </a:lnTo>
                  <a:lnTo>
                    <a:pt x="1643" y="1175"/>
                  </a:lnTo>
                  <a:lnTo>
                    <a:pt x="1643" y="1175"/>
                  </a:lnTo>
                  <a:lnTo>
                    <a:pt x="1635" y="1176"/>
                  </a:lnTo>
                  <a:lnTo>
                    <a:pt x="1627" y="1179"/>
                  </a:lnTo>
                  <a:lnTo>
                    <a:pt x="1621" y="1182"/>
                  </a:lnTo>
                  <a:lnTo>
                    <a:pt x="1614" y="1187"/>
                  </a:lnTo>
                  <a:lnTo>
                    <a:pt x="1609" y="1192"/>
                  </a:lnTo>
                  <a:lnTo>
                    <a:pt x="1606" y="1199"/>
                  </a:lnTo>
                  <a:lnTo>
                    <a:pt x="1603" y="1208"/>
                  </a:lnTo>
                  <a:lnTo>
                    <a:pt x="1602" y="1216"/>
                  </a:lnTo>
                  <a:lnTo>
                    <a:pt x="1602" y="1228"/>
                  </a:lnTo>
                  <a:lnTo>
                    <a:pt x="1522" y="1228"/>
                  </a:lnTo>
                  <a:lnTo>
                    <a:pt x="1522" y="1216"/>
                  </a:lnTo>
                  <a:lnTo>
                    <a:pt x="1522" y="1216"/>
                  </a:lnTo>
                  <a:lnTo>
                    <a:pt x="1522" y="1208"/>
                  </a:lnTo>
                  <a:lnTo>
                    <a:pt x="1520" y="1199"/>
                  </a:lnTo>
                  <a:lnTo>
                    <a:pt x="1515" y="1192"/>
                  </a:lnTo>
                  <a:lnTo>
                    <a:pt x="1510" y="1187"/>
                  </a:lnTo>
                  <a:lnTo>
                    <a:pt x="1505" y="1182"/>
                  </a:lnTo>
                  <a:lnTo>
                    <a:pt x="1498" y="1179"/>
                  </a:lnTo>
                  <a:lnTo>
                    <a:pt x="1491" y="1176"/>
                  </a:lnTo>
                  <a:lnTo>
                    <a:pt x="1483" y="1175"/>
                  </a:lnTo>
                  <a:lnTo>
                    <a:pt x="1483" y="1175"/>
                  </a:lnTo>
                  <a:lnTo>
                    <a:pt x="1474" y="1176"/>
                  </a:lnTo>
                  <a:lnTo>
                    <a:pt x="1466" y="1179"/>
                  </a:lnTo>
                  <a:lnTo>
                    <a:pt x="1459" y="1182"/>
                  </a:lnTo>
                  <a:lnTo>
                    <a:pt x="1454" y="1187"/>
                  </a:lnTo>
                  <a:lnTo>
                    <a:pt x="1449" y="1192"/>
                  </a:lnTo>
                  <a:lnTo>
                    <a:pt x="1445" y="1199"/>
                  </a:lnTo>
                  <a:lnTo>
                    <a:pt x="1443" y="1208"/>
                  </a:lnTo>
                  <a:lnTo>
                    <a:pt x="1442" y="1216"/>
                  </a:lnTo>
                  <a:lnTo>
                    <a:pt x="1442" y="1228"/>
                  </a:lnTo>
                  <a:lnTo>
                    <a:pt x="1308" y="1228"/>
                  </a:lnTo>
                  <a:lnTo>
                    <a:pt x="1308" y="413"/>
                  </a:lnTo>
                  <a:lnTo>
                    <a:pt x="1308" y="240"/>
                  </a:lnTo>
                  <a:lnTo>
                    <a:pt x="1308" y="240"/>
                  </a:lnTo>
                  <a:close/>
                  <a:moveTo>
                    <a:pt x="2123" y="2297"/>
                  </a:moveTo>
                  <a:lnTo>
                    <a:pt x="2057" y="2297"/>
                  </a:lnTo>
                  <a:lnTo>
                    <a:pt x="2057" y="200"/>
                  </a:lnTo>
                  <a:lnTo>
                    <a:pt x="2057" y="200"/>
                  </a:lnTo>
                  <a:lnTo>
                    <a:pt x="2056" y="192"/>
                  </a:lnTo>
                  <a:lnTo>
                    <a:pt x="2054" y="185"/>
                  </a:lnTo>
                  <a:lnTo>
                    <a:pt x="2050" y="178"/>
                  </a:lnTo>
                  <a:lnTo>
                    <a:pt x="2044" y="172"/>
                  </a:lnTo>
                  <a:lnTo>
                    <a:pt x="2039" y="166"/>
                  </a:lnTo>
                  <a:lnTo>
                    <a:pt x="2032" y="163"/>
                  </a:lnTo>
                  <a:lnTo>
                    <a:pt x="2025" y="160"/>
                  </a:lnTo>
                  <a:lnTo>
                    <a:pt x="2017" y="160"/>
                  </a:lnTo>
                  <a:lnTo>
                    <a:pt x="1269" y="160"/>
                  </a:lnTo>
                  <a:lnTo>
                    <a:pt x="1269" y="160"/>
                  </a:lnTo>
                  <a:lnTo>
                    <a:pt x="1261" y="160"/>
                  </a:lnTo>
                  <a:lnTo>
                    <a:pt x="1253" y="163"/>
                  </a:lnTo>
                  <a:lnTo>
                    <a:pt x="1246" y="166"/>
                  </a:lnTo>
                  <a:lnTo>
                    <a:pt x="1240" y="172"/>
                  </a:lnTo>
                  <a:lnTo>
                    <a:pt x="1235" y="178"/>
                  </a:lnTo>
                  <a:lnTo>
                    <a:pt x="1232" y="185"/>
                  </a:lnTo>
                  <a:lnTo>
                    <a:pt x="1230" y="192"/>
                  </a:lnTo>
                  <a:lnTo>
                    <a:pt x="1228" y="200"/>
                  </a:lnTo>
                  <a:lnTo>
                    <a:pt x="1228" y="374"/>
                  </a:lnTo>
                  <a:lnTo>
                    <a:pt x="1148" y="374"/>
                  </a:lnTo>
                  <a:lnTo>
                    <a:pt x="1148" y="200"/>
                  </a:lnTo>
                  <a:lnTo>
                    <a:pt x="1148" y="200"/>
                  </a:lnTo>
                  <a:lnTo>
                    <a:pt x="1147" y="192"/>
                  </a:lnTo>
                  <a:lnTo>
                    <a:pt x="1145" y="185"/>
                  </a:lnTo>
                  <a:lnTo>
                    <a:pt x="1141" y="178"/>
                  </a:lnTo>
                  <a:lnTo>
                    <a:pt x="1137" y="172"/>
                  </a:lnTo>
                  <a:lnTo>
                    <a:pt x="1131" y="166"/>
                  </a:lnTo>
                  <a:lnTo>
                    <a:pt x="1124" y="163"/>
                  </a:lnTo>
                  <a:lnTo>
                    <a:pt x="1117" y="160"/>
                  </a:lnTo>
                  <a:lnTo>
                    <a:pt x="1109" y="160"/>
                  </a:lnTo>
                  <a:lnTo>
                    <a:pt x="935" y="160"/>
                  </a:lnTo>
                  <a:lnTo>
                    <a:pt x="935" y="39"/>
                  </a:lnTo>
                  <a:lnTo>
                    <a:pt x="935" y="39"/>
                  </a:lnTo>
                  <a:lnTo>
                    <a:pt x="934" y="31"/>
                  </a:lnTo>
                  <a:lnTo>
                    <a:pt x="931" y="24"/>
                  </a:lnTo>
                  <a:lnTo>
                    <a:pt x="928" y="17"/>
                  </a:lnTo>
                  <a:lnTo>
                    <a:pt x="923" y="12"/>
                  </a:lnTo>
                  <a:lnTo>
                    <a:pt x="917" y="6"/>
                  </a:lnTo>
                  <a:lnTo>
                    <a:pt x="910" y="2"/>
                  </a:lnTo>
                  <a:lnTo>
                    <a:pt x="902" y="0"/>
                  </a:lnTo>
                  <a:lnTo>
                    <a:pt x="895" y="0"/>
                  </a:lnTo>
                  <a:lnTo>
                    <a:pt x="895" y="0"/>
                  </a:lnTo>
                  <a:lnTo>
                    <a:pt x="887" y="0"/>
                  </a:lnTo>
                  <a:lnTo>
                    <a:pt x="879" y="2"/>
                  </a:lnTo>
                  <a:lnTo>
                    <a:pt x="872" y="6"/>
                  </a:lnTo>
                  <a:lnTo>
                    <a:pt x="866" y="12"/>
                  </a:lnTo>
                  <a:lnTo>
                    <a:pt x="862" y="17"/>
                  </a:lnTo>
                  <a:lnTo>
                    <a:pt x="858" y="24"/>
                  </a:lnTo>
                  <a:lnTo>
                    <a:pt x="856" y="31"/>
                  </a:lnTo>
                  <a:lnTo>
                    <a:pt x="855" y="39"/>
                  </a:lnTo>
                  <a:lnTo>
                    <a:pt x="855" y="160"/>
                  </a:lnTo>
                  <a:lnTo>
                    <a:pt x="680" y="160"/>
                  </a:lnTo>
                  <a:lnTo>
                    <a:pt x="680" y="160"/>
                  </a:lnTo>
                  <a:lnTo>
                    <a:pt x="672" y="160"/>
                  </a:lnTo>
                  <a:lnTo>
                    <a:pt x="665" y="163"/>
                  </a:lnTo>
                  <a:lnTo>
                    <a:pt x="658" y="166"/>
                  </a:lnTo>
                  <a:lnTo>
                    <a:pt x="653" y="172"/>
                  </a:lnTo>
                  <a:lnTo>
                    <a:pt x="648" y="178"/>
                  </a:lnTo>
                  <a:lnTo>
                    <a:pt x="644" y="185"/>
                  </a:lnTo>
                  <a:lnTo>
                    <a:pt x="642" y="192"/>
                  </a:lnTo>
                  <a:lnTo>
                    <a:pt x="641" y="200"/>
                  </a:lnTo>
                  <a:lnTo>
                    <a:pt x="641" y="374"/>
                  </a:lnTo>
                  <a:lnTo>
                    <a:pt x="520" y="374"/>
                  </a:lnTo>
                  <a:lnTo>
                    <a:pt x="520" y="374"/>
                  </a:lnTo>
                  <a:lnTo>
                    <a:pt x="512" y="374"/>
                  </a:lnTo>
                  <a:lnTo>
                    <a:pt x="505" y="376"/>
                  </a:lnTo>
                  <a:lnTo>
                    <a:pt x="498" y="381"/>
                  </a:lnTo>
                  <a:lnTo>
                    <a:pt x="492" y="385"/>
                  </a:lnTo>
                  <a:lnTo>
                    <a:pt x="488" y="391"/>
                  </a:lnTo>
                  <a:lnTo>
                    <a:pt x="484" y="398"/>
                  </a:lnTo>
                  <a:lnTo>
                    <a:pt x="482" y="405"/>
                  </a:lnTo>
                  <a:lnTo>
                    <a:pt x="481" y="413"/>
                  </a:lnTo>
                  <a:lnTo>
                    <a:pt x="481" y="748"/>
                  </a:lnTo>
                  <a:lnTo>
                    <a:pt x="146" y="748"/>
                  </a:lnTo>
                  <a:lnTo>
                    <a:pt x="146" y="748"/>
                  </a:lnTo>
                  <a:lnTo>
                    <a:pt x="138" y="749"/>
                  </a:lnTo>
                  <a:lnTo>
                    <a:pt x="131" y="751"/>
                  </a:lnTo>
                  <a:lnTo>
                    <a:pt x="124" y="755"/>
                  </a:lnTo>
                  <a:lnTo>
                    <a:pt x="119" y="759"/>
                  </a:lnTo>
                  <a:lnTo>
                    <a:pt x="114" y="765"/>
                  </a:lnTo>
                  <a:lnTo>
                    <a:pt x="109" y="772"/>
                  </a:lnTo>
                  <a:lnTo>
                    <a:pt x="107" y="779"/>
                  </a:lnTo>
                  <a:lnTo>
                    <a:pt x="107" y="787"/>
                  </a:lnTo>
                  <a:lnTo>
                    <a:pt x="107" y="2297"/>
                  </a:lnTo>
                  <a:lnTo>
                    <a:pt x="40" y="2297"/>
                  </a:lnTo>
                  <a:lnTo>
                    <a:pt x="40" y="2297"/>
                  </a:lnTo>
                  <a:lnTo>
                    <a:pt x="32" y="2298"/>
                  </a:lnTo>
                  <a:lnTo>
                    <a:pt x="25" y="2300"/>
                  </a:lnTo>
                  <a:lnTo>
                    <a:pt x="18" y="2304"/>
                  </a:lnTo>
                  <a:lnTo>
                    <a:pt x="12" y="2309"/>
                  </a:lnTo>
                  <a:lnTo>
                    <a:pt x="7" y="2315"/>
                  </a:lnTo>
                  <a:lnTo>
                    <a:pt x="3" y="2322"/>
                  </a:lnTo>
                  <a:lnTo>
                    <a:pt x="0" y="2329"/>
                  </a:lnTo>
                  <a:lnTo>
                    <a:pt x="0" y="2337"/>
                  </a:lnTo>
                  <a:lnTo>
                    <a:pt x="0" y="2337"/>
                  </a:lnTo>
                  <a:lnTo>
                    <a:pt x="0" y="2345"/>
                  </a:lnTo>
                  <a:lnTo>
                    <a:pt x="3" y="2352"/>
                  </a:lnTo>
                  <a:lnTo>
                    <a:pt x="7" y="2359"/>
                  </a:lnTo>
                  <a:lnTo>
                    <a:pt x="12" y="2365"/>
                  </a:lnTo>
                  <a:lnTo>
                    <a:pt x="18" y="2371"/>
                  </a:lnTo>
                  <a:lnTo>
                    <a:pt x="25" y="2375"/>
                  </a:lnTo>
                  <a:lnTo>
                    <a:pt x="32" y="2377"/>
                  </a:lnTo>
                  <a:lnTo>
                    <a:pt x="40" y="2378"/>
                  </a:lnTo>
                  <a:lnTo>
                    <a:pt x="2123" y="2378"/>
                  </a:lnTo>
                  <a:lnTo>
                    <a:pt x="2123" y="2378"/>
                  </a:lnTo>
                  <a:lnTo>
                    <a:pt x="2131" y="2377"/>
                  </a:lnTo>
                  <a:lnTo>
                    <a:pt x="2138" y="2375"/>
                  </a:lnTo>
                  <a:lnTo>
                    <a:pt x="2145" y="2371"/>
                  </a:lnTo>
                  <a:lnTo>
                    <a:pt x="2151" y="2365"/>
                  </a:lnTo>
                  <a:lnTo>
                    <a:pt x="2157" y="2359"/>
                  </a:lnTo>
                  <a:lnTo>
                    <a:pt x="2161" y="2352"/>
                  </a:lnTo>
                  <a:lnTo>
                    <a:pt x="2163" y="2345"/>
                  </a:lnTo>
                  <a:lnTo>
                    <a:pt x="2164" y="2337"/>
                  </a:lnTo>
                  <a:lnTo>
                    <a:pt x="2164" y="2337"/>
                  </a:lnTo>
                  <a:lnTo>
                    <a:pt x="2163" y="2329"/>
                  </a:lnTo>
                  <a:lnTo>
                    <a:pt x="2161" y="2322"/>
                  </a:lnTo>
                  <a:lnTo>
                    <a:pt x="2157" y="2315"/>
                  </a:lnTo>
                  <a:lnTo>
                    <a:pt x="2151" y="2309"/>
                  </a:lnTo>
                  <a:lnTo>
                    <a:pt x="2145" y="2304"/>
                  </a:lnTo>
                  <a:lnTo>
                    <a:pt x="2138" y="2300"/>
                  </a:lnTo>
                  <a:lnTo>
                    <a:pt x="2131" y="2298"/>
                  </a:lnTo>
                  <a:lnTo>
                    <a:pt x="2123" y="2297"/>
                  </a:lnTo>
                  <a:lnTo>
                    <a:pt x="2123" y="229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7" name="Freeform 38">
              <a:extLst>
                <a:ext uri="{FF2B5EF4-FFF2-40B4-BE49-F238E27FC236}">
                  <a16:creationId xmlns:a16="http://schemas.microsoft.com/office/drawing/2014/main" id="{5D073B23-EAB0-4987-8943-957712458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9037" y="4431723"/>
              <a:ext cx="17992" cy="186217"/>
            </a:xfrm>
            <a:custGeom>
              <a:avLst/>
              <a:gdLst>
                <a:gd name="T0" fmla="*/ 41 w 80"/>
                <a:gd name="T1" fmla="*/ 0 h 828"/>
                <a:gd name="T2" fmla="*/ 41 w 80"/>
                <a:gd name="T3" fmla="*/ 0 h 828"/>
                <a:gd name="T4" fmla="*/ 33 w 80"/>
                <a:gd name="T5" fmla="*/ 1 h 828"/>
                <a:gd name="T6" fmla="*/ 25 w 80"/>
                <a:gd name="T7" fmla="*/ 3 h 828"/>
                <a:gd name="T8" fmla="*/ 18 w 80"/>
                <a:gd name="T9" fmla="*/ 7 h 828"/>
                <a:gd name="T10" fmla="*/ 12 w 80"/>
                <a:gd name="T11" fmla="*/ 11 h 828"/>
                <a:gd name="T12" fmla="*/ 7 w 80"/>
                <a:gd name="T13" fmla="*/ 17 h 828"/>
                <a:gd name="T14" fmla="*/ 4 w 80"/>
                <a:gd name="T15" fmla="*/ 24 h 828"/>
                <a:gd name="T16" fmla="*/ 1 w 80"/>
                <a:gd name="T17" fmla="*/ 32 h 828"/>
                <a:gd name="T18" fmla="*/ 0 w 80"/>
                <a:gd name="T19" fmla="*/ 40 h 828"/>
                <a:gd name="T20" fmla="*/ 0 w 80"/>
                <a:gd name="T21" fmla="*/ 788 h 828"/>
                <a:gd name="T22" fmla="*/ 0 w 80"/>
                <a:gd name="T23" fmla="*/ 788 h 828"/>
                <a:gd name="T24" fmla="*/ 1 w 80"/>
                <a:gd name="T25" fmla="*/ 796 h 828"/>
                <a:gd name="T26" fmla="*/ 4 w 80"/>
                <a:gd name="T27" fmla="*/ 803 h 828"/>
                <a:gd name="T28" fmla="*/ 7 w 80"/>
                <a:gd name="T29" fmla="*/ 810 h 828"/>
                <a:gd name="T30" fmla="*/ 12 w 80"/>
                <a:gd name="T31" fmla="*/ 816 h 828"/>
                <a:gd name="T32" fmla="*/ 18 w 80"/>
                <a:gd name="T33" fmla="*/ 822 h 828"/>
                <a:gd name="T34" fmla="*/ 25 w 80"/>
                <a:gd name="T35" fmla="*/ 825 h 828"/>
                <a:gd name="T36" fmla="*/ 33 w 80"/>
                <a:gd name="T37" fmla="*/ 828 h 828"/>
                <a:gd name="T38" fmla="*/ 41 w 80"/>
                <a:gd name="T39" fmla="*/ 828 h 828"/>
                <a:gd name="T40" fmla="*/ 41 w 80"/>
                <a:gd name="T41" fmla="*/ 828 h 828"/>
                <a:gd name="T42" fmla="*/ 49 w 80"/>
                <a:gd name="T43" fmla="*/ 828 h 828"/>
                <a:gd name="T44" fmla="*/ 56 w 80"/>
                <a:gd name="T45" fmla="*/ 825 h 828"/>
                <a:gd name="T46" fmla="*/ 63 w 80"/>
                <a:gd name="T47" fmla="*/ 822 h 828"/>
                <a:gd name="T48" fmla="*/ 69 w 80"/>
                <a:gd name="T49" fmla="*/ 816 h 828"/>
                <a:gd name="T50" fmla="*/ 73 w 80"/>
                <a:gd name="T51" fmla="*/ 810 h 828"/>
                <a:gd name="T52" fmla="*/ 77 w 80"/>
                <a:gd name="T53" fmla="*/ 803 h 828"/>
                <a:gd name="T54" fmla="*/ 79 w 80"/>
                <a:gd name="T55" fmla="*/ 796 h 828"/>
                <a:gd name="T56" fmla="*/ 80 w 80"/>
                <a:gd name="T57" fmla="*/ 788 h 828"/>
                <a:gd name="T58" fmla="*/ 80 w 80"/>
                <a:gd name="T59" fmla="*/ 40 h 828"/>
                <a:gd name="T60" fmla="*/ 80 w 80"/>
                <a:gd name="T61" fmla="*/ 40 h 828"/>
                <a:gd name="T62" fmla="*/ 79 w 80"/>
                <a:gd name="T63" fmla="*/ 32 h 828"/>
                <a:gd name="T64" fmla="*/ 77 w 80"/>
                <a:gd name="T65" fmla="*/ 24 h 828"/>
                <a:gd name="T66" fmla="*/ 73 w 80"/>
                <a:gd name="T67" fmla="*/ 17 h 828"/>
                <a:gd name="T68" fmla="*/ 69 w 80"/>
                <a:gd name="T69" fmla="*/ 11 h 828"/>
                <a:gd name="T70" fmla="*/ 63 w 80"/>
                <a:gd name="T71" fmla="*/ 7 h 828"/>
                <a:gd name="T72" fmla="*/ 56 w 80"/>
                <a:gd name="T73" fmla="*/ 3 h 828"/>
                <a:gd name="T74" fmla="*/ 49 w 80"/>
                <a:gd name="T75" fmla="*/ 1 h 828"/>
                <a:gd name="T76" fmla="*/ 41 w 80"/>
                <a:gd name="T77" fmla="*/ 0 h 828"/>
                <a:gd name="T78" fmla="*/ 41 w 80"/>
                <a:gd name="T79" fmla="*/ 0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828">
                  <a:moveTo>
                    <a:pt x="41" y="0"/>
                  </a:moveTo>
                  <a:lnTo>
                    <a:pt x="41" y="0"/>
                  </a:lnTo>
                  <a:lnTo>
                    <a:pt x="33" y="1"/>
                  </a:lnTo>
                  <a:lnTo>
                    <a:pt x="25" y="3"/>
                  </a:lnTo>
                  <a:lnTo>
                    <a:pt x="18" y="7"/>
                  </a:lnTo>
                  <a:lnTo>
                    <a:pt x="12" y="11"/>
                  </a:lnTo>
                  <a:lnTo>
                    <a:pt x="7" y="17"/>
                  </a:lnTo>
                  <a:lnTo>
                    <a:pt x="4" y="24"/>
                  </a:lnTo>
                  <a:lnTo>
                    <a:pt x="1" y="32"/>
                  </a:lnTo>
                  <a:lnTo>
                    <a:pt x="0" y="40"/>
                  </a:lnTo>
                  <a:lnTo>
                    <a:pt x="0" y="788"/>
                  </a:lnTo>
                  <a:lnTo>
                    <a:pt x="0" y="788"/>
                  </a:lnTo>
                  <a:lnTo>
                    <a:pt x="1" y="796"/>
                  </a:lnTo>
                  <a:lnTo>
                    <a:pt x="4" y="803"/>
                  </a:lnTo>
                  <a:lnTo>
                    <a:pt x="7" y="810"/>
                  </a:lnTo>
                  <a:lnTo>
                    <a:pt x="12" y="816"/>
                  </a:lnTo>
                  <a:lnTo>
                    <a:pt x="18" y="822"/>
                  </a:lnTo>
                  <a:lnTo>
                    <a:pt x="25" y="825"/>
                  </a:lnTo>
                  <a:lnTo>
                    <a:pt x="33" y="828"/>
                  </a:lnTo>
                  <a:lnTo>
                    <a:pt x="41" y="828"/>
                  </a:lnTo>
                  <a:lnTo>
                    <a:pt x="41" y="828"/>
                  </a:lnTo>
                  <a:lnTo>
                    <a:pt x="49" y="828"/>
                  </a:lnTo>
                  <a:lnTo>
                    <a:pt x="56" y="825"/>
                  </a:lnTo>
                  <a:lnTo>
                    <a:pt x="63" y="822"/>
                  </a:lnTo>
                  <a:lnTo>
                    <a:pt x="69" y="816"/>
                  </a:lnTo>
                  <a:lnTo>
                    <a:pt x="73" y="810"/>
                  </a:lnTo>
                  <a:lnTo>
                    <a:pt x="77" y="803"/>
                  </a:lnTo>
                  <a:lnTo>
                    <a:pt x="79" y="796"/>
                  </a:lnTo>
                  <a:lnTo>
                    <a:pt x="80" y="788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9" y="32"/>
                  </a:lnTo>
                  <a:lnTo>
                    <a:pt x="77" y="24"/>
                  </a:lnTo>
                  <a:lnTo>
                    <a:pt x="73" y="17"/>
                  </a:lnTo>
                  <a:lnTo>
                    <a:pt x="69" y="11"/>
                  </a:lnTo>
                  <a:lnTo>
                    <a:pt x="63" y="7"/>
                  </a:lnTo>
                  <a:lnTo>
                    <a:pt x="56" y="3"/>
                  </a:lnTo>
                  <a:lnTo>
                    <a:pt x="49" y="1"/>
                  </a:lnTo>
                  <a:lnTo>
                    <a:pt x="41" y="0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8" name="Freeform 39">
              <a:extLst>
                <a:ext uri="{FF2B5EF4-FFF2-40B4-BE49-F238E27FC236}">
                  <a16:creationId xmlns:a16="http://schemas.microsoft.com/office/drawing/2014/main" id="{356EFD67-F4A5-4D5B-B899-A4616717E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5021" y="4431723"/>
              <a:ext cx="17992" cy="186217"/>
            </a:xfrm>
            <a:custGeom>
              <a:avLst/>
              <a:gdLst>
                <a:gd name="T0" fmla="*/ 41 w 80"/>
                <a:gd name="T1" fmla="*/ 0 h 828"/>
                <a:gd name="T2" fmla="*/ 41 w 80"/>
                <a:gd name="T3" fmla="*/ 0 h 828"/>
                <a:gd name="T4" fmla="*/ 33 w 80"/>
                <a:gd name="T5" fmla="*/ 1 h 828"/>
                <a:gd name="T6" fmla="*/ 25 w 80"/>
                <a:gd name="T7" fmla="*/ 3 h 828"/>
                <a:gd name="T8" fmla="*/ 18 w 80"/>
                <a:gd name="T9" fmla="*/ 7 h 828"/>
                <a:gd name="T10" fmla="*/ 12 w 80"/>
                <a:gd name="T11" fmla="*/ 11 h 828"/>
                <a:gd name="T12" fmla="*/ 7 w 80"/>
                <a:gd name="T13" fmla="*/ 17 h 828"/>
                <a:gd name="T14" fmla="*/ 4 w 80"/>
                <a:gd name="T15" fmla="*/ 24 h 828"/>
                <a:gd name="T16" fmla="*/ 2 w 80"/>
                <a:gd name="T17" fmla="*/ 32 h 828"/>
                <a:gd name="T18" fmla="*/ 0 w 80"/>
                <a:gd name="T19" fmla="*/ 40 h 828"/>
                <a:gd name="T20" fmla="*/ 0 w 80"/>
                <a:gd name="T21" fmla="*/ 788 h 828"/>
                <a:gd name="T22" fmla="*/ 0 w 80"/>
                <a:gd name="T23" fmla="*/ 788 h 828"/>
                <a:gd name="T24" fmla="*/ 2 w 80"/>
                <a:gd name="T25" fmla="*/ 796 h 828"/>
                <a:gd name="T26" fmla="*/ 4 w 80"/>
                <a:gd name="T27" fmla="*/ 803 h 828"/>
                <a:gd name="T28" fmla="*/ 7 w 80"/>
                <a:gd name="T29" fmla="*/ 810 h 828"/>
                <a:gd name="T30" fmla="*/ 12 w 80"/>
                <a:gd name="T31" fmla="*/ 816 h 828"/>
                <a:gd name="T32" fmla="*/ 18 w 80"/>
                <a:gd name="T33" fmla="*/ 822 h 828"/>
                <a:gd name="T34" fmla="*/ 25 w 80"/>
                <a:gd name="T35" fmla="*/ 825 h 828"/>
                <a:gd name="T36" fmla="*/ 33 w 80"/>
                <a:gd name="T37" fmla="*/ 828 h 828"/>
                <a:gd name="T38" fmla="*/ 41 w 80"/>
                <a:gd name="T39" fmla="*/ 828 h 828"/>
                <a:gd name="T40" fmla="*/ 41 w 80"/>
                <a:gd name="T41" fmla="*/ 828 h 828"/>
                <a:gd name="T42" fmla="*/ 49 w 80"/>
                <a:gd name="T43" fmla="*/ 828 h 828"/>
                <a:gd name="T44" fmla="*/ 56 w 80"/>
                <a:gd name="T45" fmla="*/ 825 h 828"/>
                <a:gd name="T46" fmla="*/ 63 w 80"/>
                <a:gd name="T47" fmla="*/ 822 h 828"/>
                <a:gd name="T48" fmla="*/ 69 w 80"/>
                <a:gd name="T49" fmla="*/ 816 h 828"/>
                <a:gd name="T50" fmla="*/ 74 w 80"/>
                <a:gd name="T51" fmla="*/ 810 h 828"/>
                <a:gd name="T52" fmla="*/ 78 w 80"/>
                <a:gd name="T53" fmla="*/ 803 h 828"/>
                <a:gd name="T54" fmla="*/ 80 w 80"/>
                <a:gd name="T55" fmla="*/ 796 h 828"/>
                <a:gd name="T56" fmla="*/ 80 w 80"/>
                <a:gd name="T57" fmla="*/ 788 h 828"/>
                <a:gd name="T58" fmla="*/ 80 w 80"/>
                <a:gd name="T59" fmla="*/ 40 h 828"/>
                <a:gd name="T60" fmla="*/ 80 w 80"/>
                <a:gd name="T61" fmla="*/ 40 h 828"/>
                <a:gd name="T62" fmla="*/ 80 w 80"/>
                <a:gd name="T63" fmla="*/ 32 h 828"/>
                <a:gd name="T64" fmla="*/ 78 w 80"/>
                <a:gd name="T65" fmla="*/ 24 h 828"/>
                <a:gd name="T66" fmla="*/ 74 w 80"/>
                <a:gd name="T67" fmla="*/ 17 h 828"/>
                <a:gd name="T68" fmla="*/ 69 w 80"/>
                <a:gd name="T69" fmla="*/ 11 h 828"/>
                <a:gd name="T70" fmla="*/ 63 w 80"/>
                <a:gd name="T71" fmla="*/ 7 h 828"/>
                <a:gd name="T72" fmla="*/ 56 w 80"/>
                <a:gd name="T73" fmla="*/ 3 h 828"/>
                <a:gd name="T74" fmla="*/ 49 w 80"/>
                <a:gd name="T75" fmla="*/ 1 h 828"/>
                <a:gd name="T76" fmla="*/ 41 w 80"/>
                <a:gd name="T77" fmla="*/ 0 h 828"/>
                <a:gd name="T78" fmla="*/ 41 w 80"/>
                <a:gd name="T79" fmla="*/ 0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828">
                  <a:moveTo>
                    <a:pt x="41" y="0"/>
                  </a:moveTo>
                  <a:lnTo>
                    <a:pt x="41" y="0"/>
                  </a:lnTo>
                  <a:lnTo>
                    <a:pt x="33" y="1"/>
                  </a:lnTo>
                  <a:lnTo>
                    <a:pt x="25" y="3"/>
                  </a:lnTo>
                  <a:lnTo>
                    <a:pt x="18" y="7"/>
                  </a:lnTo>
                  <a:lnTo>
                    <a:pt x="12" y="11"/>
                  </a:lnTo>
                  <a:lnTo>
                    <a:pt x="7" y="17"/>
                  </a:lnTo>
                  <a:lnTo>
                    <a:pt x="4" y="24"/>
                  </a:lnTo>
                  <a:lnTo>
                    <a:pt x="2" y="32"/>
                  </a:lnTo>
                  <a:lnTo>
                    <a:pt x="0" y="40"/>
                  </a:lnTo>
                  <a:lnTo>
                    <a:pt x="0" y="788"/>
                  </a:lnTo>
                  <a:lnTo>
                    <a:pt x="0" y="788"/>
                  </a:lnTo>
                  <a:lnTo>
                    <a:pt x="2" y="796"/>
                  </a:lnTo>
                  <a:lnTo>
                    <a:pt x="4" y="803"/>
                  </a:lnTo>
                  <a:lnTo>
                    <a:pt x="7" y="810"/>
                  </a:lnTo>
                  <a:lnTo>
                    <a:pt x="12" y="816"/>
                  </a:lnTo>
                  <a:lnTo>
                    <a:pt x="18" y="822"/>
                  </a:lnTo>
                  <a:lnTo>
                    <a:pt x="25" y="825"/>
                  </a:lnTo>
                  <a:lnTo>
                    <a:pt x="33" y="828"/>
                  </a:lnTo>
                  <a:lnTo>
                    <a:pt x="41" y="828"/>
                  </a:lnTo>
                  <a:lnTo>
                    <a:pt x="41" y="828"/>
                  </a:lnTo>
                  <a:lnTo>
                    <a:pt x="49" y="828"/>
                  </a:lnTo>
                  <a:lnTo>
                    <a:pt x="56" y="825"/>
                  </a:lnTo>
                  <a:lnTo>
                    <a:pt x="63" y="822"/>
                  </a:lnTo>
                  <a:lnTo>
                    <a:pt x="69" y="816"/>
                  </a:lnTo>
                  <a:lnTo>
                    <a:pt x="74" y="810"/>
                  </a:lnTo>
                  <a:lnTo>
                    <a:pt x="78" y="803"/>
                  </a:lnTo>
                  <a:lnTo>
                    <a:pt x="80" y="796"/>
                  </a:lnTo>
                  <a:lnTo>
                    <a:pt x="80" y="788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32"/>
                  </a:lnTo>
                  <a:lnTo>
                    <a:pt x="78" y="24"/>
                  </a:lnTo>
                  <a:lnTo>
                    <a:pt x="74" y="17"/>
                  </a:lnTo>
                  <a:lnTo>
                    <a:pt x="69" y="11"/>
                  </a:lnTo>
                  <a:lnTo>
                    <a:pt x="63" y="7"/>
                  </a:lnTo>
                  <a:lnTo>
                    <a:pt x="56" y="3"/>
                  </a:lnTo>
                  <a:lnTo>
                    <a:pt x="49" y="1"/>
                  </a:lnTo>
                  <a:lnTo>
                    <a:pt x="41" y="0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9" name="Freeform 40">
              <a:extLst>
                <a:ext uri="{FF2B5EF4-FFF2-40B4-BE49-F238E27FC236}">
                  <a16:creationId xmlns:a16="http://schemas.microsoft.com/office/drawing/2014/main" id="{BBE44BA4-0E46-478F-B856-9D89767C8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1230" y="4431723"/>
              <a:ext cx="17992" cy="186217"/>
            </a:xfrm>
            <a:custGeom>
              <a:avLst/>
              <a:gdLst>
                <a:gd name="T0" fmla="*/ 40 w 80"/>
                <a:gd name="T1" fmla="*/ 0 h 828"/>
                <a:gd name="T2" fmla="*/ 40 w 80"/>
                <a:gd name="T3" fmla="*/ 0 h 828"/>
                <a:gd name="T4" fmla="*/ 32 w 80"/>
                <a:gd name="T5" fmla="*/ 1 h 828"/>
                <a:gd name="T6" fmla="*/ 24 w 80"/>
                <a:gd name="T7" fmla="*/ 3 h 828"/>
                <a:gd name="T8" fmla="*/ 17 w 80"/>
                <a:gd name="T9" fmla="*/ 7 h 828"/>
                <a:gd name="T10" fmla="*/ 11 w 80"/>
                <a:gd name="T11" fmla="*/ 11 h 828"/>
                <a:gd name="T12" fmla="*/ 7 w 80"/>
                <a:gd name="T13" fmla="*/ 17 h 828"/>
                <a:gd name="T14" fmla="*/ 3 w 80"/>
                <a:gd name="T15" fmla="*/ 24 h 828"/>
                <a:gd name="T16" fmla="*/ 1 w 80"/>
                <a:gd name="T17" fmla="*/ 32 h 828"/>
                <a:gd name="T18" fmla="*/ 0 w 80"/>
                <a:gd name="T19" fmla="*/ 40 h 828"/>
                <a:gd name="T20" fmla="*/ 0 w 80"/>
                <a:gd name="T21" fmla="*/ 788 h 828"/>
                <a:gd name="T22" fmla="*/ 0 w 80"/>
                <a:gd name="T23" fmla="*/ 788 h 828"/>
                <a:gd name="T24" fmla="*/ 1 w 80"/>
                <a:gd name="T25" fmla="*/ 796 h 828"/>
                <a:gd name="T26" fmla="*/ 3 w 80"/>
                <a:gd name="T27" fmla="*/ 803 h 828"/>
                <a:gd name="T28" fmla="*/ 7 w 80"/>
                <a:gd name="T29" fmla="*/ 810 h 828"/>
                <a:gd name="T30" fmla="*/ 11 w 80"/>
                <a:gd name="T31" fmla="*/ 816 h 828"/>
                <a:gd name="T32" fmla="*/ 17 w 80"/>
                <a:gd name="T33" fmla="*/ 822 h 828"/>
                <a:gd name="T34" fmla="*/ 24 w 80"/>
                <a:gd name="T35" fmla="*/ 825 h 828"/>
                <a:gd name="T36" fmla="*/ 32 w 80"/>
                <a:gd name="T37" fmla="*/ 828 h 828"/>
                <a:gd name="T38" fmla="*/ 40 w 80"/>
                <a:gd name="T39" fmla="*/ 828 h 828"/>
                <a:gd name="T40" fmla="*/ 40 w 80"/>
                <a:gd name="T41" fmla="*/ 828 h 828"/>
                <a:gd name="T42" fmla="*/ 48 w 80"/>
                <a:gd name="T43" fmla="*/ 828 h 828"/>
                <a:gd name="T44" fmla="*/ 55 w 80"/>
                <a:gd name="T45" fmla="*/ 825 h 828"/>
                <a:gd name="T46" fmla="*/ 62 w 80"/>
                <a:gd name="T47" fmla="*/ 822 h 828"/>
                <a:gd name="T48" fmla="*/ 68 w 80"/>
                <a:gd name="T49" fmla="*/ 816 h 828"/>
                <a:gd name="T50" fmla="*/ 73 w 80"/>
                <a:gd name="T51" fmla="*/ 810 h 828"/>
                <a:gd name="T52" fmla="*/ 77 w 80"/>
                <a:gd name="T53" fmla="*/ 803 h 828"/>
                <a:gd name="T54" fmla="*/ 80 w 80"/>
                <a:gd name="T55" fmla="*/ 796 h 828"/>
                <a:gd name="T56" fmla="*/ 80 w 80"/>
                <a:gd name="T57" fmla="*/ 788 h 828"/>
                <a:gd name="T58" fmla="*/ 80 w 80"/>
                <a:gd name="T59" fmla="*/ 40 h 828"/>
                <a:gd name="T60" fmla="*/ 80 w 80"/>
                <a:gd name="T61" fmla="*/ 40 h 828"/>
                <a:gd name="T62" fmla="*/ 80 w 80"/>
                <a:gd name="T63" fmla="*/ 32 h 828"/>
                <a:gd name="T64" fmla="*/ 77 w 80"/>
                <a:gd name="T65" fmla="*/ 24 h 828"/>
                <a:gd name="T66" fmla="*/ 73 w 80"/>
                <a:gd name="T67" fmla="*/ 17 h 828"/>
                <a:gd name="T68" fmla="*/ 68 w 80"/>
                <a:gd name="T69" fmla="*/ 11 h 828"/>
                <a:gd name="T70" fmla="*/ 62 w 80"/>
                <a:gd name="T71" fmla="*/ 7 h 828"/>
                <a:gd name="T72" fmla="*/ 55 w 80"/>
                <a:gd name="T73" fmla="*/ 3 h 828"/>
                <a:gd name="T74" fmla="*/ 48 w 80"/>
                <a:gd name="T75" fmla="*/ 1 h 828"/>
                <a:gd name="T76" fmla="*/ 40 w 80"/>
                <a:gd name="T77" fmla="*/ 0 h 828"/>
                <a:gd name="T78" fmla="*/ 40 w 80"/>
                <a:gd name="T79" fmla="*/ 0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828">
                  <a:moveTo>
                    <a:pt x="40" y="0"/>
                  </a:moveTo>
                  <a:lnTo>
                    <a:pt x="40" y="0"/>
                  </a:lnTo>
                  <a:lnTo>
                    <a:pt x="32" y="1"/>
                  </a:lnTo>
                  <a:lnTo>
                    <a:pt x="24" y="3"/>
                  </a:lnTo>
                  <a:lnTo>
                    <a:pt x="17" y="7"/>
                  </a:lnTo>
                  <a:lnTo>
                    <a:pt x="11" y="11"/>
                  </a:lnTo>
                  <a:lnTo>
                    <a:pt x="7" y="17"/>
                  </a:lnTo>
                  <a:lnTo>
                    <a:pt x="3" y="24"/>
                  </a:lnTo>
                  <a:lnTo>
                    <a:pt x="1" y="32"/>
                  </a:lnTo>
                  <a:lnTo>
                    <a:pt x="0" y="40"/>
                  </a:lnTo>
                  <a:lnTo>
                    <a:pt x="0" y="788"/>
                  </a:lnTo>
                  <a:lnTo>
                    <a:pt x="0" y="788"/>
                  </a:lnTo>
                  <a:lnTo>
                    <a:pt x="1" y="796"/>
                  </a:lnTo>
                  <a:lnTo>
                    <a:pt x="3" y="803"/>
                  </a:lnTo>
                  <a:lnTo>
                    <a:pt x="7" y="810"/>
                  </a:lnTo>
                  <a:lnTo>
                    <a:pt x="11" y="816"/>
                  </a:lnTo>
                  <a:lnTo>
                    <a:pt x="17" y="822"/>
                  </a:lnTo>
                  <a:lnTo>
                    <a:pt x="24" y="825"/>
                  </a:lnTo>
                  <a:lnTo>
                    <a:pt x="32" y="828"/>
                  </a:lnTo>
                  <a:lnTo>
                    <a:pt x="40" y="828"/>
                  </a:lnTo>
                  <a:lnTo>
                    <a:pt x="40" y="828"/>
                  </a:lnTo>
                  <a:lnTo>
                    <a:pt x="48" y="828"/>
                  </a:lnTo>
                  <a:lnTo>
                    <a:pt x="55" y="825"/>
                  </a:lnTo>
                  <a:lnTo>
                    <a:pt x="62" y="822"/>
                  </a:lnTo>
                  <a:lnTo>
                    <a:pt x="68" y="816"/>
                  </a:lnTo>
                  <a:lnTo>
                    <a:pt x="73" y="810"/>
                  </a:lnTo>
                  <a:lnTo>
                    <a:pt x="77" y="803"/>
                  </a:lnTo>
                  <a:lnTo>
                    <a:pt x="80" y="796"/>
                  </a:lnTo>
                  <a:lnTo>
                    <a:pt x="80" y="788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32"/>
                  </a:lnTo>
                  <a:lnTo>
                    <a:pt x="77" y="24"/>
                  </a:lnTo>
                  <a:lnTo>
                    <a:pt x="73" y="17"/>
                  </a:lnTo>
                  <a:lnTo>
                    <a:pt x="68" y="11"/>
                  </a:lnTo>
                  <a:lnTo>
                    <a:pt x="62" y="7"/>
                  </a:lnTo>
                  <a:lnTo>
                    <a:pt x="55" y="3"/>
                  </a:lnTo>
                  <a:lnTo>
                    <a:pt x="48" y="1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0" name="Freeform 41">
              <a:extLst>
                <a:ext uri="{FF2B5EF4-FFF2-40B4-BE49-F238E27FC236}">
                  <a16:creationId xmlns:a16="http://schemas.microsoft.com/office/drawing/2014/main" id="{D4588EBE-D4EA-424E-89B6-7F349D096F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3150" y="4203449"/>
              <a:ext cx="17992" cy="29912"/>
            </a:xfrm>
            <a:custGeom>
              <a:avLst/>
              <a:gdLst>
                <a:gd name="T0" fmla="*/ 41 w 80"/>
                <a:gd name="T1" fmla="*/ 133 h 133"/>
                <a:gd name="T2" fmla="*/ 41 w 80"/>
                <a:gd name="T3" fmla="*/ 133 h 133"/>
                <a:gd name="T4" fmla="*/ 49 w 80"/>
                <a:gd name="T5" fmla="*/ 132 h 133"/>
                <a:gd name="T6" fmla="*/ 56 w 80"/>
                <a:gd name="T7" fmla="*/ 130 h 133"/>
                <a:gd name="T8" fmla="*/ 63 w 80"/>
                <a:gd name="T9" fmla="*/ 126 h 133"/>
                <a:gd name="T10" fmla="*/ 68 w 80"/>
                <a:gd name="T11" fmla="*/ 122 h 133"/>
                <a:gd name="T12" fmla="*/ 73 w 80"/>
                <a:gd name="T13" fmla="*/ 115 h 133"/>
                <a:gd name="T14" fmla="*/ 78 w 80"/>
                <a:gd name="T15" fmla="*/ 109 h 133"/>
                <a:gd name="T16" fmla="*/ 80 w 80"/>
                <a:gd name="T17" fmla="*/ 101 h 133"/>
                <a:gd name="T18" fmla="*/ 80 w 80"/>
                <a:gd name="T19" fmla="*/ 93 h 133"/>
                <a:gd name="T20" fmla="*/ 80 w 80"/>
                <a:gd name="T21" fmla="*/ 39 h 133"/>
                <a:gd name="T22" fmla="*/ 80 w 80"/>
                <a:gd name="T23" fmla="*/ 39 h 133"/>
                <a:gd name="T24" fmla="*/ 80 w 80"/>
                <a:gd name="T25" fmla="*/ 31 h 133"/>
                <a:gd name="T26" fmla="*/ 78 w 80"/>
                <a:gd name="T27" fmla="*/ 24 h 133"/>
                <a:gd name="T28" fmla="*/ 73 w 80"/>
                <a:gd name="T29" fmla="*/ 17 h 133"/>
                <a:gd name="T30" fmla="*/ 68 w 80"/>
                <a:gd name="T31" fmla="*/ 11 h 133"/>
                <a:gd name="T32" fmla="*/ 63 w 80"/>
                <a:gd name="T33" fmla="*/ 7 h 133"/>
                <a:gd name="T34" fmla="*/ 56 w 80"/>
                <a:gd name="T35" fmla="*/ 2 h 133"/>
                <a:gd name="T36" fmla="*/ 49 w 80"/>
                <a:gd name="T37" fmla="*/ 0 h 133"/>
                <a:gd name="T38" fmla="*/ 41 w 80"/>
                <a:gd name="T39" fmla="*/ 0 h 133"/>
                <a:gd name="T40" fmla="*/ 41 w 80"/>
                <a:gd name="T41" fmla="*/ 0 h 133"/>
                <a:gd name="T42" fmla="*/ 32 w 80"/>
                <a:gd name="T43" fmla="*/ 0 h 133"/>
                <a:gd name="T44" fmla="*/ 24 w 80"/>
                <a:gd name="T45" fmla="*/ 2 h 133"/>
                <a:gd name="T46" fmla="*/ 17 w 80"/>
                <a:gd name="T47" fmla="*/ 7 h 133"/>
                <a:gd name="T48" fmla="*/ 12 w 80"/>
                <a:gd name="T49" fmla="*/ 11 h 133"/>
                <a:gd name="T50" fmla="*/ 7 w 80"/>
                <a:gd name="T51" fmla="*/ 17 h 133"/>
                <a:gd name="T52" fmla="*/ 3 w 80"/>
                <a:gd name="T53" fmla="*/ 24 h 133"/>
                <a:gd name="T54" fmla="*/ 1 w 80"/>
                <a:gd name="T55" fmla="*/ 31 h 133"/>
                <a:gd name="T56" fmla="*/ 0 w 80"/>
                <a:gd name="T57" fmla="*/ 39 h 133"/>
                <a:gd name="T58" fmla="*/ 0 w 80"/>
                <a:gd name="T59" fmla="*/ 93 h 133"/>
                <a:gd name="T60" fmla="*/ 0 w 80"/>
                <a:gd name="T61" fmla="*/ 93 h 133"/>
                <a:gd name="T62" fmla="*/ 1 w 80"/>
                <a:gd name="T63" fmla="*/ 101 h 133"/>
                <a:gd name="T64" fmla="*/ 3 w 80"/>
                <a:gd name="T65" fmla="*/ 109 h 133"/>
                <a:gd name="T66" fmla="*/ 7 w 80"/>
                <a:gd name="T67" fmla="*/ 115 h 133"/>
                <a:gd name="T68" fmla="*/ 12 w 80"/>
                <a:gd name="T69" fmla="*/ 122 h 133"/>
                <a:gd name="T70" fmla="*/ 17 w 80"/>
                <a:gd name="T71" fmla="*/ 126 h 133"/>
                <a:gd name="T72" fmla="*/ 24 w 80"/>
                <a:gd name="T73" fmla="*/ 130 h 133"/>
                <a:gd name="T74" fmla="*/ 32 w 80"/>
                <a:gd name="T75" fmla="*/ 132 h 133"/>
                <a:gd name="T76" fmla="*/ 41 w 80"/>
                <a:gd name="T77" fmla="*/ 133 h 133"/>
                <a:gd name="T78" fmla="*/ 41 w 80"/>
                <a:gd name="T7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3">
                  <a:moveTo>
                    <a:pt x="41" y="133"/>
                  </a:moveTo>
                  <a:lnTo>
                    <a:pt x="41" y="133"/>
                  </a:lnTo>
                  <a:lnTo>
                    <a:pt x="49" y="132"/>
                  </a:lnTo>
                  <a:lnTo>
                    <a:pt x="56" y="130"/>
                  </a:lnTo>
                  <a:lnTo>
                    <a:pt x="63" y="126"/>
                  </a:lnTo>
                  <a:lnTo>
                    <a:pt x="68" y="122"/>
                  </a:lnTo>
                  <a:lnTo>
                    <a:pt x="73" y="115"/>
                  </a:lnTo>
                  <a:lnTo>
                    <a:pt x="78" y="109"/>
                  </a:lnTo>
                  <a:lnTo>
                    <a:pt x="80" y="101"/>
                  </a:lnTo>
                  <a:lnTo>
                    <a:pt x="80" y="93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1"/>
                  </a:lnTo>
                  <a:lnTo>
                    <a:pt x="78" y="24"/>
                  </a:lnTo>
                  <a:lnTo>
                    <a:pt x="73" y="17"/>
                  </a:lnTo>
                  <a:lnTo>
                    <a:pt x="68" y="11"/>
                  </a:lnTo>
                  <a:lnTo>
                    <a:pt x="63" y="7"/>
                  </a:lnTo>
                  <a:lnTo>
                    <a:pt x="56" y="2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2" y="0"/>
                  </a:lnTo>
                  <a:lnTo>
                    <a:pt x="24" y="2"/>
                  </a:lnTo>
                  <a:lnTo>
                    <a:pt x="17" y="7"/>
                  </a:lnTo>
                  <a:lnTo>
                    <a:pt x="12" y="11"/>
                  </a:lnTo>
                  <a:lnTo>
                    <a:pt x="7" y="17"/>
                  </a:lnTo>
                  <a:lnTo>
                    <a:pt x="3" y="24"/>
                  </a:lnTo>
                  <a:lnTo>
                    <a:pt x="1" y="31"/>
                  </a:lnTo>
                  <a:lnTo>
                    <a:pt x="0" y="39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1" y="101"/>
                  </a:lnTo>
                  <a:lnTo>
                    <a:pt x="3" y="109"/>
                  </a:lnTo>
                  <a:lnTo>
                    <a:pt x="7" y="115"/>
                  </a:lnTo>
                  <a:lnTo>
                    <a:pt x="12" y="122"/>
                  </a:lnTo>
                  <a:lnTo>
                    <a:pt x="17" y="126"/>
                  </a:lnTo>
                  <a:lnTo>
                    <a:pt x="24" y="130"/>
                  </a:lnTo>
                  <a:lnTo>
                    <a:pt x="32" y="132"/>
                  </a:lnTo>
                  <a:lnTo>
                    <a:pt x="41" y="133"/>
                  </a:lnTo>
                  <a:lnTo>
                    <a:pt x="41" y="1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1" name="Freeform 42">
              <a:extLst>
                <a:ext uri="{FF2B5EF4-FFF2-40B4-BE49-F238E27FC236}">
                  <a16:creationId xmlns:a16="http://schemas.microsoft.com/office/drawing/2014/main" id="{FDFEF504-074C-4DAF-AAD1-18FA2FF2D0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9134" y="4203449"/>
              <a:ext cx="17992" cy="29912"/>
            </a:xfrm>
            <a:custGeom>
              <a:avLst/>
              <a:gdLst>
                <a:gd name="T0" fmla="*/ 41 w 80"/>
                <a:gd name="T1" fmla="*/ 133 h 133"/>
                <a:gd name="T2" fmla="*/ 41 w 80"/>
                <a:gd name="T3" fmla="*/ 133 h 133"/>
                <a:gd name="T4" fmla="*/ 49 w 80"/>
                <a:gd name="T5" fmla="*/ 132 h 133"/>
                <a:gd name="T6" fmla="*/ 56 w 80"/>
                <a:gd name="T7" fmla="*/ 130 h 133"/>
                <a:gd name="T8" fmla="*/ 63 w 80"/>
                <a:gd name="T9" fmla="*/ 126 h 133"/>
                <a:gd name="T10" fmla="*/ 69 w 80"/>
                <a:gd name="T11" fmla="*/ 122 h 133"/>
                <a:gd name="T12" fmla="*/ 73 w 80"/>
                <a:gd name="T13" fmla="*/ 115 h 133"/>
                <a:gd name="T14" fmla="*/ 78 w 80"/>
                <a:gd name="T15" fmla="*/ 109 h 133"/>
                <a:gd name="T16" fmla="*/ 80 w 80"/>
                <a:gd name="T17" fmla="*/ 101 h 133"/>
                <a:gd name="T18" fmla="*/ 80 w 80"/>
                <a:gd name="T19" fmla="*/ 93 h 133"/>
                <a:gd name="T20" fmla="*/ 80 w 80"/>
                <a:gd name="T21" fmla="*/ 39 h 133"/>
                <a:gd name="T22" fmla="*/ 80 w 80"/>
                <a:gd name="T23" fmla="*/ 39 h 133"/>
                <a:gd name="T24" fmla="*/ 80 w 80"/>
                <a:gd name="T25" fmla="*/ 31 h 133"/>
                <a:gd name="T26" fmla="*/ 78 w 80"/>
                <a:gd name="T27" fmla="*/ 24 h 133"/>
                <a:gd name="T28" fmla="*/ 73 w 80"/>
                <a:gd name="T29" fmla="*/ 17 h 133"/>
                <a:gd name="T30" fmla="*/ 69 w 80"/>
                <a:gd name="T31" fmla="*/ 11 h 133"/>
                <a:gd name="T32" fmla="*/ 63 w 80"/>
                <a:gd name="T33" fmla="*/ 7 h 133"/>
                <a:gd name="T34" fmla="*/ 56 w 80"/>
                <a:gd name="T35" fmla="*/ 2 h 133"/>
                <a:gd name="T36" fmla="*/ 49 w 80"/>
                <a:gd name="T37" fmla="*/ 0 h 133"/>
                <a:gd name="T38" fmla="*/ 41 w 80"/>
                <a:gd name="T39" fmla="*/ 0 h 133"/>
                <a:gd name="T40" fmla="*/ 41 w 80"/>
                <a:gd name="T41" fmla="*/ 0 h 133"/>
                <a:gd name="T42" fmla="*/ 33 w 80"/>
                <a:gd name="T43" fmla="*/ 0 h 133"/>
                <a:gd name="T44" fmla="*/ 25 w 80"/>
                <a:gd name="T45" fmla="*/ 2 h 133"/>
                <a:gd name="T46" fmla="*/ 19 w 80"/>
                <a:gd name="T47" fmla="*/ 7 h 133"/>
                <a:gd name="T48" fmla="*/ 12 w 80"/>
                <a:gd name="T49" fmla="*/ 11 h 133"/>
                <a:gd name="T50" fmla="*/ 7 w 80"/>
                <a:gd name="T51" fmla="*/ 17 h 133"/>
                <a:gd name="T52" fmla="*/ 4 w 80"/>
                <a:gd name="T53" fmla="*/ 24 h 133"/>
                <a:gd name="T54" fmla="*/ 1 w 80"/>
                <a:gd name="T55" fmla="*/ 31 h 133"/>
                <a:gd name="T56" fmla="*/ 0 w 80"/>
                <a:gd name="T57" fmla="*/ 39 h 133"/>
                <a:gd name="T58" fmla="*/ 0 w 80"/>
                <a:gd name="T59" fmla="*/ 93 h 133"/>
                <a:gd name="T60" fmla="*/ 0 w 80"/>
                <a:gd name="T61" fmla="*/ 93 h 133"/>
                <a:gd name="T62" fmla="*/ 1 w 80"/>
                <a:gd name="T63" fmla="*/ 101 h 133"/>
                <a:gd name="T64" fmla="*/ 4 w 80"/>
                <a:gd name="T65" fmla="*/ 109 h 133"/>
                <a:gd name="T66" fmla="*/ 7 w 80"/>
                <a:gd name="T67" fmla="*/ 115 h 133"/>
                <a:gd name="T68" fmla="*/ 12 w 80"/>
                <a:gd name="T69" fmla="*/ 122 h 133"/>
                <a:gd name="T70" fmla="*/ 19 w 80"/>
                <a:gd name="T71" fmla="*/ 126 h 133"/>
                <a:gd name="T72" fmla="*/ 25 w 80"/>
                <a:gd name="T73" fmla="*/ 130 h 133"/>
                <a:gd name="T74" fmla="*/ 33 w 80"/>
                <a:gd name="T75" fmla="*/ 132 h 133"/>
                <a:gd name="T76" fmla="*/ 41 w 80"/>
                <a:gd name="T77" fmla="*/ 133 h 133"/>
                <a:gd name="T78" fmla="*/ 41 w 80"/>
                <a:gd name="T7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3">
                  <a:moveTo>
                    <a:pt x="41" y="133"/>
                  </a:moveTo>
                  <a:lnTo>
                    <a:pt x="41" y="133"/>
                  </a:lnTo>
                  <a:lnTo>
                    <a:pt x="49" y="132"/>
                  </a:lnTo>
                  <a:lnTo>
                    <a:pt x="56" y="130"/>
                  </a:lnTo>
                  <a:lnTo>
                    <a:pt x="63" y="126"/>
                  </a:lnTo>
                  <a:lnTo>
                    <a:pt x="69" y="122"/>
                  </a:lnTo>
                  <a:lnTo>
                    <a:pt x="73" y="115"/>
                  </a:lnTo>
                  <a:lnTo>
                    <a:pt x="78" y="109"/>
                  </a:lnTo>
                  <a:lnTo>
                    <a:pt x="80" y="101"/>
                  </a:lnTo>
                  <a:lnTo>
                    <a:pt x="80" y="93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1"/>
                  </a:lnTo>
                  <a:lnTo>
                    <a:pt x="78" y="24"/>
                  </a:lnTo>
                  <a:lnTo>
                    <a:pt x="73" y="17"/>
                  </a:lnTo>
                  <a:lnTo>
                    <a:pt x="69" y="11"/>
                  </a:lnTo>
                  <a:lnTo>
                    <a:pt x="63" y="7"/>
                  </a:lnTo>
                  <a:lnTo>
                    <a:pt x="56" y="2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3" y="0"/>
                  </a:lnTo>
                  <a:lnTo>
                    <a:pt x="25" y="2"/>
                  </a:lnTo>
                  <a:lnTo>
                    <a:pt x="19" y="7"/>
                  </a:lnTo>
                  <a:lnTo>
                    <a:pt x="12" y="11"/>
                  </a:lnTo>
                  <a:lnTo>
                    <a:pt x="7" y="17"/>
                  </a:lnTo>
                  <a:lnTo>
                    <a:pt x="4" y="24"/>
                  </a:lnTo>
                  <a:lnTo>
                    <a:pt x="1" y="31"/>
                  </a:lnTo>
                  <a:lnTo>
                    <a:pt x="0" y="39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1" y="101"/>
                  </a:lnTo>
                  <a:lnTo>
                    <a:pt x="4" y="109"/>
                  </a:lnTo>
                  <a:lnTo>
                    <a:pt x="7" y="115"/>
                  </a:lnTo>
                  <a:lnTo>
                    <a:pt x="12" y="122"/>
                  </a:lnTo>
                  <a:lnTo>
                    <a:pt x="19" y="126"/>
                  </a:lnTo>
                  <a:lnTo>
                    <a:pt x="25" y="130"/>
                  </a:lnTo>
                  <a:lnTo>
                    <a:pt x="33" y="132"/>
                  </a:lnTo>
                  <a:lnTo>
                    <a:pt x="41" y="133"/>
                  </a:lnTo>
                  <a:lnTo>
                    <a:pt x="41" y="1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2" name="Freeform 43">
              <a:extLst>
                <a:ext uri="{FF2B5EF4-FFF2-40B4-BE49-F238E27FC236}">
                  <a16:creationId xmlns:a16="http://schemas.microsoft.com/office/drawing/2014/main" id="{FCE44394-B4F2-467E-A521-D248FA2D8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5118" y="4203449"/>
              <a:ext cx="17992" cy="29912"/>
            </a:xfrm>
            <a:custGeom>
              <a:avLst/>
              <a:gdLst>
                <a:gd name="T0" fmla="*/ 41 w 80"/>
                <a:gd name="T1" fmla="*/ 133 h 133"/>
                <a:gd name="T2" fmla="*/ 41 w 80"/>
                <a:gd name="T3" fmla="*/ 133 h 133"/>
                <a:gd name="T4" fmla="*/ 49 w 80"/>
                <a:gd name="T5" fmla="*/ 132 h 133"/>
                <a:gd name="T6" fmla="*/ 56 w 80"/>
                <a:gd name="T7" fmla="*/ 130 h 133"/>
                <a:gd name="T8" fmla="*/ 63 w 80"/>
                <a:gd name="T9" fmla="*/ 126 h 133"/>
                <a:gd name="T10" fmla="*/ 69 w 80"/>
                <a:gd name="T11" fmla="*/ 122 h 133"/>
                <a:gd name="T12" fmla="*/ 75 w 80"/>
                <a:gd name="T13" fmla="*/ 115 h 133"/>
                <a:gd name="T14" fmla="*/ 78 w 80"/>
                <a:gd name="T15" fmla="*/ 109 h 133"/>
                <a:gd name="T16" fmla="*/ 80 w 80"/>
                <a:gd name="T17" fmla="*/ 101 h 133"/>
                <a:gd name="T18" fmla="*/ 80 w 80"/>
                <a:gd name="T19" fmla="*/ 93 h 133"/>
                <a:gd name="T20" fmla="*/ 80 w 80"/>
                <a:gd name="T21" fmla="*/ 39 h 133"/>
                <a:gd name="T22" fmla="*/ 80 w 80"/>
                <a:gd name="T23" fmla="*/ 39 h 133"/>
                <a:gd name="T24" fmla="*/ 80 w 80"/>
                <a:gd name="T25" fmla="*/ 31 h 133"/>
                <a:gd name="T26" fmla="*/ 78 w 80"/>
                <a:gd name="T27" fmla="*/ 24 h 133"/>
                <a:gd name="T28" fmla="*/ 75 w 80"/>
                <a:gd name="T29" fmla="*/ 17 h 133"/>
                <a:gd name="T30" fmla="*/ 69 w 80"/>
                <a:gd name="T31" fmla="*/ 11 h 133"/>
                <a:gd name="T32" fmla="*/ 63 w 80"/>
                <a:gd name="T33" fmla="*/ 7 h 133"/>
                <a:gd name="T34" fmla="*/ 56 w 80"/>
                <a:gd name="T35" fmla="*/ 2 h 133"/>
                <a:gd name="T36" fmla="*/ 49 w 80"/>
                <a:gd name="T37" fmla="*/ 0 h 133"/>
                <a:gd name="T38" fmla="*/ 41 w 80"/>
                <a:gd name="T39" fmla="*/ 0 h 133"/>
                <a:gd name="T40" fmla="*/ 41 w 80"/>
                <a:gd name="T41" fmla="*/ 0 h 133"/>
                <a:gd name="T42" fmla="*/ 33 w 80"/>
                <a:gd name="T43" fmla="*/ 0 h 133"/>
                <a:gd name="T44" fmla="*/ 25 w 80"/>
                <a:gd name="T45" fmla="*/ 2 h 133"/>
                <a:gd name="T46" fmla="*/ 19 w 80"/>
                <a:gd name="T47" fmla="*/ 7 h 133"/>
                <a:gd name="T48" fmla="*/ 13 w 80"/>
                <a:gd name="T49" fmla="*/ 11 h 133"/>
                <a:gd name="T50" fmla="*/ 7 w 80"/>
                <a:gd name="T51" fmla="*/ 17 h 133"/>
                <a:gd name="T52" fmla="*/ 4 w 80"/>
                <a:gd name="T53" fmla="*/ 24 h 133"/>
                <a:gd name="T54" fmla="*/ 2 w 80"/>
                <a:gd name="T55" fmla="*/ 31 h 133"/>
                <a:gd name="T56" fmla="*/ 0 w 80"/>
                <a:gd name="T57" fmla="*/ 39 h 133"/>
                <a:gd name="T58" fmla="*/ 0 w 80"/>
                <a:gd name="T59" fmla="*/ 93 h 133"/>
                <a:gd name="T60" fmla="*/ 0 w 80"/>
                <a:gd name="T61" fmla="*/ 93 h 133"/>
                <a:gd name="T62" fmla="*/ 2 w 80"/>
                <a:gd name="T63" fmla="*/ 101 h 133"/>
                <a:gd name="T64" fmla="*/ 4 w 80"/>
                <a:gd name="T65" fmla="*/ 109 h 133"/>
                <a:gd name="T66" fmla="*/ 7 w 80"/>
                <a:gd name="T67" fmla="*/ 115 h 133"/>
                <a:gd name="T68" fmla="*/ 13 w 80"/>
                <a:gd name="T69" fmla="*/ 122 h 133"/>
                <a:gd name="T70" fmla="*/ 19 w 80"/>
                <a:gd name="T71" fmla="*/ 126 h 133"/>
                <a:gd name="T72" fmla="*/ 25 w 80"/>
                <a:gd name="T73" fmla="*/ 130 h 133"/>
                <a:gd name="T74" fmla="*/ 33 w 80"/>
                <a:gd name="T75" fmla="*/ 132 h 133"/>
                <a:gd name="T76" fmla="*/ 41 w 80"/>
                <a:gd name="T77" fmla="*/ 133 h 133"/>
                <a:gd name="T78" fmla="*/ 41 w 80"/>
                <a:gd name="T7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3">
                  <a:moveTo>
                    <a:pt x="41" y="133"/>
                  </a:moveTo>
                  <a:lnTo>
                    <a:pt x="41" y="133"/>
                  </a:lnTo>
                  <a:lnTo>
                    <a:pt x="49" y="132"/>
                  </a:lnTo>
                  <a:lnTo>
                    <a:pt x="56" y="130"/>
                  </a:lnTo>
                  <a:lnTo>
                    <a:pt x="63" y="126"/>
                  </a:lnTo>
                  <a:lnTo>
                    <a:pt x="69" y="122"/>
                  </a:lnTo>
                  <a:lnTo>
                    <a:pt x="75" y="115"/>
                  </a:lnTo>
                  <a:lnTo>
                    <a:pt x="78" y="109"/>
                  </a:lnTo>
                  <a:lnTo>
                    <a:pt x="80" y="101"/>
                  </a:lnTo>
                  <a:lnTo>
                    <a:pt x="80" y="93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1"/>
                  </a:lnTo>
                  <a:lnTo>
                    <a:pt x="78" y="24"/>
                  </a:lnTo>
                  <a:lnTo>
                    <a:pt x="75" y="17"/>
                  </a:lnTo>
                  <a:lnTo>
                    <a:pt x="69" y="11"/>
                  </a:lnTo>
                  <a:lnTo>
                    <a:pt x="63" y="7"/>
                  </a:lnTo>
                  <a:lnTo>
                    <a:pt x="56" y="2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3" y="0"/>
                  </a:lnTo>
                  <a:lnTo>
                    <a:pt x="25" y="2"/>
                  </a:lnTo>
                  <a:lnTo>
                    <a:pt x="19" y="7"/>
                  </a:lnTo>
                  <a:lnTo>
                    <a:pt x="13" y="11"/>
                  </a:lnTo>
                  <a:lnTo>
                    <a:pt x="7" y="17"/>
                  </a:lnTo>
                  <a:lnTo>
                    <a:pt x="4" y="24"/>
                  </a:lnTo>
                  <a:lnTo>
                    <a:pt x="2" y="31"/>
                  </a:lnTo>
                  <a:lnTo>
                    <a:pt x="0" y="39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2" y="101"/>
                  </a:lnTo>
                  <a:lnTo>
                    <a:pt x="4" y="109"/>
                  </a:lnTo>
                  <a:lnTo>
                    <a:pt x="7" y="115"/>
                  </a:lnTo>
                  <a:lnTo>
                    <a:pt x="13" y="122"/>
                  </a:lnTo>
                  <a:lnTo>
                    <a:pt x="19" y="126"/>
                  </a:lnTo>
                  <a:lnTo>
                    <a:pt x="25" y="130"/>
                  </a:lnTo>
                  <a:lnTo>
                    <a:pt x="33" y="132"/>
                  </a:lnTo>
                  <a:lnTo>
                    <a:pt x="41" y="133"/>
                  </a:lnTo>
                  <a:lnTo>
                    <a:pt x="41" y="1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3" name="Freeform 44">
              <a:extLst>
                <a:ext uri="{FF2B5EF4-FFF2-40B4-BE49-F238E27FC236}">
                  <a16:creationId xmlns:a16="http://schemas.microsoft.com/office/drawing/2014/main" id="{8B21A372-4A98-4D7D-A73C-75229EFF6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3150" y="4263497"/>
              <a:ext cx="17992" cy="29912"/>
            </a:xfrm>
            <a:custGeom>
              <a:avLst/>
              <a:gdLst>
                <a:gd name="T0" fmla="*/ 41 w 80"/>
                <a:gd name="T1" fmla="*/ 133 h 133"/>
                <a:gd name="T2" fmla="*/ 41 w 80"/>
                <a:gd name="T3" fmla="*/ 133 h 133"/>
                <a:gd name="T4" fmla="*/ 49 w 80"/>
                <a:gd name="T5" fmla="*/ 132 h 133"/>
                <a:gd name="T6" fmla="*/ 56 w 80"/>
                <a:gd name="T7" fmla="*/ 130 h 133"/>
                <a:gd name="T8" fmla="*/ 63 w 80"/>
                <a:gd name="T9" fmla="*/ 127 h 133"/>
                <a:gd name="T10" fmla="*/ 68 w 80"/>
                <a:gd name="T11" fmla="*/ 122 h 133"/>
                <a:gd name="T12" fmla="*/ 73 w 80"/>
                <a:gd name="T13" fmla="*/ 116 h 133"/>
                <a:gd name="T14" fmla="*/ 78 w 80"/>
                <a:gd name="T15" fmla="*/ 109 h 133"/>
                <a:gd name="T16" fmla="*/ 80 w 80"/>
                <a:gd name="T17" fmla="*/ 101 h 133"/>
                <a:gd name="T18" fmla="*/ 80 w 80"/>
                <a:gd name="T19" fmla="*/ 93 h 133"/>
                <a:gd name="T20" fmla="*/ 80 w 80"/>
                <a:gd name="T21" fmla="*/ 39 h 133"/>
                <a:gd name="T22" fmla="*/ 80 w 80"/>
                <a:gd name="T23" fmla="*/ 39 h 133"/>
                <a:gd name="T24" fmla="*/ 80 w 80"/>
                <a:gd name="T25" fmla="*/ 31 h 133"/>
                <a:gd name="T26" fmla="*/ 78 w 80"/>
                <a:gd name="T27" fmla="*/ 24 h 133"/>
                <a:gd name="T28" fmla="*/ 73 w 80"/>
                <a:gd name="T29" fmla="*/ 17 h 133"/>
                <a:gd name="T30" fmla="*/ 68 w 80"/>
                <a:gd name="T31" fmla="*/ 12 h 133"/>
                <a:gd name="T32" fmla="*/ 63 w 80"/>
                <a:gd name="T33" fmla="*/ 7 h 133"/>
                <a:gd name="T34" fmla="*/ 56 w 80"/>
                <a:gd name="T35" fmla="*/ 2 h 133"/>
                <a:gd name="T36" fmla="*/ 49 w 80"/>
                <a:gd name="T37" fmla="*/ 0 h 133"/>
                <a:gd name="T38" fmla="*/ 41 w 80"/>
                <a:gd name="T39" fmla="*/ 0 h 133"/>
                <a:gd name="T40" fmla="*/ 41 w 80"/>
                <a:gd name="T41" fmla="*/ 0 h 133"/>
                <a:gd name="T42" fmla="*/ 32 w 80"/>
                <a:gd name="T43" fmla="*/ 0 h 133"/>
                <a:gd name="T44" fmla="*/ 24 w 80"/>
                <a:gd name="T45" fmla="*/ 2 h 133"/>
                <a:gd name="T46" fmla="*/ 17 w 80"/>
                <a:gd name="T47" fmla="*/ 7 h 133"/>
                <a:gd name="T48" fmla="*/ 12 w 80"/>
                <a:gd name="T49" fmla="*/ 12 h 133"/>
                <a:gd name="T50" fmla="*/ 7 w 80"/>
                <a:gd name="T51" fmla="*/ 17 h 133"/>
                <a:gd name="T52" fmla="*/ 3 w 80"/>
                <a:gd name="T53" fmla="*/ 24 h 133"/>
                <a:gd name="T54" fmla="*/ 1 w 80"/>
                <a:gd name="T55" fmla="*/ 31 h 133"/>
                <a:gd name="T56" fmla="*/ 0 w 80"/>
                <a:gd name="T57" fmla="*/ 39 h 133"/>
                <a:gd name="T58" fmla="*/ 0 w 80"/>
                <a:gd name="T59" fmla="*/ 93 h 133"/>
                <a:gd name="T60" fmla="*/ 0 w 80"/>
                <a:gd name="T61" fmla="*/ 93 h 133"/>
                <a:gd name="T62" fmla="*/ 1 w 80"/>
                <a:gd name="T63" fmla="*/ 101 h 133"/>
                <a:gd name="T64" fmla="*/ 3 w 80"/>
                <a:gd name="T65" fmla="*/ 109 h 133"/>
                <a:gd name="T66" fmla="*/ 7 w 80"/>
                <a:gd name="T67" fmla="*/ 116 h 133"/>
                <a:gd name="T68" fmla="*/ 12 w 80"/>
                <a:gd name="T69" fmla="*/ 122 h 133"/>
                <a:gd name="T70" fmla="*/ 17 w 80"/>
                <a:gd name="T71" fmla="*/ 127 h 133"/>
                <a:gd name="T72" fmla="*/ 24 w 80"/>
                <a:gd name="T73" fmla="*/ 130 h 133"/>
                <a:gd name="T74" fmla="*/ 32 w 80"/>
                <a:gd name="T75" fmla="*/ 132 h 133"/>
                <a:gd name="T76" fmla="*/ 41 w 80"/>
                <a:gd name="T77" fmla="*/ 133 h 133"/>
                <a:gd name="T78" fmla="*/ 41 w 80"/>
                <a:gd name="T7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3">
                  <a:moveTo>
                    <a:pt x="41" y="133"/>
                  </a:moveTo>
                  <a:lnTo>
                    <a:pt x="41" y="133"/>
                  </a:lnTo>
                  <a:lnTo>
                    <a:pt x="49" y="132"/>
                  </a:lnTo>
                  <a:lnTo>
                    <a:pt x="56" y="130"/>
                  </a:lnTo>
                  <a:lnTo>
                    <a:pt x="63" y="127"/>
                  </a:lnTo>
                  <a:lnTo>
                    <a:pt x="68" y="122"/>
                  </a:lnTo>
                  <a:lnTo>
                    <a:pt x="73" y="116"/>
                  </a:lnTo>
                  <a:lnTo>
                    <a:pt x="78" y="109"/>
                  </a:lnTo>
                  <a:lnTo>
                    <a:pt x="80" y="101"/>
                  </a:lnTo>
                  <a:lnTo>
                    <a:pt x="80" y="93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1"/>
                  </a:lnTo>
                  <a:lnTo>
                    <a:pt x="78" y="24"/>
                  </a:lnTo>
                  <a:lnTo>
                    <a:pt x="73" y="17"/>
                  </a:lnTo>
                  <a:lnTo>
                    <a:pt x="68" y="12"/>
                  </a:lnTo>
                  <a:lnTo>
                    <a:pt x="63" y="7"/>
                  </a:lnTo>
                  <a:lnTo>
                    <a:pt x="56" y="2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2" y="0"/>
                  </a:lnTo>
                  <a:lnTo>
                    <a:pt x="24" y="2"/>
                  </a:lnTo>
                  <a:lnTo>
                    <a:pt x="17" y="7"/>
                  </a:lnTo>
                  <a:lnTo>
                    <a:pt x="12" y="12"/>
                  </a:lnTo>
                  <a:lnTo>
                    <a:pt x="7" y="17"/>
                  </a:lnTo>
                  <a:lnTo>
                    <a:pt x="3" y="24"/>
                  </a:lnTo>
                  <a:lnTo>
                    <a:pt x="1" y="31"/>
                  </a:lnTo>
                  <a:lnTo>
                    <a:pt x="0" y="39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1" y="101"/>
                  </a:lnTo>
                  <a:lnTo>
                    <a:pt x="3" y="109"/>
                  </a:lnTo>
                  <a:lnTo>
                    <a:pt x="7" y="116"/>
                  </a:lnTo>
                  <a:lnTo>
                    <a:pt x="12" y="122"/>
                  </a:lnTo>
                  <a:lnTo>
                    <a:pt x="17" y="127"/>
                  </a:lnTo>
                  <a:lnTo>
                    <a:pt x="24" y="130"/>
                  </a:lnTo>
                  <a:lnTo>
                    <a:pt x="32" y="132"/>
                  </a:lnTo>
                  <a:lnTo>
                    <a:pt x="41" y="133"/>
                  </a:lnTo>
                  <a:lnTo>
                    <a:pt x="41" y="1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4" name="Freeform 45">
              <a:extLst>
                <a:ext uri="{FF2B5EF4-FFF2-40B4-BE49-F238E27FC236}">
                  <a16:creationId xmlns:a16="http://schemas.microsoft.com/office/drawing/2014/main" id="{EB58AE89-935D-49AB-83B2-2AF8B1DFF8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9134" y="4263497"/>
              <a:ext cx="17992" cy="29912"/>
            </a:xfrm>
            <a:custGeom>
              <a:avLst/>
              <a:gdLst>
                <a:gd name="T0" fmla="*/ 41 w 80"/>
                <a:gd name="T1" fmla="*/ 133 h 133"/>
                <a:gd name="T2" fmla="*/ 41 w 80"/>
                <a:gd name="T3" fmla="*/ 133 h 133"/>
                <a:gd name="T4" fmla="*/ 49 w 80"/>
                <a:gd name="T5" fmla="*/ 132 h 133"/>
                <a:gd name="T6" fmla="*/ 56 w 80"/>
                <a:gd name="T7" fmla="*/ 130 h 133"/>
                <a:gd name="T8" fmla="*/ 63 w 80"/>
                <a:gd name="T9" fmla="*/ 127 h 133"/>
                <a:gd name="T10" fmla="*/ 69 w 80"/>
                <a:gd name="T11" fmla="*/ 122 h 133"/>
                <a:gd name="T12" fmla="*/ 73 w 80"/>
                <a:gd name="T13" fmla="*/ 116 h 133"/>
                <a:gd name="T14" fmla="*/ 78 w 80"/>
                <a:gd name="T15" fmla="*/ 109 h 133"/>
                <a:gd name="T16" fmla="*/ 80 w 80"/>
                <a:gd name="T17" fmla="*/ 101 h 133"/>
                <a:gd name="T18" fmla="*/ 80 w 80"/>
                <a:gd name="T19" fmla="*/ 93 h 133"/>
                <a:gd name="T20" fmla="*/ 80 w 80"/>
                <a:gd name="T21" fmla="*/ 39 h 133"/>
                <a:gd name="T22" fmla="*/ 80 w 80"/>
                <a:gd name="T23" fmla="*/ 39 h 133"/>
                <a:gd name="T24" fmla="*/ 80 w 80"/>
                <a:gd name="T25" fmla="*/ 31 h 133"/>
                <a:gd name="T26" fmla="*/ 78 w 80"/>
                <a:gd name="T27" fmla="*/ 24 h 133"/>
                <a:gd name="T28" fmla="*/ 73 w 80"/>
                <a:gd name="T29" fmla="*/ 17 h 133"/>
                <a:gd name="T30" fmla="*/ 69 w 80"/>
                <a:gd name="T31" fmla="*/ 12 h 133"/>
                <a:gd name="T32" fmla="*/ 63 w 80"/>
                <a:gd name="T33" fmla="*/ 7 h 133"/>
                <a:gd name="T34" fmla="*/ 56 w 80"/>
                <a:gd name="T35" fmla="*/ 2 h 133"/>
                <a:gd name="T36" fmla="*/ 49 w 80"/>
                <a:gd name="T37" fmla="*/ 0 h 133"/>
                <a:gd name="T38" fmla="*/ 41 w 80"/>
                <a:gd name="T39" fmla="*/ 0 h 133"/>
                <a:gd name="T40" fmla="*/ 41 w 80"/>
                <a:gd name="T41" fmla="*/ 0 h 133"/>
                <a:gd name="T42" fmla="*/ 33 w 80"/>
                <a:gd name="T43" fmla="*/ 0 h 133"/>
                <a:gd name="T44" fmla="*/ 25 w 80"/>
                <a:gd name="T45" fmla="*/ 2 h 133"/>
                <a:gd name="T46" fmla="*/ 19 w 80"/>
                <a:gd name="T47" fmla="*/ 7 h 133"/>
                <a:gd name="T48" fmla="*/ 12 w 80"/>
                <a:gd name="T49" fmla="*/ 12 h 133"/>
                <a:gd name="T50" fmla="*/ 7 w 80"/>
                <a:gd name="T51" fmla="*/ 17 h 133"/>
                <a:gd name="T52" fmla="*/ 4 w 80"/>
                <a:gd name="T53" fmla="*/ 24 h 133"/>
                <a:gd name="T54" fmla="*/ 1 w 80"/>
                <a:gd name="T55" fmla="*/ 31 h 133"/>
                <a:gd name="T56" fmla="*/ 0 w 80"/>
                <a:gd name="T57" fmla="*/ 39 h 133"/>
                <a:gd name="T58" fmla="*/ 0 w 80"/>
                <a:gd name="T59" fmla="*/ 93 h 133"/>
                <a:gd name="T60" fmla="*/ 0 w 80"/>
                <a:gd name="T61" fmla="*/ 93 h 133"/>
                <a:gd name="T62" fmla="*/ 1 w 80"/>
                <a:gd name="T63" fmla="*/ 101 h 133"/>
                <a:gd name="T64" fmla="*/ 4 w 80"/>
                <a:gd name="T65" fmla="*/ 109 h 133"/>
                <a:gd name="T66" fmla="*/ 7 w 80"/>
                <a:gd name="T67" fmla="*/ 116 h 133"/>
                <a:gd name="T68" fmla="*/ 12 w 80"/>
                <a:gd name="T69" fmla="*/ 122 h 133"/>
                <a:gd name="T70" fmla="*/ 19 w 80"/>
                <a:gd name="T71" fmla="*/ 127 h 133"/>
                <a:gd name="T72" fmla="*/ 25 w 80"/>
                <a:gd name="T73" fmla="*/ 130 h 133"/>
                <a:gd name="T74" fmla="*/ 33 w 80"/>
                <a:gd name="T75" fmla="*/ 132 h 133"/>
                <a:gd name="T76" fmla="*/ 41 w 80"/>
                <a:gd name="T77" fmla="*/ 133 h 133"/>
                <a:gd name="T78" fmla="*/ 41 w 80"/>
                <a:gd name="T7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3">
                  <a:moveTo>
                    <a:pt x="41" y="133"/>
                  </a:moveTo>
                  <a:lnTo>
                    <a:pt x="41" y="133"/>
                  </a:lnTo>
                  <a:lnTo>
                    <a:pt x="49" y="132"/>
                  </a:lnTo>
                  <a:lnTo>
                    <a:pt x="56" y="130"/>
                  </a:lnTo>
                  <a:lnTo>
                    <a:pt x="63" y="127"/>
                  </a:lnTo>
                  <a:lnTo>
                    <a:pt x="69" y="122"/>
                  </a:lnTo>
                  <a:lnTo>
                    <a:pt x="73" y="116"/>
                  </a:lnTo>
                  <a:lnTo>
                    <a:pt x="78" y="109"/>
                  </a:lnTo>
                  <a:lnTo>
                    <a:pt x="80" y="101"/>
                  </a:lnTo>
                  <a:lnTo>
                    <a:pt x="80" y="93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1"/>
                  </a:lnTo>
                  <a:lnTo>
                    <a:pt x="78" y="24"/>
                  </a:lnTo>
                  <a:lnTo>
                    <a:pt x="73" y="17"/>
                  </a:lnTo>
                  <a:lnTo>
                    <a:pt x="69" y="12"/>
                  </a:lnTo>
                  <a:lnTo>
                    <a:pt x="63" y="7"/>
                  </a:lnTo>
                  <a:lnTo>
                    <a:pt x="56" y="2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3" y="0"/>
                  </a:lnTo>
                  <a:lnTo>
                    <a:pt x="25" y="2"/>
                  </a:lnTo>
                  <a:lnTo>
                    <a:pt x="19" y="7"/>
                  </a:lnTo>
                  <a:lnTo>
                    <a:pt x="12" y="12"/>
                  </a:lnTo>
                  <a:lnTo>
                    <a:pt x="7" y="17"/>
                  </a:lnTo>
                  <a:lnTo>
                    <a:pt x="4" y="24"/>
                  </a:lnTo>
                  <a:lnTo>
                    <a:pt x="1" y="31"/>
                  </a:lnTo>
                  <a:lnTo>
                    <a:pt x="0" y="39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1" y="101"/>
                  </a:lnTo>
                  <a:lnTo>
                    <a:pt x="4" y="109"/>
                  </a:lnTo>
                  <a:lnTo>
                    <a:pt x="7" y="116"/>
                  </a:lnTo>
                  <a:lnTo>
                    <a:pt x="12" y="122"/>
                  </a:lnTo>
                  <a:lnTo>
                    <a:pt x="19" y="127"/>
                  </a:lnTo>
                  <a:lnTo>
                    <a:pt x="25" y="130"/>
                  </a:lnTo>
                  <a:lnTo>
                    <a:pt x="33" y="132"/>
                  </a:lnTo>
                  <a:lnTo>
                    <a:pt x="41" y="133"/>
                  </a:lnTo>
                  <a:lnTo>
                    <a:pt x="41" y="1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5" name="Freeform 46">
              <a:extLst>
                <a:ext uri="{FF2B5EF4-FFF2-40B4-BE49-F238E27FC236}">
                  <a16:creationId xmlns:a16="http://schemas.microsoft.com/office/drawing/2014/main" id="{D943C4CC-8827-4BDE-B7A2-9637B6F50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5118" y="4263497"/>
              <a:ext cx="17992" cy="29912"/>
            </a:xfrm>
            <a:custGeom>
              <a:avLst/>
              <a:gdLst>
                <a:gd name="T0" fmla="*/ 41 w 80"/>
                <a:gd name="T1" fmla="*/ 133 h 133"/>
                <a:gd name="T2" fmla="*/ 41 w 80"/>
                <a:gd name="T3" fmla="*/ 133 h 133"/>
                <a:gd name="T4" fmla="*/ 49 w 80"/>
                <a:gd name="T5" fmla="*/ 132 h 133"/>
                <a:gd name="T6" fmla="*/ 56 w 80"/>
                <a:gd name="T7" fmla="*/ 130 h 133"/>
                <a:gd name="T8" fmla="*/ 63 w 80"/>
                <a:gd name="T9" fmla="*/ 127 h 133"/>
                <a:gd name="T10" fmla="*/ 69 w 80"/>
                <a:gd name="T11" fmla="*/ 122 h 133"/>
                <a:gd name="T12" fmla="*/ 75 w 80"/>
                <a:gd name="T13" fmla="*/ 116 h 133"/>
                <a:gd name="T14" fmla="*/ 78 w 80"/>
                <a:gd name="T15" fmla="*/ 109 h 133"/>
                <a:gd name="T16" fmla="*/ 80 w 80"/>
                <a:gd name="T17" fmla="*/ 101 h 133"/>
                <a:gd name="T18" fmla="*/ 80 w 80"/>
                <a:gd name="T19" fmla="*/ 93 h 133"/>
                <a:gd name="T20" fmla="*/ 80 w 80"/>
                <a:gd name="T21" fmla="*/ 39 h 133"/>
                <a:gd name="T22" fmla="*/ 80 w 80"/>
                <a:gd name="T23" fmla="*/ 39 h 133"/>
                <a:gd name="T24" fmla="*/ 80 w 80"/>
                <a:gd name="T25" fmla="*/ 31 h 133"/>
                <a:gd name="T26" fmla="*/ 78 w 80"/>
                <a:gd name="T27" fmla="*/ 24 h 133"/>
                <a:gd name="T28" fmla="*/ 75 w 80"/>
                <a:gd name="T29" fmla="*/ 17 h 133"/>
                <a:gd name="T30" fmla="*/ 69 w 80"/>
                <a:gd name="T31" fmla="*/ 12 h 133"/>
                <a:gd name="T32" fmla="*/ 63 w 80"/>
                <a:gd name="T33" fmla="*/ 7 h 133"/>
                <a:gd name="T34" fmla="*/ 56 w 80"/>
                <a:gd name="T35" fmla="*/ 2 h 133"/>
                <a:gd name="T36" fmla="*/ 49 w 80"/>
                <a:gd name="T37" fmla="*/ 0 h 133"/>
                <a:gd name="T38" fmla="*/ 41 w 80"/>
                <a:gd name="T39" fmla="*/ 0 h 133"/>
                <a:gd name="T40" fmla="*/ 41 w 80"/>
                <a:gd name="T41" fmla="*/ 0 h 133"/>
                <a:gd name="T42" fmla="*/ 33 w 80"/>
                <a:gd name="T43" fmla="*/ 0 h 133"/>
                <a:gd name="T44" fmla="*/ 25 w 80"/>
                <a:gd name="T45" fmla="*/ 2 h 133"/>
                <a:gd name="T46" fmla="*/ 19 w 80"/>
                <a:gd name="T47" fmla="*/ 7 h 133"/>
                <a:gd name="T48" fmla="*/ 13 w 80"/>
                <a:gd name="T49" fmla="*/ 12 h 133"/>
                <a:gd name="T50" fmla="*/ 7 w 80"/>
                <a:gd name="T51" fmla="*/ 17 h 133"/>
                <a:gd name="T52" fmla="*/ 4 w 80"/>
                <a:gd name="T53" fmla="*/ 24 h 133"/>
                <a:gd name="T54" fmla="*/ 2 w 80"/>
                <a:gd name="T55" fmla="*/ 31 h 133"/>
                <a:gd name="T56" fmla="*/ 0 w 80"/>
                <a:gd name="T57" fmla="*/ 39 h 133"/>
                <a:gd name="T58" fmla="*/ 0 w 80"/>
                <a:gd name="T59" fmla="*/ 93 h 133"/>
                <a:gd name="T60" fmla="*/ 0 w 80"/>
                <a:gd name="T61" fmla="*/ 93 h 133"/>
                <a:gd name="T62" fmla="*/ 2 w 80"/>
                <a:gd name="T63" fmla="*/ 101 h 133"/>
                <a:gd name="T64" fmla="*/ 4 w 80"/>
                <a:gd name="T65" fmla="*/ 109 h 133"/>
                <a:gd name="T66" fmla="*/ 7 w 80"/>
                <a:gd name="T67" fmla="*/ 116 h 133"/>
                <a:gd name="T68" fmla="*/ 13 w 80"/>
                <a:gd name="T69" fmla="*/ 122 h 133"/>
                <a:gd name="T70" fmla="*/ 19 w 80"/>
                <a:gd name="T71" fmla="*/ 127 h 133"/>
                <a:gd name="T72" fmla="*/ 25 w 80"/>
                <a:gd name="T73" fmla="*/ 130 h 133"/>
                <a:gd name="T74" fmla="*/ 33 w 80"/>
                <a:gd name="T75" fmla="*/ 132 h 133"/>
                <a:gd name="T76" fmla="*/ 41 w 80"/>
                <a:gd name="T77" fmla="*/ 133 h 133"/>
                <a:gd name="T78" fmla="*/ 41 w 80"/>
                <a:gd name="T7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3">
                  <a:moveTo>
                    <a:pt x="41" y="133"/>
                  </a:moveTo>
                  <a:lnTo>
                    <a:pt x="41" y="133"/>
                  </a:lnTo>
                  <a:lnTo>
                    <a:pt x="49" y="132"/>
                  </a:lnTo>
                  <a:lnTo>
                    <a:pt x="56" y="130"/>
                  </a:lnTo>
                  <a:lnTo>
                    <a:pt x="63" y="127"/>
                  </a:lnTo>
                  <a:lnTo>
                    <a:pt x="69" y="122"/>
                  </a:lnTo>
                  <a:lnTo>
                    <a:pt x="75" y="116"/>
                  </a:lnTo>
                  <a:lnTo>
                    <a:pt x="78" y="109"/>
                  </a:lnTo>
                  <a:lnTo>
                    <a:pt x="80" y="101"/>
                  </a:lnTo>
                  <a:lnTo>
                    <a:pt x="80" y="93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1"/>
                  </a:lnTo>
                  <a:lnTo>
                    <a:pt x="78" y="24"/>
                  </a:lnTo>
                  <a:lnTo>
                    <a:pt x="75" y="17"/>
                  </a:lnTo>
                  <a:lnTo>
                    <a:pt x="69" y="12"/>
                  </a:lnTo>
                  <a:lnTo>
                    <a:pt x="63" y="7"/>
                  </a:lnTo>
                  <a:lnTo>
                    <a:pt x="56" y="2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3" y="0"/>
                  </a:lnTo>
                  <a:lnTo>
                    <a:pt x="25" y="2"/>
                  </a:lnTo>
                  <a:lnTo>
                    <a:pt x="19" y="7"/>
                  </a:lnTo>
                  <a:lnTo>
                    <a:pt x="13" y="12"/>
                  </a:lnTo>
                  <a:lnTo>
                    <a:pt x="7" y="17"/>
                  </a:lnTo>
                  <a:lnTo>
                    <a:pt x="4" y="24"/>
                  </a:lnTo>
                  <a:lnTo>
                    <a:pt x="2" y="31"/>
                  </a:lnTo>
                  <a:lnTo>
                    <a:pt x="0" y="39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2" y="101"/>
                  </a:lnTo>
                  <a:lnTo>
                    <a:pt x="4" y="109"/>
                  </a:lnTo>
                  <a:lnTo>
                    <a:pt x="7" y="116"/>
                  </a:lnTo>
                  <a:lnTo>
                    <a:pt x="13" y="122"/>
                  </a:lnTo>
                  <a:lnTo>
                    <a:pt x="19" y="127"/>
                  </a:lnTo>
                  <a:lnTo>
                    <a:pt x="25" y="130"/>
                  </a:lnTo>
                  <a:lnTo>
                    <a:pt x="33" y="132"/>
                  </a:lnTo>
                  <a:lnTo>
                    <a:pt x="41" y="133"/>
                  </a:lnTo>
                  <a:lnTo>
                    <a:pt x="41" y="1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6" name="Freeform 47">
              <a:extLst>
                <a:ext uri="{FF2B5EF4-FFF2-40B4-BE49-F238E27FC236}">
                  <a16:creationId xmlns:a16="http://schemas.microsoft.com/office/drawing/2014/main" id="{CAF8C2B5-F0ED-401D-9B8E-1138A96A3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3150" y="4323546"/>
              <a:ext cx="17992" cy="30136"/>
            </a:xfrm>
            <a:custGeom>
              <a:avLst/>
              <a:gdLst>
                <a:gd name="T0" fmla="*/ 41 w 80"/>
                <a:gd name="T1" fmla="*/ 134 h 134"/>
                <a:gd name="T2" fmla="*/ 41 w 80"/>
                <a:gd name="T3" fmla="*/ 134 h 134"/>
                <a:gd name="T4" fmla="*/ 49 w 80"/>
                <a:gd name="T5" fmla="*/ 132 h 134"/>
                <a:gd name="T6" fmla="*/ 56 w 80"/>
                <a:gd name="T7" fmla="*/ 130 h 134"/>
                <a:gd name="T8" fmla="*/ 63 w 80"/>
                <a:gd name="T9" fmla="*/ 127 h 134"/>
                <a:gd name="T10" fmla="*/ 68 w 80"/>
                <a:gd name="T11" fmla="*/ 122 h 134"/>
                <a:gd name="T12" fmla="*/ 73 w 80"/>
                <a:gd name="T13" fmla="*/ 116 h 134"/>
                <a:gd name="T14" fmla="*/ 78 w 80"/>
                <a:gd name="T15" fmla="*/ 109 h 134"/>
                <a:gd name="T16" fmla="*/ 80 w 80"/>
                <a:gd name="T17" fmla="*/ 101 h 134"/>
                <a:gd name="T18" fmla="*/ 80 w 80"/>
                <a:gd name="T19" fmla="*/ 93 h 134"/>
                <a:gd name="T20" fmla="*/ 80 w 80"/>
                <a:gd name="T21" fmla="*/ 39 h 134"/>
                <a:gd name="T22" fmla="*/ 80 w 80"/>
                <a:gd name="T23" fmla="*/ 39 h 134"/>
                <a:gd name="T24" fmla="*/ 80 w 80"/>
                <a:gd name="T25" fmla="*/ 31 h 134"/>
                <a:gd name="T26" fmla="*/ 78 w 80"/>
                <a:gd name="T27" fmla="*/ 24 h 134"/>
                <a:gd name="T28" fmla="*/ 73 w 80"/>
                <a:gd name="T29" fmla="*/ 17 h 134"/>
                <a:gd name="T30" fmla="*/ 68 w 80"/>
                <a:gd name="T31" fmla="*/ 12 h 134"/>
                <a:gd name="T32" fmla="*/ 63 w 80"/>
                <a:gd name="T33" fmla="*/ 7 h 134"/>
                <a:gd name="T34" fmla="*/ 56 w 80"/>
                <a:gd name="T35" fmla="*/ 3 h 134"/>
                <a:gd name="T36" fmla="*/ 49 w 80"/>
                <a:gd name="T37" fmla="*/ 1 h 134"/>
                <a:gd name="T38" fmla="*/ 41 w 80"/>
                <a:gd name="T39" fmla="*/ 0 h 134"/>
                <a:gd name="T40" fmla="*/ 41 w 80"/>
                <a:gd name="T41" fmla="*/ 0 h 134"/>
                <a:gd name="T42" fmla="*/ 32 w 80"/>
                <a:gd name="T43" fmla="*/ 1 h 134"/>
                <a:gd name="T44" fmla="*/ 24 w 80"/>
                <a:gd name="T45" fmla="*/ 3 h 134"/>
                <a:gd name="T46" fmla="*/ 17 w 80"/>
                <a:gd name="T47" fmla="*/ 7 h 134"/>
                <a:gd name="T48" fmla="*/ 12 w 80"/>
                <a:gd name="T49" fmla="*/ 12 h 134"/>
                <a:gd name="T50" fmla="*/ 7 w 80"/>
                <a:gd name="T51" fmla="*/ 17 h 134"/>
                <a:gd name="T52" fmla="*/ 3 w 80"/>
                <a:gd name="T53" fmla="*/ 24 h 134"/>
                <a:gd name="T54" fmla="*/ 1 w 80"/>
                <a:gd name="T55" fmla="*/ 31 h 134"/>
                <a:gd name="T56" fmla="*/ 0 w 80"/>
                <a:gd name="T57" fmla="*/ 39 h 134"/>
                <a:gd name="T58" fmla="*/ 0 w 80"/>
                <a:gd name="T59" fmla="*/ 93 h 134"/>
                <a:gd name="T60" fmla="*/ 0 w 80"/>
                <a:gd name="T61" fmla="*/ 93 h 134"/>
                <a:gd name="T62" fmla="*/ 1 w 80"/>
                <a:gd name="T63" fmla="*/ 101 h 134"/>
                <a:gd name="T64" fmla="*/ 3 w 80"/>
                <a:gd name="T65" fmla="*/ 109 h 134"/>
                <a:gd name="T66" fmla="*/ 7 w 80"/>
                <a:gd name="T67" fmla="*/ 116 h 134"/>
                <a:gd name="T68" fmla="*/ 12 w 80"/>
                <a:gd name="T69" fmla="*/ 122 h 134"/>
                <a:gd name="T70" fmla="*/ 17 w 80"/>
                <a:gd name="T71" fmla="*/ 127 h 134"/>
                <a:gd name="T72" fmla="*/ 24 w 80"/>
                <a:gd name="T73" fmla="*/ 130 h 134"/>
                <a:gd name="T74" fmla="*/ 32 w 80"/>
                <a:gd name="T75" fmla="*/ 132 h 134"/>
                <a:gd name="T76" fmla="*/ 41 w 80"/>
                <a:gd name="T77" fmla="*/ 134 h 134"/>
                <a:gd name="T78" fmla="*/ 41 w 80"/>
                <a:gd name="T79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4">
                  <a:moveTo>
                    <a:pt x="41" y="134"/>
                  </a:moveTo>
                  <a:lnTo>
                    <a:pt x="41" y="134"/>
                  </a:lnTo>
                  <a:lnTo>
                    <a:pt x="49" y="132"/>
                  </a:lnTo>
                  <a:lnTo>
                    <a:pt x="56" y="130"/>
                  </a:lnTo>
                  <a:lnTo>
                    <a:pt x="63" y="127"/>
                  </a:lnTo>
                  <a:lnTo>
                    <a:pt x="68" y="122"/>
                  </a:lnTo>
                  <a:lnTo>
                    <a:pt x="73" y="116"/>
                  </a:lnTo>
                  <a:lnTo>
                    <a:pt x="78" y="109"/>
                  </a:lnTo>
                  <a:lnTo>
                    <a:pt x="80" y="101"/>
                  </a:lnTo>
                  <a:lnTo>
                    <a:pt x="80" y="93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1"/>
                  </a:lnTo>
                  <a:lnTo>
                    <a:pt x="78" y="24"/>
                  </a:lnTo>
                  <a:lnTo>
                    <a:pt x="73" y="17"/>
                  </a:lnTo>
                  <a:lnTo>
                    <a:pt x="68" y="12"/>
                  </a:lnTo>
                  <a:lnTo>
                    <a:pt x="63" y="7"/>
                  </a:lnTo>
                  <a:lnTo>
                    <a:pt x="56" y="3"/>
                  </a:lnTo>
                  <a:lnTo>
                    <a:pt x="49" y="1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2" y="1"/>
                  </a:lnTo>
                  <a:lnTo>
                    <a:pt x="24" y="3"/>
                  </a:lnTo>
                  <a:lnTo>
                    <a:pt x="17" y="7"/>
                  </a:lnTo>
                  <a:lnTo>
                    <a:pt x="12" y="12"/>
                  </a:lnTo>
                  <a:lnTo>
                    <a:pt x="7" y="17"/>
                  </a:lnTo>
                  <a:lnTo>
                    <a:pt x="3" y="24"/>
                  </a:lnTo>
                  <a:lnTo>
                    <a:pt x="1" y="31"/>
                  </a:lnTo>
                  <a:lnTo>
                    <a:pt x="0" y="39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1" y="101"/>
                  </a:lnTo>
                  <a:lnTo>
                    <a:pt x="3" y="109"/>
                  </a:lnTo>
                  <a:lnTo>
                    <a:pt x="7" y="116"/>
                  </a:lnTo>
                  <a:lnTo>
                    <a:pt x="12" y="122"/>
                  </a:lnTo>
                  <a:lnTo>
                    <a:pt x="17" y="127"/>
                  </a:lnTo>
                  <a:lnTo>
                    <a:pt x="24" y="130"/>
                  </a:lnTo>
                  <a:lnTo>
                    <a:pt x="32" y="132"/>
                  </a:lnTo>
                  <a:lnTo>
                    <a:pt x="41" y="134"/>
                  </a:lnTo>
                  <a:lnTo>
                    <a:pt x="41" y="13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7" name="Freeform 48">
              <a:extLst>
                <a:ext uri="{FF2B5EF4-FFF2-40B4-BE49-F238E27FC236}">
                  <a16:creationId xmlns:a16="http://schemas.microsoft.com/office/drawing/2014/main" id="{9D94ED06-6126-4E96-9CDF-E56678F0E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9134" y="4323546"/>
              <a:ext cx="17992" cy="30136"/>
            </a:xfrm>
            <a:custGeom>
              <a:avLst/>
              <a:gdLst>
                <a:gd name="T0" fmla="*/ 41 w 80"/>
                <a:gd name="T1" fmla="*/ 134 h 134"/>
                <a:gd name="T2" fmla="*/ 41 w 80"/>
                <a:gd name="T3" fmla="*/ 134 h 134"/>
                <a:gd name="T4" fmla="*/ 49 w 80"/>
                <a:gd name="T5" fmla="*/ 132 h 134"/>
                <a:gd name="T6" fmla="*/ 56 w 80"/>
                <a:gd name="T7" fmla="*/ 130 h 134"/>
                <a:gd name="T8" fmla="*/ 63 w 80"/>
                <a:gd name="T9" fmla="*/ 127 h 134"/>
                <a:gd name="T10" fmla="*/ 69 w 80"/>
                <a:gd name="T11" fmla="*/ 122 h 134"/>
                <a:gd name="T12" fmla="*/ 73 w 80"/>
                <a:gd name="T13" fmla="*/ 116 h 134"/>
                <a:gd name="T14" fmla="*/ 78 w 80"/>
                <a:gd name="T15" fmla="*/ 109 h 134"/>
                <a:gd name="T16" fmla="*/ 80 w 80"/>
                <a:gd name="T17" fmla="*/ 101 h 134"/>
                <a:gd name="T18" fmla="*/ 80 w 80"/>
                <a:gd name="T19" fmla="*/ 93 h 134"/>
                <a:gd name="T20" fmla="*/ 80 w 80"/>
                <a:gd name="T21" fmla="*/ 39 h 134"/>
                <a:gd name="T22" fmla="*/ 80 w 80"/>
                <a:gd name="T23" fmla="*/ 39 h 134"/>
                <a:gd name="T24" fmla="*/ 80 w 80"/>
                <a:gd name="T25" fmla="*/ 31 h 134"/>
                <a:gd name="T26" fmla="*/ 78 w 80"/>
                <a:gd name="T27" fmla="*/ 24 h 134"/>
                <a:gd name="T28" fmla="*/ 73 w 80"/>
                <a:gd name="T29" fmla="*/ 17 h 134"/>
                <a:gd name="T30" fmla="*/ 69 w 80"/>
                <a:gd name="T31" fmla="*/ 12 h 134"/>
                <a:gd name="T32" fmla="*/ 63 w 80"/>
                <a:gd name="T33" fmla="*/ 7 h 134"/>
                <a:gd name="T34" fmla="*/ 56 w 80"/>
                <a:gd name="T35" fmla="*/ 3 h 134"/>
                <a:gd name="T36" fmla="*/ 49 w 80"/>
                <a:gd name="T37" fmla="*/ 1 h 134"/>
                <a:gd name="T38" fmla="*/ 41 w 80"/>
                <a:gd name="T39" fmla="*/ 0 h 134"/>
                <a:gd name="T40" fmla="*/ 41 w 80"/>
                <a:gd name="T41" fmla="*/ 0 h 134"/>
                <a:gd name="T42" fmla="*/ 33 w 80"/>
                <a:gd name="T43" fmla="*/ 1 h 134"/>
                <a:gd name="T44" fmla="*/ 25 w 80"/>
                <a:gd name="T45" fmla="*/ 3 h 134"/>
                <a:gd name="T46" fmla="*/ 19 w 80"/>
                <a:gd name="T47" fmla="*/ 7 h 134"/>
                <a:gd name="T48" fmla="*/ 12 w 80"/>
                <a:gd name="T49" fmla="*/ 12 h 134"/>
                <a:gd name="T50" fmla="*/ 7 w 80"/>
                <a:gd name="T51" fmla="*/ 17 h 134"/>
                <a:gd name="T52" fmla="*/ 4 w 80"/>
                <a:gd name="T53" fmla="*/ 24 h 134"/>
                <a:gd name="T54" fmla="*/ 1 w 80"/>
                <a:gd name="T55" fmla="*/ 31 h 134"/>
                <a:gd name="T56" fmla="*/ 0 w 80"/>
                <a:gd name="T57" fmla="*/ 39 h 134"/>
                <a:gd name="T58" fmla="*/ 0 w 80"/>
                <a:gd name="T59" fmla="*/ 93 h 134"/>
                <a:gd name="T60" fmla="*/ 0 w 80"/>
                <a:gd name="T61" fmla="*/ 93 h 134"/>
                <a:gd name="T62" fmla="*/ 1 w 80"/>
                <a:gd name="T63" fmla="*/ 101 h 134"/>
                <a:gd name="T64" fmla="*/ 4 w 80"/>
                <a:gd name="T65" fmla="*/ 109 h 134"/>
                <a:gd name="T66" fmla="*/ 7 w 80"/>
                <a:gd name="T67" fmla="*/ 116 h 134"/>
                <a:gd name="T68" fmla="*/ 12 w 80"/>
                <a:gd name="T69" fmla="*/ 122 h 134"/>
                <a:gd name="T70" fmla="*/ 19 w 80"/>
                <a:gd name="T71" fmla="*/ 127 h 134"/>
                <a:gd name="T72" fmla="*/ 25 w 80"/>
                <a:gd name="T73" fmla="*/ 130 h 134"/>
                <a:gd name="T74" fmla="*/ 33 w 80"/>
                <a:gd name="T75" fmla="*/ 132 h 134"/>
                <a:gd name="T76" fmla="*/ 41 w 80"/>
                <a:gd name="T77" fmla="*/ 134 h 134"/>
                <a:gd name="T78" fmla="*/ 41 w 80"/>
                <a:gd name="T79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4">
                  <a:moveTo>
                    <a:pt x="41" y="134"/>
                  </a:moveTo>
                  <a:lnTo>
                    <a:pt x="41" y="134"/>
                  </a:lnTo>
                  <a:lnTo>
                    <a:pt x="49" y="132"/>
                  </a:lnTo>
                  <a:lnTo>
                    <a:pt x="56" y="130"/>
                  </a:lnTo>
                  <a:lnTo>
                    <a:pt x="63" y="127"/>
                  </a:lnTo>
                  <a:lnTo>
                    <a:pt x="69" y="122"/>
                  </a:lnTo>
                  <a:lnTo>
                    <a:pt x="73" y="116"/>
                  </a:lnTo>
                  <a:lnTo>
                    <a:pt x="78" y="109"/>
                  </a:lnTo>
                  <a:lnTo>
                    <a:pt x="80" y="101"/>
                  </a:lnTo>
                  <a:lnTo>
                    <a:pt x="80" y="93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1"/>
                  </a:lnTo>
                  <a:lnTo>
                    <a:pt x="78" y="24"/>
                  </a:lnTo>
                  <a:lnTo>
                    <a:pt x="73" y="17"/>
                  </a:lnTo>
                  <a:lnTo>
                    <a:pt x="69" y="12"/>
                  </a:lnTo>
                  <a:lnTo>
                    <a:pt x="63" y="7"/>
                  </a:lnTo>
                  <a:lnTo>
                    <a:pt x="56" y="3"/>
                  </a:lnTo>
                  <a:lnTo>
                    <a:pt x="49" y="1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5" y="3"/>
                  </a:lnTo>
                  <a:lnTo>
                    <a:pt x="19" y="7"/>
                  </a:lnTo>
                  <a:lnTo>
                    <a:pt x="12" y="12"/>
                  </a:lnTo>
                  <a:lnTo>
                    <a:pt x="7" y="17"/>
                  </a:lnTo>
                  <a:lnTo>
                    <a:pt x="4" y="24"/>
                  </a:lnTo>
                  <a:lnTo>
                    <a:pt x="1" y="31"/>
                  </a:lnTo>
                  <a:lnTo>
                    <a:pt x="0" y="39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1" y="101"/>
                  </a:lnTo>
                  <a:lnTo>
                    <a:pt x="4" y="109"/>
                  </a:lnTo>
                  <a:lnTo>
                    <a:pt x="7" y="116"/>
                  </a:lnTo>
                  <a:lnTo>
                    <a:pt x="12" y="122"/>
                  </a:lnTo>
                  <a:lnTo>
                    <a:pt x="19" y="127"/>
                  </a:lnTo>
                  <a:lnTo>
                    <a:pt x="25" y="130"/>
                  </a:lnTo>
                  <a:lnTo>
                    <a:pt x="33" y="132"/>
                  </a:lnTo>
                  <a:lnTo>
                    <a:pt x="41" y="134"/>
                  </a:lnTo>
                  <a:lnTo>
                    <a:pt x="41" y="13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8" name="Freeform 49">
              <a:extLst>
                <a:ext uri="{FF2B5EF4-FFF2-40B4-BE49-F238E27FC236}">
                  <a16:creationId xmlns:a16="http://schemas.microsoft.com/office/drawing/2014/main" id="{4177C179-09C6-44FC-80D8-614D0E6FEA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5118" y="4323546"/>
              <a:ext cx="17992" cy="30136"/>
            </a:xfrm>
            <a:custGeom>
              <a:avLst/>
              <a:gdLst>
                <a:gd name="T0" fmla="*/ 41 w 80"/>
                <a:gd name="T1" fmla="*/ 134 h 134"/>
                <a:gd name="T2" fmla="*/ 41 w 80"/>
                <a:gd name="T3" fmla="*/ 134 h 134"/>
                <a:gd name="T4" fmla="*/ 49 w 80"/>
                <a:gd name="T5" fmla="*/ 132 h 134"/>
                <a:gd name="T6" fmla="*/ 56 w 80"/>
                <a:gd name="T7" fmla="*/ 130 h 134"/>
                <a:gd name="T8" fmla="*/ 63 w 80"/>
                <a:gd name="T9" fmla="*/ 127 h 134"/>
                <a:gd name="T10" fmla="*/ 69 w 80"/>
                <a:gd name="T11" fmla="*/ 122 h 134"/>
                <a:gd name="T12" fmla="*/ 75 w 80"/>
                <a:gd name="T13" fmla="*/ 116 h 134"/>
                <a:gd name="T14" fmla="*/ 78 w 80"/>
                <a:gd name="T15" fmla="*/ 109 h 134"/>
                <a:gd name="T16" fmla="*/ 80 w 80"/>
                <a:gd name="T17" fmla="*/ 101 h 134"/>
                <a:gd name="T18" fmla="*/ 80 w 80"/>
                <a:gd name="T19" fmla="*/ 93 h 134"/>
                <a:gd name="T20" fmla="*/ 80 w 80"/>
                <a:gd name="T21" fmla="*/ 39 h 134"/>
                <a:gd name="T22" fmla="*/ 80 w 80"/>
                <a:gd name="T23" fmla="*/ 39 h 134"/>
                <a:gd name="T24" fmla="*/ 80 w 80"/>
                <a:gd name="T25" fmla="*/ 31 h 134"/>
                <a:gd name="T26" fmla="*/ 78 w 80"/>
                <a:gd name="T27" fmla="*/ 24 h 134"/>
                <a:gd name="T28" fmla="*/ 75 w 80"/>
                <a:gd name="T29" fmla="*/ 17 h 134"/>
                <a:gd name="T30" fmla="*/ 69 w 80"/>
                <a:gd name="T31" fmla="*/ 12 h 134"/>
                <a:gd name="T32" fmla="*/ 63 w 80"/>
                <a:gd name="T33" fmla="*/ 7 h 134"/>
                <a:gd name="T34" fmla="*/ 56 w 80"/>
                <a:gd name="T35" fmla="*/ 3 h 134"/>
                <a:gd name="T36" fmla="*/ 49 w 80"/>
                <a:gd name="T37" fmla="*/ 1 h 134"/>
                <a:gd name="T38" fmla="*/ 41 w 80"/>
                <a:gd name="T39" fmla="*/ 0 h 134"/>
                <a:gd name="T40" fmla="*/ 41 w 80"/>
                <a:gd name="T41" fmla="*/ 0 h 134"/>
                <a:gd name="T42" fmla="*/ 33 w 80"/>
                <a:gd name="T43" fmla="*/ 1 h 134"/>
                <a:gd name="T44" fmla="*/ 25 w 80"/>
                <a:gd name="T45" fmla="*/ 3 h 134"/>
                <a:gd name="T46" fmla="*/ 19 w 80"/>
                <a:gd name="T47" fmla="*/ 7 h 134"/>
                <a:gd name="T48" fmla="*/ 13 w 80"/>
                <a:gd name="T49" fmla="*/ 12 h 134"/>
                <a:gd name="T50" fmla="*/ 7 w 80"/>
                <a:gd name="T51" fmla="*/ 17 h 134"/>
                <a:gd name="T52" fmla="*/ 4 w 80"/>
                <a:gd name="T53" fmla="*/ 24 h 134"/>
                <a:gd name="T54" fmla="*/ 2 w 80"/>
                <a:gd name="T55" fmla="*/ 31 h 134"/>
                <a:gd name="T56" fmla="*/ 0 w 80"/>
                <a:gd name="T57" fmla="*/ 39 h 134"/>
                <a:gd name="T58" fmla="*/ 0 w 80"/>
                <a:gd name="T59" fmla="*/ 93 h 134"/>
                <a:gd name="T60" fmla="*/ 0 w 80"/>
                <a:gd name="T61" fmla="*/ 93 h 134"/>
                <a:gd name="T62" fmla="*/ 2 w 80"/>
                <a:gd name="T63" fmla="*/ 101 h 134"/>
                <a:gd name="T64" fmla="*/ 4 w 80"/>
                <a:gd name="T65" fmla="*/ 109 h 134"/>
                <a:gd name="T66" fmla="*/ 7 w 80"/>
                <a:gd name="T67" fmla="*/ 116 h 134"/>
                <a:gd name="T68" fmla="*/ 13 w 80"/>
                <a:gd name="T69" fmla="*/ 122 h 134"/>
                <a:gd name="T70" fmla="*/ 19 w 80"/>
                <a:gd name="T71" fmla="*/ 127 h 134"/>
                <a:gd name="T72" fmla="*/ 25 w 80"/>
                <a:gd name="T73" fmla="*/ 130 h 134"/>
                <a:gd name="T74" fmla="*/ 33 w 80"/>
                <a:gd name="T75" fmla="*/ 132 h 134"/>
                <a:gd name="T76" fmla="*/ 41 w 80"/>
                <a:gd name="T77" fmla="*/ 134 h 134"/>
                <a:gd name="T78" fmla="*/ 41 w 80"/>
                <a:gd name="T79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4">
                  <a:moveTo>
                    <a:pt x="41" y="134"/>
                  </a:moveTo>
                  <a:lnTo>
                    <a:pt x="41" y="134"/>
                  </a:lnTo>
                  <a:lnTo>
                    <a:pt x="49" y="132"/>
                  </a:lnTo>
                  <a:lnTo>
                    <a:pt x="56" y="130"/>
                  </a:lnTo>
                  <a:lnTo>
                    <a:pt x="63" y="127"/>
                  </a:lnTo>
                  <a:lnTo>
                    <a:pt x="69" y="122"/>
                  </a:lnTo>
                  <a:lnTo>
                    <a:pt x="75" y="116"/>
                  </a:lnTo>
                  <a:lnTo>
                    <a:pt x="78" y="109"/>
                  </a:lnTo>
                  <a:lnTo>
                    <a:pt x="80" y="101"/>
                  </a:lnTo>
                  <a:lnTo>
                    <a:pt x="80" y="93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1"/>
                  </a:lnTo>
                  <a:lnTo>
                    <a:pt x="78" y="24"/>
                  </a:lnTo>
                  <a:lnTo>
                    <a:pt x="75" y="17"/>
                  </a:lnTo>
                  <a:lnTo>
                    <a:pt x="69" y="12"/>
                  </a:lnTo>
                  <a:lnTo>
                    <a:pt x="63" y="7"/>
                  </a:lnTo>
                  <a:lnTo>
                    <a:pt x="56" y="3"/>
                  </a:lnTo>
                  <a:lnTo>
                    <a:pt x="49" y="1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5" y="3"/>
                  </a:lnTo>
                  <a:lnTo>
                    <a:pt x="19" y="7"/>
                  </a:lnTo>
                  <a:lnTo>
                    <a:pt x="13" y="12"/>
                  </a:lnTo>
                  <a:lnTo>
                    <a:pt x="7" y="17"/>
                  </a:lnTo>
                  <a:lnTo>
                    <a:pt x="4" y="24"/>
                  </a:lnTo>
                  <a:lnTo>
                    <a:pt x="2" y="31"/>
                  </a:lnTo>
                  <a:lnTo>
                    <a:pt x="0" y="39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2" y="101"/>
                  </a:lnTo>
                  <a:lnTo>
                    <a:pt x="4" y="109"/>
                  </a:lnTo>
                  <a:lnTo>
                    <a:pt x="7" y="116"/>
                  </a:lnTo>
                  <a:lnTo>
                    <a:pt x="13" y="122"/>
                  </a:lnTo>
                  <a:lnTo>
                    <a:pt x="19" y="127"/>
                  </a:lnTo>
                  <a:lnTo>
                    <a:pt x="25" y="130"/>
                  </a:lnTo>
                  <a:lnTo>
                    <a:pt x="33" y="132"/>
                  </a:lnTo>
                  <a:lnTo>
                    <a:pt x="41" y="134"/>
                  </a:lnTo>
                  <a:lnTo>
                    <a:pt x="41" y="13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9" name="Freeform 50">
              <a:extLst>
                <a:ext uri="{FF2B5EF4-FFF2-40B4-BE49-F238E27FC236}">
                  <a16:creationId xmlns:a16="http://schemas.microsoft.com/office/drawing/2014/main" id="{E588C5C1-3E11-4D73-A24B-3AC694B38B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1037" y="4347610"/>
              <a:ext cx="17992" cy="29912"/>
            </a:xfrm>
            <a:custGeom>
              <a:avLst/>
              <a:gdLst>
                <a:gd name="T0" fmla="*/ 39 w 80"/>
                <a:gd name="T1" fmla="*/ 133 h 133"/>
                <a:gd name="T2" fmla="*/ 39 w 80"/>
                <a:gd name="T3" fmla="*/ 133 h 133"/>
                <a:gd name="T4" fmla="*/ 47 w 80"/>
                <a:gd name="T5" fmla="*/ 132 h 133"/>
                <a:gd name="T6" fmla="*/ 55 w 80"/>
                <a:gd name="T7" fmla="*/ 130 h 133"/>
                <a:gd name="T8" fmla="*/ 62 w 80"/>
                <a:gd name="T9" fmla="*/ 126 h 133"/>
                <a:gd name="T10" fmla="*/ 68 w 80"/>
                <a:gd name="T11" fmla="*/ 122 h 133"/>
                <a:gd name="T12" fmla="*/ 73 w 80"/>
                <a:gd name="T13" fmla="*/ 116 h 133"/>
                <a:gd name="T14" fmla="*/ 76 w 80"/>
                <a:gd name="T15" fmla="*/ 109 h 133"/>
                <a:gd name="T16" fmla="*/ 79 w 80"/>
                <a:gd name="T17" fmla="*/ 101 h 133"/>
                <a:gd name="T18" fmla="*/ 80 w 80"/>
                <a:gd name="T19" fmla="*/ 93 h 133"/>
                <a:gd name="T20" fmla="*/ 80 w 80"/>
                <a:gd name="T21" fmla="*/ 39 h 133"/>
                <a:gd name="T22" fmla="*/ 80 w 80"/>
                <a:gd name="T23" fmla="*/ 39 h 133"/>
                <a:gd name="T24" fmla="*/ 79 w 80"/>
                <a:gd name="T25" fmla="*/ 31 h 133"/>
                <a:gd name="T26" fmla="*/ 76 w 80"/>
                <a:gd name="T27" fmla="*/ 24 h 133"/>
                <a:gd name="T28" fmla="*/ 73 w 80"/>
                <a:gd name="T29" fmla="*/ 17 h 133"/>
                <a:gd name="T30" fmla="*/ 68 w 80"/>
                <a:gd name="T31" fmla="*/ 11 h 133"/>
                <a:gd name="T32" fmla="*/ 62 w 80"/>
                <a:gd name="T33" fmla="*/ 7 h 133"/>
                <a:gd name="T34" fmla="*/ 55 w 80"/>
                <a:gd name="T35" fmla="*/ 3 h 133"/>
                <a:gd name="T36" fmla="*/ 47 w 80"/>
                <a:gd name="T37" fmla="*/ 1 h 133"/>
                <a:gd name="T38" fmla="*/ 39 w 80"/>
                <a:gd name="T39" fmla="*/ 0 h 133"/>
                <a:gd name="T40" fmla="*/ 39 w 80"/>
                <a:gd name="T41" fmla="*/ 0 h 133"/>
                <a:gd name="T42" fmla="*/ 31 w 80"/>
                <a:gd name="T43" fmla="*/ 1 h 133"/>
                <a:gd name="T44" fmla="*/ 24 w 80"/>
                <a:gd name="T45" fmla="*/ 3 h 133"/>
                <a:gd name="T46" fmla="*/ 17 w 80"/>
                <a:gd name="T47" fmla="*/ 7 h 133"/>
                <a:gd name="T48" fmla="*/ 11 w 80"/>
                <a:gd name="T49" fmla="*/ 11 h 133"/>
                <a:gd name="T50" fmla="*/ 7 w 80"/>
                <a:gd name="T51" fmla="*/ 17 h 133"/>
                <a:gd name="T52" fmla="*/ 3 w 80"/>
                <a:gd name="T53" fmla="*/ 24 h 133"/>
                <a:gd name="T54" fmla="*/ 0 w 80"/>
                <a:gd name="T55" fmla="*/ 31 h 133"/>
                <a:gd name="T56" fmla="*/ 0 w 80"/>
                <a:gd name="T57" fmla="*/ 39 h 133"/>
                <a:gd name="T58" fmla="*/ 0 w 80"/>
                <a:gd name="T59" fmla="*/ 93 h 133"/>
                <a:gd name="T60" fmla="*/ 0 w 80"/>
                <a:gd name="T61" fmla="*/ 93 h 133"/>
                <a:gd name="T62" fmla="*/ 0 w 80"/>
                <a:gd name="T63" fmla="*/ 101 h 133"/>
                <a:gd name="T64" fmla="*/ 3 w 80"/>
                <a:gd name="T65" fmla="*/ 109 h 133"/>
                <a:gd name="T66" fmla="*/ 7 w 80"/>
                <a:gd name="T67" fmla="*/ 116 h 133"/>
                <a:gd name="T68" fmla="*/ 11 w 80"/>
                <a:gd name="T69" fmla="*/ 122 h 133"/>
                <a:gd name="T70" fmla="*/ 17 w 80"/>
                <a:gd name="T71" fmla="*/ 126 h 133"/>
                <a:gd name="T72" fmla="*/ 24 w 80"/>
                <a:gd name="T73" fmla="*/ 130 h 133"/>
                <a:gd name="T74" fmla="*/ 31 w 80"/>
                <a:gd name="T75" fmla="*/ 132 h 133"/>
                <a:gd name="T76" fmla="*/ 39 w 80"/>
                <a:gd name="T77" fmla="*/ 133 h 133"/>
                <a:gd name="T78" fmla="*/ 39 w 80"/>
                <a:gd name="T7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3">
                  <a:moveTo>
                    <a:pt x="39" y="133"/>
                  </a:moveTo>
                  <a:lnTo>
                    <a:pt x="39" y="133"/>
                  </a:lnTo>
                  <a:lnTo>
                    <a:pt x="47" y="132"/>
                  </a:lnTo>
                  <a:lnTo>
                    <a:pt x="55" y="130"/>
                  </a:lnTo>
                  <a:lnTo>
                    <a:pt x="62" y="126"/>
                  </a:lnTo>
                  <a:lnTo>
                    <a:pt x="68" y="122"/>
                  </a:lnTo>
                  <a:lnTo>
                    <a:pt x="73" y="116"/>
                  </a:lnTo>
                  <a:lnTo>
                    <a:pt x="76" y="109"/>
                  </a:lnTo>
                  <a:lnTo>
                    <a:pt x="79" y="101"/>
                  </a:lnTo>
                  <a:lnTo>
                    <a:pt x="80" y="93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79" y="31"/>
                  </a:lnTo>
                  <a:lnTo>
                    <a:pt x="76" y="24"/>
                  </a:lnTo>
                  <a:lnTo>
                    <a:pt x="73" y="17"/>
                  </a:lnTo>
                  <a:lnTo>
                    <a:pt x="68" y="11"/>
                  </a:lnTo>
                  <a:lnTo>
                    <a:pt x="62" y="7"/>
                  </a:lnTo>
                  <a:lnTo>
                    <a:pt x="55" y="3"/>
                  </a:lnTo>
                  <a:lnTo>
                    <a:pt x="47" y="1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1" y="1"/>
                  </a:lnTo>
                  <a:lnTo>
                    <a:pt x="24" y="3"/>
                  </a:lnTo>
                  <a:lnTo>
                    <a:pt x="17" y="7"/>
                  </a:lnTo>
                  <a:lnTo>
                    <a:pt x="11" y="11"/>
                  </a:lnTo>
                  <a:lnTo>
                    <a:pt x="7" y="17"/>
                  </a:lnTo>
                  <a:lnTo>
                    <a:pt x="3" y="24"/>
                  </a:lnTo>
                  <a:lnTo>
                    <a:pt x="0" y="31"/>
                  </a:lnTo>
                  <a:lnTo>
                    <a:pt x="0" y="39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101"/>
                  </a:lnTo>
                  <a:lnTo>
                    <a:pt x="3" y="109"/>
                  </a:lnTo>
                  <a:lnTo>
                    <a:pt x="7" y="116"/>
                  </a:lnTo>
                  <a:lnTo>
                    <a:pt x="11" y="122"/>
                  </a:lnTo>
                  <a:lnTo>
                    <a:pt x="17" y="126"/>
                  </a:lnTo>
                  <a:lnTo>
                    <a:pt x="24" y="130"/>
                  </a:lnTo>
                  <a:lnTo>
                    <a:pt x="31" y="132"/>
                  </a:lnTo>
                  <a:lnTo>
                    <a:pt x="39" y="133"/>
                  </a:lnTo>
                  <a:lnTo>
                    <a:pt x="39" y="1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0" name="Freeform 51">
              <a:extLst>
                <a:ext uri="{FF2B5EF4-FFF2-40B4-BE49-F238E27FC236}">
                  <a16:creationId xmlns:a16="http://schemas.microsoft.com/office/drawing/2014/main" id="{E0CDF2D3-A1AB-400D-81DF-25C8956B1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021" y="4347610"/>
              <a:ext cx="17992" cy="29912"/>
            </a:xfrm>
            <a:custGeom>
              <a:avLst/>
              <a:gdLst>
                <a:gd name="T0" fmla="*/ 39 w 80"/>
                <a:gd name="T1" fmla="*/ 133 h 133"/>
                <a:gd name="T2" fmla="*/ 39 w 80"/>
                <a:gd name="T3" fmla="*/ 133 h 133"/>
                <a:gd name="T4" fmla="*/ 47 w 80"/>
                <a:gd name="T5" fmla="*/ 132 h 133"/>
                <a:gd name="T6" fmla="*/ 56 w 80"/>
                <a:gd name="T7" fmla="*/ 130 h 133"/>
                <a:gd name="T8" fmla="*/ 62 w 80"/>
                <a:gd name="T9" fmla="*/ 126 h 133"/>
                <a:gd name="T10" fmla="*/ 68 w 80"/>
                <a:gd name="T11" fmla="*/ 122 h 133"/>
                <a:gd name="T12" fmla="*/ 73 w 80"/>
                <a:gd name="T13" fmla="*/ 116 h 133"/>
                <a:gd name="T14" fmla="*/ 76 w 80"/>
                <a:gd name="T15" fmla="*/ 109 h 133"/>
                <a:gd name="T16" fmla="*/ 79 w 80"/>
                <a:gd name="T17" fmla="*/ 101 h 133"/>
                <a:gd name="T18" fmla="*/ 80 w 80"/>
                <a:gd name="T19" fmla="*/ 93 h 133"/>
                <a:gd name="T20" fmla="*/ 80 w 80"/>
                <a:gd name="T21" fmla="*/ 39 h 133"/>
                <a:gd name="T22" fmla="*/ 80 w 80"/>
                <a:gd name="T23" fmla="*/ 39 h 133"/>
                <a:gd name="T24" fmla="*/ 79 w 80"/>
                <a:gd name="T25" fmla="*/ 31 h 133"/>
                <a:gd name="T26" fmla="*/ 76 w 80"/>
                <a:gd name="T27" fmla="*/ 24 h 133"/>
                <a:gd name="T28" fmla="*/ 73 w 80"/>
                <a:gd name="T29" fmla="*/ 17 h 133"/>
                <a:gd name="T30" fmla="*/ 68 w 80"/>
                <a:gd name="T31" fmla="*/ 11 h 133"/>
                <a:gd name="T32" fmla="*/ 62 w 80"/>
                <a:gd name="T33" fmla="*/ 7 h 133"/>
                <a:gd name="T34" fmla="*/ 56 w 80"/>
                <a:gd name="T35" fmla="*/ 3 h 133"/>
                <a:gd name="T36" fmla="*/ 47 w 80"/>
                <a:gd name="T37" fmla="*/ 1 h 133"/>
                <a:gd name="T38" fmla="*/ 39 w 80"/>
                <a:gd name="T39" fmla="*/ 0 h 133"/>
                <a:gd name="T40" fmla="*/ 39 w 80"/>
                <a:gd name="T41" fmla="*/ 0 h 133"/>
                <a:gd name="T42" fmla="*/ 31 w 80"/>
                <a:gd name="T43" fmla="*/ 1 h 133"/>
                <a:gd name="T44" fmla="*/ 24 w 80"/>
                <a:gd name="T45" fmla="*/ 3 h 133"/>
                <a:gd name="T46" fmla="*/ 17 w 80"/>
                <a:gd name="T47" fmla="*/ 7 h 133"/>
                <a:gd name="T48" fmla="*/ 11 w 80"/>
                <a:gd name="T49" fmla="*/ 11 h 133"/>
                <a:gd name="T50" fmla="*/ 7 w 80"/>
                <a:gd name="T51" fmla="*/ 17 h 133"/>
                <a:gd name="T52" fmla="*/ 3 w 80"/>
                <a:gd name="T53" fmla="*/ 24 h 133"/>
                <a:gd name="T54" fmla="*/ 1 w 80"/>
                <a:gd name="T55" fmla="*/ 31 h 133"/>
                <a:gd name="T56" fmla="*/ 0 w 80"/>
                <a:gd name="T57" fmla="*/ 39 h 133"/>
                <a:gd name="T58" fmla="*/ 0 w 80"/>
                <a:gd name="T59" fmla="*/ 93 h 133"/>
                <a:gd name="T60" fmla="*/ 0 w 80"/>
                <a:gd name="T61" fmla="*/ 93 h 133"/>
                <a:gd name="T62" fmla="*/ 1 w 80"/>
                <a:gd name="T63" fmla="*/ 101 h 133"/>
                <a:gd name="T64" fmla="*/ 3 w 80"/>
                <a:gd name="T65" fmla="*/ 109 h 133"/>
                <a:gd name="T66" fmla="*/ 7 w 80"/>
                <a:gd name="T67" fmla="*/ 116 h 133"/>
                <a:gd name="T68" fmla="*/ 11 w 80"/>
                <a:gd name="T69" fmla="*/ 122 h 133"/>
                <a:gd name="T70" fmla="*/ 17 w 80"/>
                <a:gd name="T71" fmla="*/ 126 h 133"/>
                <a:gd name="T72" fmla="*/ 24 w 80"/>
                <a:gd name="T73" fmla="*/ 130 h 133"/>
                <a:gd name="T74" fmla="*/ 31 w 80"/>
                <a:gd name="T75" fmla="*/ 132 h 133"/>
                <a:gd name="T76" fmla="*/ 39 w 80"/>
                <a:gd name="T77" fmla="*/ 133 h 133"/>
                <a:gd name="T78" fmla="*/ 39 w 80"/>
                <a:gd name="T7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3">
                  <a:moveTo>
                    <a:pt x="39" y="133"/>
                  </a:moveTo>
                  <a:lnTo>
                    <a:pt x="39" y="133"/>
                  </a:lnTo>
                  <a:lnTo>
                    <a:pt x="47" y="132"/>
                  </a:lnTo>
                  <a:lnTo>
                    <a:pt x="56" y="130"/>
                  </a:lnTo>
                  <a:lnTo>
                    <a:pt x="62" y="126"/>
                  </a:lnTo>
                  <a:lnTo>
                    <a:pt x="68" y="122"/>
                  </a:lnTo>
                  <a:lnTo>
                    <a:pt x="73" y="116"/>
                  </a:lnTo>
                  <a:lnTo>
                    <a:pt x="76" y="109"/>
                  </a:lnTo>
                  <a:lnTo>
                    <a:pt x="79" y="101"/>
                  </a:lnTo>
                  <a:lnTo>
                    <a:pt x="80" y="93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79" y="31"/>
                  </a:lnTo>
                  <a:lnTo>
                    <a:pt x="76" y="24"/>
                  </a:lnTo>
                  <a:lnTo>
                    <a:pt x="73" y="17"/>
                  </a:lnTo>
                  <a:lnTo>
                    <a:pt x="68" y="11"/>
                  </a:lnTo>
                  <a:lnTo>
                    <a:pt x="62" y="7"/>
                  </a:lnTo>
                  <a:lnTo>
                    <a:pt x="56" y="3"/>
                  </a:lnTo>
                  <a:lnTo>
                    <a:pt x="47" y="1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1" y="1"/>
                  </a:lnTo>
                  <a:lnTo>
                    <a:pt x="24" y="3"/>
                  </a:lnTo>
                  <a:lnTo>
                    <a:pt x="17" y="7"/>
                  </a:lnTo>
                  <a:lnTo>
                    <a:pt x="11" y="11"/>
                  </a:lnTo>
                  <a:lnTo>
                    <a:pt x="7" y="17"/>
                  </a:lnTo>
                  <a:lnTo>
                    <a:pt x="3" y="24"/>
                  </a:lnTo>
                  <a:lnTo>
                    <a:pt x="1" y="31"/>
                  </a:lnTo>
                  <a:lnTo>
                    <a:pt x="0" y="39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1" y="101"/>
                  </a:lnTo>
                  <a:lnTo>
                    <a:pt x="3" y="109"/>
                  </a:lnTo>
                  <a:lnTo>
                    <a:pt x="7" y="116"/>
                  </a:lnTo>
                  <a:lnTo>
                    <a:pt x="11" y="122"/>
                  </a:lnTo>
                  <a:lnTo>
                    <a:pt x="17" y="126"/>
                  </a:lnTo>
                  <a:lnTo>
                    <a:pt x="24" y="130"/>
                  </a:lnTo>
                  <a:lnTo>
                    <a:pt x="31" y="132"/>
                  </a:lnTo>
                  <a:lnTo>
                    <a:pt x="39" y="133"/>
                  </a:lnTo>
                  <a:lnTo>
                    <a:pt x="39" y="1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1" name="Freeform 52">
              <a:extLst>
                <a:ext uri="{FF2B5EF4-FFF2-40B4-BE49-F238E27FC236}">
                  <a16:creationId xmlns:a16="http://schemas.microsoft.com/office/drawing/2014/main" id="{83EDE38D-F3B7-439A-BDA0-D93109202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3005" y="4347610"/>
              <a:ext cx="17992" cy="29912"/>
            </a:xfrm>
            <a:custGeom>
              <a:avLst/>
              <a:gdLst>
                <a:gd name="T0" fmla="*/ 39 w 80"/>
                <a:gd name="T1" fmla="*/ 133 h 133"/>
                <a:gd name="T2" fmla="*/ 39 w 80"/>
                <a:gd name="T3" fmla="*/ 133 h 133"/>
                <a:gd name="T4" fmla="*/ 48 w 80"/>
                <a:gd name="T5" fmla="*/ 132 h 133"/>
                <a:gd name="T6" fmla="*/ 56 w 80"/>
                <a:gd name="T7" fmla="*/ 130 h 133"/>
                <a:gd name="T8" fmla="*/ 63 w 80"/>
                <a:gd name="T9" fmla="*/ 126 h 133"/>
                <a:gd name="T10" fmla="*/ 68 w 80"/>
                <a:gd name="T11" fmla="*/ 122 h 133"/>
                <a:gd name="T12" fmla="*/ 73 w 80"/>
                <a:gd name="T13" fmla="*/ 116 h 133"/>
                <a:gd name="T14" fmla="*/ 77 w 80"/>
                <a:gd name="T15" fmla="*/ 109 h 133"/>
                <a:gd name="T16" fmla="*/ 79 w 80"/>
                <a:gd name="T17" fmla="*/ 101 h 133"/>
                <a:gd name="T18" fmla="*/ 80 w 80"/>
                <a:gd name="T19" fmla="*/ 93 h 133"/>
                <a:gd name="T20" fmla="*/ 80 w 80"/>
                <a:gd name="T21" fmla="*/ 39 h 133"/>
                <a:gd name="T22" fmla="*/ 80 w 80"/>
                <a:gd name="T23" fmla="*/ 39 h 133"/>
                <a:gd name="T24" fmla="*/ 79 w 80"/>
                <a:gd name="T25" fmla="*/ 31 h 133"/>
                <a:gd name="T26" fmla="*/ 77 w 80"/>
                <a:gd name="T27" fmla="*/ 24 h 133"/>
                <a:gd name="T28" fmla="*/ 73 w 80"/>
                <a:gd name="T29" fmla="*/ 17 h 133"/>
                <a:gd name="T30" fmla="*/ 68 w 80"/>
                <a:gd name="T31" fmla="*/ 11 h 133"/>
                <a:gd name="T32" fmla="*/ 63 w 80"/>
                <a:gd name="T33" fmla="*/ 7 h 133"/>
                <a:gd name="T34" fmla="*/ 56 w 80"/>
                <a:gd name="T35" fmla="*/ 3 h 133"/>
                <a:gd name="T36" fmla="*/ 48 w 80"/>
                <a:gd name="T37" fmla="*/ 1 h 133"/>
                <a:gd name="T38" fmla="*/ 39 w 80"/>
                <a:gd name="T39" fmla="*/ 0 h 133"/>
                <a:gd name="T40" fmla="*/ 39 w 80"/>
                <a:gd name="T41" fmla="*/ 0 h 133"/>
                <a:gd name="T42" fmla="*/ 31 w 80"/>
                <a:gd name="T43" fmla="*/ 1 h 133"/>
                <a:gd name="T44" fmla="*/ 24 w 80"/>
                <a:gd name="T45" fmla="*/ 3 h 133"/>
                <a:gd name="T46" fmla="*/ 17 w 80"/>
                <a:gd name="T47" fmla="*/ 7 h 133"/>
                <a:gd name="T48" fmla="*/ 12 w 80"/>
                <a:gd name="T49" fmla="*/ 11 h 133"/>
                <a:gd name="T50" fmla="*/ 7 w 80"/>
                <a:gd name="T51" fmla="*/ 17 h 133"/>
                <a:gd name="T52" fmla="*/ 3 w 80"/>
                <a:gd name="T53" fmla="*/ 24 h 133"/>
                <a:gd name="T54" fmla="*/ 1 w 80"/>
                <a:gd name="T55" fmla="*/ 31 h 133"/>
                <a:gd name="T56" fmla="*/ 0 w 80"/>
                <a:gd name="T57" fmla="*/ 39 h 133"/>
                <a:gd name="T58" fmla="*/ 0 w 80"/>
                <a:gd name="T59" fmla="*/ 93 h 133"/>
                <a:gd name="T60" fmla="*/ 0 w 80"/>
                <a:gd name="T61" fmla="*/ 93 h 133"/>
                <a:gd name="T62" fmla="*/ 1 w 80"/>
                <a:gd name="T63" fmla="*/ 101 h 133"/>
                <a:gd name="T64" fmla="*/ 3 w 80"/>
                <a:gd name="T65" fmla="*/ 109 h 133"/>
                <a:gd name="T66" fmla="*/ 7 w 80"/>
                <a:gd name="T67" fmla="*/ 116 h 133"/>
                <a:gd name="T68" fmla="*/ 12 w 80"/>
                <a:gd name="T69" fmla="*/ 122 h 133"/>
                <a:gd name="T70" fmla="*/ 17 w 80"/>
                <a:gd name="T71" fmla="*/ 126 h 133"/>
                <a:gd name="T72" fmla="*/ 24 w 80"/>
                <a:gd name="T73" fmla="*/ 130 h 133"/>
                <a:gd name="T74" fmla="*/ 31 w 80"/>
                <a:gd name="T75" fmla="*/ 132 h 133"/>
                <a:gd name="T76" fmla="*/ 39 w 80"/>
                <a:gd name="T77" fmla="*/ 133 h 133"/>
                <a:gd name="T78" fmla="*/ 39 w 80"/>
                <a:gd name="T7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3">
                  <a:moveTo>
                    <a:pt x="39" y="133"/>
                  </a:moveTo>
                  <a:lnTo>
                    <a:pt x="39" y="133"/>
                  </a:lnTo>
                  <a:lnTo>
                    <a:pt x="48" y="132"/>
                  </a:lnTo>
                  <a:lnTo>
                    <a:pt x="56" y="130"/>
                  </a:lnTo>
                  <a:lnTo>
                    <a:pt x="63" y="126"/>
                  </a:lnTo>
                  <a:lnTo>
                    <a:pt x="68" y="122"/>
                  </a:lnTo>
                  <a:lnTo>
                    <a:pt x="73" y="116"/>
                  </a:lnTo>
                  <a:lnTo>
                    <a:pt x="77" y="109"/>
                  </a:lnTo>
                  <a:lnTo>
                    <a:pt x="79" y="101"/>
                  </a:lnTo>
                  <a:lnTo>
                    <a:pt x="80" y="93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79" y="31"/>
                  </a:lnTo>
                  <a:lnTo>
                    <a:pt x="77" y="24"/>
                  </a:lnTo>
                  <a:lnTo>
                    <a:pt x="73" y="17"/>
                  </a:lnTo>
                  <a:lnTo>
                    <a:pt x="68" y="11"/>
                  </a:lnTo>
                  <a:lnTo>
                    <a:pt x="63" y="7"/>
                  </a:lnTo>
                  <a:lnTo>
                    <a:pt x="56" y="3"/>
                  </a:lnTo>
                  <a:lnTo>
                    <a:pt x="48" y="1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1" y="1"/>
                  </a:lnTo>
                  <a:lnTo>
                    <a:pt x="24" y="3"/>
                  </a:lnTo>
                  <a:lnTo>
                    <a:pt x="17" y="7"/>
                  </a:lnTo>
                  <a:lnTo>
                    <a:pt x="12" y="11"/>
                  </a:lnTo>
                  <a:lnTo>
                    <a:pt x="7" y="17"/>
                  </a:lnTo>
                  <a:lnTo>
                    <a:pt x="3" y="24"/>
                  </a:lnTo>
                  <a:lnTo>
                    <a:pt x="1" y="31"/>
                  </a:lnTo>
                  <a:lnTo>
                    <a:pt x="0" y="39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1" y="101"/>
                  </a:lnTo>
                  <a:lnTo>
                    <a:pt x="3" y="109"/>
                  </a:lnTo>
                  <a:lnTo>
                    <a:pt x="7" y="116"/>
                  </a:lnTo>
                  <a:lnTo>
                    <a:pt x="12" y="122"/>
                  </a:lnTo>
                  <a:lnTo>
                    <a:pt x="17" y="126"/>
                  </a:lnTo>
                  <a:lnTo>
                    <a:pt x="24" y="130"/>
                  </a:lnTo>
                  <a:lnTo>
                    <a:pt x="31" y="132"/>
                  </a:lnTo>
                  <a:lnTo>
                    <a:pt x="39" y="133"/>
                  </a:lnTo>
                  <a:lnTo>
                    <a:pt x="39" y="1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2" name="Freeform 53">
              <a:extLst>
                <a:ext uri="{FF2B5EF4-FFF2-40B4-BE49-F238E27FC236}">
                  <a16:creationId xmlns:a16="http://schemas.microsoft.com/office/drawing/2014/main" id="{0279AC61-6511-43AC-9A7C-B247DCD83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1037" y="4407658"/>
              <a:ext cx="17992" cy="29912"/>
            </a:xfrm>
            <a:custGeom>
              <a:avLst/>
              <a:gdLst>
                <a:gd name="T0" fmla="*/ 39 w 80"/>
                <a:gd name="T1" fmla="*/ 133 h 133"/>
                <a:gd name="T2" fmla="*/ 39 w 80"/>
                <a:gd name="T3" fmla="*/ 133 h 133"/>
                <a:gd name="T4" fmla="*/ 47 w 80"/>
                <a:gd name="T5" fmla="*/ 132 h 133"/>
                <a:gd name="T6" fmla="*/ 55 w 80"/>
                <a:gd name="T7" fmla="*/ 130 h 133"/>
                <a:gd name="T8" fmla="*/ 62 w 80"/>
                <a:gd name="T9" fmla="*/ 126 h 133"/>
                <a:gd name="T10" fmla="*/ 68 w 80"/>
                <a:gd name="T11" fmla="*/ 122 h 133"/>
                <a:gd name="T12" fmla="*/ 73 w 80"/>
                <a:gd name="T13" fmla="*/ 116 h 133"/>
                <a:gd name="T14" fmla="*/ 76 w 80"/>
                <a:gd name="T15" fmla="*/ 109 h 133"/>
                <a:gd name="T16" fmla="*/ 79 w 80"/>
                <a:gd name="T17" fmla="*/ 102 h 133"/>
                <a:gd name="T18" fmla="*/ 80 w 80"/>
                <a:gd name="T19" fmla="*/ 94 h 133"/>
                <a:gd name="T20" fmla="*/ 80 w 80"/>
                <a:gd name="T21" fmla="*/ 41 h 133"/>
                <a:gd name="T22" fmla="*/ 80 w 80"/>
                <a:gd name="T23" fmla="*/ 41 h 133"/>
                <a:gd name="T24" fmla="*/ 79 w 80"/>
                <a:gd name="T25" fmla="*/ 32 h 133"/>
                <a:gd name="T26" fmla="*/ 76 w 80"/>
                <a:gd name="T27" fmla="*/ 24 h 133"/>
                <a:gd name="T28" fmla="*/ 73 w 80"/>
                <a:gd name="T29" fmla="*/ 17 h 133"/>
                <a:gd name="T30" fmla="*/ 68 w 80"/>
                <a:gd name="T31" fmla="*/ 12 h 133"/>
                <a:gd name="T32" fmla="*/ 62 w 80"/>
                <a:gd name="T33" fmla="*/ 7 h 133"/>
                <a:gd name="T34" fmla="*/ 55 w 80"/>
                <a:gd name="T35" fmla="*/ 3 h 133"/>
                <a:gd name="T36" fmla="*/ 47 w 80"/>
                <a:gd name="T37" fmla="*/ 1 h 133"/>
                <a:gd name="T38" fmla="*/ 39 w 80"/>
                <a:gd name="T39" fmla="*/ 0 h 133"/>
                <a:gd name="T40" fmla="*/ 39 w 80"/>
                <a:gd name="T41" fmla="*/ 0 h 133"/>
                <a:gd name="T42" fmla="*/ 31 w 80"/>
                <a:gd name="T43" fmla="*/ 1 h 133"/>
                <a:gd name="T44" fmla="*/ 24 w 80"/>
                <a:gd name="T45" fmla="*/ 3 h 133"/>
                <a:gd name="T46" fmla="*/ 17 w 80"/>
                <a:gd name="T47" fmla="*/ 7 h 133"/>
                <a:gd name="T48" fmla="*/ 11 w 80"/>
                <a:gd name="T49" fmla="*/ 12 h 133"/>
                <a:gd name="T50" fmla="*/ 7 w 80"/>
                <a:gd name="T51" fmla="*/ 17 h 133"/>
                <a:gd name="T52" fmla="*/ 3 w 80"/>
                <a:gd name="T53" fmla="*/ 24 h 133"/>
                <a:gd name="T54" fmla="*/ 0 w 80"/>
                <a:gd name="T55" fmla="*/ 32 h 133"/>
                <a:gd name="T56" fmla="*/ 0 w 80"/>
                <a:gd name="T57" fmla="*/ 41 h 133"/>
                <a:gd name="T58" fmla="*/ 0 w 80"/>
                <a:gd name="T59" fmla="*/ 94 h 133"/>
                <a:gd name="T60" fmla="*/ 0 w 80"/>
                <a:gd name="T61" fmla="*/ 94 h 133"/>
                <a:gd name="T62" fmla="*/ 0 w 80"/>
                <a:gd name="T63" fmla="*/ 102 h 133"/>
                <a:gd name="T64" fmla="*/ 3 w 80"/>
                <a:gd name="T65" fmla="*/ 109 h 133"/>
                <a:gd name="T66" fmla="*/ 7 w 80"/>
                <a:gd name="T67" fmla="*/ 116 h 133"/>
                <a:gd name="T68" fmla="*/ 11 w 80"/>
                <a:gd name="T69" fmla="*/ 122 h 133"/>
                <a:gd name="T70" fmla="*/ 17 w 80"/>
                <a:gd name="T71" fmla="*/ 126 h 133"/>
                <a:gd name="T72" fmla="*/ 24 w 80"/>
                <a:gd name="T73" fmla="*/ 130 h 133"/>
                <a:gd name="T74" fmla="*/ 31 w 80"/>
                <a:gd name="T75" fmla="*/ 132 h 133"/>
                <a:gd name="T76" fmla="*/ 39 w 80"/>
                <a:gd name="T77" fmla="*/ 133 h 133"/>
                <a:gd name="T78" fmla="*/ 39 w 80"/>
                <a:gd name="T7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3">
                  <a:moveTo>
                    <a:pt x="39" y="133"/>
                  </a:moveTo>
                  <a:lnTo>
                    <a:pt x="39" y="133"/>
                  </a:lnTo>
                  <a:lnTo>
                    <a:pt x="47" y="132"/>
                  </a:lnTo>
                  <a:lnTo>
                    <a:pt x="55" y="130"/>
                  </a:lnTo>
                  <a:lnTo>
                    <a:pt x="62" y="126"/>
                  </a:lnTo>
                  <a:lnTo>
                    <a:pt x="68" y="122"/>
                  </a:lnTo>
                  <a:lnTo>
                    <a:pt x="73" y="116"/>
                  </a:lnTo>
                  <a:lnTo>
                    <a:pt x="76" y="109"/>
                  </a:lnTo>
                  <a:lnTo>
                    <a:pt x="79" y="102"/>
                  </a:lnTo>
                  <a:lnTo>
                    <a:pt x="80" y="94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79" y="32"/>
                  </a:lnTo>
                  <a:lnTo>
                    <a:pt x="76" y="24"/>
                  </a:lnTo>
                  <a:lnTo>
                    <a:pt x="73" y="17"/>
                  </a:lnTo>
                  <a:lnTo>
                    <a:pt x="68" y="12"/>
                  </a:lnTo>
                  <a:lnTo>
                    <a:pt x="62" y="7"/>
                  </a:lnTo>
                  <a:lnTo>
                    <a:pt x="55" y="3"/>
                  </a:lnTo>
                  <a:lnTo>
                    <a:pt x="47" y="1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1" y="1"/>
                  </a:lnTo>
                  <a:lnTo>
                    <a:pt x="24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7" y="17"/>
                  </a:lnTo>
                  <a:lnTo>
                    <a:pt x="3" y="24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102"/>
                  </a:lnTo>
                  <a:lnTo>
                    <a:pt x="3" y="109"/>
                  </a:lnTo>
                  <a:lnTo>
                    <a:pt x="7" y="116"/>
                  </a:lnTo>
                  <a:lnTo>
                    <a:pt x="11" y="122"/>
                  </a:lnTo>
                  <a:lnTo>
                    <a:pt x="17" y="126"/>
                  </a:lnTo>
                  <a:lnTo>
                    <a:pt x="24" y="130"/>
                  </a:lnTo>
                  <a:lnTo>
                    <a:pt x="31" y="132"/>
                  </a:lnTo>
                  <a:lnTo>
                    <a:pt x="39" y="133"/>
                  </a:lnTo>
                  <a:lnTo>
                    <a:pt x="39" y="1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3" name="Freeform 54">
              <a:extLst>
                <a:ext uri="{FF2B5EF4-FFF2-40B4-BE49-F238E27FC236}">
                  <a16:creationId xmlns:a16="http://schemas.microsoft.com/office/drawing/2014/main" id="{32E62887-0519-401A-8256-4CDD1DC4D2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021" y="4407658"/>
              <a:ext cx="17992" cy="29912"/>
            </a:xfrm>
            <a:custGeom>
              <a:avLst/>
              <a:gdLst>
                <a:gd name="T0" fmla="*/ 39 w 80"/>
                <a:gd name="T1" fmla="*/ 133 h 133"/>
                <a:gd name="T2" fmla="*/ 39 w 80"/>
                <a:gd name="T3" fmla="*/ 133 h 133"/>
                <a:gd name="T4" fmla="*/ 47 w 80"/>
                <a:gd name="T5" fmla="*/ 132 h 133"/>
                <a:gd name="T6" fmla="*/ 56 w 80"/>
                <a:gd name="T7" fmla="*/ 130 h 133"/>
                <a:gd name="T8" fmla="*/ 62 w 80"/>
                <a:gd name="T9" fmla="*/ 126 h 133"/>
                <a:gd name="T10" fmla="*/ 68 w 80"/>
                <a:gd name="T11" fmla="*/ 122 h 133"/>
                <a:gd name="T12" fmla="*/ 73 w 80"/>
                <a:gd name="T13" fmla="*/ 116 h 133"/>
                <a:gd name="T14" fmla="*/ 76 w 80"/>
                <a:gd name="T15" fmla="*/ 109 h 133"/>
                <a:gd name="T16" fmla="*/ 79 w 80"/>
                <a:gd name="T17" fmla="*/ 102 h 133"/>
                <a:gd name="T18" fmla="*/ 80 w 80"/>
                <a:gd name="T19" fmla="*/ 94 h 133"/>
                <a:gd name="T20" fmla="*/ 80 w 80"/>
                <a:gd name="T21" fmla="*/ 41 h 133"/>
                <a:gd name="T22" fmla="*/ 80 w 80"/>
                <a:gd name="T23" fmla="*/ 41 h 133"/>
                <a:gd name="T24" fmla="*/ 79 w 80"/>
                <a:gd name="T25" fmla="*/ 32 h 133"/>
                <a:gd name="T26" fmla="*/ 76 w 80"/>
                <a:gd name="T27" fmla="*/ 24 h 133"/>
                <a:gd name="T28" fmla="*/ 73 w 80"/>
                <a:gd name="T29" fmla="*/ 17 h 133"/>
                <a:gd name="T30" fmla="*/ 68 w 80"/>
                <a:gd name="T31" fmla="*/ 12 h 133"/>
                <a:gd name="T32" fmla="*/ 62 w 80"/>
                <a:gd name="T33" fmla="*/ 7 h 133"/>
                <a:gd name="T34" fmla="*/ 56 w 80"/>
                <a:gd name="T35" fmla="*/ 3 h 133"/>
                <a:gd name="T36" fmla="*/ 47 w 80"/>
                <a:gd name="T37" fmla="*/ 1 h 133"/>
                <a:gd name="T38" fmla="*/ 39 w 80"/>
                <a:gd name="T39" fmla="*/ 0 h 133"/>
                <a:gd name="T40" fmla="*/ 39 w 80"/>
                <a:gd name="T41" fmla="*/ 0 h 133"/>
                <a:gd name="T42" fmla="*/ 31 w 80"/>
                <a:gd name="T43" fmla="*/ 1 h 133"/>
                <a:gd name="T44" fmla="*/ 24 w 80"/>
                <a:gd name="T45" fmla="*/ 3 h 133"/>
                <a:gd name="T46" fmla="*/ 17 w 80"/>
                <a:gd name="T47" fmla="*/ 7 h 133"/>
                <a:gd name="T48" fmla="*/ 11 w 80"/>
                <a:gd name="T49" fmla="*/ 12 h 133"/>
                <a:gd name="T50" fmla="*/ 7 w 80"/>
                <a:gd name="T51" fmla="*/ 17 h 133"/>
                <a:gd name="T52" fmla="*/ 3 w 80"/>
                <a:gd name="T53" fmla="*/ 24 h 133"/>
                <a:gd name="T54" fmla="*/ 1 w 80"/>
                <a:gd name="T55" fmla="*/ 32 h 133"/>
                <a:gd name="T56" fmla="*/ 0 w 80"/>
                <a:gd name="T57" fmla="*/ 41 h 133"/>
                <a:gd name="T58" fmla="*/ 0 w 80"/>
                <a:gd name="T59" fmla="*/ 94 h 133"/>
                <a:gd name="T60" fmla="*/ 0 w 80"/>
                <a:gd name="T61" fmla="*/ 94 h 133"/>
                <a:gd name="T62" fmla="*/ 1 w 80"/>
                <a:gd name="T63" fmla="*/ 102 h 133"/>
                <a:gd name="T64" fmla="*/ 3 w 80"/>
                <a:gd name="T65" fmla="*/ 109 h 133"/>
                <a:gd name="T66" fmla="*/ 7 w 80"/>
                <a:gd name="T67" fmla="*/ 116 h 133"/>
                <a:gd name="T68" fmla="*/ 11 w 80"/>
                <a:gd name="T69" fmla="*/ 122 h 133"/>
                <a:gd name="T70" fmla="*/ 17 w 80"/>
                <a:gd name="T71" fmla="*/ 126 h 133"/>
                <a:gd name="T72" fmla="*/ 24 w 80"/>
                <a:gd name="T73" fmla="*/ 130 h 133"/>
                <a:gd name="T74" fmla="*/ 31 w 80"/>
                <a:gd name="T75" fmla="*/ 132 h 133"/>
                <a:gd name="T76" fmla="*/ 39 w 80"/>
                <a:gd name="T77" fmla="*/ 133 h 133"/>
                <a:gd name="T78" fmla="*/ 39 w 80"/>
                <a:gd name="T7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3">
                  <a:moveTo>
                    <a:pt x="39" y="133"/>
                  </a:moveTo>
                  <a:lnTo>
                    <a:pt x="39" y="133"/>
                  </a:lnTo>
                  <a:lnTo>
                    <a:pt x="47" y="132"/>
                  </a:lnTo>
                  <a:lnTo>
                    <a:pt x="56" y="130"/>
                  </a:lnTo>
                  <a:lnTo>
                    <a:pt x="62" y="126"/>
                  </a:lnTo>
                  <a:lnTo>
                    <a:pt x="68" y="122"/>
                  </a:lnTo>
                  <a:lnTo>
                    <a:pt x="73" y="116"/>
                  </a:lnTo>
                  <a:lnTo>
                    <a:pt x="76" y="109"/>
                  </a:lnTo>
                  <a:lnTo>
                    <a:pt x="79" y="102"/>
                  </a:lnTo>
                  <a:lnTo>
                    <a:pt x="80" y="94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79" y="32"/>
                  </a:lnTo>
                  <a:lnTo>
                    <a:pt x="76" y="24"/>
                  </a:lnTo>
                  <a:lnTo>
                    <a:pt x="73" y="17"/>
                  </a:lnTo>
                  <a:lnTo>
                    <a:pt x="68" y="12"/>
                  </a:lnTo>
                  <a:lnTo>
                    <a:pt x="62" y="7"/>
                  </a:lnTo>
                  <a:lnTo>
                    <a:pt x="56" y="3"/>
                  </a:lnTo>
                  <a:lnTo>
                    <a:pt x="47" y="1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1" y="1"/>
                  </a:lnTo>
                  <a:lnTo>
                    <a:pt x="24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7" y="17"/>
                  </a:lnTo>
                  <a:lnTo>
                    <a:pt x="3" y="24"/>
                  </a:lnTo>
                  <a:lnTo>
                    <a:pt x="1" y="32"/>
                  </a:lnTo>
                  <a:lnTo>
                    <a:pt x="0" y="41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1" y="102"/>
                  </a:lnTo>
                  <a:lnTo>
                    <a:pt x="3" y="109"/>
                  </a:lnTo>
                  <a:lnTo>
                    <a:pt x="7" y="116"/>
                  </a:lnTo>
                  <a:lnTo>
                    <a:pt x="11" y="122"/>
                  </a:lnTo>
                  <a:lnTo>
                    <a:pt x="17" y="126"/>
                  </a:lnTo>
                  <a:lnTo>
                    <a:pt x="24" y="130"/>
                  </a:lnTo>
                  <a:lnTo>
                    <a:pt x="31" y="132"/>
                  </a:lnTo>
                  <a:lnTo>
                    <a:pt x="39" y="133"/>
                  </a:lnTo>
                  <a:lnTo>
                    <a:pt x="39" y="1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4" name="Freeform 55">
              <a:extLst>
                <a:ext uri="{FF2B5EF4-FFF2-40B4-BE49-F238E27FC236}">
                  <a16:creationId xmlns:a16="http://schemas.microsoft.com/office/drawing/2014/main" id="{EE5F9410-EFA8-4A2F-8B61-F7ADE92C2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3005" y="4407658"/>
              <a:ext cx="17992" cy="29912"/>
            </a:xfrm>
            <a:custGeom>
              <a:avLst/>
              <a:gdLst>
                <a:gd name="T0" fmla="*/ 39 w 80"/>
                <a:gd name="T1" fmla="*/ 133 h 133"/>
                <a:gd name="T2" fmla="*/ 39 w 80"/>
                <a:gd name="T3" fmla="*/ 133 h 133"/>
                <a:gd name="T4" fmla="*/ 48 w 80"/>
                <a:gd name="T5" fmla="*/ 132 h 133"/>
                <a:gd name="T6" fmla="*/ 56 w 80"/>
                <a:gd name="T7" fmla="*/ 130 h 133"/>
                <a:gd name="T8" fmla="*/ 63 w 80"/>
                <a:gd name="T9" fmla="*/ 126 h 133"/>
                <a:gd name="T10" fmla="*/ 68 w 80"/>
                <a:gd name="T11" fmla="*/ 122 h 133"/>
                <a:gd name="T12" fmla="*/ 73 w 80"/>
                <a:gd name="T13" fmla="*/ 116 h 133"/>
                <a:gd name="T14" fmla="*/ 77 w 80"/>
                <a:gd name="T15" fmla="*/ 109 h 133"/>
                <a:gd name="T16" fmla="*/ 79 w 80"/>
                <a:gd name="T17" fmla="*/ 102 h 133"/>
                <a:gd name="T18" fmla="*/ 80 w 80"/>
                <a:gd name="T19" fmla="*/ 94 h 133"/>
                <a:gd name="T20" fmla="*/ 80 w 80"/>
                <a:gd name="T21" fmla="*/ 41 h 133"/>
                <a:gd name="T22" fmla="*/ 80 w 80"/>
                <a:gd name="T23" fmla="*/ 41 h 133"/>
                <a:gd name="T24" fmla="*/ 79 w 80"/>
                <a:gd name="T25" fmla="*/ 32 h 133"/>
                <a:gd name="T26" fmla="*/ 77 w 80"/>
                <a:gd name="T27" fmla="*/ 24 h 133"/>
                <a:gd name="T28" fmla="*/ 73 w 80"/>
                <a:gd name="T29" fmla="*/ 17 h 133"/>
                <a:gd name="T30" fmla="*/ 68 w 80"/>
                <a:gd name="T31" fmla="*/ 12 h 133"/>
                <a:gd name="T32" fmla="*/ 63 w 80"/>
                <a:gd name="T33" fmla="*/ 7 h 133"/>
                <a:gd name="T34" fmla="*/ 56 w 80"/>
                <a:gd name="T35" fmla="*/ 3 h 133"/>
                <a:gd name="T36" fmla="*/ 48 w 80"/>
                <a:gd name="T37" fmla="*/ 1 h 133"/>
                <a:gd name="T38" fmla="*/ 39 w 80"/>
                <a:gd name="T39" fmla="*/ 0 h 133"/>
                <a:gd name="T40" fmla="*/ 39 w 80"/>
                <a:gd name="T41" fmla="*/ 0 h 133"/>
                <a:gd name="T42" fmla="*/ 31 w 80"/>
                <a:gd name="T43" fmla="*/ 1 h 133"/>
                <a:gd name="T44" fmla="*/ 24 w 80"/>
                <a:gd name="T45" fmla="*/ 3 h 133"/>
                <a:gd name="T46" fmla="*/ 17 w 80"/>
                <a:gd name="T47" fmla="*/ 7 h 133"/>
                <a:gd name="T48" fmla="*/ 12 w 80"/>
                <a:gd name="T49" fmla="*/ 12 h 133"/>
                <a:gd name="T50" fmla="*/ 7 w 80"/>
                <a:gd name="T51" fmla="*/ 17 h 133"/>
                <a:gd name="T52" fmla="*/ 3 w 80"/>
                <a:gd name="T53" fmla="*/ 24 h 133"/>
                <a:gd name="T54" fmla="*/ 1 w 80"/>
                <a:gd name="T55" fmla="*/ 32 h 133"/>
                <a:gd name="T56" fmla="*/ 0 w 80"/>
                <a:gd name="T57" fmla="*/ 41 h 133"/>
                <a:gd name="T58" fmla="*/ 0 w 80"/>
                <a:gd name="T59" fmla="*/ 94 h 133"/>
                <a:gd name="T60" fmla="*/ 0 w 80"/>
                <a:gd name="T61" fmla="*/ 94 h 133"/>
                <a:gd name="T62" fmla="*/ 1 w 80"/>
                <a:gd name="T63" fmla="*/ 102 h 133"/>
                <a:gd name="T64" fmla="*/ 3 w 80"/>
                <a:gd name="T65" fmla="*/ 109 h 133"/>
                <a:gd name="T66" fmla="*/ 7 w 80"/>
                <a:gd name="T67" fmla="*/ 116 h 133"/>
                <a:gd name="T68" fmla="*/ 12 w 80"/>
                <a:gd name="T69" fmla="*/ 122 h 133"/>
                <a:gd name="T70" fmla="*/ 17 w 80"/>
                <a:gd name="T71" fmla="*/ 126 h 133"/>
                <a:gd name="T72" fmla="*/ 24 w 80"/>
                <a:gd name="T73" fmla="*/ 130 h 133"/>
                <a:gd name="T74" fmla="*/ 31 w 80"/>
                <a:gd name="T75" fmla="*/ 132 h 133"/>
                <a:gd name="T76" fmla="*/ 39 w 80"/>
                <a:gd name="T77" fmla="*/ 133 h 133"/>
                <a:gd name="T78" fmla="*/ 39 w 80"/>
                <a:gd name="T7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3">
                  <a:moveTo>
                    <a:pt x="39" y="133"/>
                  </a:moveTo>
                  <a:lnTo>
                    <a:pt x="39" y="133"/>
                  </a:lnTo>
                  <a:lnTo>
                    <a:pt x="48" y="132"/>
                  </a:lnTo>
                  <a:lnTo>
                    <a:pt x="56" y="130"/>
                  </a:lnTo>
                  <a:lnTo>
                    <a:pt x="63" y="126"/>
                  </a:lnTo>
                  <a:lnTo>
                    <a:pt x="68" y="122"/>
                  </a:lnTo>
                  <a:lnTo>
                    <a:pt x="73" y="116"/>
                  </a:lnTo>
                  <a:lnTo>
                    <a:pt x="77" y="109"/>
                  </a:lnTo>
                  <a:lnTo>
                    <a:pt x="79" y="102"/>
                  </a:lnTo>
                  <a:lnTo>
                    <a:pt x="80" y="94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79" y="32"/>
                  </a:lnTo>
                  <a:lnTo>
                    <a:pt x="77" y="24"/>
                  </a:lnTo>
                  <a:lnTo>
                    <a:pt x="73" y="17"/>
                  </a:lnTo>
                  <a:lnTo>
                    <a:pt x="68" y="12"/>
                  </a:lnTo>
                  <a:lnTo>
                    <a:pt x="63" y="7"/>
                  </a:lnTo>
                  <a:lnTo>
                    <a:pt x="56" y="3"/>
                  </a:lnTo>
                  <a:lnTo>
                    <a:pt x="48" y="1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1" y="1"/>
                  </a:lnTo>
                  <a:lnTo>
                    <a:pt x="24" y="3"/>
                  </a:lnTo>
                  <a:lnTo>
                    <a:pt x="17" y="7"/>
                  </a:lnTo>
                  <a:lnTo>
                    <a:pt x="12" y="12"/>
                  </a:lnTo>
                  <a:lnTo>
                    <a:pt x="7" y="17"/>
                  </a:lnTo>
                  <a:lnTo>
                    <a:pt x="3" y="24"/>
                  </a:lnTo>
                  <a:lnTo>
                    <a:pt x="1" y="32"/>
                  </a:lnTo>
                  <a:lnTo>
                    <a:pt x="0" y="41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1" y="102"/>
                  </a:lnTo>
                  <a:lnTo>
                    <a:pt x="3" y="109"/>
                  </a:lnTo>
                  <a:lnTo>
                    <a:pt x="7" y="116"/>
                  </a:lnTo>
                  <a:lnTo>
                    <a:pt x="12" y="122"/>
                  </a:lnTo>
                  <a:lnTo>
                    <a:pt x="17" y="126"/>
                  </a:lnTo>
                  <a:lnTo>
                    <a:pt x="24" y="130"/>
                  </a:lnTo>
                  <a:lnTo>
                    <a:pt x="31" y="132"/>
                  </a:lnTo>
                  <a:lnTo>
                    <a:pt x="39" y="133"/>
                  </a:lnTo>
                  <a:lnTo>
                    <a:pt x="39" y="1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5" name="Freeform 56">
              <a:extLst>
                <a:ext uri="{FF2B5EF4-FFF2-40B4-BE49-F238E27FC236}">
                  <a16:creationId xmlns:a16="http://schemas.microsoft.com/office/drawing/2014/main" id="{98161C7F-7214-4079-99E9-93F760A35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1037" y="4467707"/>
              <a:ext cx="17992" cy="29912"/>
            </a:xfrm>
            <a:custGeom>
              <a:avLst/>
              <a:gdLst>
                <a:gd name="T0" fmla="*/ 39 w 80"/>
                <a:gd name="T1" fmla="*/ 133 h 133"/>
                <a:gd name="T2" fmla="*/ 39 w 80"/>
                <a:gd name="T3" fmla="*/ 133 h 133"/>
                <a:gd name="T4" fmla="*/ 47 w 80"/>
                <a:gd name="T5" fmla="*/ 133 h 133"/>
                <a:gd name="T6" fmla="*/ 55 w 80"/>
                <a:gd name="T7" fmla="*/ 130 h 133"/>
                <a:gd name="T8" fmla="*/ 62 w 80"/>
                <a:gd name="T9" fmla="*/ 127 h 133"/>
                <a:gd name="T10" fmla="*/ 68 w 80"/>
                <a:gd name="T11" fmla="*/ 122 h 133"/>
                <a:gd name="T12" fmla="*/ 73 w 80"/>
                <a:gd name="T13" fmla="*/ 116 h 133"/>
                <a:gd name="T14" fmla="*/ 76 w 80"/>
                <a:gd name="T15" fmla="*/ 109 h 133"/>
                <a:gd name="T16" fmla="*/ 79 w 80"/>
                <a:gd name="T17" fmla="*/ 102 h 133"/>
                <a:gd name="T18" fmla="*/ 80 w 80"/>
                <a:gd name="T19" fmla="*/ 94 h 133"/>
                <a:gd name="T20" fmla="*/ 80 w 80"/>
                <a:gd name="T21" fmla="*/ 41 h 133"/>
                <a:gd name="T22" fmla="*/ 80 w 80"/>
                <a:gd name="T23" fmla="*/ 41 h 133"/>
                <a:gd name="T24" fmla="*/ 79 w 80"/>
                <a:gd name="T25" fmla="*/ 32 h 133"/>
                <a:gd name="T26" fmla="*/ 76 w 80"/>
                <a:gd name="T27" fmla="*/ 24 h 133"/>
                <a:gd name="T28" fmla="*/ 73 w 80"/>
                <a:gd name="T29" fmla="*/ 17 h 133"/>
                <a:gd name="T30" fmla="*/ 68 w 80"/>
                <a:gd name="T31" fmla="*/ 12 h 133"/>
                <a:gd name="T32" fmla="*/ 62 w 80"/>
                <a:gd name="T33" fmla="*/ 7 h 133"/>
                <a:gd name="T34" fmla="*/ 55 w 80"/>
                <a:gd name="T35" fmla="*/ 3 h 133"/>
                <a:gd name="T36" fmla="*/ 47 w 80"/>
                <a:gd name="T37" fmla="*/ 1 h 133"/>
                <a:gd name="T38" fmla="*/ 39 w 80"/>
                <a:gd name="T39" fmla="*/ 0 h 133"/>
                <a:gd name="T40" fmla="*/ 39 w 80"/>
                <a:gd name="T41" fmla="*/ 0 h 133"/>
                <a:gd name="T42" fmla="*/ 31 w 80"/>
                <a:gd name="T43" fmla="*/ 1 h 133"/>
                <a:gd name="T44" fmla="*/ 24 w 80"/>
                <a:gd name="T45" fmla="*/ 3 h 133"/>
                <a:gd name="T46" fmla="*/ 17 w 80"/>
                <a:gd name="T47" fmla="*/ 7 h 133"/>
                <a:gd name="T48" fmla="*/ 11 w 80"/>
                <a:gd name="T49" fmla="*/ 12 h 133"/>
                <a:gd name="T50" fmla="*/ 7 w 80"/>
                <a:gd name="T51" fmla="*/ 17 h 133"/>
                <a:gd name="T52" fmla="*/ 3 w 80"/>
                <a:gd name="T53" fmla="*/ 24 h 133"/>
                <a:gd name="T54" fmla="*/ 0 w 80"/>
                <a:gd name="T55" fmla="*/ 32 h 133"/>
                <a:gd name="T56" fmla="*/ 0 w 80"/>
                <a:gd name="T57" fmla="*/ 41 h 133"/>
                <a:gd name="T58" fmla="*/ 0 w 80"/>
                <a:gd name="T59" fmla="*/ 94 h 133"/>
                <a:gd name="T60" fmla="*/ 0 w 80"/>
                <a:gd name="T61" fmla="*/ 94 h 133"/>
                <a:gd name="T62" fmla="*/ 0 w 80"/>
                <a:gd name="T63" fmla="*/ 102 h 133"/>
                <a:gd name="T64" fmla="*/ 3 w 80"/>
                <a:gd name="T65" fmla="*/ 109 h 133"/>
                <a:gd name="T66" fmla="*/ 7 w 80"/>
                <a:gd name="T67" fmla="*/ 116 h 133"/>
                <a:gd name="T68" fmla="*/ 11 w 80"/>
                <a:gd name="T69" fmla="*/ 122 h 133"/>
                <a:gd name="T70" fmla="*/ 17 w 80"/>
                <a:gd name="T71" fmla="*/ 127 h 133"/>
                <a:gd name="T72" fmla="*/ 24 w 80"/>
                <a:gd name="T73" fmla="*/ 130 h 133"/>
                <a:gd name="T74" fmla="*/ 31 w 80"/>
                <a:gd name="T75" fmla="*/ 133 h 133"/>
                <a:gd name="T76" fmla="*/ 39 w 80"/>
                <a:gd name="T77" fmla="*/ 133 h 133"/>
                <a:gd name="T78" fmla="*/ 39 w 80"/>
                <a:gd name="T7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3">
                  <a:moveTo>
                    <a:pt x="39" y="133"/>
                  </a:moveTo>
                  <a:lnTo>
                    <a:pt x="39" y="133"/>
                  </a:lnTo>
                  <a:lnTo>
                    <a:pt x="47" y="133"/>
                  </a:lnTo>
                  <a:lnTo>
                    <a:pt x="55" y="130"/>
                  </a:lnTo>
                  <a:lnTo>
                    <a:pt x="62" y="127"/>
                  </a:lnTo>
                  <a:lnTo>
                    <a:pt x="68" y="122"/>
                  </a:lnTo>
                  <a:lnTo>
                    <a:pt x="73" y="116"/>
                  </a:lnTo>
                  <a:lnTo>
                    <a:pt x="76" y="109"/>
                  </a:lnTo>
                  <a:lnTo>
                    <a:pt x="79" y="102"/>
                  </a:lnTo>
                  <a:lnTo>
                    <a:pt x="80" y="94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79" y="32"/>
                  </a:lnTo>
                  <a:lnTo>
                    <a:pt x="76" y="24"/>
                  </a:lnTo>
                  <a:lnTo>
                    <a:pt x="73" y="17"/>
                  </a:lnTo>
                  <a:lnTo>
                    <a:pt x="68" y="12"/>
                  </a:lnTo>
                  <a:lnTo>
                    <a:pt x="62" y="7"/>
                  </a:lnTo>
                  <a:lnTo>
                    <a:pt x="55" y="3"/>
                  </a:lnTo>
                  <a:lnTo>
                    <a:pt x="47" y="1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1" y="1"/>
                  </a:lnTo>
                  <a:lnTo>
                    <a:pt x="24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7" y="17"/>
                  </a:lnTo>
                  <a:lnTo>
                    <a:pt x="3" y="24"/>
                  </a:lnTo>
                  <a:lnTo>
                    <a:pt x="0" y="32"/>
                  </a:lnTo>
                  <a:lnTo>
                    <a:pt x="0" y="41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102"/>
                  </a:lnTo>
                  <a:lnTo>
                    <a:pt x="3" y="109"/>
                  </a:lnTo>
                  <a:lnTo>
                    <a:pt x="7" y="116"/>
                  </a:lnTo>
                  <a:lnTo>
                    <a:pt x="11" y="122"/>
                  </a:lnTo>
                  <a:lnTo>
                    <a:pt x="17" y="127"/>
                  </a:lnTo>
                  <a:lnTo>
                    <a:pt x="24" y="130"/>
                  </a:lnTo>
                  <a:lnTo>
                    <a:pt x="31" y="133"/>
                  </a:lnTo>
                  <a:lnTo>
                    <a:pt x="39" y="133"/>
                  </a:lnTo>
                  <a:lnTo>
                    <a:pt x="39" y="1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6" name="Freeform 57">
              <a:extLst>
                <a:ext uri="{FF2B5EF4-FFF2-40B4-BE49-F238E27FC236}">
                  <a16:creationId xmlns:a16="http://schemas.microsoft.com/office/drawing/2014/main" id="{146B8D36-1FB2-440C-9BF2-AFA88F062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021" y="4467707"/>
              <a:ext cx="17992" cy="29912"/>
            </a:xfrm>
            <a:custGeom>
              <a:avLst/>
              <a:gdLst>
                <a:gd name="T0" fmla="*/ 39 w 80"/>
                <a:gd name="T1" fmla="*/ 133 h 133"/>
                <a:gd name="T2" fmla="*/ 39 w 80"/>
                <a:gd name="T3" fmla="*/ 133 h 133"/>
                <a:gd name="T4" fmla="*/ 47 w 80"/>
                <a:gd name="T5" fmla="*/ 133 h 133"/>
                <a:gd name="T6" fmla="*/ 56 w 80"/>
                <a:gd name="T7" fmla="*/ 130 h 133"/>
                <a:gd name="T8" fmla="*/ 62 w 80"/>
                <a:gd name="T9" fmla="*/ 127 h 133"/>
                <a:gd name="T10" fmla="*/ 68 w 80"/>
                <a:gd name="T11" fmla="*/ 122 h 133"/>
                <a:gd name="T12" fmla="*/ 73 w 80"/>
                <a:gd name="T13" fmla="*/ 116 h 133"/>
                <a:gd name="T14" fmla="*/ 76 w 80"/>
                <a:gd name="T15" fmla="*/ 109 h 133"/>
                <a:gd name="T16" fmla="*/ 79 w 80"/>
                <a:gd name="T17" fmla="*/ 102 h 133"/>
                <a:gd name="T18" fmla="*/ 80 w 80"/>
                <a:gd name="T19" fmla="*/ 94 h 133"/>
                <a:gd name="T20" fmla="*/ 80 w 80"/>
                <a:gd name="T21" fmla="*/ 41 h 133"/>
                <a:gd name="T22" fmla="*/ 80 w 80"/>
                <a:gd name="T23" fmla="*/ 41 h 133"/>
                <a:gd name="T24" fmla="*/ 79 w 80"/>
                <a:gd name="T25" fmla="*/ 32 h 133"/>
                <a:gd name="T26" fmla="*/ 76 w 80"/>
                <a:gd name="T27" fmla="*/ 24 h 133"/>
                <a:gd name="T28" fmla="*/ 73 w 80"/>
                <a:gd name="T29" fmla="*/ 17 h 133"/>
                <a:gd name="T30" fmla="*/ 68 w 80"/>
                <a:gd name="T31" fmla="*/ 12 h 133"/>
                <a:gd name="T32" fmla="*/ 62 w 80"/>
                <a:gd name="T33" fmla="*/ 7 h 133"/>
                <a:gd name="T34" fmla="*/ 56 w 80"/>
                <a:gd name="T35" fmla="*/ 3 h 133"/>
                <a:gd name="T36" fmla="*/ 47 w 80"/>
                <a:gd name="T37" fmla="*/ 1 h 133"/>
                <a:gd name="T38" fmla="*/ 39 w 80"/>
                <a:gd name="T39" fmla="*/ 0 h 133"/>
                <a:gd name="T40" fmla="*/ 39 w 80"/>
                <a:gd name="T41" fmla="*/ 0 h 133"/>
                <a:gd name="T42" fmla="*/ 31 w 80"/>
                <a:gd name="T43" fmla="*/ 1 h 133"/>
                <a:gd name="T44" fmla="*/ 24 w 80"/>
                <a:gd name="T45" fmla="*/ 3 h 133"/>
                <a:gd name="T46" fmla="*/ 17 w 80"/>
                <a:gd name="T47" fmla="*/ 7 h 133"/>
                <a:gd name="T48" fmla="*/ 11 w 80"/>
                <a:gd name="T49" fmla="*/ 12 h 133"/>
                <a:gd name="T50" fmla="*/ 7 w 80"/>
                <a:gd name="T51" fmla="*/ 17 h 133"/>
                <a:gd name="T52" fmla="*/ 3 w 80"/>
                <a:gd name="T53" fmla="*/ 24 h 133"/>
                <a:gd name="T54" fmla="*/ 1 w 80"/>
                <a:gd name="T55" fmla="*/ 32 h 133"/>
                <a:gd name="T56" fmla="*/ 0 w 80"/>
                <a:gd name="T57" fmla="*/ 41 h 133"/>
                <a:gd name="T58" fmla="*/ 0 w 80"/>
                <a:gd name="T59" fmla="*/ 94 h 133"/>
                <a:gd name="T60" fmla="*/ 0 w 80"/>
                <a:gd name="T61" fmla="*/ 94 h 133"/>
                <a:gd name="T62" fmla="*/ 1 w 80"/>
                <a:gd name="T63" fmla="*/ 102 h 133"/>
                <a:gd name="T64" fmla="*/ 3 w 80"/>
                <a:gd name="T65" fmla="*/ 109 h 133"/>
                <a:gd name="T66" fmla="*/ 7 w 80"/>
                <a:gd name="T67" fmla="*/ 116 h 133"/>
                <a:gd name="T68" fmla="*/ 11 w 80"/>
                <a:gd name="T69" fmla="*/ 122 h 133"/>
                <a:gd name="T70" fmla="*/ 17 w 80"/>
                <a:gd name="T71" fmla="*/ 127 h 133"/>
                <a:gd name="T72" fmla="*/ 24 w 80"/>
                <a:gd name="T73" fmla="*/ 130 h 133"/>
                <a:gd name="T74" fmla="*/ 31 w 80"/>
                <a:gd name="T75" fmla="*/ 133 h 133"/>
                <a:gd name="T76" fmla="*/ 39 w 80"/>
                <a:gd name="T77" fmla="*/ 133 h 133"/>
                <a:gd name="T78" fmla="*/ 39 w 80"/>
                <a:gd name="T7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3">
                  <a:moveTo>
                    <a:pt x="39" y="133"/>
                  </a:moveTo>
                  <a:lnTo>
                    <a:pt x="39" y="133"/>
                  </a:lnTo>
                  <a:lnTo>
                    <a:pt x="47" y="133"/>
                  </a:lnTo>
                  <a:lnTo>
                    <a:pt x="56" y="130"/>
                  </a:lnTo>
                  <a:lnTo>
                    <a:pt x="62" y="127"/>
                  </a:lnTo>
                  <a:lnTo>
                    <a:pt x="68" y="122"/>
                  </a:lnTo>
                  <a:lnTo>
                    <a:pt x="73" y="116"/>
                  </a:lnTo>
                  <a:lnTo>
                    <a:pt x="76" y="109"/>
                  </a:lnTo>
                  <a:lnTo>
                    <a:pt x="79" y="102"/>
                  </a:lnTo>
                  <a:lnTo>
                    <a:pt x="80" y="94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79" y="32"/>
                  </a:lnTo>
                  <a:lnTo>
                    <a:pt x="76" y="24"/>
                  </a:lnTo>
                  <a:lnTo>
                    <a:pt x="73" y="17"/>
                  </a:lnTo>
                  <a:lnTo>
                    <a:pt x="68" y="12"/>
                  </a:lnTo>
                  <a:lnTo>
                    <a:pt x="62" y="7"/>
                  </a:lnTo>
                  <a:lnTo>
                    <a:pt x="56" y="3"/>
                  </a:lnTo>
                  <a:lnTo>
                    <a:pt x="47" y="1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1" y="1"/>
                  </a:lnTo>
                  <a:lnTo>
                    <a:pt x="24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7" y="17"/>
                  </a:lnTo>
                  <a:lnTo>
                    <a:pt x="3" y="24"/>
                  </a:lnTo>
                  <a:lnTo>
                    <a:pt x="1" y="32"/>
                  </a:lnTo>
                  <a:lnTo>
                    <a:pt x="0" y="41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1" y="102"/>
                  </a:lnTo>
                  <a:lnTo>
                    <a:pt x="3" y="109"/>
                  </a:lnTo>
                  <a:lnTo>
                    <a:pt x="7" y="116"/>
                  </a:lnTo>
                  <a:lnTo>
                    <a:pt x="11" y="122"/>
                  </a:lnTo>
                  <a:lnTo>
                    <a:pt x="17" y="127"/>
                  </a:lnTo>
                  <a:lnTo>
                    <a:pt x="24" y="130"/>
                  </a:lnTo>
                  <a:lnTo>
                    <a:pt x="31" y="133"/>
                  </a:lnTo>
                  <a:lnTo>
                    <a:pt x="39" y="133"/>
                  </a:lnTo>
                  <a:lnTo>
                    <a:pt x="39" y="1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7" name="Freeform 58">
              <a:extLst>
                <a:ext uri="{FF2B5EF4-FFF2-40B4-BE49-F238E27FC236}">
                  <a16:creationId xmlns:a16="http://schemas.microsoft.com/office/drawing/2014/main" id="{7458F9B8-3F83-4480-9599-670829FBE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3005" y="4467707"/>
              <a:ext cx="17992" cy="29912"/>
            </a:xfrm>
            <a:custGeom>
              <a:avLst/>
              <a:gdLst>
                <a:gd name="T0" fmla="*/ 39 w 80"/>
                <a:gd name="T1" fmla="*/ 133 h 133"/>
                <a:gd name="T2" fmla="*/ 39 w 80"/>
                <a:gd name="T3" fmla="*/ 133 h 133"/>
                <a:gd name="T4" fmla="*/ 48 w 80"/>
                <a:gd name="T5" fmla="*/ 133 h 133"/>
                <a:gd name="T6" fmla="*/ 56 w 80"/>
                <a:gd name="T7" fmla="*/ 130 h 133"/>
                <a:gd name="T8" fmla="*/ 63 w 80"/>
                <a:gd name="T9" fmla="*/ 127 h 133"/>
                <a:gd name="T10" fmla="*/ 68 w 80"/>
                <a:gd name="T11" fmla="*/ 122 h 133"/>
                <a:gd name="T12" fmla="*/ 73 w 80"/>
                <a:gd name="T13" fmla="*/ 116 h 133"/>
                <a:gd name="T14" fmla="*/ 77 w 80"/>
                <a:gd name="T15" fmla="*/ 109 h 133"/>
                <a:gd name="T16" fmla="*/ 79 w 80"/>
                <a:gd name="T17" fmla="*/ 102 h 133"/>
                <a:gd name="T18" fmla="*/ 80 w 80"/>
                <a:gd name="T19" fmla="*/ 94 h 133"/>
                <a:gd name="T20" fmla="*/ 80 w 80"/>
                <a:gd name="T21" fmla="*/ 41 h 133"/>
                <a:gd name="T22" fmla="*/ 80 w 80"/>
                <a:gd name="T23" fmla="*/ 41 h 133"/>
                <a:gd name="T24" fmla="*/ 79 w 80"/>
                <a:gd name="T25" fmla="*/ 32 h 133"/>
                <a:gd name="T26" fmla="*/ 77 w 80"/>
                <a:gd name="T27" fmla="*/ 24 h 133"/>
                <a:gd name="T28" fmla="*/ 73 w 80"/>
                <a:gd name="T29" fmla="*/ 17 h 133"/>
                <a:gd name="T30" fmla="*/ 68 w 80"/>
                <a:gd name="T31" fmla="*/ 12 h 133"/>
                <a:gd name="T32" fmla="*/ 63 w 80"/>
                <a:gd name="T33" fmla="*/ 7 h 133"/>
                <a:gd name="T34" fmla="*/ 56 w 80"/>
                <a:gd name="T35" fmla="*/ 3 h 133"/>
                <a:gd name="T36" fmla="*/ 48 w 80"/>
                <a:gd name="T37" fmla="*/ 1 h 133"/>
                <a:gd name="T38" fmla="*/ 39 w 80"/>
                <a:gd name="T39" fmla="*/ 0 h 133"/>
                <a:gd name="T40" fmla="*/ 39 w 80"/>
                <a:gd name="T41" fmla="*/ 0 h 133"/>
                <a:gd name="T42" fmla="*/ 31 w 80"/>
                <a:gd name="T43" fmla="*/ 1 h 133"/>
                <a:gd name="T44" fmla="*/ 24 w 80"/>
                <a:gd name="T45" fmla="*/ 3 h 133"/>
                <a:gd name="T46" fmla="*/ 17 w 80"/>
                <a:gd name="T47" fmla="*/ 7 h 133"/>
                <a:gd name="T48" fmla="*/ 12 w 80"/>
                <a:gd name="T49" fmla="*/ 12 h 133"/>
                <a:gd name="T50" fmla="*/ 7 w 80"/>
                <a:gd name="T51" fmla="*/ 17 h 133"/>
                <a:gd name="T52" fmla="*/ 3 w 80"/>
                <a:gd name="T53" fmla="*/ 24 h 133"/>
                <a:gd name="T54" fmla="*/ 1 w 80"/>
                <a:gd name="T55" fmla="*/ 32 h 133"/>
                <a:gd name="T56" fmla="*/ 0 w 80"/>
                <a:gd name="T57" fmla="*/ 41 h 133"/>
                <a:gd name="T58" fmla="*/ 0 w 80"/>
                <a:gd name="T59" fmla="*/ 94 h 133"/>
                <a:gd name="T60" fmla="*/ 0 w 80"/>
                <a:gd name="T61" fmla="*/ 94 h 133"/>
                <a:gd name="T62" fmla="*/ 1 w 80"/>
                <a:gd name="T63" fmla="*/ 102 h 133"/>
                <a:gd name="T64" fmla="*/ 3 w 80"/>
                <a:gd name="T65" fmla="*/ 109 h 133"/>
                <a:gd name="T66" fmla="*/ 7 w 80"/>
                <a:gd name="T67" fmla="*/ 116 h 133"/>
                <a:gd name="T68" fmla="*/ 12 w 80"/>
                <a:gd name="T69" fmla="*/ 122 h 133"/>
                <a:gd name="T70" fmla="*/ 17 w 80"/>
                <a:gd name="T71" fmla="*/ 127 h 133"/>
                <a:gd name="T72" fmla="*/ 24 w 80"/>
                <a:gd name="T73" fmla="*/ 130 h 133"/>
                <a:gd name="T74" fmla="*/ 31 w 80"/>
                <a:gd name="T75" fmla="*/ 133 h 133"/>
                <a:gd name="T76" fmla="*/ 39 w 80"/>
                <a:gd name="T77" fmla="*/ 133 h 133"/>
                <a:gd name="T78" fmla="*/ 39 w 80"/>
                <a:gd name="T7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3">
                  <a:moveTo>
                    <a:pt x="39" y="133"/>
                  </a:moveTo>
                  <a:lnTo>
                    <a:pt x="39" y="133"/>
                  </a:lnTo>
                  <a:lnTo>
                    <a:pt x="48" y="133"/>
                  </a:lnTo>
                  <a:lnTo>
                    <a:pt x="56" y="130"/>
                  </a:lnTo>
                  <a:lnTo>
                    <a:pt x="63" y="127"/>
                  </a:lnTo>
                  <a:lnTo>
                    <a:pt x="68" y="122"/>
                  </a:lnTo>
                  <a:lnTo>
                    <a:pt x="73" y="116"/>
                  </a:lnTo>
                  <a:lnTo>
                    <a:pt x="77" y="109"/>
                  </a:lnTo>
                  <a:lnTo>
                    <a:pt x="79" y="102"/>
                  </a:lnTo>
                  <a:lnTo>
                    <a:pt x="80" y="94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79" y="32"/>
                  </a:lnTo>
                  <a:lnTo>
                    <a:pt x="77" y="24"/>
                  </a:lnTo>
                  <a:lnTo>
                    <a:pt x="73" y="17"/>
                  </a:lnTo>
                  <a:lnTo>
                    <a:pt x="68" y="12"/>
                  </a:lnTo>
                  <a:lnTo>
                    <a:pt x="63" y="7"/>
                  </a:lnTo>
                  <a:lnTo>
                    <a:pt x="56" y="3"/>
                  </a:lnTo>
                  <a:lnTo>
                    <a:pt x="48" y="1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1" y="1"/>
                  </a:lnTo>
                  <a:lnTo>
                    <a:pt x="24" y="3"/>
                  </a:lnTo>
                  <a:lnTo>
                    <a:pt x="17" y="7"/>
                  </a:lnTo>
                  <a:lnTo>
                    <a:pt x="12" y="12"/>
                  </a:lnTo>
                  <a:lnTo>
                    <a:pt x="7" y="17"/>
                  </a:lnTo>
                  <a:lnTo>
                    <a:pt x="3" y="24"/>
                  </a:lnTo>
                  <a:lnTo>
                    <a:pt x="1" y="32"/>
                  </a:lnTo>
                  <a:lnTo>
                    <a:pt x="0" y="41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1" y="102"/>
                  </a:lnTo>
                  <a:lnTo>
                    <a:pt x="3" y="109"/>
                  </a:lnTo>
                  <a:lnTo>
                    <a:pt x="7" y="116"/>
                  </a:lnTo>
                  <a:lnTo>
                    <a:pt x="12" y="122"/>
                  </a:lnTo>
                  <a:lnTo>
                    <a:pt x="17" y="127"/>
                  </a:lnTo>
                  <a:lnTo>
                    <a:pt x="24" y="130"/>
                  </a:lnTo>
                  <a:lnTo>
                    <a:pt x="31" y="133"/>
                  </a:lnTo>
                  <a:lnTo>
                    <a:pt x="39" y="133"/>
                  </a:lnTo>
                  <a:lnTo>
                    <a:pt x="39" y="13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8" name="Freeform 59">
              <a:extLst>
                <a:ext uri="{FF2B5EF4-FFF2-40B4-BE49-F238E27FC236}">
                  <a16:creationId xmlns:a16="http://schemas.microsoft.com/office/drawing/2014/main" id="{68924D9A-D417-494F-B43C-A45249F8B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1037" y="4527755"/>
              <a:ext cx="17992" cy="30136"/>
            </a:xfrm>
            <a:custGeom>
              <a:avLst/>
              <a:gdLst>
                <a:gd name="T0" fmla="*/ 80 w 80"/>
                <a:gd name="T1" fmla="*/ 94 h 134"/>
                <a:gd name="T2" fmla="*/ 80 w 80"/>
                <a:gd name="T3" fmla="*/ 41 h 134"/>
                <a:gd name="T4" fmla="*/ 80 w 80"/>
                <a:gd name="T5" fmla="*/ 41 h 134"/>
                <a:gd name="T6" fmla="*/ 79 w 80"/>
                <a:gd name="T7" fmla="*/ 33 h 134"/>
                <a:gd name="T8" fmla="*/ 76 w 80"/>
                <a:gd name="T9" fmla="*/ 24 h 134"/>
                <a:gd name="T10" fmla="*/ 73 w 80"/>
                <a:gd name="T11" fmla="*/ 17 h 134"/>
                <a:gd name="T12" fmla="*/ 68 w 80"/>
                <a:gd name="T13" fmla="*/ 12 h 134"/>
                <a:gd name="T14" fmla="*/ 62 w 80"/>
                <a:gd name="T15" fmla="*/ 7 h 134"/>
                <a:gd name="T16" fmla="*/ 55 w 80"/>
                <a:gd name="T17" fmla="*/ 3 h 134"/>
                <a:gd name="T18" fmla="*/ 47 w 80"/>
                <a:gd name="T19" fmla="*/ 1 h 134"/>
                <a:gd name="T20" fmla="*/ 39 w 80"/>
                <a:gd name="T21" fmla="*/ 0 h 134"/>
                <a:gd name="T22" fmla="*/ 39 w 80"/>
                <a:gd name="T23" fmla="*/ 0 h 134"/>
                <a:gd name="T24" fmla="*/ 31 w 80"/>
                <a:gd name="T25" fmla="*/ 1 h 134"/>
                <a:gd name="T26" fmla="*/ 24 w 80"/>
                <a:gd name="T27" fmla="*/ 3 h 134"/>
                <a:gd name="T28" fmla="*/ 17 w 80"/>
                <a:gd name="T29" fmla="*/ 7 h 134"/>
                <a:gd name="T30" fmla="*/ 11 w 80"/>
                <a:gd name="T31" fmla="*/ 12 h 134"/>
                <a:gd name="T32" fmla="*/ 7 w 80"/>
                <a:gd name="T33" fmla="*/ 17 h 134"/>
                <a:gd name="T34" fmla="*/ 3 w 80"/>
                <a:gd name="T35" fmla="*/ 24 h 134"/>
                <a:gd name="T36" fmla="*/ 0 w 80"/>
                <a:gd name="T37" fmla="*/ 33 h 134"/>
                <a:gd name="T38" fmla="*/ 0 w 80"/>
                <a:gd name="T39" fmla="*/ 41 h 134"/>
                <a:gd name="T40" fmla="*/ 0 w 80"/>
                <a:gd name="T41" fmla="*/ 94 h 134"/>
                <a:gd name="T42" fmla="*/ 0 w 80"/>
                <a:gd name="T43" fmla="*/ 94 h 134"/>
                <a:gd name="T44" fmla="*/ 0 w 80"/>
                <a:gd name="T45" fmla="*/ 102 h 134"/>
                <a:gd name="T46" fmla="*/ 3 w 80"/>
                <a:gd name="T47" fmla="*/ 109 h 134"/>
                <a:gd name="T48" fmla="*/ 7 w 80"/>
                <a:gd name="T49" fmla="*/ 116 h 134"/>
                <a:gd name="T50" fmla="*/ 11 w 80"/>
                <a:gd name="T51" fmla="*/ 122 h 134"/>
                <a:gd name="T52" fmla="*/ 17 w 80"/>
                <a:gd name="T53" fmla="*/ 127 h 134"/>
                <a:gd name="T54" fmla="*/ 24 w 80"/>
                <a:gd name="T55" fmla="*/ 131 h 134"/>
                <a:gd name="T56" fmla="*/ 31 w 80"/>
                <a:gd name="T57" fmla="*/ 134 h 134"/>
                <a:gd name="T58" fmla="*/ 39 w 80"/>
                <a:gd name="T59" fmla="*/ 134 h 134"/>
                <a:gd name="T60" fmla="*/ 39 w 80"/>
                <a:gd name="T61" fmla="*/ 134 h 134"/>
                <a:gd name="T62" fmla="*/ 47 w 80"/>
                <a:gd name="T63" fmla="*/ 134 h 134"/>
                <a:gd name="T64" fmla="*/ 55 w 80"/>
                <a:gd name="T65" fmla="*/ 131 h 134"/>
                <a:gd name="T66" fmla="*/ 62 w 80"/>
                <a:gd name="T67" fmla="*/ 127 h 134"/>
                <a:gd name="T68" fmla="*/ 68 w 80"/>
                <a:gd name="T69" fmla="*/ 122 h 134"/>
                <a:gd name="T70" fmla="*/ 73 w 80"/>
                <a:gd name="T71" fmla="*/ 116 h 134"/>
                <a:gd name="T72" fmla="*/ 76 w 80"/>
                <a:gd name="T73" fmla="*/ 109 h 134"/>
                <a:gd name="T74" fmla="*/ 79 w 80"/>
                <a:gd name="T75" fmla="*/ 102 h 134"/>
                <a:gd name="T76" fmla="*/ 80 w 80"/>
                <a:gd name="T77" fmla="*/ 94 h 134"/>
                <a:gd name="T78" fmla="*/ 80 w 80"/>
                <a:gd name="T79" fmla="*/ 9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4">
                  <a:moveTo>
                    <a:pt x="80" y="94"/>
                  </a:moveTo>
                  <a:lnTo>
                    <a:pt x="80" y="41"/>
                  </a:lnTo>
                  <a:lnTo>
                    <a:pt x="80" y="41"/>
                  </a:lnTo>
                  <a:lnTo>
                    <a:pt x="79" y="33"/>
                  </a:lnTo>
                  <a:lnTo>
                    <a:pt x="76" y="24"/>
                  </a:lnTo>
                  <a:lnTo>
                    <a:pt x="73" y="17"/>
                  </a:lnTo>
                  <a:lnTo>
                    <a:pt x="68" y="12"/>
                  </a:lnTo>
                  <a:lnTo>
                    <a:pt x="62" y="7"/>
                  </a:lnTo>
                  <a:lnTo>
                    <a:pt x="55" y="3"/>
                  </a:lnTo>
                  <a:lnTo>
                    <a:pt x="47" y="1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1" y="1"/>
                  </a:lnTo>
                  <a:lnTo>
                    <a:pt x="24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7" y="17"/>
                  </a:lnTo>
                  <a:lnTo>
                    <a:pt x="3" y="24"/>
                  </a:lnTo>
                  <a:lnTo>
                    <a:pt x="0" y="33"/>
                  </a:lnTo>
                  <a:lnTo>
                    <a:pt x="0" y="41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102"/>
                  </a:lnTo>
                  <a:lnTo>
                    <a:pt x="3" y="109"/>
                  </a:lnTo>
                  <a:lnTo>
                    <a:pt x="7" y="116"/>
                  </a:lnTo>
                  <a:lnTo>
                    <a:pt x="11" y="122"/>
                  </a:lnTo>
                  <a:lnTo>
                    <a:pt x="17" y="127"/>
                  </a:lnTo>
                  <a:lnTo>
                    <a:pt x="24" y="131"/>
                  </a:lnTo>
                  <a:lnTo>
                    <a:pt x="31" y="134"/>
                  </a:lnTo>
                  <a:lnTo>
                    <a:pt x="39" y="134"/>
                  </a:lnTo>
                  <a:lnTo>
                    <a:pt x="39" y="134"/>
                  </a:lnTo>
                  <a:lnTo>
                    <a:pt x="47" y="134"/>
                  </a:lnTo>
                  <a:lnTo>
                    <a:pt x="55" y="131"/>
                  </a:lnTo>
                  <a:lnTo>
                    <a:pt x="62" y="127"/>
                  </a:lnTo>
                  <a:lnTo>
                    <a:pt x="68" y="122"/>
                  </a:lnTo>
                  <a:lnTo>
                    <a:pt x="73" y="116"/>
                  </a:lnTo>
                  <a:lnTo>
                    <a:pt x="76" y="109"/>
                  </a:lnTo>
                  <a:lnTo>
                    <a:pt x="79" y="102"/>
                  </a:lnTo>
                  <a:lnTo>
                    <a:pt x="80" y="94"/>
                  </a:lnTo>
                  <a:lnTo>
                    <a:pt x="80" y="9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9" name="Freeform 60">
              <a:extLst>
                <a:ext uri="{FF2B5EF4-FFF2-40B4-BE49-F238E27FC236}">
                  <a16:creationId xmlns:a16="http://schemas.microsoft.com/office/drawing/2014/main" id="{98FDDC5B-EEB7-4A6F-8528-A419B7C07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021" y="4527755"/>
              <a:ext cx="17992" cy="30136"/>
            </a:xfrm>
            <a:custGeom>
              <a:avLst/>
              <a:gdLst>
                <a:gd name="T0" fmla="*/ 39 w 80"/>
                <a:gd name="T1" fmla="*/ 134 h 134"/>
                <a:gd name="T2" fmla="*/ 39 w 80"/>
                <a:gd name="T3" fmla="*/ 134 h 134"/>
                <a:gd name="T4" fmla="*/ 47 w 80"/>
                <a:gd name="T5" fmla="*/ 134 h 134"/>
                <a:gd name="T6" fmla="*/ 56 w 80"/>
                <a:gd name="T7" fmla="*/ 131 h 134"/>
                <a:gd name="T8" fmla="*/ 62 w 80"/>
                <a:gd name="T9" fmla="*/ 127 h 134"/>
                <a:gd name="T10" fmla="*/ 68 w 80"/>
                <a:gd name="T11" fmla="*/ 122 h 134"/>
                <a:gd name="T12" fmla="*/ 73 w 80"/>
                <a:gd name="T13" fmla="*/ 116 h 134"/>
                <a:gd name="T14" fmla="*/ 76 w 80"/>
                <a:gd name="T15" fmla="*/ 109 h 134"/>
                <a:gd name="T16" fmla="*/ 79 w 80"/>
                <a:gd name="T17" fmla="*/ 102 h 134"/>
                <a:gd name="T18" fmla="*/ 80 w 80"/>
                <a:gd name="T19" fmla="*/ 94 h 134"/>
                <a:gd name="T20" fmla="*/ 80 w 80"/>
                <a:gd name="T21" fmla="*/ 41 h 134"/>
                <a:gd name="T22" fmla="*/ 80 w 80"/>
                <a:gd name="T23" fmla="*/ 41 h 134"/>
                <a:gd name="T24" fmla="*/ 79 w 80"/>
                <a:gd name="T25" fmla="*/ 33 h 134"/>
                <a:gd name="T26" fmla="*/ 76 w 80"/>
                <a:gd name="T27" fmla="*/ 24 h 134"/>
                <a:gd name="T28" fmla="*/ 73 w 80"/>
                <a:gd name="T29" fmla="*/ 17 h 134"/>
                <a:gd name="T30" fmla="*/ 68 w 80"/>
                <a:gd name="T31" fmla="*/ 12 h 134"/>
                <a:gd name="T32" fmla="*/ 62 w 80"/>
                <a:gd name="T33" fmla="*/ 7 h 134"/>
                <a:gd name="T34" fmla="*/ 56 w 80"/>
                <a:gd name="T35" fmla="*/ 3 h 134"/>
                <a:gd name="T36" fmla="*/ 47 w 80"/>
                <a:gd name="T37" fmla="*/ 1 h 134"/>
                <a:gd name="T38" fmla="*/ 39 w 80"/>
                <a:gd name="T39" fmla="*/ 0 h 134"/>
                <a:gd name="T40" fmla="*/ 39 w 80"/>
                <a:gd name="T41" fmla="*/ 0 h 134"/>
                <a:gd name="T42" fmla="*/ 31 w 80"/>
                <a:gd name="T43" fmla="*/ 1 h 134"/>
                <a:gd name="T44" fmla="*/ 24 w 80"/>
                <a:gd name="T45" fmla="*/ 3 h 134"/>
                <a:gd name="T46" fmla="*/ 17 w 80"/>
                <a:gd name="T47" fmla="*/ 7 h 134"/>
                <a:gd name="T48" fmla="*/ 11 w 80"/>
                <a:gd name="T49" fmla="*/ 12 h 134"/>
                <a:gd name="T50" fmla="*/ 7 w 80"/>
                <a:gd name="T51" fmla="*/ 17 h 134"/>
                <a:gd name="T52" fmla="*/ 3 w 80"/>
                <a:gd name="T53" fmla="*/ 24 h 134"/>
                <a:gd name="T54" fmla="*/ 1 w 80"/>
                <a:gd name="T55" fmla="*/ 33 h 134"/>
                <a:gd name="T56" fmla="*/ 0 w 80"/>
                <a:gd name="T57" fmla="*/ 41 h 134"/>
                <a:gd name="T58" fmla="*/ 0 w 80"/>
                <a:gd name="T59" fmla="*/ 94 h 134"/>
                <a:gd name="T60" fmla="*/ 0 w 80"/>
                <a:gd name="T61" fmla="*/ 94 h 134"/>
                <a:gd name="T62" fmla="*/ 1 w 80"/>
                <a:gd name="T63" fmla="*/ 102 h 134"/>
                <a:gd name="T64" fmla="*/ 3 w 80"/>
                <a:gd name="T65" fmla="*/ 109 h 134"/>
                <a:gd name="T66" fmla="*/ 7 w 80"/>
                <a:gd name="T67" fmla="*/ 116 h 134"/>
                <a:gd name="T68" fmla="*/ 11 w 80"/>
                <a:gd name="T69" fmla="*/ 122 h 134"/>
                <a:gd name="T70" fmla="*/ 17 w 80"/>
                <a:gd name="T71" fmla="*/ 127 h 134"/>
                <a:gd name="T72" fmla="*/ 24 w 80"/>
                <a:gd name="T73" fmla="*/ 131 h 134"/>
                <a:gd name="T74" fmla="*/ 31 w 80"/>
                <a:gd name="T75" fmla="*/ 134 h 134"/>
                <a:gd name="T76" fmla="*/ 39 w 80"/>
                <a:gd name="T77" fmla="*/ 134 h 134"/>
                <a:gd name="T78" fmla="*/ 39 w 80"/>
                <a:gd name="T79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4">
                  <a:moveTo>
                    <a:pt x="39" y="134"/>
                  </a:moveTo>
                  <a:lnTo>
                    <a:pt x="39" y="134"/>
                  </a:lnTo>
                  <a:lnTo>
                    <a:pt x="47" y="134"/>
                  </a:lnTo>
                  <a:lnTo>
                    <a:pt x="56" y="131"/>
                  </a:lnTo>
                  <a:lnTo>
                    <a:pt x="62" y="127"/>
                  </a:lnTo>
                  <a:lnTo>
                    <a:pt x="68" y="122"/>
                  </a:lnTo>
                  <a:lnTo>
                    <a:pt x="73" y="116"/>
                  </a:lnTo>
                  <a:lnTo>
                    <a:pt x="76" y="109"/>
                  </a:lnTo>
                  <a:lnTo>
                    <a:pt x="79" y="102"/>
                  </a:lnTo>
                  <a:lnTo>
                    <a:pt x="80" y="94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79" y="33"/>
                  </a:lnTo>
                  <a:lnTo>
                    <a:pt x="76" y="24"/>
                  </a:lnTo>
                  <a:lnTo>
                    <a:pt x="73" y="17"/>
                  </a:lnTo>
                  <a:lnTo>
                    <a:pt x="68" y="12"/>
                  </a:lnTo>
                  <a:lnTo>
                    <a:pt x="62" y="7"/>
                  </a:lnTo>
                  <a:lnTo>
                    <a:pt x="56" y="3"/>
                  </a:lnTo>
                  <a:lnTo>
                    <a:pt x="47" y="1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1" y="1"/>
                  </a:lnTo>
                  <a:lnTo>
                    <a:pt x="24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7" y="17"/>
                  </a:lnTo>
                  <a:lnTo>
                    <a:pt x="3" y="24"/>
                  </a:lnTo>
                  <a:lnTo>
                    <a:pt x="1" y="33"/>
                  </a:lnTo>
                  <a:lnTo>
                    <a:pt x="0" y="41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1" y="102"/>
                  </a:lnTo>
                  <a:lnTo>
                    <a:pt x="3" y="109"/>
                  </a:lnTo>
                  <a:lnTo>
                    <a:pt x="7" y="116"/>
                  </a:lnTo>
                  <a:lnTo>
                    <a:pt x="11" y="122"/>
                  </a:lnTo>
                  <a:lnTo>
                    <a:pt x="17" y="127"/>
                  </a:lnTo>
                  <a:lnTo>
                    <a:pt x="24" y="131"/>
                  </a:lnTo>
                  <a:lnTo>
                    <a:pt x="31" y="134"/>
                  </a:lnTo>
                  <a:lnTo>
                    <a:pt x="39" y="134"/>
                  </a:lnTo>
                  <a:lnTo>
                    <a:pt x="39" y="13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0" name="Freeform 61">
              <a:extLst>
                <a:ext uri="{FF2B5EF4-FFF2-40B4-BE49-F238E27FC236}">
                  <a16:creationId xmlns:a16="http://schemas.microsoft.com/office/drawing/2014/main" id="{B6579A11-0719-4474-AF2F-A66FFC5D6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3005" y="4527755"/>
              <a:ext cx="17992" cy="30136"/>
            </a:xfrm>
            <a:custGeom>
              <a:avLst/>
              <a:gdLst>
                <a:gd name="T0" fmla="*/ 39 w 80"/>
                <a:gd name="T1" fmla="*/ 134 h 134"/>
                <a:gd name="T2" fmla="*/ 39 w 80"/>
                <a:gd name="T3" fmla="*/ 134 h 134"/>
                <a:gd name="T4" fmla="*/ 48 w 80"/>
                <a:gd name="T5" fmla="*/ 134 h 134"/>
                <a:gd name="T6" fmla="*/ 56 w 80"/>
                <a:gd name="T7" fmla="*/ 131 h 134"/>
                <a:gd name="T8" fmla="*/ 63 w 80"/>
                <a:gd name="T9" fmla="*/ 127 h 134"/>
                <a:gd name="T10" fmla="*/ 68 w 80"/>
                <a:gd name="T11" fmla="*/ 122 h 134"/>
                <a:gd name="T12" fmla="*/ 73 w 80"/>
                <a:gd name="T13" fmla="*/ 116 h 134"/>
                <a:gd name="T14" fmla="*/ 77 w 80"/>
                <a:gd name="T15" fmla="*/ 109 h 134"/>
                <a:gd name="T16" fmla="*/ 79 w 80"/>
                <a:gd name="T17" fmla="*/ 102 h 134"/>
                <a:gd name="T18" fmla="*/ 80 w 80"/>
                <a:gd name="T19" fmla="*/ 94 h 134"/>
                <a:gd name="T20" fmla="*/ 80 w 80"/>
                <a:gd name="T21" fmla="*/ 41 h 134"/>
                <a:gd name="T22" fmla="*/ 80 w 80"/>
                <a:gd name="T23" fmla="*/ 41 h 134"/>
                <a:gd name="T24" fmla="*/ 79 w 80"/>
                <a:gd name="T25" fmla="*/ 33 h 134"/>
                <a:gd name="T26" fmla="*/ 77 w 80"/>
                <a:gd name="T27" fmla="*/ 24 h 134"/>
                <a:gd name="T28" fmla="*/ 73 w 80"/>
                <a:gd name="T29" fmla="*/ 17 h 134"/>
                <a:gd name="T30" fmla="*/ 68 w 80"/>
                <a:gd name="T31" fmla="*/ 12 h 134"/>
                <a:gd name="T32" fmla="*/ 63 w 80"/>
                <a:gd name="T33" fmla="*/ 7 h 134"/>
                <a:gd name="T34" fmla="*/ 56 w 80"/>
                <a:gd name="T35" fmla="*/ 3 h 134"/>
                <a:gd name="T36" fmla="*/ 48 w 80"/>
                <a:gd name="T37" fmla="*/ 1 h 134"/>
                <a:gd name="T38" fmla="*/ 39 w 80"/>
                <a:gd name="T39" fmla="*/ 0 h 134"/>
                <a:gd name="T40" fmla="*/ 39 w 80"/>
                <a:gd name="T41" fmla="*/ 0 h 134"/>
                <a:gd name="T42" fmla="*/ 31 w 80"/>
                <a:gd name="T43" fmla="*/ 1 h 134"/>
                <a:gd name="T44" fmla="*/ 24 w 80"/>
                <a:gd name="T45" fmla="*/ 3 h 134"/>
                <a:gd name="T46" fmla="*/ 17 w 80"/>
                <a:gd name="T47" fmla="*/ 7 h 134"/>
                <a:gd name="T48" fmla="*/ 12 w 80"/>
                <a:gd name="T49" fmla="*/ 12 h 134"/>
                <a:gd name="T50" fmla="*/ 7 w 80"/>
                <a:gd name="T51" fmla="*/ 17 h 134"/>
                <a:gd name="T52" fmla="*/ 3 w 80"/>
                <a:gd name="T53" fmla="*/ 24 h 134"/>
                <a:gd name="T54" fmla="*/ 1 w 80"/>
                <a:gd name="T55" fmla="*/ 33 h 134"/>
                <a:gd name="T56" fmla="*/ 0 w 80"/>
                <a:gd name="T57" fmla="*/ 41 h 134"/>
                <a:gd name="T58" fmla="*/ 0 w 80"/>
                <a:gd name="T59" fmla="*/ 94 h 134"/>
                <a:gd name="T60" fmla="*/ 0 w 80"/>
                <a:gd name="T61" fmla="*/ 94 h 134"/>
                <a:gd name="T62" fmla="*/ 1 w 80"/>
                <a:gd name="T63" fmla="*/ 102 h 134"/>
                <a:gd name="T64" fmla="*/ 3 w 80"/>
                <a:gd name="T65" fmla="*/ 109 h 134"/>
                <a:gd name="T66" fmla="*/ 7 w 80"/>
                <a:gd name="T67" fmla="*/ 116 h 134"/>
                <a:gd name="T68" fmla="*/ 12 w 80"/>
                <a:gd name="T69" fmla="*/ 122 h 134"/>
                <a:gd name="T70" fmla="*/ 17 w 80"/>
                <a:gd name="T71" fmla="*/ 127 h 134"/>
                <a:gd name="T72" fmla="*/ 24 w 80"/>
                <a:gd name="T73" fmla="*/ 131 h 134"/>
                <a:gd name="T74" fmla="*/ 31 w 80"/>
                <a:gd name="T75" fmla="*/ 134 h 134"/>
                <a:gd name="T76" fmla="*/ 39 w 80"/>
                <a:gd name="T77" fmla="*/ 134 h 134"/>
                <a:gd name="T78" fmla="*/ 39 w 80"/>
                <a:gd name="T79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4">
                  <a:moveTo>
                    <a:pt x="39" y="134"/>
                  </a:moveTo>
                  <a:lnTo>
                    <a:pt x="39" y="134"/>
                  </a:lnTo>
                  <a:lnTo>
                    <a:pt x="48" y="134"/>
                  </a:lnTo>
                  <a:lnTo>
                    <a:pt x="56" y="131"/>
                  </a:lnTo>
                  <a:lnTo>
                    <a:pt x="63" y="127"/>
                  </a:lnTo>
                  <a:lnTo>
                    <a:pt x="68" y="122"/>
                  </a:lnTo>
                  <a:lnTo>
                    <a:pt x="73" y="116"/>
                  </a:lnTo>
                  <a:lnTo>
                    <a:pt x="77" y="109"/>
                  </a:lnTo>
                  <a:lnTo>
                    <a:pt x="79" y="102"/>
                  </a:lnTo>
                  <a:lnTo>
                    <a:pt x="80" y="94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79" y="33"/>
                  </a:lnTo>
                  <a:lnTo>
                    <a:pt x="77" y="24"/>
                  </a:lnTo>
                  <a:lnTo>
                    <a:pt x="73" y="17"/>
                  </a:lnTo>
                  <a:lnTo>
                    <a:pt x="68" y="12"/>
                  </a:lnTo>
                  <a:lnTo>
                    <a:pt x="63" y="7"/>
                  </a:lnTo>
                  <a:lnTo>
                    <a:pt x="56" y="3"/>
                  </a:lnTo>
                  <a:lnTo>
                    <a:pt x="48" y="1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1" y="1"/>
                  </a:lnTo>
                  <a:lnTo>
                    <a:pt x="24" y="3"/>
                  </a:lnTo>
                  <a:lnTo>
                    <a:pt x="17" y="7"/>
                  </a:lnTo>
                  <a:lnTo>
                    <a:pt x="12" y="12"/>
                  </a:lnTo>
                  <a:lnTo>
                    <a:pt x="7" y="17"/>
                  </a:lnTo>
                  <a:lnTo>
                    <a:pt x="3" y="24"/>
                  </a:lnTo>
                  <a:lnTo>
                    <a:pt x="1" y="33"/>
                  </a:lnTo>
                  <a:lnTo>
                    <a:pt x="0" y="41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1" y="102"/>
                  </a:lnTo>
                  <a:lnTo>
                    <a:pt x="3" y="109"/>
                  </a:lnTo>
                  <a:lnTo>
                    <a:pt x="7" y="116"/>
                  </a:lnTo>
                  <a:lnTo>
                    <a:pt x="12" y="122"/>
                  </a:lnTo>
                  <a:lnTo>
                    <a:pt x="17" y="127"/>
                  </a:lnTo>
                  <a:lnTo>
                    <a:pt x="24" y="131"/>
                  </a:lnTo>
                  <a:lnTo>
                    <a:pt x="31" y="134"/>
                  </a:lnTo>
                  <a:lnTo>
                    <a:pt x="39" y="134"/>
                  </a:lnTo>
                  <a:lnTo>
                    <a:pt x="39" y="13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1" name="Freeform 62">
              <a:extLst>
                <a:ext uri="{FF2B5EF4-FFF2-40B4-BE49-F238E27FC236}">
                  <a16:creationId xmlns:a16="http://schemas.microsoft.com/office/drawing/2014/main" id="{23A4D83B-7AE7-4BA5-861F-063DA0C3D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5118" y="4383594"/>
              <a:ext cx="17992" cy="30136"/>
            </a:xfrm>
            <a:custGeom>
              <a:avLst/>
              <a:gdLst>
                <a:gd name="T0" fmla="*/ 41 w 80"/>
                <a:gd name="T1" fmla="*/ 134 h 134"/>
                <a:gd name="T2" fmla="*/ 41 w 80"/>
                <a:gd name="T3" fmla="*/ 134 h 134"/>
                <a:gd name="T4" fmla="*/ 49 w 80"/>
                <a:gd name="T5" fmla="*/ 132 h 134"/>
                <a:gd name="T6" fmla="*/ 56 w 80"/>
                <a:gd name="T7" fmla="*/ 130 h 134"/>
                <a:gd name="T8" fmla="*/ 63 w 80"/>
                <a:gd name="T9" fmla="*/ 127 h 134"/>
                <a:gd name="T10" fmla="*/ 69 w 80"/>
                <a:gd name="T11" fmla="*/ 122 h 134"/>
                <a:gd name="T12" fmla="*/ 75 w 80"/>
                <a:gd name="T13" fmla="*/ 116 h 134"/>
                <a:gd name="T14" fmla="*/ 78 w 80"/>
                <a:gd name="T15" fmla="*/ 109 h 134"/>
                <a:gd name="T16" fmla="*/ 80 w 80"/>
                <a:gd name="T17" fmla="*/ 101 h 134"/>
                <a:gd name="T18" fmla="*/ 80 w 80"/>
                <a:gd name="T19" fmla="*/ 94 h 134"/>
                <a:gd name="T20" fmla="*/ 80 w 80"/>
                <a:gd name="T21" fmla="*/ 41 h 134"/>
                <a:gd name="T22" fmla="*/ 80 w 80"/>
                <a:gd name="T23" fmla="*/ 41 h 134"/>
                <a:gd name="T24" fmla="*/ 80 w 80"/>
                <a:gd name="T25" fmla="*/ 33 h 134"/>
                <a:gd name="T26" fmla="*/ 78 w 80"/>
                <a:gd name="T27" fmla="*/ 24 h 134"/>
                <a:gd name="T28" fmla="*/ 75 w 80"/>
                <a:gd name="T29" fmla="*/ 17 h 134"/>
                <a:gd name="T30" fmla="*/ 69 w 80"/>
                <a:gd name="T31" fmla="*/ 12 h 134"/>
                <a:gd name="T32" fmla="*/ 63 w 80"/>
                <a:gd name="T33" fmla="*/ 7 h 134"/>
                <a:gd name="T34" fmla="*/ 56 w 80"/>
                <a:gd name="T35" fmla="*/ 4 h 134"/>
                <a:gd name="T36" fmla="*/ 49 w 80"/>
                <a:gd name="T37" fmla="*/ 1 h 134"/>
                <a:gd name="T38" fmla="*/ 41 w 80"/>
                <a:gd name="T39" fmla="*/ 0 h 134"/>
                <a:gd name="T40" fmla="*/ 41 w 80"/>
                <a:gd name="T41" fmla="*/ 0 h 134"/>
                <a:gd name="T42" fmla="*/ 33 w 80"/>
                <a:gd name="T43" fmla="*/ 1 h 134"/>
                <a:gd name="T44" fmla="*/ 25 w 80"/>
                <a:gd name="T45" fmla="*/ 4 h 134"/>
                <a:gd name="T46" fmla="*/ 19 w 80"/>
                <a:gd name="T47" fmla="*/ 7 h 134"/>
                <a:gd name="T48" fmla="*/ 13 w 80"/>
                <a:gd name="T49" fmla="*/ 12 h 134"/>
                <a:gd name="T50" fmla="*/ 7 w 80"/>
                <a:gd name="T51" fmla="*/ 17 h 134"/>
                <a:gd name="T52" fmla="*/ 4 w 80"/>
                <a:gd name="T53" fmla="*/ 24 h 134"/>
                <a:gd name="T54" fmla="*/ 2 w 80"/>
                <a:gd name="T55" fmla="*/ 33 h 134"/>
                <a:gd name="T56" fmla="*/ 0 w 80"/>
                <a:gd name="T57" fmla="*/ 41 h 134"/>
                <a:gd name="T58" fmla="*/ 0 w 80"/>
                <a:gd name="T59" fmla="*/ 94 h 134"/>
                <a:gd name="T60" fmla="*/ 0 w 80"/>
                <a:gd name="T61" fmla="*/ 94 h 134"/>
                <a:gd name="T62" fmla="*/ 2 w 80"/>
                <a:gd name="T63" fmla="*/ 101 h 134"/>
                <a:gd name="T64" fmla="*/ 4 w 80"/>
                <a:gd name="T65" fmla="*/ 109 h 134"/>
                <a:gd name="T66" fmla="*/ 7 w 80"/>
                <a:gd name="T67" fmla="*/ 116 h 134"/>
                <a:gd name="T68" fmla="*/ 13 w 80"/>
                <a:gd name="T69" fmla="*/ 122 h 134"/>
                <a:gd name="T70" fmla="*/ 19 w 80"/>
                <a:gd name="T71" fmla="*/ 127 h 134"/>
                <a:gd name="T72" fmla="*/ 25 w 80"/>
                <a:gd name="T73" fmla="*/ 130 h 134"/>
                <a:gd name="T74" fmla="*/ 33 w 80"/>
                <a:gd name="T75" fmla="*/ 132 h 134"/>
                <a:gd name="T76" fmla="*/ 41 w 80"/>
                <a:gd name="T77" fmla="*/ 134 h 134"/>
                <a:gd name="T78" fmla="*/ 41 w 80"/>
                <a:gd name="T79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4">
                  <a:moveTo>
                    <a:pt x="41" y="134"/>
                  </a:moveTo>
                  <a:lnTo>
                    <a:pt x="41" y="134"/>
                  </a:lnTo>
                  <a:lnTo>
                    <a:pt x="49" y="132"/>
                  </a:lnTo>
                  <a:lnTo>
                    <a:pt x="56" y="130"/>
                  </a:lnTo>
                  <a:lnTo>
                    <a:pt x="63" y="127"/>
                  </a:lnTo>
                  <a:lnTo>
                    <a:pt x="69" y="122"/>
                  </a:lnTo>
                  <a:lnTo>
                    <a:pt x="75" y="116"/>
                  </a:lnTo>
                  <a:lnTo>
                    <a:pt x="78" y="109"/>
                  </a:lnTo>
                  <a:lnTo>
                    <a:pt x="80" y="101"/>
                  </a:lnTo>
                  <a:lnTo>
                    <a:pt x="80" y="94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80" y="33"/>
                  </a:lnTo>
                  <a:lnTo>
                    <a:pt x="78" y="24"/>
                  </a:lnTo>
                  <a:lnTo>
                    <a:pt x="75" y="17"/>
                  </a:lnTo>
                  <a:lnTo>
                    <a:pt x="69" y="12"/>
                  </a:lnTo>
                  <a:lnTo>
                    <a:pt x="63" y="7"/>
                  </a:lnTo>
                  <a:lnTo>
                    <a:pt x="56" y="4"/>
                  </a:lnTo>
                  <a:lnTo>
                    <a:pt x="49" y="1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5" y="4"/>
                  </a:lnTo>
                  <a:lnTo>
                    <a:pt x="19" y="7"/>
                  </a:lnTo>
                  <a:lnTo>
                    <a:pt x="13" y="12"/>
                  </a:lnTo>
                  <a:lnTo>
                    <a:pt x="7" y="17"/>
                  </a:lnTo>
                  <a:lnTo>
                    <a:pt x="4" y="24"/>
                  </a:lnTo>
                  <a:lnTo>
                    <a:pt x="2" y="33"/>
                  </a:lnTo>
                  <a:lnTo>
                    <a:pt x="0" y="41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2" y="101"/>
                  </a:lnTo>
                  <a:lnTo>
                    <a:pt x="4" y="109"/>
                  </a:lnTo>
                  <a:lnTo>
                    <a:pt x="7" y="116"/>
                  </a:lnTo>
                  <a:lnTo>
                    <a:pt x="13" y="122"/>
                  </a:lnTo>
                  <a:lnTo>
                    <a:pt x="19" y="127"/>
                  </a:lnTo>
                  <a:lnTo>
                    <a:pt x="25" y="130"/>
                  </a:lnTo>
                  <a:lnTo>
                    <a:pt x="33" y="132"/>
                  </a:lnTo>
                  <a:lnTo>
                    <a:pt x="41" y="134"/>
                  </a:lnTo>
                  <a:lnTo>
                    <a:pt x="41" y="13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2" name="Freeform 63">
              <a:extLst>
                <a:ext uri="{FF2B5EF4-FFF2-40B4-BE49-F238E27FC236}">
                  <a16:creationId xmlns:a16="http://schemas.microsoft.com/office/drawing/2014/main" id="{C9640C25-3AED-4BF3-99F1-EA4D0DF96D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5118" y="4443642"/>
              <a:ext cx="17992" cy="30136"/>
            </a:xfrm>
            <a:custGeom>
              <a:avLst/>
              <a:gdLst>
                <a:gd name="T0" fmla="*/ 41 w 80"/>
                <a:gd name="T1" fmla="*/ 134 h 134"/>
                <a:gd name="T2" fmla="*/ 41 w 80"/>
                <a:gd name="T3" fmla="*/ 134 h 134"/>
                <a:gd name="T4" fmla="*/ 49 w 80"/>
                <a:gd name="T5" fmla="*/ 132 h 134"/>
                <a:gd name="T6" fmla="*/ 56 w 80"/>
                <a:gd name="T7" fmla="*/ 130 h 134"/>
                <a:gd name="T8" fmla="*/ 63 w 80"/>
                <a:gd name="T9" fmla="*/ 127 h 134"/>
                <a:gd name="T10" fmla="*/ 69 w 80"/>
                <a:gd name="T11" fmla="*/ 122 h 134"/>
                <a:gd name="T12" fmla="*/ 75 w 80"/>
                <a:gd name="T13" fmla="*/ 116 h 134"/>
                <a:gd name="T14" fmla="*/ 78 w 80"/>
                <a:gd name="T15" fmla="*/ 109 h 134"/>
                <a:gd name="T16" fmla="*/ 80 w 80"/>
                <a:gd name="T17" fmla="*/ 102 h 134"/>
                <a:gd name="T18" fmla="*/ 80 w 80"/>
                <a:gd name="T19" fmla="*/ 94 h 134"/>
                <a:gd name="T20" fmla="*/ 80 w 80"/>
                <a:gd name="T21" fmla="*/ 41 h 134"/>
                <a:gd name="T22" fmla="*/ 80 w 80"/>
                <a:gd name="T23" fmla="*/ 41 h 134"/>
                <a:gd name="T24" fmla="*/ 80 w 80"/>
                <a:gd name="T25" fmla="*/ 33 h 134"/>
                <a:gd name="T26" fmla="*/ 78 w 80"/>
                <a:gd name="T27" fmla="*/ 25 h 134"/>
                <a:gd name="T28" fmla="*/ 75 w 80"/>
                <a:gd name="T29" fmla="*/ 18 h 134"/>
                <a:gd name="T30" fmla="*/ 69 w 80"/>
                <a:gd name="T31" fmla="*/ 12 h 134"/>
                <a:gd name="T32" fmla="*/ 63 w 80"/>
                <a:gd name="T33" fmla="*/ 7 h 134"/>
                <a:gd name="T34" fmla="*/ 56 w 80"/>
                <a:gd name="T35" fmla="*/ 4 h 134"/>
                <a:gd name="T36" fmla="*/ 49 w 80"/>
                <a:gd name="T37" fmla="*/ 1 h 134"/>
                <a:gd name="T38" fmla="*/ 41 w 80"/>
                <a:gd name="T39" fmla="*/ 0 h 134"/>
                <a:gd name="T40" fmla="*/ 41 w 80"/>
                <a:gd name="T41" fmla="*/ 0 h 134"/>
                <a:gd name="T42" fmla="*/ 33 w 80"/>
                <a:gd name="T43" fmla="*/ 1 h 134"/>
                <a:gd name="T44" fmla="*/ 25 w 80"/>
                <a:gd name="T45" fmla="*/ 4 h 134"/>
                <a:gd name="T46" fmla="*/ 19 w 80"/>
                <a:gd name="T47" fmla="*/ 7 h 134"/>
                <a:gd name="T48" fmla="*/ 13 w 80"/>
                <a:gd name="T49" fmla="*/ 12 h 134"/>
                <a:gd name="T50" fmla="*/ 7 w 80"/>
                <a:gd name="T51" fmla="*/ 18 h 134"/>
                <a:gd name="T52" fmla="*/ 4 w 80"/>
                <a:gd name="T53" fmla="*/ 25 h 134"/>
                <a:gd name="T54" fmla="*/ 2 w 80"/>
                <a:gd name="T55" fmla="*/ 33 h 134"/>
                <a:gd name="T56" fmla="*/ 0 w 80"/>
                <a:gd name="T57" fmla="*/ 41 h 134"/>
                <a:gd name="T58" fmla="*/ 0 w 80"/>
                <a:gd name="T59" fmla="*/ 94 h 134"/>
                <a:gd name="T60" fmla="*/ 0 w 80"/>
                <a:gd name="T61" fmla="*/ 94 h 134"/>
                <a:gd name="T62" fmla="*/ 2 w 80"/>
                <a:gd name="T63" fmla="*/ 102 h 134"/>
                <a:gd name="T64" fmla="*/ 4 w 80"/>
                <a:gd name="T65" fmla="*/ 109 h 134"/>
                <a:gd name="T66" fmla="*/ 7 w 80"/>
                <a:gd name="T67" fmla="*/ 116 h 134"/>
                <a:gd name="T68" fmla="*/ 13 w 80"/>
                <a:gd name="T69" fmla="*/ 122 h 134"/>
                <a:gd name="T70" fmla="*/ 19 w 80"/>
                <a:gd name="T71" fmla="*/ 127 h 134"/>
                <a:gd name="T72" fmla="*/ 25 w 80"/>
                <a:gd name="T73" fmla="*/ 130 h 134"/>
                <a:gd name="T74" fmla="*/ 33 w 80"/>
                <a:gd name="T75" fmla="*/ 132 h 134"/>
                <a:gd name="T76" fmla="*/ 41 w 80"/>
                <a:gd name="T77" fmla="*/ 134 h 134"/>
                <a:gd name="T78" fmla="*/ 41 w 80"/>
                <a:gd name="T79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4">
                  <a:moveTo>
                    <a:pt x="41" y="134"/>
                  </a:moveTo>
                  <a:lnTo>
                    <a:pt x="41" y="134"/>
                  </a:lnTo>
                  <a:lnTo>
                    <a:pt x="49" y="132"/>
                  </a:lnTo>
                  <a:lnTo>
                    <a:pt x="56" y="130"/>
                  </a:lnTo>
                  <a:lnTo>
                    <a:pt x="63" y="127"/>
                  </a:lnTo>
                  <a:lnTo>
                    <a:pt x="69" y="122"/>
                  </a:lnTo>
                  <a:lnTo>
                    <a:pt x="75" y="116"/>
                  </a:lnTo>
                  <a:lnTo>
                    <a:pt x="78" y="109"/>
                  </a:lnTo>
                  <a:lnTo>
                    <a:pt x="80" y="102"/>
                  </a:lnTo>
                  <a:lnTo>
                    <a:pt x="80" y="94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80" y="33"/>
                  </a:lnTo>
                  <a:lnTo>
                    <a:pt x="78" y="25"/>
                  </a:lnTo>
                  <a:lnTo>
                    <a:pt x="75" y="18"/>
                  </a:lnTo>
                  <a:lnTo>
                    <a:pt x="69" y="12"/>
                  </a:lnTo>
                  <a:lnTo>
                    <a:pt x="63" y="7"/>
                  </a:lnTo>
                  <a:lnTo>
                    <a:pt x="56" y="4"/>
                  </a:lnTo>
                  <a:lnTo>
                    <a:pt x="49" y="1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5" y="4"/>
                  </a:lnTo>
                  <a:lnTo>
                    <a:pt x="19" y="7"/>
                  </a:lnTo>
                  <a:lnTo>
                    <a:pt x="13" y="12"/>
                  </a:lnTo>
                  <a:lnTo>
                    <a:pt x="7" y="18"/>
                  </a:lnTo>
                  <a:lnTo>
                    <a:pt x="4" y="25"/>
                  </a:lnTo>
                  <a:lnTo>
                    <a:pt x="2" y="33"/>
                  </a:lnTo>
                  <a:lnTo>
                    <a:pt x="0" y="41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2" y="102"/>
                  </a:lnTo>
                  <a:lnTo>
                    <a:pt x="4" y="109"/>
                  </a:lnTo>
                  <a:lnTo>
                    <a:pt x="7" y="116"/>
                  </a:lnTo>
                  <a:lnTo>
                    <a:pt x="13" y="122"/>
                  </a:lnTo>
                  <a:lnTo>
                    <a:pt x="19" y="127"/>
                  </a:lnTo>
                  <a:lnTo>
                    <a:pt x="25" y="130"/>
                  </a:lnTo>
                  <a:lnTo>
                    <a:pt x="33" y="132"/>
                  </a:lnTo>
                  <a:lnTo>
                    <a:pt x="41" y="134"/>
                  </a:lnTo>
                  <a:lnTo>
                    <a:pt x="41" y="13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3" name="Freeform 64">
              <a:extLst>
                <a:ext uri="{FF2B5EF4-FFF2-40B4-BE49-F238E27FC236}">
                  <a16:creationId xmlns:a16="http://schemas.microsoft.com/office/drawing/2014/main" id="{624D0C30-0F93-4035-BB85-48D9E27D6E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5118" y="4503691"/>
              <a:ext cx="17992" cy="30136"/>
            </a:xfrm>
            <a:custGeom>
              <a:avLst/>
              <a:gdLst>
                <a:gd name="T0" fmla="*/ 41 w 80"/>
                <a:gd name="T1" fmla="*/ 134 h 134"/>
                <a:gd name="T2" fmla="*/ 41 w 80"/>
                <a:gd name="T3" fmla="*/ 134 h 134"/>
                <a:gd name="T4" fmla="*/ 49 w 80"/>
                <a:gd name="T5" fmla="*/ 134 h 134"/>
                <a:gd name="T6" fmla="*/ 56 w 80"/>
                <a:gd name="T7" fmla="*/ 131 h 134"/>
                <a:gd name="T8" fmla="*/ 63 w 80"/>
                <a:gd name="T9" fmla="*/ 127 h 134"/>
                <a:gd name="T10" fmla="*/ 69 w 80"/>
                <a:gd name="T11" fmla="*/ 122 h 134"/>
                <a:gd name="T12" fmla="*/ 75 w 80"/>
                <a:gd name="T13" fmla="*/ 116 h 134"/>
                <a:gd name="T14" fmla="*/ 78 w 80"/>
                <a:gd name="T15" fmla="*/ 109 h 134"/>
                <a:gd name="T16" fmla="*/ 80 w 80"/>
                <a:gd name="T17" fmla="*/ 102 h 134"/>
                <a:gd name="T18" fmla="*/ 80 w 80"/>
                <a:gd name="T19" fmla="*/ 94 h 134"/>
                <a:gd name="T20" fmla="*/ 80 w 80"/>
                <a:gd name="T21" fmla="*/ 41 h 134"/>
                <a:gd name="T22" fmla="*/ 80 w 80"/>
                <a:gd name="T23" fmla="*/ 41 h 134"/>
                <a:gd name="T24" fmla="*/ 80 w 80"/>
                <a:gd name="T25" fmla="*/ 33 h 134"/>
                <a:gd name="T26" fmla="*/ 78 w 80"/>
                <a:gd name="T27" fmla="*/ 25 h 134"/>
                <a:gd name="T28" fmla="*/ 75 w 80"/>
                <a:gd name="T29" fmla="*/ 18 h 134"/>
                <a:gd name="T30" fmla="*/ 69 w 80"/>
                <a:gd name="T31" fmla="*/ 12 h 134"/>
                <a:gd name="T32" fmla="*/ 63 w 80"/>
                <a:gd name="T33" fmla="*/ 7 h 134"/>
                <a:gd name="T34" fmla="*/ 56 w 80"/>
                <a:gd name="T35" fmla="*/ 4 h 134"/>
                <a:gd name="T36" fmla="*/ 49 w 80"/>
                <a:gd name="T37" fmla="*/ 1 h 134"/>
                <a:gd name="T38" fmla="*/ 41 w 80"/>
                <a:gd name="T39" fmla="*/ 0 h 134"/>
                <a:gd name="T40" fmla="*/ 41 w 80"/>
                <a:gd name="T41" fmla="*/ 0 h 134"/>
                <a:gd name="T42" fmla="*/ 33 w 80"/>
                <a:gd name="T43" fmla="*/ 1 h 134"/>
                <a:gd name="T44" fmla="*/ 25 w 80"/>
                <a:gd name="T45" fmla="*/ 4 h 134"/>
                <a:gd name="T46" fmla="*/ 19 w 80"/>
                <a:gd name="T47" fmla="*/ 7 h 134"/>
                <a:gd name="T48" fmla="*/ 13 w 80"/>
                <a:gd name="T49" fmla="*/ 12 h 134"/>
                <a:gd name="T50" fmla="*/ 7 w 80"/>
                <a:gd name="T51" fmla="*/ 18 h 134"/>
                <a:gd name="T52" fmla="*/ 4 w 80"/>
                <a:gd name="T53" fmla="*/ 25 h 134"/>
                <a:gd name="T54" fmla="*/ 2 w 80"/>
                <a:gd name="T55" fmla="*/ 33 h 134"/>
                <a:gd name="T56" fmla="*/ 0 w 80"/>
                <a:gd name="T57" fmla="*/ 41 h 134"/>
                <a:gd name="T58" fmla="*/ 0 w 80"/>
                <a:gd name="T59" fmla="*/ 94 h 134"/>
                <a:gd name="T60" fmla="*/ 0 w 80"/>
                <a:gd name="T61" fmla="*/ 94 h 134"/>
                <a:gd name="T62" fmla="*/ 2 w 80"/>
                <a:gd name="T63" fmla="*/ 102 h 134"/>
                <a:gd name="T64" fmla="*/ 4 w 80"/>
                <a:gd name="T65" fmla="*/ 109 h 134"/>
                <a:gd name="T66" fmla="*/ 7 w 80"/>
                <a:gd name="T67" fmla="*/ 116 h 134"/>
                <a:gd name="T68" fmla="*/ 13 w 80"/>
                <a:gd name="T69" fmla="*/ 122 h 134"/>
                <a:gd name="T70" fmla="*/ 19 w 80"/>
                <a:gd name="T71" fmla="*/ 127 h 134"/>
                <a:gd name="T72" fmla="*/ 25 w 80"/>
                <a:gd name="T73" fmla="*/ 131 h 134"/>
                <a:gd name="T74" fmla="*/ 33 w 80"/>
                <a:gd name="T75" fmla="*/ 134 h 134"/>
                <a:gd name="T76" fmla="*/ 41 w 80"/>
                <a:gd name="T77" fmla="*/ 134 h 134"/>
                <a:gd name="T78" fmla="*/ 41 w 80"/>
                <a:gd name="T79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4">
                  <a:moveTo>
                    <a:pt x="41" y="134"/>
                  </a:moveTo>
                  <a:lnTo>
                    <a:pt x="41" y="134"/>
                  </a:lnTo>
                  <a:lnTo>
                    <a:pt x="49" y="134"/>
                  </a:lnTo>
                  <a:lnTo>
                    <a:pt x="56" y="131"/>
                  </a:lnTo>
                  <a:lnTo>
                    <a:pt x="63" y="127"/>
                  </a:lnTo>
                  <a:lnTo>
                    <a:pt x="69" y="122"/>
                  </a:lnTo>
                  <a:lnTo>
                    <a:pt x="75" y="116"/>
                  </a:lnTo>
                  <a:lnTo>
                    <a:pt x="78" y="109"/>
                  </a:lnTo>
                  <a:lnTo>
                    <a:pt x="80" y="102"/>
                  </a:lnTo>
                  <a:lnTo>
                    <a:pt x="80" y="94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80" y="33"/>
                  </a:lnTo>
                  <a:lnTo>
                    <a:pt x="78" y="25"/>
                  </a:lnTo>
                  <a:lnTo>
                    <a:pt x="75" y="18"/>
                  </a:lnTo>
                  <a:lnTo>
                    <a:pt x="69" y="12"/>
                  </a:lnTo>
                  <a:lnTo>
                    <a:pt x="63" y="7"/>
                  </a:lnTo>
                  <a:lnTo>
                    <a:pt x="56" y="4"/>
                  </a:lnTo>
                  <a:lnTo>
                    <a:pt x="49" y="1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5" y="4"/>
                  </a:lnTo>
                  <a:lnTo>
                    <a:pt x="19" y="7"/>
                  </a:lnTo>
                  <a:lnTo>
                    <a:pt x="13" y="12"/>
                  </a:lnTo>
                  <a:lnTo>
                    <a:pt x="7" y="18"/>
                  </a:lnTo>
                  <a:lnTo>
                    <a:pt x="4" y="25"/>
                  </a:lnTo>
                  <a:lnTo>
                    <a:pt x="2" y="33"/>
                  </a:lnTo>
                  <a:lnTo>
                    <a:pt x="0" y="41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2" y="102"/>
                  </a:lnTo>
                  <a:lnTo>
                    <a:pt x="4" y="109"/>
                  </a:lnTo>
                  <a:lnTo>
                    <a:pt x="7" y="116"/>
                  </a:lnTo>
                  <a:lnTo>
                    <a:pt x="13" y="122"/>
                  </a:lnTo>
                  <a:lnTo>
                    <a:pt x="19" y="127"/>
                  </a:lnTo>
                  <a:lnTo>
                    <a:pt x="25" y="131"/>
                  </a:lnTo>
                  <a:lnTo>
                    <a:pt x="33" y="134"/>
                  </a:lnTo>
                  <a:lnTo>
                    <a:pt x="41" y="134"/>
                  </a:lnTo>
                  <a:lnTo>
                    <a:pt x="41" y="13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4" name="Freeform 65">
              <a:extLst>
                <a:ext uri="{FF2B5EF4-FFF2-40B4-BE49-F238E27FC236}">
                  <a16:creationId xmlns:a16="http://schemas.microsoft.com/office/drawing/2014/main" id="{786B66F3-B88B-412A-B163-F90345D40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5118" y="4563739"/>
              <a:ext cx="17992" cy="30136"/>
            </a:xfrm>
            <a:custGeom>
              <a:avLst/>
              <a:gdLst>
                <a:gd name="T0" fmla="*/ 41 w 80"/>
                <a:gd name="T1" fmla="*/ 134 h 134"/>
                <a:gd name="T2" fmla="*/ 41 w 80"/>
                <a:gd name="T3" fmla="*/ 134 h 134"/>
                <a:gd name="T4" fmla="*/ 49 w 80"/>
                <a:gd name="T5" fmla="*/ 134 h 134"/>
                <a:gd name="T6" fmla="*/ 56 w 80"/>
                <a:gd name="T7" fmla="*/ 131 h 134"/>
                <a:gd name="T8" fmla="*/ 63 w 80"/>
                <a:gd name="T9" fmla="*/ 127 h 134"/>
                <a:gd name="T10" fmla="*/ 69 w 80"/>
                <a:gd name="T11" fmla="*/ 122 h 134"/>
                <a:gd name="T12" fmla="*/ 75 w 80"/>
                <a:gd name="T13" fmla="*/ 116 h 134"/>
                <a:gd name="T14" fmla="*/ 78 w 80"/>
                <a:gd name="T15" fmla="*/ 109 h 134"/>
                <a:gd name="T16" fmla="*/ 80 w 80"/>
                <a:gd name="T17" fmla="*/ 102 h 134"/>
                <a:gd name="T18" fmla="*/ 80 w 80"/>
                <a:gd name="T19" fmla="*/ 94 h 134"/>
                <a:gd name="T20" fmla="*/ 80 w 80"/>
                <a:gd name="T21" fmla="*/ 41 h 134"/>
                <a:gd name="T22" fmla="*/ 80 w 80"/>
                <a:gd name="T23" fmla="*/ 41 h 134"/>
                <a:gd name="T24" fmla="*/ 80 w 80"/>
                <a:gd name="T25" fmla="*/ 33 h 134"/>
                <a:gd name="T26" fmla="*/ 78 w 80"/>
                <a:gd name="T27" fmla="*/ 25 h 134"/>
                <a:gd name="T28" fmla="*/ 75 w 80"/>
                <a:gd name="T29" fmla="*/ 19 h 134"/>
                <a:gd name="T30" fmla="*/ 69 w 80"/>
                <a:gd name="T31" fmla="*/ 12 h 134"/>
                <a:gd name="T32" fmla="*/ 63 w 80"/>
                <a:gd name="T33" fmla="*/ 7 h 134"/>
                <a:gd name="T34" fmla="*/ 56 w 80"/>
                <a:gd name="T35" fmla="*/ 4 h 134"/>
                <a:gd name="T36" fmla="*/ 49 w 80"/>
                <a:gd name="T37" fmla="*/ 1 h 134"/>
                <a:gd name="T38" fmla="*/ 41 w 80"/>
                <a:gd name="T39" fmla="*/ 0 h 134"/>
                <a:gd name="T40" fmla="*/ 41 w 80"/>
                <a:gd name="T41" fmla="*/ 0 h 134"/>
                <a:gd name="T42" fmla="*/ 33 w 80"/>
                <a:gd name="T43" fmla="*/ 1 h 134"/>
                <a:gd name="T44" fmla="*/ 25 w 80"/>
                <a:gd name="T45" fmla="*/ 4 h 134"/>
                <a:gd name="T46" fmla="*/ 19 w 80"/>
                <a:gd name="T47" fmla="*/ 7 h 134"/>
                <a:gd name="T48" fmla="*/ 13 w 80"/>
                <a:gd name="T49" fmla="*/ 12 h 134"/>
                <a:gd name="T50" fmla="*/ 7 w 80"/>
                <a:gd name="T51" fmla="*/ 19 h 134"/>
                <a:gd name="T52" fmla="*/ 4 w 80"/>
                <a:gd name="T53" fmla="*/ 25 h 134"/>
                <a:gd name="T54" fmla="*/ 2 w 80"/>
                <a:gd name="T55" fmla="*/ 33 h 134"/>
                <a:gd name="T56" fmla="*/ 0 w 80"/>
                <a:gd name="T57" fmla="*/ 41 h 134"/>
                <a:gd name="T58" fmla="*/ 0 w 80"/>
                <a:gd name="T59" fmla="*/ 94 h 134"/>
                <a:gd name="T60" fmla="*/ 0 w 80"/>
                <a:gd name="T61" fmla="*/ 94 h 134"/>
                <a:gd name="T62" fmla="*/ 2 w 80"/>
                <a:gd name="T63" fmla="*/ 102 h 134"/>
                <a:gd name="T64" fmla="*/ 4 w 80"/>
                <a:gd name="T65" fmla="*/ 109 h 134"/>
                <a:gd name="T66" fmla="*/ 7 w 80"/>
                <a:gd name="T67" fmla="*/ 116 h 134"/>
                <a:gd name="T68" fmla="*/ 13 w 80"/>
                <a:gd name="T69" fmla="*/ 122 h 134"/>
                <a:gd name="T70" fmla="*/ 19 w 80"/>
                <a:gd name="T71" fmla="*/ 127 h 134"/>
                <a:gd name="T72" fmla="*/ 25 w 80"/>
                <a:gd name="T73" fmla="*/ 131 h 134"/>
                <a:gd name="T74" fmla="*/ 33 w 80"/>
                <a:gd name="T75" fmla="*/ 134 h 134"/>
                <a:gd name="T76" fmla="*/ 41 w 80"/>
                <a:gd name="T77" fmla="*/ 134 h 134"/>
                <a:gd name="T78" fmla="*/ 41 w 80"/>
                <a:gd name="T79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134">
                  <a:moveTo>
                    <a:pt x="41" y="134"/>
                  </a:moveTo>
                  <a:lnTo>
                    <a:pt x="41" y="134"/>
                  </a:lnTo>
                  <a:lnTo>
                    <a:pt x="49" y="134"/>
                  </a:lnTo>
                  <a:lnTo>
                    <a:pt x="56" y="131"/>
                  </a:lnTo>
                  <a:lnTo>
                    <a:pt x="63" y="127"/>
                  </a:lnTo>
                  <a:lnTo>
                    <a:pt x="69" y="122"/>
                  </a:lnTo>
                  <a:lnTo>
                    <a:pt x="75" y="116"/>
                  </a:lnTo>
                  <a:lnTo>
                    <a:pt x="78" y="109"/>
                  </a:lnTo>
                  <a:lnTo>
                    <a:pt x="80" y="102"/>
                  </a:lnTo>
                  <a:lnTo>
                    <a:pt x="80" y="94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80" y="33"/>
                  </a:lnTo>
                  <a:lnTo>
                    <a:pt x="78" y="25"/>
                  </a:lnTo>
                  <a:lnTo>
                    <a:pt x="75" y="19"/>
                  </a:lnTo>
                  <a:lnTo>
                    <a:pt x="69" y="12"/>
                  </a:lnTo>
                  <a:lnTo>
                    <a:pt x="63" y="7"/>
                  </a:lnTo>
                  <a:lnTo>
                    <a:pt x="56" y="4"/>
                  </a:lnTo>
                  <a:lnTo>
                    <a:pt x="49" y="1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5" y="4"/>
                  </a:lnTo>
                  <a:lnTo>
                    <a:pt x="19" y="7"/>
                  </a:lnTo>
                  <a:lnTo>
                    <a:pt x="13" y="12"/>
                  </a:lnTo>
                  <a:lnTo>
                    <a:pt x="7" y="19"/>
                  </a:lnTo>
                  <a:lnTo>
                    <a:pt x="4" y="25"/>
                  </a:lnTo>
                  <a:lnTo>
                    <a:pt x="2" y="33"/>
                  </a:lnTo>
                  <a:lnTo>
                    <a:pt x="0" y="41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2" y="102"/>
                  </a:lnTo>
                  <a:lnTo>
                    <a:pt x="4" y="109"/>
                  </a:lnTo>
                  <a:lnTo>
                    <a:pt x="7" y="116"/>
                  </a:lnTo>
                  <a:lnTo>
                    <a:pt x="13" y="122"/>
                  </a:lnTo>
                  <a:lnTo>
                    <a:pt x="19" y="127"/>
                  </a:lnTo>
                  <a:lnTo>
                    <a:pt x="25" y="131"/>
                  </a:lnTo>
                  <a:lnTo>
                    <a:pt x="33" y="134"/>
                  </a:lnTo>
                  <a:lnTo>
                    <a:pt x="41" y="134"/>
                  </a:lnTo>
                  <a:lnTo>
                    <a:pt x="41" y="13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5" name="Freeform 66">
              <a:extLst>
                <a:ext uri="{FF2B5EF4-FFF2-40B4-BE49-F238E27FC236}">
                  <a16:creationId xmlns:a16="http://schemas.microsoft.com/office/drawing/2014/main" id="{DB4E0902-606B-481B-9DF3-1290DFEB4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4925" y="4251577"/>
              <a:ext cx="90185" cy="17992"/>
            </a:xfrm>
            <a:custGeom>
              <a:avLst/>
              <a:gdLst>
                <a:gd name="T0" fmla="*/ 401 w 401"/>
                <a:gd name="T1" fmla="*/ 39 h 80"/>
                <a:gd name="T2" fmla="*/ 401 w 401"/>
                <a:gd name="T3" fmla="*/ 39 h 80"/>
                <a:gd name="T4" fmla="*/ 400 w 401"/>
                <a:gd name="T5" fmla="*/ 31 h 80"/>
                <a:gd name="T6" fmla="*/ 397 w 401"/>
                <a:gd name="T7" fmla="*/ 24 h 80"/>
                <a:gd name="T8" fmla="*/ 394 w 401"/>
                <a:gd name="T9" fmla="*/ 17 h 80"/>
                <a:gd name="T10" fmla="*/ 389 w 401"/>
                <a:gd name="T11" fmla="*/ 11 h 80"/>
                <a:gd name="T12" fmla="*/ 383 w 401"/>
                <a:gd name="T13" fmla="*/ 7 h 80"/>
                <a:gd name="T14" fmla="*/ 377 w 401"/>
                <a:gd name="T15" fmla="*/ 2 h 80"/>
                <a:gd name="T16" fmla="*/ 370 w 401"/>
                <a:gd name="T17" fmla="*/ 0 h 80"/>
                <a:gd name="T18" fmla="*/ 361 w 401"/>
                <a:gd name="T19" fmla="*/ 0 h 80"/>
                <a:gd name="T20" fmla="*/ 40 w 401"/>
                <a:gd name="T21" fmla="*/ 0 h 80"/>
                <a:gd name="T22" fmla="*/ 40 w 401"/>
                <a:gd name="T23" fmla="*/ 0 h 80"/>
                <a:gd name="T24" fmla="*/ 33 w 401"/>
                <a:gd name="T25" fmla="*/ 0 h 80"/>
                <a:gd name="T26" fmla="*/ 25 w 401"/>
                <a:gd name="T27" fmla="*/ 2 h 80"/>
                <a:gd name="T28" fmla="*/ 18 w 401"/>
                <a:gd name="T29" fmla="*/ 7 h 80"/>
                <a:gd name="T30" fmla="*/ 12 w 401"/>
                <a:gd name="T31" fmla="*/ 11 h 80"/>
                <a:gd name="T32" fmla="*/ 7 w 401"/>
                <a:gd name="T33" fmla="*/ 17 h 80"/>
                <a:gd name="T34" fmla="*/ 4 w 401"/>
                <a:gd name="T35" fmla="*/ 24 h 80"/>
                <a:gd name="T36" fmla="*/ 2 w 401"/>
                <a:gd name="T37" fmla="*/ 31 h 80"/>
                <a:gd name="T38" fmla="*/ 0 w 401"/>
                <a:gd name="T39" fmla="*/ 39 h 80"/>
                <a:gd name="T40" fmla="*/ 0 w 401"/>
                <a:gd name="T41" fmla="*/ 39 h 80"/>
                <a:gd name="T42" fmla="*/ 2 w 401"/>
                <a:gd name="T43" fmla="*/ 47 h 80"/>
                <a:gd name="T44" fmla="*/ 4 w 401"/>
                <a:gd name="T45" fmla="*/ 55 h 80"/>
                <a:gd name="T46" fmla="*/ 7 w 401"/>
                <a:gd name="T47" fmla="*/ 62 h 80"/>
                <a:gd name="T48" fmla="*/ 12 w 401"/>
                <a:gd name="T49" fmla="*/ 68 h 80"/>
                <a:gd name="T50" fmla="*/ 18 w 401"/>
                <a:gd name="T51" fmla="*/ 73 h 80"/>
                <a:gd name="T52" fmla="*/ 25 w 401"/>
                <a:gd name="T53" fmla="*/ 76 h 80"/>
                <a:gd name="T54" fmla="*/ 33 w 401"/>
                <a:gd name="T55" fmla="*/ 78 h 80"/>
                <a:gd name="T56" fmla="*/ 40 w 401"/>
                <a:gd name="T57" fmla="*/ 80 h 80"/>
                <a:gd name="T58" fmla="*/ 361 w 401"/>
                <a:gd name="T59" fmla="*/ 80 h 80"/>
                <a:gd name="T60" fmla="*/ 361 w 401"/>
                <a:gd name="T61" fmla="*/ 80 h 80"/>
                <a:gd name="T62" fmla="*/ 370 w 401"/>
                <a:gd name="T63" fmla="*/ 78 h 80"/>
                <a:gd name="T64" fmla="*/ 377 w 401"/>
                <a:gd name="T65" fmla="*/ 76 h 80"/>
                <a:gd name="T66" fmla="*/ 383 w 401"/>
                <a:gd name="T67" fmla="*/ 73 h 80"/>
                <a:gd name="T68" fmla="*/ 389 w 401"/>
                <a:gd name="T69" fmla="*/ 68 h 80"/>
                <a:gd name="T70" fmla="*/ 394 w 401"/>
                <a:gd name="T71" fmla="*/ 62 h 80"/>
                <a:gd name="T72" fmla="*/ 397 w 401"/>
                <a:gd name="T73" fmla="*/ 55 h 80"/>
                <a:gd name="T74" fmla="*/ 400 w 401"/>
                <a:gd name="T75" fmla="*/ 47 h 80"/>
                <a:gd name="T76" fmla="*/ 401 w 401"/>
                <a:gd name="T77" fmla="*/ 39 h 80"/>
                <a:gd name="T78" fmla="*/ 401 w 401"/>
                <a:gd name="T79" fmla="*/ 3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01" h="80">
                  <a:moveTo>
                    <a:pt x="401" y="39"/>
                  </a:moveTo>
                  <a:lnTo>
                    <a:pt x="401" y="39"/>
                  </a:lnTo>
                  <a:lnTo>
                    <a:pt x="400" y="31"/>
                  </a:lnTo>
                  <a:lnTo>
                    <a:pt x="397" y="24"/>
                  </a:lnTo>
                  <a:lnTo>
                    <a:pt x="394" y="17"/>
                  </a:lnTo>
                  <a:lnTo>
                    <a:pt x="389" y="11"/>
                  </a:lnTo>
                  <a:lnTo>
                    <a:pt x="383" y="7"/>
                  </a:lnTo>
                  <a:lnTo>
                    <a:pt x="377" y="2"/>
                  </a:lnTo>
                  <a:lnTo>
                    <a:pt x="370" y="0"/>
                  </a:lnTo>
                  <a:lnTo>
                    <a:pt x="361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3" y="0"/>
                  </a:lnTo>
                  <a:lnTo>
                    <a:pt x="25" y="2"/>
                  </a:lnTo>
                  <a:lnTo>
                    <a:pt x="18" y="7"/>
                  </a:lnTo>
                  <a:lnTo>
                    <a:pt x="12" y="11"/>
                  </a:lnTo>
                  <a:lnTo>
                    <a:pt x="7" y="17"/>
                  </a:lnTo>
                  <a:lnTo>
                    <a:pt x="4" y="24"/>
                  </a:lnTo>
                  <a:lnTo>
                    <a:pt x="2" y="31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2" y="47"/>
                  </a:lnTo>
                  <a:lnTo>
                    <a:pt x="4" y="55"/>
                  </a:lnTo>
                  <a:lnTo>
                    <a:pt x="7" y="62"/>
                  </a:lnTo>
                  <a:lnTo>
                    <a:pt x="12" y="68"/>
                  </a:lnTo>
                  <a:lnTo>
                    <a:pt x="18" y="73"/>
                  </a:lnTo>
                  <a:lnTo>
                    <a:pt x="25" y="76"/>
                  </a:lnTo>
                  <a:lnTo>
                    <a:pt x="33" y="78"/>
                  </a:lnTo>
                  <a:lnTo>
                    <a:pt x="40" y="80"/>
                  </a:lnTo>
                  <a:lnTo>
                    <a:pt x="361" y="80"/>
                  </a:lnTo>
                  <a:lnTo>
                    <a:pt x="361" y="80"/>
                  </a:lnTo>
                  <a:lnTo>
                    <a:pt x="370" y="78"/>
                  </a:lnTo>
                  <a:lnTo>
                    <a:pt x="377" y="76"/>
                  </a:lnTo>
                  <a:lnTo>
                    <a:pt x="383" y="73"/>
                  </a:lnTo>
                  <a:lnTo>
                    <a:pt x="389" y="68"/>
                  </a:lnTo>
                  <a:lnTo>
                    <a:pt x="394" y="62"/>
                  </a:lnTo>
                  <a:lnTo>
                    <a:pt x="397" y="55"/>
                  </a:lnTo>
                  <a:lnTo>
                    <a:pt x="400" y="47"/>
                  </a:lnTo>
                  <a:lnTo>
                    <a:pt x="401" y="39"/>
                  </a:lnTo>
                  <a:lnTo>
                    <a:pt x="401" y="3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568" name="Group 567">
            <a:extLst>
              <a:ext uri="{FF2B5EF4-FFF2-40B4-BE49-F238E27FC236}">
                <a16:creationId xmlns:a16="http://schemas.microsoft.com/office/drawing/2014/main" id="{1CB00026-6608-4FE5-BC3F-F102E8C39BB8}"/>
              </a:ext>
            </a:extLst>
          </p:cNvPr>
          <p:cNvGrpSpPr/>
          <p:nvPr/>
        </p:nvGrpSpPr>
        <p:grpSpPr>
          <a:xfrm>
            <a:off x="7683305" y="3367137"/>
            <a:ext cx="595715" cy="432550"/>
            <a:chOff x="7122836" y="3258826"/>
            <a:chExt cx="595715" cy="432550"/>
          </a:xfrm>
          <a:solidFill>
            <a:schemeClr val="accent2"/>
          </a:solidFill>
        </p:grpSpPr>
        <p:grpSp>
          <p:nvGrpSpPr>
            <p:cNvPr id="303" name="Group 302">
              <a:extLst>
                <a:ext uri="{FF2B5EF4-FFF2-40B4-BE49-F238E27FC236}">
                  <a16:creationId xmlns:a16="http://schemas.microsoft.com/office/drawing/2014/main" id="{2FC1A118-677A-4989-84B7-7B5C140B7C16}"/>
                </a:ext>
              </a:extLst>
            </p:cNvPr>
            <p:cNvGrpSpPr/>
            <p:nvPr/>
          </p:nvGrpSpPr>
          <p:grpSpPr>
            <a:xfrm>
              <a:off x="7198090" y="3366812"/>
              <a:ext cx="243268" cy="135050"/>
              <a:chOff x="13819188" y="2270126"/>
              <a:chExt cx="619125" cy="355600"/>
            </a:xfrm>
            <a:grpFill/>
          </p:grpSpPr>
          <p:sp>
            <p:nvSpPr>
              <p:cNvPr id="196" name="Freeform 99">
                <a:extLst>
                  <a:ext uri="{FF2B5EF4-FFF2-40B4-BE49-F238E27FC236}">
                    <a16:creationId xmlns:a16="http://schemas.microsoft.com/office/drawing/2014/main" id="{55AAB38A-4C54-44DB-81A2-B6D3E0D083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871575" y="2408238"/>
                <a:ext cx="247650" cy="168275"/>
              </a:xfrm>
              <a:custGeom>
                <a:avLst/>
                <a:gdLst>
                  <a:gd name="T0" fmla="*/ 12 w 156"/>
                  <a:gd name="T1" fmla="*/ 93 h 106"/>
                  <a:gd name="T2" fmla="*/ 143 w 156"/>
                  <a:gd name="T3" fmla="*/ 93 h 106"/>
                  <a:gd name="T4" fmla="*/ 143 w 156"/>
                  <a:gd name="T5" fmla="*/ 13 h 106"/>
                  <a:gd name="T6" fmla="*/ 12 w 156"/>
                  <a:gd name="T7" fmla="*/ 13 h 106"/>
                  <a:gd name="T8" fmla="*/ 12 w 156"/>
                  <a:gd name="T9" fmla="*/ 93 h 106"/>
                  <a:gd name="T10" fmla="*/ 146 w 156"/>
                  <a:gd name="T11" fmla="*/ 106 h 106"/>
                  <a:gd name="T12" fmla="*/ 9 w 156"/>
                  <a:gd name="T13" fmla="*/ 106 h 106"/>
                  <a:gd name="T14" fmla="*/ 9 w 156"/>
                  <a:gd name="T15" fmla="*/ 106 h 106"/>
                  <a:gd name="T16" fmla="*/ 5 w 156"/>
                  <a:gd name="T17" fmla="*/ 105 h 106"/>
                  <a:gd name="T18" fmla="*/ 2 w 156"/>
                  <a:gd name="T19" fmla="*/ 103 h 106"/>
                  <a:gd name="T20" fmla="*/ 0 w 156"/>
                  <a:gd name="T21" fmla="*/ 99 h 106"/>
                  <a:gd name="T22" fmla="*/ 0 w 156"/>
                  <a:gd name="T23" fmla="*/ 96 h 106"/>
                  <a:gd name="T24" fmla="*/ 0 w 156"/>
                  <a:gd name="T25" fmla="*/ 9 h 106"/>
                  <a:gd name="T26" fmla="*/ 0 w 156"/>
                  <a:gd name="T27" fmla="*/ 9 h 106"/>
                  <a:gd name="T28" fmla="*/ 0 w 156"/>
                  <a:gd name="T29" fmla="*/ 5 h 106"/>
                  <a:gd name="T30" fmla="*/ 2 w 156"/>
                  <a:gd name="T31" fmla="*/ 2 h 106"/>
                  <a:gd name="T32" fmla="*/ 5 w 156"/>
                  <a:gd name="T33" fmla="*/ 0 h 106"/>
                  <a:gd name="T34" fmla="*/ 9 w 156"/>
                  <a:gd name="T35" fmla="*/ 0 h 106"/>
                  <a:gd name="T36" fmla="*/ 146 w 156"/>
                  <a:gd name="T37" fmla="*/ 0 h 106"/>
                  <a:gd name="T38" fmla="*/ 146 w 156"/>
                  <a:gd name="T39" fmla="*/ 0 h 106"/>
                  <a:gd name="T40" fmla="*/ 151 w 156"/>
                  <a:gd name="T41" fmla="*/ 0 h 106"/>
                  <a:gd name="T42" fmla="*/ 153 w 156"/>
                  <a:gd name="T43" fmla="*/ 2 h 106"/>
                  <a:gd name="T44" fmla="*/ 155 w 156"/>
                  <a:gd name="T45" fmla="*/ 5 h 106"/>
                  <a:gd name="T46" fmla="*/ 156 w 156"/>
                  <a:gd name="T47" fmla="*/ 9 h 106"/>
                  <a:gd name="T48" fmla="*/ 156 w 156"/>
                  <a:gd name="T49" fmla="*/ 96 h 106"/>
                  <a:gd name="T50" fmla="*/ 156 w 156"/>
                  <a:gd name="T51" fmla="*/ 96 h 106"/>
                  <a:gd name="T52" fmla="*/ 155 w 156"/>
                  <a:gd name="T53" fmla="*/ 99 h 106"/>
                  <a:gd name="T54" fmla="*/ 153 w 156"/>
                  <a:gd name="T55" fmla="*/ 103 h 106"/>
                  <a:gd name="T56" fmla="*/ 151 w 156"/>
                  <a:gd name="T57" fmla="*/ 105 h 106"/>
                  <a:gd name="T58" fmla="*/ 146 w 156"/>
                  <a:gd name="T59" fmla="*/ 10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56" h="106">
                    <a:moveTo>
                      <a:pt x="12" y="93"/>
                    </a:moveTo>
                    <a:lnTo>
                      <a:pt x="143" y="93"/>
                    </a:lnTo>
                    <a:lnTo>
                      <a:pt x="143" y="13"/>
                    </a:lnTo>
                    <a:lnTo>
                      <a:pt x="12" y="13"/>
                    </a:lnTo>
                    <a:lnTo>
                      <a:pt x="12" y="93"/>
                    </a:lnTo>
                    <a:close/>
                    <a:moveTo>
                      <a:pt x="146" y="106"/>
                    </a:moveTo>
                    <a:lnTo>
                      <a:pt x="9" y="106"/>
                    </a:lnTo>
                    <a:lnTo>
                      <a:pt x="9" y="106"/>
                    </a:lnTo>
                    <a:lnTo>
                      <a:pt x="5" y="105"/>
                    </a:lnTo>
                    <a:lnTo>
                      <a:pt x="2" y="103"/>
                    </a:lnTo>
                    <a:lnTo>
                      <a:pt x="0" y="99"/>
                    </a:lnTo>
                    <a:lnTo>
                      <a:pt x="0" y="96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146" y="0"/>
                    </a:lnTo>
                    <a:lnTo>
                      <a:pt x="146" y="0"/>
                    </a:lnTo>
                    <a:lnTo>
                      <a:pt x="151" y="0"/>
                    </a:lnTo>
                    <a:lnTo>
                      <a:pt x="153" y="2"/>
                    </a:lnTo>
                    <a:lnTo>
                      <a:pt x="155" y="5"/>
                    </a:lnTo>
                    <a:lnTo>
                      <a:pt x="156" y="9"/>
                    </a:lnTo>
                    <a:lnTo>
                      <a:pt x="156" y="96"/>
                    </a:lnTo>
                    <a:lnTo>
                      <a:pt x="156" y="96"/>
                    </a:lnTo>
                    <a:lnTo>
                      <a:pt x="155" y="99"/>
                    </a:lnTo>
                    <a:lnTo>
                      <a:pt x="153" y="103"/>
                    </a:lnTo>
                    <a:lnTo>
                      <a:pt x="151" y="105"/>
                    </a:lnTo>
                    <a:lnTo>
                      <a:pt x="146" y="10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99" name="Freeform 102">
                <a:extLst>
                  <a:ext uri="{FF2B5EF4-FFF2-40B4-BE49-F238E27FC236}">
                    <a16:creationId xmlns:a16="http://schemas.microsoft.com/office/drawing/2014/main" id="{10BF6057-7CC6-46FB-A80F-5F7E625C66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819188" y="2270126"/>
                <a:ext cx="485775" cy="355600"/>
              </a:xfrm>
              <a:custGeom>
                <a:avLst/>
                <a:gdLst>
                  <a:gd name="T0" fmla="*/ 30 w 306"/>
                  <a:gd name="T1" fmla="*/ 14 h 224"/>
                  <a:gd name="T2" fmla="*/ 24 w 306"/>
                  <a:gd name="T3" fmla="*/ 15 h 224"/>
                  <a:gd name="T4" fmla="*/ 15 w 306"/>
                  <a:gd name="T5" fmla="*/ 23 h 224"/>
                  <a:gd name="T6" fmla="*/ 14 w 306"/>
                  <a:gd name="T7" fmla="*/ 30 h 224"/>
                  <a:gd name="T8" fmla="*/ 14 w 306"/>
                  <a:gd name="T9" fmla="*/ 195 h 224"/>
                  <a:gd name="T10" fmla="*/ 15 w 306"/>
                  <a:gd name="T11" fmla="*/ 200 h 224"/>
                  <a:gd name="T12" fmla="*/ 24 w 306"/>
                  <a:gd name="T13" fmla="*/ 209 h 224"/>
                  <a:gd name="T14" fmla="*/ 30 w 306"/>
                  <a:gd name="T15" fmla="*/ 211 h 224"/>
                  <a:gd name="T16" fmla="*/ 277 w 306"/>
                  <a:gd name="T17" fmla="*/ 211 h 224"/>
                  <a:gd name="T18" fmla="*/ 283 w 306"/>
                  <a:gd name="T19" fmla="*/ 209 h 224"/>
                  <a:gd name="T20" fmla="*/ 292 w 306"/>
                  <a:gd name="T21" fmla="*/ 200 h 224"/>
                  <a:gd name="T22" fmla="*/ 293 w 306"/>
                  <a:gd name="T23" fmla="*/ 195 h 224"/>
                  <a:gd name="T24" fmla="*/ 293 w 306"/>
                  <a:gd name="T25" fmla="*/ 30 h 224"/>
                  <a:gd name="T26" fmla="*/ 292 w 306"/>
                  <a:gd name="T27" fmla="*/ 23 h 224"/>
                  <a:gd name="T28" fmla="*/ 283 w 306"/>
                  <a:gd name="T29" fmla="*/ 15 h 224"/>
                  <a:gd name="T30" fmla="*/ 277 w 306"/>
                  <a:gd name="T31" fmla="*/ 14 h 224"/>
                  <a:gd name="T32" fmla="*/ 277 w 306"/>
                  <a:gd name="T33" fmla="*/ 224 h 224"/>
                  <a:gd name="T34" fmla="*/ 30 w 306"/>
                  <a:gd name="T35" fmla="*/ 224 h 224"/>
                  <a:gd name="T36" fmla="*/ 19 w 306"/>
                  <a:gd name="T37" fmla="*/ 222 h 224"/>
                  <a:gd name="T38" fmla="*/ 9 w 306"/>
                  <a:gd name="T39" fmla="*/ 215 h 224"/>
                  <a:gd name="T40" fmla="*/ 4 w 306"/>
                  <a:gd name="T41" fmla="*/ 206 h 224"/>
                  <a:gd name="T42" fmla="*/ 0 w 306"/>
                  <a:gd name="T43" fmla="*/ 195 h 224"/>
                  <a:gd name="T44" fmla="*/ 0 w 306"/>
                  <a:gd name="T45" fmla="*/ 30 h 224"/>
                  <a:gd name="T46" fmla="*/ 4 w 306"/>
                  <a:gd name="T47" fmla="*/ 18 h 224"/>
                  <a:gd name="T48" fmla="*/ 9 w 306"/>
                  <a:gd name="T49" fmla="*/ 8 h 224"/>
                  <a:gd name="T50" fmla="*/ 19 w 306"/>
                  <a:gd name="T51" fmla="*/ 2 h 224"/>
                  <a:gd name="T52" fmla="*/ 30 w 306"/>
                  <a:gd name="T53" fmla="*/ 0 h 224"/>
                  <a:gd name="T54" fmla="*/ 277 w 306"/>
                  <a:gd name="T55" fmla="*/ 0 h 224"/>
                  <a:gd name="T56" fmla="*/ 289 w 306"/>
                  <a:gd name="T57" fmla="*/ 2 h 224"/>
                  <a:gd name="T58" fmla="*/ 297 w 306"/>
                  <a:gd name="T59" fmla="*/ 8 h 224"/>
                  <a:gd name="T60" fmla="*/ 304 w 306"/>
                  <a:gd name="T61" fmla="*/ 18 h 224"/>
                  <a:gd name="T62" fmla="*/ 306 w 306"/>
                  <a:gd name="T63" fmla="*/ 30 h 224"/>
                  <a:gd name="T64" fmla="*/ 306 w 306"/>
                  <a:gd name="T65" fmla="*/ 195 h 224"/>
                  <a:gd name="T66" fmla="*/ 304 w 306"/>
                  <a:gd name="T67" fmla="*/ 206 h 224"/>
                  <a:gd name="T68" fmla="*/ 297 w 306"/>
                  <a:gd name="T69" fmla="*/ 215 h 224"/>
                  <a:gd name="T70" fmla="*/ 289 w 306"/>
                  <a:gd name="T71" fmla="*/ 222 h 224"/>
                  <a:gd name="T72" fmla="*/ 277 w 306"/>
                  <a:gd name="T73" fmla="*/ 224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06" h="224">
                    <a:moveTo>
                      <a:pt x="30" y="14"/>
                    </a:moveTo>
                    <a:lnTo>
                      <a:pt x="30" y="14"/>
                    </a:lnTo>
                    <a:lnTo>
                      <a:pt x="27" y="14"/>
                    </a:lnTo>
                    <a:lnTo>
                      <a:pt x="24" y="15"/>
                    </a:lnTo>
                    <a:lnTo>
                      <a:pt x="19" y="18"/>
                    </a:lnTo>
                    <a:lnTo>
                      <a:pt x="15" y="23"/>
                    </a:lnTo>
                    <a:lnTo>
                      <a:pt x="14" y="27"/>
                    </a:lnTo>
                    <a:lnTo>
                      <a:pt x="14" y="30"/>
                    </a:lnTo>
                    <a:lnTo>
                      <a:pt x="14" y="195"/>
                    </a:lnTo>
                    <a:lnTo>
                      <a:pt x="14" y="195"/>
                    </a:lnTo>
                    <a:lnTo>
                      <a:pt x="14" y="198"/>
                    </a:lnTo>
                    <a:lnTo>
                      <a:pt x="15" y="200"/>
                    </a:lnTo>
                    <a:lnTo>
                      <a:pt x="19" y="206"/>
                    </a:lnTo>
                    <a:lnTo>
                      <a:pt x="24" y="209"/>
                    </a:lnTo>
                    <a:lnTo>
                      <a:pt x="27" y="210"/>
                    </a:lnTo>
                    <a:lnTo>
                      <a:pt x="30" y="211"/>
                    </a:lnTo>
                    <a:lnTo>
                      <a:pt x="277" y="211"/>
                    </a:lnTo>
                    <a:lnTo>
                      <a:pt x="277" y="211"/>
                    </a:lnTo>
                    <a:lnTo>
                      <a:pt x="280" y="210"/>
                    </a:lnTo>
                    <a:lnTo>
                      <a:pt x="283" y="209"/>
                    </a:lnTo>
                    <a:lnTo>
                      <a:pt x="289" y="206"/>
                    </a:lnTo>
                    <a:lnTo>
                      <a:pt x="292" y="200"/>
                    </a:lnTo>
                    <a:lnTo>
                      <a:pt x="293" y="198"/>
                    </a:lnTo>
                    <a:lnTo>
                      <a:pt x="293" y="195"/>
                    </a:lnTo>
                    <a:lnTo>
                      <a:pt x="293" y="30"/>
                    </a:lnTo>
                    <a:lnTo>
                      <a:pt x="293" y="30"/>
                    </a:lnTo>
                    <a:lnTo>
                      <a:pt x="293" y="27"/>
                    </a:lnTo>
                    <a:lnTo>
                      <a:pt x="292" y="23"/>
                    </a:lnTo>
                    <a:lnTo>
                      <a:pt x="289" y="18"/>
                    </a:lnTo>
                    <a:lnTo>
                      <a:pt x="283" y="15"/>
                    </a:lnTo>
                    <a:lnTo>
                      <a:pt x="280" y="14"/>
                    </a:lnTo>
                    <a:lnTo>
                      <a:pt x="277" y="14"/>
                    </a:lnTo>
                    <a:lnTo>
                      <a:pt x="30" y="14"/>
                    </a:lnTo>
                    <a:close/>
                    <a:moveTo>
                      <a:pt x="277" y="224"/>
                    </a:moveTo>
                    <a:lnTo>
                      <a:pt x="30" y="224"/>
                    </a:lnTo>
                    <a:lnTo>
                      <a:pt x="30" y="224"/>
                    </a:lnTo>
                    <a:lnTo>
                      <a:pt x="24" y="223"/>
                    </a:lnTo>
                    <a:lnTo>
                      <a:pt x="19" y="222"/>
                    </a:lnTo>
                    <a:lnTo>
                      <a:pt x="14" y="218"/>
                    </a:lnTo>
                    <a:lnTo>
                      <a:pt x="9" y="215"/>
                    </a:lnTo>
                    <a:lnTo>
                      <a:pt x="6" y="211"/>
                    </a:lnTo>
                    <a:lnTo>
                      <a:pt x="4" y="206"/>
                    </a:lnTo>
                    <a:lnTo>
                      <a:pt x="2" y="200"/>
                    </a:lnTo>
                    <a:lnTo>
                      <a:pt x="0" y="195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2" y="23"/>
                    </a:lnTo>
                    <a:lnTo>
                      <a:pt x="4" y="18"/>
                    </a:lnTo>
                    <a:lnTo>
                      <a:pt x="6" y="13"/>
                    </a:lnTo>
                    <a:lnTo>
                      <a:pt x="9" y="8"/>
                    </a:lnTo>
                    <a:lnTo>
                      <a:pt x="14" y="5"/>
                    </a:lnTo>
                    <a:lnTo>
                      <a:pt x="19" y="2"/>
                    </a:lnTo>
                    <a:lnTo>
                      <a:pt x="24" y="1"/>
                    </a:lnTo>
                    <a:lnTo>
                      <a:pt x="30" y="0"/>
                    </a:lnTo>
                    <a:lnTo>
                      <a:pt x="277" y="0"/>
                    </a:lnTo>
                    <a:lnTo>
                      <a:pt x="277" y="0"/>
                    </a:lnTo>
                    <a:lnTo>
                      <a:pt x="283" y="1"/>
                    </a:lnTo>
                    <a:lnTo>
                      <a:pt x="289" y="2"/>
                    </a:lnTo>
                    <a:lnTo>
                      <a:pt x="293" y="5"/>
                    </a:lnTo>
                    <a:lnTo>
                      <a:pt x="297" y="8"/>
                    </a:lnTo>
                    <a:lnTo>
                      <a:pt x="302" y="13"/>
                    </a:lnTo>
                    <a:lnTo>
                      <a:pt x="304" y="18"/>
                    </a:lnTo>
                    <a:lnTo>
                      <a:pt x="306" y="23"/>
                    </a:lnTo>
                    <a:lnTo>
                      <a:pt x="306" y="30"/>
                    </a:lnTo>
                    <a:lnTo>
                      <a:pt x="306" y="195"/>
                    </a:lnTo>
                    <a:lnTo>
                      <a:pt x="306" y="195"/>
                    </a:lnTo>
                    <a:lnTo>
                      <a:pt x="306" y="200"/>
                    </a:lnTo>
                    <a:lnTo>
                      <a:pt x="304" y="206"/>
                    </a:lnTo>
                    <a:lnTo>
                      <a:pt x="302" y="211"/>
                    </a:lnTo>
                    <a:lnTo>
                      <a:pt x="297" y="215"/>
                    </a:lnTo>
                    <a:lnTo>
                      <a:pt x="293" y="218"/>
                    </a:lnTo>
                    <a:lnTo>
                      <a:pt x="289" y="222"/>
                    </a:lnTo>
                    <a:lnTo>
                      <a:pt x="283" y="223"/>
                    </a:lnTo>
                    <a:lnTo>
                      <a:pt x="277" y="2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2" name="Freeform 105">
                <a:extLst>
                  <a:ext uri="{FF2B5EF4-FFF2-40B4-BE49-F238E27FC236}">
                    <a16:creationId xmlns:a16="http://schemas.microsoft.com/office/drawing/2014/main" id="{B0FB8196-B045-4AD9-A639-D78D79843A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285913" y="2301876"/>
                <a:ext cx="152400" cy="269875"/>
              </a:xfrm>
              <a:custGeom>
                <a:avLst/>
                <a:gdLst>
                  <a:gd name="T0" fmla="*/ 14 w 96"/>
                  <a:gd name="T1" fmla="*/ 119 h 170"/>
                  <a:gd name="T2" fmla="*/ 75 w 96"/>
                  <a:gd name="T3" fmla="*/ 155 h 170"/>
                  <a:gd name="T4" fmla="*/ 75 w 96"/>
                  <a:gd name="T5" fmla="*/ 155 h 170"/>
                  <a:gd name="T6" fmla="*/ 78 w 96"/>
                  <a:gd name="T7" fmla="*/ 156 h 170"/>
                  <a:gd name="T8" fmla="*/ 81 w 96"/>
                  <a:gd name="T9" fmla="*/ 156 h 170"/>
                  <a:gd name="T10" fmla="*/ 81 w 96"/>
                  <a:gd name="T11" fmla="*/ 156 h 170"/>
                  <a:gd name="T12" fmla="*/ 83 w 96"/>
                  <a:gd name="T13" fmla="*/ 155 h 170"/>
                  <a:gd name="T14" fmla="*/ 83 w 96"/>
                  <a:gd name="T15" fmla="*/ 150 h 170"/>
                  <a:gd name="T16" fmla="*/ 83 w 96"/>
                  <a:gd name="T17" fmla="*/ 20 h 170"/>
                  <a:gd name="T18" fmla="*/ 83 w 96"/>
                  <a:gd name="T19" fmla="*/ 20 h 170"/>
                  <a:gd name="T20" fmla="*/ 83 w 96"/>
                  <a:gd name="T21" fmla="*/ 16 h 170"/>
                  <a:gd name="T22" fmla="*/ 80 w 96"/>
                  <a:gd name="T23" fmla="*/ 13 h 170"/>
                  <a:gd name="T24" fmla="*/ 80 w 96"/>
                  <a:gd name="T25" fmla="*/ 13 h 170"/>
                  <a:gd name="T26" fmla="*/ 79 w 96"/>
                  <a:gd name="T27" fmla="*/ 13 h 170"/>
                  <a:gd name="T28" fmla="*/ 75 w 96"/>
                  <a:gd name="T29" fmla="*/ 15 h 170"/>
                  <a:gd name="T30" fmla="*/ 14 w 96"/>
                  <a:gd name="T31" fmla="*/ 51 h 170"/>
                  <a:gd name="T32" fmla="*/ 14 w 96"/>
                  <a:gd name="T33" fmla="*/ 119 h 170"/>
                  <a:gd name="T34" fmla="*/ 80 w 96"/>
                  <a:gd name="T35" fmla="*/ 170 h 170"/>
                  <a:gd name="T36" fmla="*/ 80 w 96"/>
                  <a:gd name="T37" fmla="*/ 170 h 170"/>
                  <a:gd name="T38" fmla="*/ 76 w 96"/>
                  <a:gd name="T39" fmla="*/ 168 h 170"/>
                  <a:gd name="T40" fmla="*/ 73 w 96"/>
                  <a:gd name="T41" fmla="*/ 167 h 170"/>
                  <a:gd name="T42" fmla="*/ 69 w 96"/>
                  <a:gd name="T43" fmla="*/ 166 h 170"/>
                  <a:gd name="T44" fmla="*/ 0 w 96"/>
                  <a:gd name="T45" fmla="*/ 127 h 170"/>
                  <a:gd name="T46" fmla="*/ 0 w 96"/>
                  <a:gd name="T47" fmla="*/ 43 h 170"/>
                  <a:gd name="T48" fmla="*/ 69 w 96"/>
                  <a:gd name="T49" fmla="*/ 3 h 170"/>
                  <a:gd name="T50" fmla="*/ 69 w 96"/>
                  <a:gd name="T51" fmla="*/ 3 h 170"/>
                  <a:gd name="T52" fmla="*/ 74 w 96"/>
                  <a:gd name="T53" fmla="*/ 1 h 170"/>
                  <a:gd name="T54" fmla="*/ 78 w 96"/>
                  <a:gd name="T55" fmla="*/ 0 h 170"/>
                  <a:gd name="T56" fmla="*/ 84 w 96"/>
                  <a:gd name="T57" fmla="*/ 0 h 170"/>
                  <a:gd name="T58" fmla="*/ 88 w 96"/>
                  <a:gd name="T59" fmla="*/ 2 h 170"/>
                  <a:gd name="T60" fmla="*/ 88 w 96"/>
                  <a:gd name="T61" fmla="*/ 2 h 170"/>
                  <a:gd name="T62" fmla="*/ 90 w 96"/>
                  <a:gd name="T63" fmla="*/ 5 h 170"/>
                  <a:gd name="T64" fmla="*/ 92 w 96"/>
                  <a:gd name="T65" fmla="*/ 7 h 170"/>
                  <a:gd name="T66" fmla="*/ 95 w 96"/>
                  <a:gd name="T67" fmla="*/ 12 h 170"/>
                  <a:gd name="T68" fmla="*/ 96 w 96"/>
                  <a:gd name="T69" fmla="*/ 17 h 170"/>
                  <a:gd name="T70" fmla="*/ 96 w 96"/>
                  <a:gd name="T71" fmla="*/ 20 h 170"/>
                  <a:gd name="T72" fmla="*/ 96 w 96"/>
                  <a:gd name="T73" fmla="*/ 150 h 170"/>
                  <a:gd name="T74" fmla="*/ 96 w 96"/>
                  <a:gd name="T75" fmla="*/ 150 h 170"/>
                  <a:gd name="T76" fmla="*/ 95 w 96"/>
                  <a:gd name="T77" fmla="*/ 156 h 170"/>
                  <a:gd name="T78" fmla="*/ 94 w 96"/>
                  <a:gd name="T79" fmla="*/ 161 h 170"/>
                  <a:gd name="T80" fmla="*/ 92 w 96"/>
                  <a:gd name="T81" fmla="*/ 164 h 170"/>
                  <a:gd name="T82" fmla="*/ 88 w 96"/>
                  <a:gd name="T83" fmla="*/ 167 h 170"/>
                  <a:gd name="T84" fmla="*/ 88 w 96"/>
                  <a:gd name="T85" fmla="*/ 167 h 170"/>
                  <a:gd name="T86" fmla="*/ 85 w 96"/>
                  <a:gd name="T87" fmla="*/ 170 h 170"/>
                  <a:gd name="T88" fmla="*/ 80 w 96"/>
                  <a:gd name="T89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6" h="170">
                    <a:moveTo>
                      <a:pt x="14" y="119"/>
                    </a:moveTo>
                    <a:lnTo>
                      <a:pt x="75" y="155"/>
                    </a:lnTo>
                    <a:lnTo>
                      <a:pt x="75" y="155"/>
                    </a:lnTo>
                    <a:lnTo>
                      <a:pt x="78" y="156"/>
                    </a:lnTo>
                    <a:lnTo>
                      <a:pt x="81" y="156"/>
                    </a:lnTo>
                    <a:lnTo>
                      <a:pt x="81" y="156"/>
                    </a:lnTo>
                    <a:lnTo>
                      <a:pt x="83" y="155"/>
                    </a:lnTo>
                    <a:lnTo>
                      <a:pt x="83" y="150"/>
                    </a:lnTo>
                    <a:lnTo>
                      <a:pt x="83" y="20"/>
                    </a:lnTo>
                    <a:lnTo>
                      <a:pt x="83" y="20"/>
                    </a:lnTo>
                    <a:lnTo>
                      <a:pt x="83" y="16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79" y="13"/>
                    </a:lnTo>
                    <a:lnTo>
                      <a:pt x="75" y="15"/>
                    </a:lnTo>
                    <a:lnTo>
                      <a:pt x="14" y="51"/>
                    </a:lnTo>
                    <a:lnTo>
                      <a:pt x="14" y="119"/>
                    </a:lnTo>
                    <a:close/>
                    <a:moveTo>
                      <a:pt x="80" y="170"/>
                    </a:moveTo>
                    <a:lnTo>
                      <a:pt x="80" y="170"/>
                    </a:lnTo>
                    <a:lnTo>
                      <a:pt x="76" y="168"/>
                    </a:lnTo>
                    <a:lnTo>
                      <a:pt x="73" y="167"/>
                    </a:lnTo>
                    <a:lnTo>
                      <a:pt x="69" y="166"/>
                    </a:lnTo>
                    <a:lnTo>
                      <a:pt x="0" y="127"/>
                    </a:lnTo>
                    <a:lnTo>
                      <a:pt x="0" y="43"/>
                    </a:lnTo>
                    <a:lnTo>
                      <a:pt x="69" y="3"/>
                    </a:lnTo>
                    <a:lnTo>
                      <a:pt x="69" y="3"/>
                    </a:lnTo>
                    <a:lnTo>
                      <a:pt x="74" y="1"/>
                    </a:lnTo>
                    <a:lnTo>
                      <a:pt x="78" y="0"/>
                    </a:lnTo>
                    <a:lnTo>
                      <a:pt x="84" y="0"/>
                    </a:lnTo>
                    <a:lnTo>
                      <a:pt x="88" y="2"/>
                    </a:lnTo>
                    <a:lnTo>
                      <a:pt x="88" y="2"/>
                    </a:lnTo>
                    <a:lnTo>
                      <a:pt x="90" y="5"/>
                    </a:lnTo>
                    <a:lnTo>
                      <a:pt x="92" y="7"/>
                    </a:lnTo>
                    <a:lnTo>
                      <a:pt x="95" y="12"/>
                    </a:lnTo>
                    <a:lnTo>
                      <a:pt x="96" y="17"/>
                    </a:lnTo>
                    <a:lnTo>
                      <a:pt x="96" y="20"/>
                    </a:lnTo>
                    <a:lnTo>
                      <a:pt x="96" y="150"/>
                    </a:lnTo>
                    <a:lnTo>
                      <a:pt x="96" y="150"/>
                    </a:lnTo>
                    <a:lnTo>
                      <a:pt x="95" y="156"/>
                    </a:lnTo>
                    <a:lnTo>
                      <a:pt x="94" y="161"/>
                    </a:lnTo>
                    <a:lnTo>
                      <a:pt x="92" y="164"/>
                    </a:lnTo>
                    <a:lnTo>
                      <a:pt x="88" y="167"/>
                    </a:lnTo>
                    <a:lnTo>
                      <a:pt x="88" y="167"/>
                    </a:lnTo>
                    <a:lnTo>
                      <a:pt x="85" y="170"/>
                    </a:lnTo>
                    <a:lnTo>
                      <a:pt x="80" y="1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5" name="Freeform 108">
                <a:extLst>
                  <a:ext uri="{FF2B5EF4-FFF2-40B4-BE49-F238E27FC236}">
                    <a16:creationId xmlns:a16="http://schemas.microsoft.com/office/drawing/2014/main" id="{EE7E0A0C-E13F-4345-984B-773FC1D393F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162088" y="2325688"/>
                <a:ext cx="88900" cy="90488"/>
              </a:xfrm>
              <a:custGeom>
                <a:avLst/>
                <a:gdLst>
                  <a:gd name="T0" fmla="*/ 28 w 56"/>
                  <a:gd name="T1" fmla="*/ 14 h 57"/>
                  <a:gd name="T2" fmla="*/ 28 w 56"/>
                  <a:gd name="T3" fmla="*/ 14 h 57"/>
                  <a:gd name="T4" fmla="*/ 22 w 56"/>
                  <a:gd name="T5" fmla="*/ 15 h 57"/>
                  <a:gd name="T6" fmla="*/ 17 w 56"/>
                  <a:gd name="T7" fmla="*/ 18 h 57"/>
                  <a:gd name="T8" fmla="*/ 15 w 56"/>
                  <a:gd name="T9" fmla="*/ 23 h 57"/>
                  <a:gd name="T10" fmla="*/ 13 w 56"/>
                  <a:gd name="T11" fmla="*/ 28 h 57"/>
                  <a:gd name="T12" fmla="*/ 13 w 56"/>
                  <a:gd name="T13" fmla="*/ 28 h 57"/>
                  <a:gd name="T14" fmla="*/ 15 w 56"/>
                  <a:gd name="T15" fmla="*/ 35 h 57"/>
                  <a:gd name="T16" fmla="*/ 17 w 56"/>
                  <a:gd name="T17" fmla="*/ 39 h 57"/>
                  <a:gd name="T18" fmla="*/ 22 w 56"/>
                  <a:gd name="T19" fmla="*/ 42 h 57"/>
                  <a:gd name="T20" fmla="*/ 28 w 56"/>
                  <a:gd name="T21" fmla="*/ 43 h 57"/>
                  <a:gd name="T22" fmla="*/ 28 w 56"/>
                  <a:gd name="T23" fmla="*/ 43 h 57"/>
                  <a:gd name="T24" fmla="*/ 33 w 56"/>
                  <a:gd name="T25" fmla="*/ 42 h 57"/>
                  <a:gd name="T26" fmla="*/ 38 w 56"/>
                  <a:gd name="T27" fmla="*/ 39 h 57"/>
                  <a:gd name="T28" fmla="*/ 42 w 56"/>
                  <a:gd name="T29" fmla="*/ 35 h 57"/>
                  <a:gd name="T30" fmla="*/ 43 w 56"/>
                  <a:gd name="T31" fmla="*/ 28 h 57"/>
                  <a:gd name="T32" fmla="*/ 43 w 56"/>
                  <a:gd name="T33" fmla="*/ 28 h 57"/>
                  <a:gd name="T34" fmla="*/ 42 w 56"/>
                  <a:gd name="T35" fmla="*/ 23 h 57"/>
                  <a:gd name="T36" fmla="*/ 38 w 56"/>
                  <a:gd name="T37" fmla="*/ 18 h 57"/>
                  <a:gd name="T38" fmla="*/ 33 w 56"/>
                  <a:gd name="T39" fmla="*/ 15 h 57"/>
                  <a:gd name="T40" fmla="*/ 28 w 56"/>
                  <a:gd name="T41" fmla="*/ 14 h 57"/>
                  <a:gd name="T42" fmla="*/ 28 w 56"/>
                  <a:gd name="T43" fmla="*/ 57 h 57"/>
                  <a:gd name="T44" fmla="*/ 28 w 56"/>
                  <a:gd name="T45" fmla="*/ 57 h 57"/>
                  <a:gd name="T46" fmla="*/ 22 w 56"/>
                  <a:gd name="T47" fmla="*/ 56 h 57"/>
                  <a:gd name="T48" fmla="*/ 17 w 56"/>
                  <a:gd name="T49" fmla="*/ 55 h 57"/>
                  <a:gd name="T50" fmla="*/ 13 w 56"/>
                  <a:gd name="T51" fmla="*/ 52 h 57"/>
                  <a:gd name="T52" fmla="*/ 8 w 56"/>
                  <a:gd name="T53" fmla="*/ 48 h 57"/>
                  <a:gd name="T54" fmla="*/ 4 w 56"/>
                  <a:gd name="T55" fmla="*/ 44 h 57"/>
                  <a:gd name="T56" fmla="*/ 2 w 56"/>
                  <a:gd name="T57" fmla="*/ 40 h 57"/>
                  <a:gd name="T58" fmla="*/ 1 w 56"/>
                  <a:gd name="T59" fmla="*/ 35 h 57"/>
                  <a:gd name="T60" fmla="*/ 0 w 56"/>
                  <a:gd name="T61" fmla="*/ 28 h 57"/>
                  <a:gd name="T62" fmla="*/ 0 w 56"/>
                  <a:gd name="T63" fmla="*/ 28 h 57"/>
                  <a:gd name="T64" fmla="*/ 1 w 56"/>
                  <a:gd name="T65" fmla="*/ 23 h 57"/>
                  <a:gd name="T66" fmla="*/ 2 w 56"/>
                  <a:gd name="T67" fmla="*/ 17 h 57"/>
                  <a:gd name="T68" fmla="*/ 4 w 56"/>
                  <a:gd name="T69" fmla="*/ 13 h 57"/>
                  <a:gd name="T70" fmla="*/ 8 w 56"/>
                  <a:gd name="T71" fmla="*/ 9 h 57"/>
                  <a:gd name="T72" fmla="*/ 13 w 56"/>
                  <a:gd name="T73" fmla="*/ 6 h 57"/>
                  <a:gd name="T74" fmla="*/ 17 w 56"/>
                  <a:gd name="T75" fmla="*/ 2 h 57"/>
                  <a:gd name="T76" fmla="*/ 22 w 56"/>
                  <a:gd name="T77" fmla="*/ 1 h 57"/>
                  <a:gd name="T78" fmla="*/ 28 w 56"/>
                  <a:gd name="T79" fmla="*/ 0 h 57"/>
                  <a:gd name="T80" fmla="*/ 28 w 56"/>
                  <a:gd name="T81" fmla="*/ 0 h 57"/>
                  <a:gd name="T82" fmla="*/ 33 w 56"/>
                  <a:gd name="T83" fmla="*/ 1 h 57"/>
                  <a:gd name="T84" fmla="*/ 38 w 56"/>
                  <a:gd name="T85" fmla="*/ 2 h 57"/>
                  <a:gd name="T86" fmla="*/ 44 w 56"/>
                  <a:gd name="T87" fmla="*/ 6 h 57"/>
                  <a:gd name="T88" fmla="*/ 48 w 56"/>
                  <a:gd name="T89" fmla="*/ 9 h 57"/>
                  <a:gd name="T90" fmla="*/ 51 w 56"/>
                  <a:gd name="T91" fmla="*/ 13 h 57"/>
                  <a:gd name="T92" fmla="*/ 53 w 56"/>
                  <a:gd name="T93" fmla="*/ 17 h 57"/>
                  <a:gd name="T94" fmla="*/ 56 w 56"/>
                  <a:gd name="T95" fmla="*/ 23 h 57"/>
                  <a:gd name="T96" fmla="*/ 56 w 56"/>
                  <a:gd name="T97" fmla="*/ 28 h 57"/>
                  <a:gd name="T98" fmla="*/ 56 w 56"/>
                  <a:gd name="T99" fmla="*/ 28 h 57"/>
                  <a:gd name="T100" fmla="*/ 56 w 56"/>
                  <a:gd name="T101" fmla="*/ 35 h 57"/>
                  <a:gd name="T102" fmla="*/ 53 w 56"/>
                  <a:gd name="T103" fmla="*/ 40 h 57"/>
                  <a:gd name="T104" fmla="*/ 51 w 56"/>
                  <a:gd name="T105" fmla="*/ 44 h 57"/>
                  <a:gd name="T106" fmla="*/ 48 w 56"/>
                  <a:gd name="T107" fmla="*/ 48 h 57"/>
                  <a:gd name="T108" fmla="*/ 44 w 56"/>
                  <a:gd name="T109" fmla="*/ 52 h 57"/>
                  <a:gd name="T110" fmla="*/ 38 w 56"/>
                  <a:gd name="T111" fmla="*/ 55 h 57"/>
                  <a:gd name="T112" fmla="*/ 33 w 56"/>
                  <a:gd name="T113" fmla="*/ 56 h 57"/>
                  <a:gd name="T114" fmla="*/ 28 w 56"/>
                  <a:gd name="T115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6" h="57">
                    <a:moveTo>
                      <a:pt x="28" y="14"/>
                    </a:moveTo>
                    <a:lnTo>
                      <a:pt x="28" y="14"/>
                    </a:lnTo>
                    <a:lnTo>
                      <a:pt x="22" y="15"/>
                    </a:lnTo>
                    <a:lnTo>
                      <a:pt x="17" y="18"/>
                    </a:lnTo>
                    <a:lnTo>
                      <a:pt x="15" y="23"/>
                    </a:lnTo>
                    <a:lnTo>
                      <a:pt x="13" y="28"/>
                    </a:lnTo>
                    <a:lnTo>
                      <a:pt x="13" y="28"/>
                    </a:lnTo>
                    <a:lnTo>
                      <a:pt x="15" y="35"/>
                    </a:lnTo>
                    <a:lnTo>
                      <a:pt x="17" y="39"/>
                    </a:lnTo>
                    <a:lnTo>
                      <a:pt x="22" y="42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33" y="42"/>
                    </a:lnTo>
                    <a:lnTo>
                      <a:pt x="38" y="39"/>
                    </a:lnTo>
                    <a:lnTo>
                      <a:pt x="42" y="35"/>
                    </a:lnTo>
                    <a:lnTo>
                      <a:pt x="43" y="28"/>
                    </a:lnTo>
                    <a:lnTo>
                      <a:pt x="43" y="28"/>
                    </a:lnTo>
                    <a:lnTo>
                      <a:pt x="42" y="23"/>
                    </a:lnTo>
                    <a:lnTo>
                      <a:pt x="38" y="18"/>
                    </a:lnTo>
                    <a:lnTo>
                      <a:pt x="33" y="15"/>
                    </a:lnTo>
                    <a:lnTo>
                      <a:pt x="28" y="14"/>
                    </a:lnTo>
                    <a:close/>
                    <a:moveTo>
                      <a:pt x="28" y="57"/>
                    </a:moveTo>
                    <a:lnTo>
                      <a:pt x="28" y="57"/>
                    </a:lnTo>
                    <a:lnTo>
                      <a:pt x="22" y="56"/>
                    </a:lnTo>
                    <a:lnTo>
                      <a:pt x="17" y="55"/>
                    </a:lnTo>
                    <a:lnTo>
                      <a:pt x="13" y="52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2" y="40"/>
                    </a:lnTo>
                    <a:lnTo>
                      <a:pt x="1" y="35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1" y="23"/>
                    </a:lnTo>
                    <a:lnTo>
                      <a:pt x="2" y="17"/>
                    </a:lnTo>
                    <a:lnTo>
                      <a:pt x="4" y="13"/>
                    </a:lnTo>
                    <a:lnTo>
                      <a:pt x="8" y="9"/>
                    </a:lnTo>
                    <a:lnTo>
                      <a:pt x="13" y="6"/>
                    </a:lnTo>
                    <a:lnTo>
                      <a:pt x="17" y="2"/>
                    </a:lnTo>
                    <a:lnTo>
                      <a:pt x="22" y="1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3" y="1"/>
                    </a:lnTo>
                    <a:lnTo>
                      <a:pt x="38" y="2"/>
                    </a:lnTo>
                    <a:lnTo>
                      <a:pt x="44" y="6"/>
                    </a:lnTo>
                    <a:lnTo>
                      <a:pt x="48" y="9"/>
                    </a:lnTo>
                    <a:lnTo>
                      <a:pt x="51" y="13"/>
                    </a:lnTo>
                    <a:lnTo>
                      <a:pt x="53" y="17"/>
                    </a:lnTo>
                    <a:lnTo>
                      <a:pt x="56" y="23"/>
                    </a:lnTo>
                    <a:lnTo>
                      <a:pt x="56" y="28"/>
                    </a:lnTo>
                    <a:lnTo>
                      <a:pt x="56" y="28"/>
                    </a:lnTo>
                    <a:lnTo>
                      <a:pt x="56" y="35"/>
                    </a:lnTo>
                    <a:lnTo>
                      <a:pt x="53" y="40"/>
                    </a:lnTo>
                    <a:lnTo>
                      <a:pt x="51" y="44"/>
                    </a:lnTo>
                    <a:lnTo>
                      <a:pt x="48" y="48"/>
                    </a:lnTo>
                    <a:lnTo>
                      <a:pt x="44" y="52"/>
                    </a:lnTo>
                    <a:lnTo>
                      <a:pt x="38" y="55"/>
                    </a:lnTo>
                    <a:lnTo>
                      <a:pt x="33" y="56"/>
                    </a:lnTo>
                    <a:lnTo>
                      <a:pt x="28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09" name="Freeform 112">
                <a:extLst>
                  <a:ext uri="{FF2B5EF4-FFF2-40B4-BE49-F238E27FC236}">
                    <a16:creationId xmlns:a16="http://schemas.microsoft.com/office/drawing/2014/main" id="{FA3F3B3C-2561-4A99-8D24-71186AEA50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82725" y="2447926"/>
                <a:ext cx="47625" cy="47625"/>
              </a:xfrm>
              <a:custGeom>
                <a:avLst/>
                <a:gdLst>
                  <a:gd name="T0" fmla="*/ 15 w 30"/>
                  <a:gd name="T1" fmla="*/ 0 h 30"/>
                  <a:gd name="T2" fmla="*/ 15 w 30"/>
                  <a:gd name="T3" fmla="*/ 0 h 30"/>
                  <a:gd name="T4" fmla="*/ 9 w 30"/>
                  <a:gd name="T5" fmla="*/ 3 h 30"/>
                  <a:gd name="T6" fmla="*/ 4 w 30"/>
                  <a:gd name="T7" fmla="*/ 5 h 30"/>
                  <a:gd name="T8" fmla="*/ 2 w 30"/>
                  <a:gd name="T9" fmla="*/ 10 h 30"/>
                  <a:gd name="T10" fmla="*/ 0 w 30"/>
                  <a:gd name="T11" fmla="*/ 15 h 30"/>
                  <a:gd name="T12" fmla="*/ 0 w 30"/>
                  <a:gd name="T13" fmla="*/ 15 h 30"/>
                  <a:gd name="T14" fmla="*/ 2 w 30"/>
                  <a:gd name="T15" fmla="*/ 21 h 30"/>
                  <a:gd name="T16" fmla="*/ 4 w 30"/>
                  <a:gd name="T17" fmla="*/ 26 h 30"/>
                  <a:gd name="T18" fmla="*/ 9 w 30"/>
                  <a:gd name="T19" fmla="*/ 29 h 30"/>
                  <a:gd name="T20" fmla="*/ 15 w 30"/>
                  <a:gd name="T21" fmla="*/ 30 h 30"/>
                  <a:gd name="T22" fmla="*/ 15 w 30"/>
                  <a:gd name="T23" fmla="*/ 30 h 30"/>
                  <a:gd name="T24" fmla="*/ 20 w 30"/>
                  <a:gd name="T25" fmla="*/ 29 h 30"/>
                  <a:gd name="T26" fmla="*/ 25 w 30"/>
                  <a:gd name="T27" fmla="*/ 26 h 30"/>
                  <a:gd name="T28" fmla="*/ 29 w 30"/>
                  <a:gd name="T29" fmla="*/ 21 h 30"/>
                  <a:gd name="T30" fmla="*/ 30 w 30"/>
                  <a:gd name="T31" fmla="*/ 15 h 30"/>
                  <a:gd name="T32" fmla="*/ 30 w 30"/>
                  <a:gd name="T33" fmla="*/ 15 h 30"/>
                  <a:gd name="T34" fmla="*/ 29 w 30"/>
                  <a:gd name="T35" fmla="*/ 10 h 30"/>
                  <a:gd name="T36" fmla="*/ 25 w 30"/>
                  <a:gd name="T37" fmla="*/ 5 h 30"/>
                  <a:gd name="T38" fmla="*/ 20 w 30"/>
                  <a:gd name="T39" fmla="*/ 3 h 30"/>
                  <a:gd name="T40" fmla="*/ 15 w 30"/>
                  <a:gd name="T4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5" y="0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2" y="10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4" y="26"/>
                    </a:lnTo>
                    <a:lnTo>
                      <a:pt x="9" y="29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20" y="29"/>
                    </a:lnTo>
                    <a:lnTo>
                      <a:pt x="25" y="26"/>
                    </a:lnTo>
                    <a:lnTo>
                      <a:pt x="29" y="21"/>
                    </a:lnTo>
                    <a:lnTo>
                      <a:pt x="30" y="15"/>
                    </a:lnTo>
                    <a:lnTo>
                      <a:pt x="30" y="15"/>
                    </a:lnTo>
                    <a:lnTo>
                      <a:pt x="29" y="10"/>
                    </a:lnTo>
                    <a:lnTo>
                      <a:pt x="25" y="5"/>
                    </a:lnTo>
                    <a:lnTo>
                      <a:pt x="20" y="3"/>
                    </a:lnTo>
                    <a:lnTo>
                      <a:pt x="15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grpSp>
          <p:nvGrpSpPr>
            <p:cNvPr id="539" name="Group 4">
              <a:extLst>
                <a:ext uri="{FF2B5EF4-FFF2-40B4-BE49-F238E27FC236}">
                  <a16:creationId xmlns:a16="http://schemas.microsoft.com/office/drawing/2014/main" id="{75B88060-81C1-4A14-AFC1-F2929AFE8D9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122836" y="3258826"/>
              <a:ext cx="595715" cy="432550"/>
              <a:chOff x="2462" y="1089"/>
              <a:chExt cx="2950" cy="2142"/>
            </a:xfrm>
            <a:grpFill/>
          </p:grpSpPr>
          <p:sp>
            <p:nvSpPr>
              <p:cNvPr id="541" name="Freeform 5">
                <a:extLst>
                  <a:ext uri="{FF2B5EF4-FFF2-40B4-BE49-F238E27FC236}">
                    <a16:creationId xmlns:a16="http://schemas.microsoft.com/office/drawing/2014/main" id="{BC9B5E91-A1A1-475D-9FF3-8B98342BB2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8" y="2655"/>
                <a:ext cx="576" cy="576"/>
              </a:xfrm>
              <a:custGeom>
                <a:avLst/>
                <a:gdLst>
                  <a:gd name="T0" fmla="*/ 262 w 576"/>
                  <a:gd name="T1" fmla="*/ 2 h 576"/>
                  <a:gd name="T2" fmla="*/ 180 w 576"/>
                  <a:gd name="T3" fmla="*/ 22 h 576"/>
                  <a:gd name="T4" fmla="*/ 106 w 576"/>
                  <a:gd name="T5" fmla="*/ 66 h 576"/>
                  <a:gd name="T6" fmla="*/ 66 w 576"/>
                  <a:gd name="T7" fmla="*/ 106 h 576"/>
                  <a:gd name="T8" fmla="*/ 22 w 576"/>
                  <a:gd name="T9" fmla="*/ 178 h 576"/>
                  <a:gd name="T10" fmla="*/ 0 w 576"/>
                  <a:gd name="T11" fmla="*/ 260 h 576"/>
                  <a:gd name="T12" fmla="*/ 0 w 576"/>
                  <a:gd name="T13" fmla="*/ 318 h 576"/>
                  <a:gd name="T14" fmla="*/ 22 w 576"/>
                  <a:gd name="T15" fmla="*/ 398 h 576"/>
                  <a:gd name="T16" fmla="*/ 66 w 576"/>
                  <a:gd name="T17" fmla="*/ 470 h 576"/>
                  <a:gd name="T18" fmla="*/ 106 w 576"/>
                  <a:gd name="T19" fmla="*/ 512 h 576"/>
                  <a:gd name="T20" fmla="*/ 180 w 576"/>
                  <a:gd name="T21" fmla="*/ 554 h 576"/>
                  <a:gd name="T22" fmla="*/ 262 w 576"/>
                  <a:gd name="T23" fmla="*/ 576 h 576"/>
                  <a:gd name="T24" fmla="*/ 318 w 576"/>
                  <a:gd name="T25" fmla="*/ 576 h 576"/>
                  <a:gd name="T26" fmla="*/ 400 w 576"/>
                  <a:gd name="T27" fmla="*/ 554 h 576"/>
                  <a:gd name="T28" fmla="*/ 472 w 576"/>
                  <a:gd name="T29" fmla="*/ 510 h 576"/>
                  <a:gd name="T30" fmla="*/ 526 w 576"/>
                  <a:gd name="T31" fmla="*/ 450 h 576"/>
                  <a:gd name="T32" fmla="*/ 562 w 576"/>
                  <a:gd name="T33" fmla="*/ 374 h 576"/>
                  <a:gd name="T34" fmla="*/ 576 w 576"/>
                  <a:gd name="T35" fmla="*/ 288 h 576"/>
                  <a:gd name="T36" fmla="*/ 570 w 576"/>
                  <a:gd name="T37" fmla="*/ 230 h 576"/>
                  <a:gd name="T38" fmla="*/ 540 w 576"/>
                  <a:gd name="T39" fmla="*/ 152 h 576"/>
                  <a:gd name="T40" fmla="*/ 492 w 576"/>
                  <a:gd name="T41" fmla="*/ 86 h 576"/>
                  <a:gd name="T42" fmla="*/ 426 w 576"/>
                  <a:gd name="T43" fmla="*/ 36 h 576"/>
                  <a:gd name="T44" fmla="*/ 348 w 576"/>
                  <a:gd name="T45" fmla="*/ 6 h 576"/>
                  <a:gd name="T46" fmla="*/ 290 w 576"/>
                  <a:gd name="T47" fmla="*/ 0 h 576"/>
                  <a:gd name="T48" fmla="*/ 274 w 576"/>
                  <a:gd name="T49" fmla="*/ 448 h 576"/>
                  <a:gd name="T50" fmla="*/ 226 w 576"/>
                  <a:gd name="T51" fmla="*/ 436 h 576"/>
                  <a:gd name="T52" fmla="*/ 186 w 576"/>
                  <a:gd name="T53" fmla="*/ 412 h 576"/>
                  <a:gd name="T54" fmla="*/ 156 w 576"/>
                  <a:gd name="T55" fmla="*/ 378 h 576"/>
                  <a:gd name="T56" fmla="*/ 134 w 576"/>
                  <a:gd name="T57" fmla="*/ 336 h 576"/>
                  <a:gd name="T58" fmla="*/ 128 w 576"/>
                  <a:gd name="T59" fmla="*/ 288 h 576"/>
                  <a:gd name="T60" fmla="*/ 130 w 576"/>
                  <a:gd name="T61" fmla="*/ 256 h 576"/>
                  <a:gd name="T62" fmla="*/ 146 w 576"/>
                  <a:gd name="T63" fmla="*/ 214 h 576"/>
                  <a:gd name="T64" fmla="*/ 176 w 576"/>
                  <a:gd name="T65" fmla="*/ 176 h 576"/>
                  <a:gd name="T66" fmla="*/ 212 w 576"/>
                  <a:gd name="T67" fmla="*/ 148 h 576"/>
                  <a:gd name="T68" fmla="*/ 258 w 576"/>
                  <a:gd name="T69" fmla="*/ 132 h 576"/>
                  <a:gd name="T70" fmla="*/ 290 w 576"/>
                  <a:gd name="T71" fmla="*/ 128 h 576"/>
                  <a:gd name="T72" fmla="*/ 336 w 576"/>
                  <a:gd name="T73" fmla="*/ 136 h 576"/>
                  <a:gd name="T74" fmla="*/ 378 w 576"/>
                  <a:gd name="T75" fmla="*/ 156 h 576"/>
                  <a:gd name="T76" fmla="*/ 412 w 576"/>
                  <a:gd name="T77" fmla="*/ 186 h 576"/>
                  <a:gd name="T78" fmla="*/ 434 w 576"/>
                  <a:gd name="T79" fmla="*/ 226 h 576"/>
                  <a:gd name="T80" fmla="*/ 446 w 576"/>
                  <a:gd name="T81" fmla="*/ 272 h 576"/>
                  <a:gd name="T82" fmla="*/ 446 w 576"/>
                  <a:gd name="T83" fmla="*/ 306 h 576"/>
                  <a:gd name="T84" fmla="*/ 434 w 576"/>
                  <a:gd name="T85" fmla="*/ 350 h 576"/>
                  <a:gd name="T86" fmla="*/ 412 w 576"/>
                  <a:gd name="T87" fmla="*/ 390 h 576"/>
                  <a:gd name="T88" fmla="*/ 378 w 576"/>
                  <a:gd name="T89" fmla="*/ 422 h 576"/>
                  <a:gd name="T90" fmla="*/ 336 w 576"/>
                  <a:gd name="T91" fmla="*/ 442 h 576"/>
                  <a:gd name="T92" fmla="*/ 290 w 576"/>
                  <a:gd name="T93" fmla="*/ 448 h 576"/>
                  <a:gd name="T94" fmla="*/ 290 w 576"/>
                  <a:gd name="T95" fmla="*/ 448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76" h="576">
                    <a:moveTo>
                      <a:pt x="290" y="0"/>
                    </a:moveTo>
                    <a:lnTo>
                      <a:pt x="290" y="0"/>
                    </a:lnTo>
                    <a:lnTo>
                      <a:pt x="262" y="2"/>
                    </a:lnTo>
                    <a:lnTo>
                      <a:pt x="232" y="6"/>
                    </a:lnTo>
                    <a:lnTo>
                      <a:pt x="206" y="14"/>
                    </a:lnTo>
                    <a:lnTo>
                      <a:pt x="180" y="22"/>
                    </a:lnTo>
                    <a:lnTo>
                      <a:pt x="154" y="34"/>
                    </a:lnTo>
                    <a:lnTo>
                      <a:pt x="130" y="50"/>
                    </a:lnTo>
                    <a:lnTo>
                      <a:pt x="106" y="66"/>
                    </a:lnTo>
                    <a:lnTo>
                      <a:pt x="84" y="86"/>
                    </a:lnTo>
                    <a:lnTo>
                      <a:pt x="84" y="86"/>
                    </a:lnTo>
                    <a:lnTo>
                      <a:pt x="66" y="106"/>
                    </a:lnTo>
                    <a:lnTo>
                      <a:pt x="48" y="130"/>
                    </a:lnTo>
                    <a:lnTo>
                      <a:pt x="34" y="154"/>
                    </a:lnTo>
                    <a:lnTo>
                      <a:pt x="22" y="178"/>
                    </a:lnTo>
                    <a:lnTo>
                      <a:pt x="12" y="206"/>
                    </a:lnTo>
                    <a:lnTo>
                      <a:pt x="4" y="232"/>
                    </a:lnTo>
                    <a:lnTo>
                      <a:pt x="0" y="260"/>
                    </a:lnTo>
                    <a:lnTo>
                      <a:pt x="0" y="288"/>
                    </a:lnTo>
                    <a:lnTo>
                      <a:pt x="0" y="288"/>
                    </a:lnTo>
                    <a:lnTo>
                      <a:pt x="0" y="318"/>
                    </a:lnTo>
                    <a:lnTo>
                      <a:pt x="4" y="346"/>
                    </a:lnTo>
                    <a:lnTo>
                      <a:pt x="12" y="372"/>
                    </a:lnTo>
                    <a:lnTo>
                      <a:pt x="22" y="398"/>
                    </a:lnTo>
                    <a:lnTo>
                      <a:pt x="34" y="424"/>
                    </a:lnTo>
                    <a:lnTo>
                      <a:pt x="48" y="448"/>
                    </a:lnTo>
                    <a:lnTo>
                      <a:pt x="66" y="470"/>
                    </a:lnTo>
                    <a:lnTo>
                      <a:pt x="84" y="492"/>
                    </a:lnTo>
                    <a:lnTo>
                      <a:pt x="84" y="492"/>
                    </a:lnTo>
                    <a:lnTo>
                      <a:pt x="106" y="512"/>
                    </a:lnTo>
                    <a:lnTo>
                      <a:pt x="130" y="528"/>
                    </a:lnTo>
                    <a:lnTo>
                      <a:pt x="154" y="542"/>
                    </a:lnTo>
                    <a:lnTo>
                      <a:pt x="180" y="554"/>
                    </a:lnTo>
                    <a:lnTo>
                      <a:pt x="206" y="564"/>
                    </a:lnTo>
                    <a:lnTo>
                      <a:pt x="234" y="572"/>
                    </a:lnTo>
                    <a:lnTo>
                      <a:pt x="262" y="576"/>
                    </a:lnTo>
                    <a:lnTo>
                      <a:pt x="290" y="576"/>
                    </a:lnTo>
                    <a:lnTo>
                      <a:pt x="290" y="576"/>
                    </a:lnTo>
                    <a:lnTo>
                      <a:pt x="318" y="576"/>
                    </a:lnTo>
                    <a:lnTo>
                      <a:pt x="348" y="570"/>
                    </a:lnTo>
                    <a:lnTo>
                      <a:pt x="374" y="564"/>
                    </a:lnTo>
                    <a:lnTo>
                      <a:pt x="400" y="554"/>
                    </a:lnTo>
                    <a:lnTo>
                      <a:pt x="426" y="542"/>
                    </a:lnTo>
                    <a:lnTo>
                      <a:pt x="450" y="528"/>
                    </a:lnTo>
                    <a:lnTo>
                      <a:pt x="472" y="510"/>
                    </a:lnTo>
                    <a:lnTo>
                      <a:pt x="492" y="492"/>
                    </a:lnTo>
                    <a:lnTo>
                      <a:pt x="510" y="472"/>
                    </a:lnTo>
                    <a:lnTo>
                      <a:pt x="526" y="450"/>
                    </a:lnTo>
                    <a:lnTo>
                      <a:pt x="540" y="426"/>
                    </a:lnTo>
                    <a:lnTo>
                      <a:pt x="552" y="400"/>
                    </a:lnTo>
                    <a:lnTo>
                      <a:pt x="562" y="374"/>
                    </a:lnTo>
                    <a:lnTo>
                      <a:pt x="570" y="346"/>
                    </a:lnTo>
                    <a:lnTo>
                      <a:pt x="574" y="318"/>
                    </a:lnTo>
                    <a:lnTo>
                      <a:pt x="576" y="288"/>
                    </a:lnTo>
                    <a:lnTo>
                      <a:pt x="576" y="288"/>
                    </a:lnTo>
                    <a:lnTo>
                      <a:pt x="574" y="260"/>
                    </a:lnTo>
                    <a:lnTo>
                      <a:pt x="570" y="230"/>
                    </a:lnTo>
                    <a:lnTo>
                      <a:pt x="562" y="204"/>
                    </a:lnTo>
                    <a:lnTo>
                      <a:pt x="552" y="176"/>
                    </a:lnTo>
                    <a:lnTo>
                      <a:pt x="540" y="152"/>
                    </a:lnTo>
                    <a:lnTo>
                      <a:pt x="526" y="128"/>
                    </a:lnTo>
                    <a:lnTo>
                      <a:pt x="510" y="106"/>
                    </a:lnTo>
                    <a:lnTo>
                      <a:pt x="492" y="86"/>
                    </a:lnTo>
                    <a:lnTo>
                      <a:pt x="472" y="66"/>
                    </a:lnTo>
                    <a:lnTo>
                      <a:pt x="450" y="50"/>
                    </a:lnTo>
                    <a:lnTo>
                      <a:pt x="426" y="36"/>
                    </a:lnTo>
                    <a:lnTo>
                      <a:pt x="400" y="24"/>
                    </a:lnTo>
                    <a:lnTo>
                      <a:pt x="374" y="14"/>
                    </a:lnTo>
                    <a:lnTo>
                      <a:pt x="348" y="6"/>
                    </a:lnTo>
                    <a:lnTo>
                      <a:pt x="318" y="2"/>
                    </a:lnTo>
                    <a:lnTo>
                      <a:pt x="290" y="0"/>
                    </a:lnTo>
                    <a:lnTo>
                      <a:pt x="290" y="0"/>
                    </a:lnTo>
                    <a:close/>
                    <a:moveTo>
                      <a:pt x="290" y="448"/>
                    </a:moveTo>
                    <a:lnTo>
                      <a:pt x="290" y="448"/>
                    </a:lnTo>
                    <a:lnTo>
                      <a:pt x="274" y="448"/>
                    </a:lnTo>
                    <a:lnTo>
                      <a:pt x="258" y="446"/>
                    </a:lnTo>
                    <a:lnTo>
                      <a:pt x="242" y="442"/>
                    </a:lnTo>
                    <a:lnTo>
                      <a:pt x="226" y="436"/>
                    </a:lnTo>
                    <a:lnTo>
                      <a:pt x="212" y="430"/>
                    </a:lnTo>
                    <a:lnTo>
                      <a:pt x="200" y="422"/>
                    </a:lnTo>
                    <a:lnTo>
                      <a:pt x="186" y="412"/>
                    </a:lnTo>
                    <a:lnTo>
                      <a:pt x="176" y="402"/>
                    </a:lnTo>
                    <a:lnTo>
                      <a:pt x="164" y="390"/>
                    </a:lnTo>
                    <a:lnTo>
                      <a:pt x="156" y="378"/>
                    </a:lnTo>
                    <a:lnTo>
                      <a:pt x="146" y="364"/>
                    </a:lnTo>
                    <a:lnTo>
                      <a:pt x="140" y="350"/>
                    </a:lnTo>
                    <a:lnTo>
                      <a:pt x="134" y="336"/>
                    </a:lnTo>
                    <a:lnTo>
                      <a:pt x="130" y="320"/>
                    </a:lnTo>
                    <a:lnTo>
                      <a:pt x="128" y="304"/>
                    </a:lnTo>
                    <a:lnTo>
                      <a:pt x="128" y="288"/>
                    </a:lnTo>
                    <a:lnTo>
                      <a:pt x="128" y="288"/>
                    </a:lnTo>
                    <a:lnTo>
                      <a:pt x="128" y="272"/>
                    </a:lnTo>
                    <a:lnTo>
                      <a:pt x="130" y="256"/>
                    </a:lnTo>
                    <a:lnTo>
                      <a:pt x="134" y="242"/>
                    </a:lnTo>
                    <a:lnTo>
                      <a:pt x="140" y="228"/>
                    </a:lnTo>
                    <a:lnTo>
                      <a:pt x="146" y="214"/>
                    </a:lnTo>
                    <a:lnTo>
                      <a:pt x="156" y="200"/>
                    </a:lnTo>
                    <a:lnTo>
                      <a:pt x="164" y="188"/>
                    </a:lnTo>
                    <a:lnTo>
                      <a:pt x="176" y="176"/>
                    </a:lnTo>
                    <a:lnTo>
                      <a:pt x="186" y="166"/>
                    </a:lnTo>
                    <a:lnTo>
                      <a:pt x="200" y="156"/>
                    </a:lnTo>
                    <a:lnTo>
                      <a:pt x="212" y="148"/>
                    </a:lnTo>
                    <a:lnTo>
                      <a:pt x="226" y="142"/>
                    </a:lnTo>
                    <a:lnTo>
                      <a:pt x="242" y="136"/>
                    </a:lnTo>
                    <a:lnTo>
                      <a:pt x="258" y="132"/>
                    </a:lnTo>
                    <a:lnTo>
                      <a:pt x="274" y="130"/>
                    </a:lnTo>
                    <a:lnTo>
                      <a:pt x="290" y="128"/>
                    </a:lnTo>
                    <a:lnTo>
                      <a:pt x="290" y="128"/>
                    </a:lnTo>
                    <a:lnTo>
                      <a:pt x="306" y="130"/>
                    </a:lnTo>
                    <a:lnTo>
                      <a:pt x="322" y="132"/>
                    </a:lnTo>
                    <a:lnTo>
                      <a:pt x="336" y="136"/>
                    </a:lnTo>
                    <a:lnTo>
                      <a:pt x="350" y="142"/>
                    </a:lnTo>
                    <a:lnTo>
                      <a:pt x="364" y="148"/>
                    </a:lnTo>
                    <a:lnTo>
                      <a:pt x="378" y="156"/>
                    </a:lnTo>
                    <a:lnTo>
                      <a:pt x="390" y="166"/>
                    </a:lnTo>
                    <a:lnTo>
                      <a:pt x="400" y="176"/>
                    </a:lnTo>
                    <a:lnTo>
                      <a:pt x="412" y="186"/>
                    </a:lnTo>
                    <a:lnTo>
                      <a:pt x="420" y="200"/>
                    </a:lnTo>
                    <a:lnTo>
                      <a:pt x="428" y="212"/>
                    </a:lnTo>
                    <a:lnTo>
                      <a:pt x="434" y="226"/>
                    </a:lnTo>
                    <a:lnTo>
                      <a:pt x="440" y="242"/>
                    </a:lnTo>
                    <a:lnTo>
                      <a:pt x="444" y="256"/>
                    </a:lnTo>
                    <a:lnTo>
                      <a:pt x="446" y="272"/>
                    </a:lnTo>
                    <a:lnTo>
                      <a:pt x="448" y="288"/>
                    </a:lnTo>
                    <a:lnTo>
                      <a:pt x="448" y="288"/>
                    </a:lnTo>
                    <a:lnTo>
                      <a:pt x="446" y="306"/>
                    </a:lnTo>
                    <a:lnTo>
                      <a:pt x="444" y="320"/>
                    </a:lnTo>
                    <a:lnTo>
                      <a:pt x="440" y="336"/>
                    </a:lnTo>
                    <a:lnTo>
                      <a:pt x="434" y="350"/>
                    </a:lnTo>
                    <a:lnTo>
                      <a:pt x="428" y="364"/>
                    </a:lnTo>
                    <a:lnTo>
                      <a:pt x="420" y="378"/>
                    </a:lnTo>
                    <a:lnTo>
                      <a:pt x="412" y="390"/>
                    </a:lnTo>
                    <a:lnTo>
                      <a:pt x="400" y="402"/>
                    </a:lnTo>
                    <a:lnTo>
                      <a:pt x="390" y="412"/>
                    </a:lnTo>
                    <a:lnTo>
                      <a:pt x="378" y="422"/>
                    </a:lnTo>
                    <a:lnTo>
                      <a:pt x="364" y="430"/>
                    </a:lnTo>
                    <a:lnTo>
                      <a:pt x="350" y="436"/>
                    </a:lnTo>
                    <a:lnTo>
                      <a:pt x="336" y="442"/>
                    </a:lnTo>
                    <a:lnTo>
                      <a:pt x="322" y="446"/>
                    </a:lnTo>
                    <a:lnTo>
                      <a:pt x="306" y="448"/>
                    </a:lnTo>
                    <a:lnTo>
                      <a:pt x="290" y="448"/>
                    </a:lnTo>
                    <a:lnTo>
                      <a:pt x="290" y="448"/>
                    </a:lnTo>
                    <a:close/>
                    <a:moveTo>
                      <a:pt x="290" y="448"/>
                    </a:moveTo>
                    <a:lnTo>
                      <a:pt x="290" y="4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44" name="Line 8">
                <a:extLst>
                  <a:ext uri="{FF2B5EF4-FFF2-40B4-BE49-F238E27FC236}">
                    <a16:creationId xmlns:a16="http://schemas.microsoft.com/office/drawing/2014/main" id="{7B931B66-BB76-4182-BCDA-1C98ED0F83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38" y="3103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45" name="Freeform 9">
                <a:extLst>
                  <a:ext uri="{FF2B5EF4-FFF2-40B4-BE49-F238E27FC236}">
                    <a16:creationId xmlns:a16="http://schemas.microsoft.com/office/drawing/2014/main" id="{E74ADA82-74B2-4EE3-B4AF-2A8471B99E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6" y="1679"/>
                <a:ext cx="650" cy="654"/>
              </a:xfrm>
              <a:custGeom>
                <a:avLst/>
                <a:gdLst>
                  <a:gd name="T0" fmla="*/ 436 w 650"/>
                  <a:gd name="T1" fmla="*/ 18 h 654"/>
                  <a:gd name="T2" fmla="*/ 436 w 650"/>
                  <a:gd name="T3" fmla="*/ 18 h 654"/>
                  <a:gd name="T4" fmla="*/ 426 w 650"/>
                  <a:gd name="T5" fmla="*/ 10 h 654"/>
                  <a:gd name="T6" fmla="*/ 416 w 650"/>
                  <a:gd name="T7" fmla="*/ 4 h 654"/>
                  <a:gd name="T8" fmla="*/ 404 w 650"/>
                  <a:gd name="T9" fmla="*/ 2 h 654"/>
                  <a:gd name="T10" fmla="*/ 392 w 650"/>
                  <a:gd name="T11" fmla="*/ 0 h 654"/>
                  <a:gd name="T12" fmla="*/ 64 w 650"/>
                  <a:gd name="T13" fmla="*/ 0 h 654"/>
                  <a:gd name="T14" fmla="*/ 64 w 650"/>
                  <a:gd name="T15" fmla="*/ 0 h 654"/>
                  <a:gd name="T16" fmla="*/ 52 w 650"/>
                  <a:gd name="T17" fmla="*/ 2 h 654"/>
                  <a:gd name="T18" fmla="*/ 40 w 650"/>
                  <a:gd name="T19" fmla="*/ 6 h 654"/>
                  <a:gd name="T20" fmla="*/ 28 w 650"/>
                  <a:gd name="T21" fmla="*/ 12 h 654"/>
                  <a:gd name="T22" fmla="*/ 20 w 650"/>
                  <a:gd name="T23" fmla="*/ 20 h 654"/>
                  <a:gd name="T24" fmla="*/ 12 w 650"/>
                  <a:gd name="T25" fmla="*/ 30 h 654"/>
                  <a:gd name="T26" fmla="*/ 6 w 650"/>
                  <a:gd name="T27" fmla="*/ 40 h 654"/>
                  <a:gd name="T28" fmla="*/ 2 w 650"/>
                  <a:gd name="T29" fmla="*/ 52 h 654"/>
                  <a:gd name="T30" fmla="*/ 0 w 650"/>
                  <a:gd name="T31" fmla="*/ 64 h 654"/>
                  <a:gd name="T32" fmla="*/ 0 w 650"/>
                  <a:gd name="T33" fmla="*/ 590 h 654"/>
                  <a:gd name="T34" fmla="*/ 0 w 650"/>
                  <a:gd name="T35" fmla="*/ 590 h 654"/>
                  <a:gd name="T36" fmla="*/ 2 w 650"/>
                  <a:gd name="T37" fmla="*/ 602 h 654"/>
                  <a:gd name="T38" fmla="*/ 6 w 650"/>
                  <a:gd name="T39" fmla="*/ 614 h 654"/>
                  <a:gd name="T40" fmla="*/ 12 w 650"/>
                  <a:gd name="T41" fmla="*/ 626 h 654"/>
                  <a:gd name="T42" fmla="*/ 20 w 650"/>
                  <a:gd name="T43" fmla="*/ 634 h 654"/>
                  <a:gd name="T44" fmla="*/ 28 w 650"/>
                  <a:gd name="T45" fmla="*/ 642 h 654"/>
                  <a:gd name="T46" fmla="*/ 40 w 650"/>
                  <a:gd name="T47" fmla="*/ 648 h 654"/>
                  <a:gd name="T48" fmla="*/ 52 w 650"/>
                  <a:gd name="T49" fmla="*/ 652 h 654"/>
                  <a:gd name="T50" fmla="*/ 64 w 650"/>
                  <a:gd name="T51" fmla="*/ 654 h 654"/>
                  <a:gd name="T52" fmla="*/ 586 w 650"/>
                  <a:gd name="T53" fmla="*/ 654 h 654"/>
                  <a:gd name="T54" fmla="*/ 586 w 650"/>
                  <a:gd name="T55" fmla="*/ 654 h 654"/>
                  <a:gd name="T56" fmla="*/ 598 w 650"/>
                  <a:gd name="T57" fmla="*/ 652 h 654"/>
                  <a:gd name="T58" fmla="*/ 610 w 650"/>
                  <a:gd name="T59" fmla="*/ 648 h 654"/>
                  <a:gd name="T60" fmla="*/ 622 w 650"/>
                  <a:gd name="T61" fmla="*/ 642 h 654"/>
                  <a:gd name="T62" fmla="*/ 630 w 650"/>
                  <a:gd name="T63" fmla="*/ 634 h 654"/>
                  <a:gd name="T64" fmla="*/ 638 w 650"/>
                  <a:gd name="T65" fmla="*/ 626 h 654"/>
                  <a:gd name="T66" fmla="*/ 644 w 650"/>
                  <a:gd name="T67" fmla="*/ 614 h 654"/>
                  <a:gd name="T68" fmla="*/ 648 w 650"/>
                  <a:gd name="T69" fmla="*/ 602 h 654"/>
                  <a:gd name="T70" fmla="*/ 650 w 650"/>
                  <a:gd name="T71" fmla="*/ 590 h 654"/>
                  <a:gd name="T72" fmla="*/ 650 w 650"/>
                  <a:gd name="T73" fmla="*/ 238 h 654"/>
                  <a:gd name="T74" fmla="*/ 650 w 650"/>
                  <a:gd name="T75" fmla="*/ 238 h 654"/>
                  <a:gd name="T76" fmla="*/ 648 w 650"/>
                  <a:gd name="T77" fmla="*/ 224 h 654"/>
                  <a:gd name="T78" fmla="*/ 644 w 650"/>
                  <a:gd name="T79" fmla="*/ 212 h 654"/>
                  <a:gd name="T80" fmla="*/ 638 w 650"/>
                  <a:gd name="T81" fmla="*/ 200 h 654"/>
                  <a:gd name="T82" fmla="*/ 628 w 650"/>
                  <a:gd name="T83" fmla="*/ 190 h 654"/>
                  <a:gd name="T84" fmla="*/ 436 w 650"/>
                  <a:gd name="T85" fmla="*/ 18 h 654"/>
                  <a:gd name="T86" fmla="*/ 522 w 650"/>
                  <a:gd name="T87" fmla="*/ 526 h 654"/>
                  <a:gd name="T88" fmla="*/ 128 w 650"/>
                  <a:gd name="T89" fmla="*/ 526 h 654"/>
                  <a:gd name="T90" fmla="*/ 128 w 650"/>
                  <a:gd name="T91" fmla="*/ 128 h 654"/>
                  <a:gd name="T92" fmla="*/ 368 w 650"/>
                  <a:gd name="T93" fmla="*/ 128 h 654"/>
                  <a:gd name="T94" fmla="*/ 522 w 650"/>
                  <a:gd name="T95" fmla="*/ 266 h 654"/>
                  <a:gd name="T96" fmla="*/ 522 w 650"/>
                  <a:gd name="T97" fmla="*/ 526 h 654"/>
                  <a:gd name="T98" fmla="*/ 522 w 650"/>
                  <a:gd name="T99" fmla="*/ 526 h 654"/>
                  <a:gd name="T100" fmla="*/ 522 w 650"/>
                  <a:gd name="T101" fmla="*/ 526 h 6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50" h="654">
                    <a:moveTo>
                      <a:pt x="436" y="18"/>
                    </a:moveTo>
                    <a:lnTo>
                      <a:pt x="436" y="18"/>
                    </a:lnTo>
                    <a:lnTo>
                      <a:pt x="426" y="10"/>
                    </a:lnTo>
                    <a:lnTo>
                      <a:pt x="416" y="4"/>
                    </a:lnTo>
                    <a:lnTo>
                      <a:pt x="404" y="2"/>
                    </a:lnTo>
                    <a:lnTo>
                      <a:pt x="392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52" y="2"/>
                    </a:lnTo>
                    <a:lnTo>
                      <a:pt x="40" y="6"/>
                    </a:lnTo>
                    <a:lnTo>
                      <a:pt x="28" y="12"/>
                    </a:lnTo>
                    <a:lnTo>
                      <a:pt x="20" y="20"/>
                    </a:lnTo>
                    <a:lnTo>
                      <a:pt x="12" y="30"/>
                    </a:lnTo>
                    <a:lnTo>
                      <a:pt x="6" y="40"/>
                    </a:lnTo>
                    <a:lnTo>
                      <a:pt x="2" y="52"/>
                    </a:lnTo>
                    <a:lnTo>
                      <a:pt x="0" y="64"/>
                    </a:lnTo>
                    <a:lnTo>
                      <a:pt x="0" y="590"/>
                    </a:lnTo>
                    <a:lnTo>
                      <a:pt x="0" y="590"/>
                    </a:lnTo>
                    <a:lnTo>
                      <a:pt x="2" y="602"/>
                    </a:lnTo>
                    <a:lnTo>
                      <a:pt x="6" y="614"/>
                    </a:lnTo>
                    <a:lnTo>
                      <a:pt x="12" y="626"/>
                    </a:lnTo>
                    <a:lnTo>
                      <a:pt x="20" y="634"/>
                    </a:lnTo>
                    <a:lnTo>
                      <a:pt x="28" y="642"/>
                    </a:lnTo>
                    <a:lnTo>
                      <a:pt x="40" y="648"/>
                    </a:lnTo>
                    <a:lnTo>
                      <a:pt x="52" y="652"/>
                    </a:lnTo>
                    <a:lnTo>
                      <a:pt x="64" y="654"/>
                    </a:lnTo>
                    <a:lnTo>
                      <a:pt x="586" y="654"/>
                    </a:lnTo>
                    <a:lnTo>
                      <a:pt x="586" y="654"/>
                    </a:lnTo>
                    <a:lnTo>
                      <a:pt x="598" y="652"/>
                    </a:lnTo>
                    <a:lnTo>
                      <a:pt x="610" y="648"/>
                    </a:lnTo>
                    <a:lnTo>
                      <a:pt x="622" y="642"/>
                    </a:lnTo>
                    <a:lnTo>
                      <a:pt x="630" y="634"/>
                    </a:lnTo>
                    <a:lnTo>
                      <a:pt x="638" y="626"/>
                    </a:lnTo>
                    <a:lnTo>
                      <a:pt x="644" y="614"/>
                    </a:lnTo>
                    <a:lnTo>
                      <a:pt x="648" y="602"/>
                    </a:lnTo>
                    <a:lnTo>
                      <a:pt x="650" y="590"/>
                    </a:lnTo>
                    <a:lnTo>
                      <a:pt x="650" y="238"/>
                    </a:lnTo>
                    <a:lnTo>
                      <a:pt x="650" y="238"/>
                    </a:lnTo>
                    <a:lnTo>
                      <a:pt x="648" y="224"/>
                    </a:lnTo>
                    <a:lnTo>
                      <a:pt x="644" y="212"/>
                    </a:lnTo>
                    <a:lnTo>
                      <a:pt x="638" y="200"/>
                    </a:lnTo>
                    <a:lnTo>
                      <a:pt x="628" y="190"/>
                    </a:lnTo>
                    <a:lnTo>
                      <a:pt x="436" y="18"/>
                    </a:lnTo>
                    <a:close/>
                    <a:moveTo>
                      <a:pt x="522" y="526"/>
                    </a:moveTo>
                    <a:lnTo>
                      <a:pt x="128" y="526"/>
                    </a:lnTo>
                    <a:lnTo>
                      <a:pt x="128" y="128"/>
                    </a:lnTo>
                    <a:lnTo>
                      <a:pt x="368" y="128"/>
                    </a:lnTo>
                    <a:lnTo>
                      <a:pt x="522" y="266"/>
                    </a:lnTo>
                    <a:lnTo>
                      <a:pt x="522" y="526"/>
                    </a:lnTo>
                    <a:close/>
                    <a:moveTo>
                      <a:pt x="522" y="526"/>
                    </a:moveTo>
                    <a:lnTo>
                      <a:pt x="522" y="5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48" name="Line 12">
                <a:extLst>
                  <a:ext uri="{FF2B5EF4-FFF2-40B4-BE49-F238E27FC236}">
                    <a16:creationId xmlns:a16="http://schemas.microsoft.com/office/drawing/2014/main" id="{E689903B-15D0-4EB2-BE73-2A040600F9C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98" y="2205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49" name="Freeform 13">
                <a:extLst>
                  <a:ext uri="{FF2B5EF4-FFF2-40B4-BE49-F238E27FC236}">
                    <a16:creationId xmlns:a16="http://schemas.microsoft.com/office/drawing/2014/main" id="{90F3F4B7-F083-483A-9F16-13F42122FF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84" y="2655"/>
                <a:ext cx="576" cy="576"/>
              </a:xfrm>
              <a:custGeom>
                <a:avLst/>
                <a:gdLst>
                  <a:gd name="T0" fmla="*/ 262 w 576"/>
                  <a:gd name="T1" fmla="*/ 2 h 576"/>
                  <a:gd name="T2" fmla="*/ 180 w 576"/>
                  <a:gd name="T3" fmla="*/ 22 h 576"/>
                  <a:gd name="T4" fmla="*/ 108 w 576"/>
                  <a:gd name="T5" fmla="*/ 66 h 576"/>
                  <a:gd name="T6" fmla="*/ 66 w 576"/>
                  <a:gd name="T7" fmla="*/ 106 h 576"/>
                  <a:gd name="T8" fmla="*/ 22 w 576"/>
                  <a:gd name="T9" fmla="*/ 178 h 576"/>
                  <a:gd name="T10" fmla="*/ 2 w 576"/>
                  <a:gd name="T11" fmla="*/ 260 h 576"/>
                  <a:gd name="T12" fmla="*/ 2 w 576"/>
                  <a:gd name="T13" fmla="*/ 318 h 576"/>
                  <a:gd name="T14" fmla="*/ 22 w 576"/>
                  <a:gd name="T15" fmla="*/ 398 h 576"/>
                  <a:gd name="T16" fmla="*/ 66 w 576"/>
                  <a:gd name="T17" fmla="*/ 470 h 576"/>
                  <a:gd name="T18" fmla="*/ 108 w 576"/>
                  <a:gd name="T19" fmla="*/ 512 h 576"/>
                  <a:gd name="T20" fmla="*/ 180 w 576"/>
                  <a:gd name="T21" fmla="*/ 554 h 576"/>
                  <a:gd name="T22" fmla="*/ 262 w 576"/>
                  <a:gd name="T23" fmla="*/ 576 h 576"/>
                  <a:gd name="T24" fmla="*/ 320 w 576"/>
                  <a:gd name="T25" fmla="*/ 576 h 576"/>
                  <a:gd name="T26" fmla="*/ 402 w 576"/>
                  <a:gd name="T27" fmla="*/ 554 h 576"/>
                  <a:gd name="T28" fmla="*/ 472 w 576"/>
                  <a:gd name="T29" fmla="*/ 510 h 576"/>
                  <a:gd name="T30" fmla="*/ 528 w 576"/>
                  <a:gd name="T31" fmla="*/ 450 h 576"/>
                  <a:gd name="T32" fmla="*/ 564 w 576"/>
                  <a:gd name="T33" fmla="*/ 374 h 576"/>
                  <a:gd name="T34" fmla="*/ 576 w 576"/>
                  <a:gd name="T35" fmla="*/ 288 h 576"/>
                  <a:gd name="T36" fmla="*/ 570 w 576"/>
                  <a:gd name="T37" fmla="*/ 230 h 576"/>
                  <a:gd name="T38" fmla="*/ 542 w 576"/>
                  <a:gd name="T39" fmla="*/ 152 h 576"/>
                  <a:gd name="T40" fmla="*/ 492 w 576"/>
                  <a:gd name="T41" fmla="*/ 86 h 576"/>
                  <a:gd name="T42" fmla="*/ 426 w 576"/>
                  <a:gd name="T43" fmla="*/ 36 h 576"/>
                  <a:gd name="T44" fmla="*/ 348 w 576"/>
                  <a:gd name="T45" fmla="*/ 6 h 576"/>
                  <a:gd name="T46" fmla="*/ 290 w 576"/>
                  <a:gd name="T47" fmla="*/ 0 h 576"/>
                  <a:gd name="T48" fmla="*/ 274 w 576"/>
                  <a:gd name="T49" fmla="*/ 448 h 576"/>
                  <a:gd name="T50" fmla="*/ 228 w 576"/>
                  <a:gd name="T51" fmla="*/ 436 h 576"/>
                  <a:gd name="T52" fmla="*/ 188 w 576"/>
                  <a:gd name="T53" fmla="*/ 412 h 576"/>
                  <a:gd name="T54" fmla="*/ 156 w 576"/>
                  <a:gd name="T55" fmla="*/ 378 h 576"/>
                  <a:gd name="T56" fmla="*/ 136 w 576"/>
                  <a:gd name="T57" fmla="*/ 336 h 576"/>
                  <a:gd name="T58" fmla="*/ 128 w 576"/>
                  <a:gd name="T59" fmla="*/ 288 h 576"/>
                  <a:gd name="T60" fmla="*/ 132 w 576"/>
                  <a:gd name="T61" fmla="*/ 256 h 576"/>
                  <a:gd name="T62" fmla="*/ 148 w 576"/>
                  <a:gd name="T63" fmla="*/ 214 h 576"/>
                  <a:gd name="T64" fmla="*/ 176 w 576"/>
                  <a:gd name="T65" fmla="*/ 176 h 576"/>
                  <a:gd name="T66" fmla="*/ 214 w 576"/>
                  <a:gd name="T67" fmla="*/ 148 h 576"/>
                  <a:gd name="T68" fmla="*/ 258 w 576"/>
                  <a:gd name="T69" fmla="*/ 132 h 576"/>
                  <a:gd name="T70" fmla="*/ 290 w 576"/>
                  <a:gd name="T71" fmla="*/ 128 h 576"/>
                  <a:gd name="T72" fmla="*/ 338 w 576"/>
                  <a:gd name="T73" fmla="*/ 136 h 576"/>
                  <a:gd name="T74" fmla="*/ 378 w 576"/>
                  <a:gd name="T75" fmla="*/ 156 h 576"/>
                  <a:gd name="T76" fmla="*/ 412 w 576"/>
                  <a:gd name="T77" fmla="*/ 186 h 576"/>
                  <a:gd name="T78" fmla="*/ 436 w 576"/>
                  <a:gd name="T79" fmla="*/ 226 h 576"/>
                  <a:gd name="T80" fmla="*/ 448 w 576"/>
                  <a:gd name="T81" fmla="*/ 272 h 576"/>
                  <a:gd name="T82" fmla="*/ 448 w 576"/>
                  <a:gd name="T83" fmla="*/ 306 h 576"/>
                  <a:gd name="T84" fmla="*/ 436 w 576"/>
                  <a:gd name="T85" fmla="*/ 350 h 576"/>
                  <a:gd name="T86" fmla="*/ 412 w 576"/>
                  <a:gd name="T87" fmla="*/ 390 h 576"/>
                  <a:gd name="T88" fmla="*/ 378 w 576"/>
                  <a:gd name="T89" fmla="*/ 422 h 576"/>
                  <a:gd name="T90" fmla="*/ 338 w 576"/>
                  <a:gd name="T91" fmla="*/ 442 h 576"/>
                  <a:gd name="T92" fmla="*/ 290 w 576"/>
                  <a:gd name="T93" fmla="*/ 448 h 576"/>
                  <a:gd name="T94" fmla="*/ 290 w 576"/>
                  <a:gd name="T95" fmla="*/ 448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76" h="576">
                    <a:moveTo>
                      <a:pt x="290" y="0"/>
                    </a:moveTo>
                    <a:lnTo>
                      <a:pt x="290" y="0"/>
                    </a:lnTo>
                    <a:lnTo>
                      <a:pt x="262" y="2"/>
                    </a:lnTo>
                    <a:lnTo>
                      <a:pt x="234" y="6"/>
                    </a:lnTo>
                    <a:lnTo>
                      <a:pt x="206" y="14"/>
                    </a:lnTo>
                    <a:lnTo>
                      <a:pt x="180" y="22"/>
                    </a:lnTo>
                    <a:lnTo>
                      <a:pt x="154" y="34"/>
                    </a:lnTo>
                    <a:lnTo>
                      <a:pt x="130" y="50"/>
                    </a:lnTo>
                    <a:lnTo>
                      <a:pt x="108" y="6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66" y="106"/>
                    </a:lnTo>
                    <a:lnTo>
                      <a:pt x="50" y="130"/>
                    </a:lnTo>
                    <a:lnTo>
                      <a:pt x="34" y="154"/>
                    </a:lnTo>
                    <a:lnTo>
                      <a:pt x="22" y="178"/>
                    </a:lnTo>
                    <a:lnTo>
                      <a:pt x="12" y="206"/>
                    </a:lnTo>
                    <a:lnTo>
                      <a:pt x="6" y="232"/>
                    </a:lnTo>
                    <a:lnTo>
                      <a:pt x="2" y="260"/>
                    </a:lnTo>
                    <a:lnTo>
                      <a:pt x="0" y="288"/>
                    </a:lnTo>
                    <a:lnTo>
                      <a:pt x="0" y="288"/>
                    </a:lnTo>
                    <a:lnTo>
                      <a:pt x="2" y="318"/>
                    </a:lnTo>
                    <a:lnTo>
                      <a:pt x="6" y="346"/>
                    </a:lnTo>
                    <a:lnTo>
                      <a:pt x="12" y="372"/>
                    </a:lnTo>
                    <a:lnTo>
                      <a:pt x="22" y="398"/>
                    </a:lnTo>
                    <a:lnTo>
                      <a:pt x="34" y="424"/>
                    </a:lnTo>
                    <a:lnTo>
                      <a:pt x="50" y="448"/>
                    </a:lnTo>
                    <a:lnTo>
                      <a:pt x="66" y="470"/>
                    </a:lnTo>
                    <a:lnTo>
                      <a:pt x="86" y="492"/>
                    </a:lnTo>
                    <a:lnTo>
                      <a:pt x="86" y="492"/>
                    </a:lnTo>
                    <a:lnTo>
                      <a:pt x="108" y="512"/>
                    </a:lnTo>
                    <a:lnTo>
                      <a:pt x="130" y="528"/>
                    </a:lnTo>
                    <a:lnTo>
                      <a:pt x="154" y="542"/>
                    </a:lnTo>
                    <a:lnTo>
                      <a:pt x="180" y="554"/>
                    </a:lnTo>
                    <a:lnTo>
                      <a:pt x="206" y="564"/>
                    </a:lnTo>
                    <a:lnTo>
                      <a:pt x="234" y="572"/>
                    </a:lnTo>
                    <a:lnTo>
                      <a:pt x="262" y="576"/>
                    </a:lnTo>
                    <a:lnTo>
                      <a:pt x="290" y="576"/>
                    </a:lnTo>
                    <a:lnTo>
                      <a:pt x="290" y="576"/>
                    </a:lnTo>
                    <a:lnTo>
                      <a:pt x="320" y="576"/>
                    </a:lnTo>
                    <a:lnTo>
                      <a:pt x="348" y="570"/>
                    </a:lnTo>
                    <a:lnTo>
                      <a:pt x="376" y="564"/>
                    </a:lnTo>
                    <a:lnTo>
                      <a:pt x="402" y="554"/>
                    </a:lnTo>
                    <a:lnTo>
                      <a:pt x="426" y="542"/>
                    </a:lnTo>
                    <a:lnTo>
                      <a:pt x="450" y="528"/>
                    </a:lnTo>
                    <a:lnTo>
                      <a:pt x="472" y="510"/>
                    </a:lnTo>
                    <a:lnTo>
                      <a:pt x="492" y="492"/>
                    </a:lnTo>
                    <a:lnTo>
                      <a:pt x="510" y="472"/>
                    </a:lnTo>
                    <a:lnTo>
                      <a:pt x="528" y="450"/>
                    </a:lnTo>
                    <a:lnTo>
                      <a:pt x="542" y="426"/>
                    </a:lnTo>
                    <a:lnTo>
                      <a:pt x="554" y="400"/>
                    </a:lnTo>
                    <a:lnTo>
                      <a:pt x="564" y="374"/>
                    </a:lnTo>
                    <a:lnTo>
                      <a:pt x="570" y="346"/>
                    </a:lnTo>
                    <a:lnTo>
                      <a:pt x="574" y="318"/>
                    </a:lnTo>
                    <a:lnTo>
                      <a:pt x="576" y="288"/>
                    </a:lnTo>
                    <a:lnTo>
                      <a:pt x="576" y="288"/>
                    </a:lnTo>
                    <a:lnTo>
                      <a:pt x="574" y="260"/>
                    </a:lnTo>
                    <a:lnTo>
                      <a:pt x="570" y="230"/>
                    </a:lnTo>
                    <a:lnTo>
                      <a:pt x="564" y="204"/>
                    </a:lnTo>
                    <a:lnTo>
                      <a:pt x="554" y="176"/>
                    </a:lnTo>
                    <a:lnTo>
                      <a:pt x="542" y="152"/>
                    </a:lnTo>
                    <a:lnTo>
                      <a:pt x="528" y="128"/>
                    </a:lnTo>
                    <a:lnTo>
                      <a:pt x="510" y="106"/>
                    </a:lnTo>
                    <a:lnTo>
                      <a:pt x="492" y="86"/>
                    </a:lnTo>
                    <a:lnTo>
                      <a:pt x="472" y="66"/>
                    </a:lnTo>
                    <a:lnTo>
                      <a:pt x="450" y="50"/>
                    </a:lnTo>
                    <a:lnTo>
                      <a:pt x="426" y="36"/>
                    </a:lnTo>
                    <a:lnTo>
                      <a:pt x="402" y="24"/>
                    </a:lnTo>
                    <a:lnTo>
                      <a:pt x="376" y="14"/>
                    </a:lnTo>
                    <a:lnTo>
                      <a:pt x="348" y="6"/>
                    </a:lnTo>
                    <a:lnTo>
                      <a:pt x="320" y="2"/>
                    </a:lnTo>
                    <a:lnTo>
                      <a:pt x="290" y="0"/>
                    </a:lnTo>
                    <a:lnTo>
                      <a:pt x="290" y="0"/>
                    </a:lnTo>
                    <a:close/>
                    <a:moveTo>
                      <a:pt x="290" y="448"/>
                    </a:moveTo>
                    <a:lnTo>
                      <a:pt x="290" y="448"/>
                    </a:lnTo>
                    <a:lnTo>
                      <a:pt x="274" y="448"/>
                    </a:lnTo>
                    <a:lnTo>
                      <a:pt x="258" y="446"/>
                    </a:lnTo>
                    <a:lnTo>
                      <a:pt x="242" y="442"/>
                    </a:lnTo>
                    <a:lnTo>
                      <a:pt x="228" y="436"/>
                    </a:lnTo>
                    <a:lnTo>
                      <a:pt x="214" y="430"/>
                    </a:lnTo>
                    <a:lnTo>
                      <a:pt x="200" y="422"/>
                    </a:lnTo>
                    <a:lnTo>
                      <a:pt x="188" y="412"/>
                    </a:lnTo>
                    <a:lnTo>
                      <a:pt x="176" y="402"/>
                    </a:lnTo>
                    <a:lnTo>
                      <a:pt x="166" y="390"/>
                    </a:lnTo>
                    <a:lnTo>
                      <a:pt x="156" y="378"/>
                    </a:lnTo>
                    <a:lnTo>
                      <a:pt x="148" y="364"/>
                    </a:lnTo>
                    <a:lnTo>
                      <a:pt x="142" y="350"/>
                    </a:lnTo>
                    <a:lnTo>
                      <a:pt x="136" y="336"/>
                    </a:lnTo>
                    <a:lnTo>
                      <a:pt x="132" y="320"/>
                    </a:lnTo>
                    <a:lnTo>
                      <a:pt x="130" y="304"/>
                    </a:lnTo>
                    <a:lnTo>
                      <a:pt x="128" y="288"/>
                    </a:lnTo>
                    <a:lnTo>
                      <a:pt x="128" y="288"/>
                    </a:lnTo>
                    <a:lnTo>
                      <a:pt x="130" y="272"/>
                    </a:lnTo>
                    <a:lnTo>
                      <a:pt x="132" y="256"/>
                    </a:lnTo>
                    <a:lnTo>
                      <a:pt x="136" y="242"/>
                    </a:lnTo>
                    <a:lnTo>
                      <a:pt x="142" y="228"/>
                    </a:lnTo>
                    <a:lnTo>
                      <a:pt x="148" y="214"/>
                    </a:lnTo>
                    <a:lnTo>
                      <a:pt x="156" y="200"/>
                    </a:lnTo>
                    <a:lnTo>
                      <a:pt x="166" y="188"/>
                    </a:lnTo>
                    <a:lnTo>
                      <a:pt x="176" y="176"/>
                    </a:lnTo>
                    <a:lnTo>
                      <a:pt x="188" y="166"/>
                    </a:lnTo>
                    <a:lnTo>
                      <a:pt x="200" y="156"/>
                    </a:lnTo>
                    <a:lnTo>
                      <a:pt x="214" y="148"/>
                    </a:lnTo>
                    <a:lnTo>
                      <a:pt x="228" y="142"/>
                    </a:lnTo>
                    <a:lnTo>
                      <a:pt x="242" y="136"/>
                    </a:lnTo>
                    <a:lnTo>
                      <a:pt x="258" y="132"/>
                    </a:lnTo>
                    <a:lnTo>
                      <a:pt x="274" y="130"/>
                    </a:lnTo>
                    <a:lnTo>
                      <a:pt x="290" y="128"/>
                    </a:lnTo>
                    <a:lnTo>
                      <a:pt x="290" y="128"/>
                    </a:lnTo>
                    <a:lnTo>
                      <a:pt x="306" y="130"/>
                    </a:lnTo>
                    <a:lnTo>
                      <a:pt x="322" y="132"/>
                    </a:lnTo>
                    <a:lnTo>
                      <a:pt x="338" y="136"/>
                    </a:lnTo>
                    <a:lnTo>
                      <a:pt x="352" y="142"/>
                    </a:lnTo>
                    <a:lnTo>
                      <a:pt x="366" y="148"/>
                    </a:lnTo>
                    <a:lnTo>
                      <a:pt x="378" y="156"/>
                    </a:lnTo>
                    <a:lnTo>
                      <a:pt x="390" y="166"/>
                    </a:lnTo>
                    <a:lnTo>
                      <a:pt x="402" y="176"/>
                    </a:lnTo>
                    <a:lnTo>
                      <a:pt x="412" y="186"/>
                    </a:lnTo>
                    <a:lnTo>
                      <a:pt x="422" y="200"/>
                    </a:lnTo>
                    <a:lnTo>
                      <a:pt x="430" y="212"/>
                    </a:lnTo>
                    <a:lnTo>
                      <a:pt x="436" y="226"/>
                    </a:lnTo>
                    <a:lnTo>
                      <a:pt x="442" y="242"/>
                    </a:lnTo>
                    <a:lnTo>
                      <a:pt x="444" y="256"/>
                    </a:lnTo>
                    <a:lnTo>
                      <a:pt x="448" y="272"/>
                    </a:lnTo>
                    <a:lnTo>
                      <a:pt x="448" y="288"/>
                    </a:lnTo>
                    <a:lnTo>
                      <a:pt x="448" y="288"/>
                    </a:lnTo>
                    <a:lnTo>
                      <a:pt x="448" y="306"/>
                    </a:lnTo>
                    <a:lnTo>
                      <a:pt x="444" y="320"/>
                    </a:lnTo>
                    <a:lnTo>
                      <a:pt x="442" y="336"/>
                    </a:lnTo>
                    <a:lnTo>
                      <a:pt x="436" y="350"/>
                    </a:lnTo>
                    <a:lnTo>
                      <a:pt x="430" y="364"/>
                    </a:lnTo>
                    <a:lnTo>
                      <a:pt x="422" y="378"/>
                    </a:lnTo>
                    <a:lnTo>
                      <a:pt x="412" y="390"/>
                    </a:lnTo>
                    <a:lnTo>
                      <a:pt x="402" y="402"/>
                    </a:lnTo>
                    <a:lnTo>
                      <a:pt x="390" y="412"/>
                    </a:lnTo>
                    <a:lnTo>
                      <a:pt x="378" y="422"/>
                    </a:lnTo>
                    <a:lnTo>
                      <a:pt x="366" y="430"/>
                    </a:lnTo>
                    <a:lnTo>
                      <a:pt x="352" y="436"/>
                    </a:lnTo>
                    <a:lnTo>
                      <a:pt x="338" y="442"/>
                    </a:lnTo>
                    <a:lnTo>
                      <a:pt x="322" y="446"/>
                    </a:lnTo>
                    <a:lnTo>
                      <a:pt x="306" y="448"/>
                    </a:lnTo>
                    <a:lnTo>
                      <a:pt x="290" y="448"/>
                    </a:lnTo>
                    <a:lnTo>
                      <a:pt x="290" y="448"/>
                    </a:lnTo>
                    <a:close/>
                    <a:moveTo>
                      <a:pt x="290" y="448"/>
                    </a:moveTo>
                    <a:lnTo>
                      <a:pt x="290" y="4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52" name="Line 16">
                <a:extLst>
                  <a:ext uri="{FF2B5EF4-FFF2-40B4-BE49-F238E27FC236}">
                    <a16:creationId xmlns:a16="http://schemas.microsoft.com/office/drawing/2014/main" id="{CE91775B-3FE4-4E82-8644-A9B2E26AFC3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74" y="3103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53" name="Freeform 17">
                <a:extLst>
                  <a:ext uri="{FF2B5EF4-FFF2-40B4-BE49-F238E27FC236}">
                    <a16:creationId xmlns:a16="http://schemas.microsoft.com/office/drawing/2014/main" id="{656AD809-1C89-4102-A6A9-0BBF039618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92" y="2501"/>
                <a:ext cx="320" cy="362"/>
              </a:xfrm>
              <a:custGeom>
                <a:avLst/>
                <a:gdLst>
                  <a:gd name="T0" fmla="*/ 256 w 320"/>
                  <a:gd name="T1" fmla="*/ 234 h 362"/>
                  <a:gd name="T2" fmla="*/ 128 w 320"/>
                  <a:gd name="T3" fmla="*/ 234 h 362"/>
                  <a:gd name="T4" fmla="*/ 128 w 320"/>
                  <a:gd name="T5" fmla="*/ 64 h 362"/>
                  <a:gd name="T6" fmla="*/ 128 w 320"/>
                  <a:gd name="T7" fmla="*/ 64 h 362"/>
                  <a:gd name="T8" fmla="*/ 126 w 320"/>
                  <a:gd name="T9" fmla="*/ 50 h 362"/>
                  <a:gd name="T10" fmla="*/ 122 w 320"/>
                  <a:gd name="T11" fmla="*/ 38 h 362"/>
                  <a:gd name="T12" fmla="*/ 116 w 320"/>
                  <a:gd name="T13" fmla="*/ 28 h 362"/>
                  <a:gd name="T14" fmla="*/ 108 w 320"/>
                  <a:gd name="T15" fmla="*/ 18 h 362"/>
                  <a:gd name="T16" fmla="*/ 98 w 320"/>
                  <a:gd name="T17" fmla="*/ 10 h 362"/>
                  <a:gd name="T18" fmla="*/ 88 w 320"/>
                  <a:gd name="T19" fmla="*/ 4 h 362"/>
                  <a:gd name="T20" fmla="*/ 76 w 320"/>
                  <a:gd name="T21" fmla="*/ 0 h 362"/>
                  <a:gd name="T22" fmla="*/ 64 w 320"/>
                  <a:gd name="T23" fmla="*/ 0 h 362"/>
                  <a:gd name="T24" fmla="*/ 64 w 320"/>
                  <a:gd name="T25" fmla="*/ 0 h 362"/>
                  <a:gd name="T26" fmla="*/ 50 w 320"/>
                  <a:gd name="T27" fmla="*/ 0 h 362"/>
                  <a:gd name="T28" fmla="*/ 38 w 320"/>
                  <a:gd name="T29" fmla="*/ 4 h 362"/>
                  <a:gd name="T30" fmla="*/ 28 w 320"/>
                  <a:gd name="T31" fmla="*/ 10 h 362"/>
                  <a:gd name="T32" fmla="*/ 18 w 320"/>
                  <a:gd name="T33" fmla="*/ 18 h 362"/>
                  <a:gd name="T34" fmla="*/ 10 w 320"/>
                  <a:gd name="T35" fmla="*/ 28 h 362"/>
                  <a:gd name="T36" fmla="*/ 4 w 320"/>
                  <a:gd name="T37" fmla="*/ 38 h 362"/>
                  <a:gd name="T38" fmla="*/ 0 w 320"/>
                  <a:gd name="T39" fmla="*/ 50 h 362"/>
                  <a:gd name="T40" fmla="*/ 0 w 320"/>
                  <a:gd name="T41" fmla="*/ 64 h 362"/>
                  <a:gd name="T42" fmla="*/ 0 w 320"/>
                  <a:gd name="T43" fmla="*/ 298 h 362"/>
                  <a:gd name="T44" fmla="*/ 0 w 320"/>
                  <a:gd name="T45" fmla="*/ 298 h 362"/>
                  <a:gd name="T46" fmla="*/ 0 w 320"/>
                  <a:gd name="T47" fmla="*/ 310 h 362"/>
                  <a:gd name="T48" fmla="*/ 4 w 320"/>
                  <a:gd name="T49" fmla="*/ 322 h 362"/>
                  <a:gd name="T50" fmla="*/ 10 w 320"/>
                  <a:gd name="T51" fmla="*/ 334 h 362"/>
                  <a:gd name="T52" fmla="*/ 18 w 320"/>
                  <a:gd name="T53" fmla="*/ 342 h 362"/>
                  <a:gd name="T54" fmla="*/ 28 w 320"/>
                  <a:gd name="T55" fmla="*/ 350 h 362"/>
                  <a:gd name="T56" fmla="*/ 38 w 320"/>
                  <a:gd name="T57" fmla="*/ 356 h 362"/>
                  <a:gd name="T58" fmla="*/ 50 w 320"/>
                  <a:gd name="T59" fmla="*/ 360 h 362"/>
                  <a:gd name="T60" fmla="*/ 64 w 320"/>
                  <a:gd name="T61" fmla="*/ 362 h 362"/>
                  <a:gd name="T62" fmla="*/ 256 w 320"/>
                  <a:gd name="T63" fmla="*/ 362 h 362"/>
                  <a:gd name="T64" fmla="*/ 256 w 320"/>
                  <a:gd name="T65" fmla="*/ 362 h 362"/>
                  <a:gd name="T66" fmla="*/ 268 w 320"/>
                  <a:gd name="T67" fmla="*/ 360 h 362"/>
                  <a:gd name="T68" fmla="*/ 280 w 320"/>
                  <a:gd name="T69" fmla="*/ 356 h 362"/>
                  <a:gd name="T70" fmla="*/ 292 w 320"/>
                  <a:gd name="T71" fmla="*/ 350 h 362"/>
                  <a:gd name="T72" fmla="*/ 302 w 320"/>
                  <a:gd name="T73" fmla="*/ 342 h 362"/>
                  <a:gd name="T74" fmla="*/ 308 w 320"/>
                  <a:gd name="T75" fmla="*/ 334 h 362"/>
                  <a:gd name="T76" fmla="*/ 314 w 320"/>
                  <a:gd name="T77" fmla="*/ 322 h 362"/>
                  <a:gd name="T78" fmla="*/ 318 w 320"/>
                  <a:gd name="T79" fmla="*/ 310 h 362"/>
                  <a:gd name="T80" fmla="*/ 320 w 320"/>
                  <a:gd name="T81" fmla="*/ 298 h 362"/>
                  <a:gd name="T82" fmla="*/ 320 w 320"/>
                  <a:gd name="T83" fmla="*/ 298 h 362"/>
                  <a:gd name="T84" fmla="*/ 318 w 320"/>
                  <a:gd name="T85" fmla="*/ 284 h 362"/>
                  <a:gd name="T86" fmla="*/ 314 w 320"/>
                  <a:gd name="T87" fmla="*/ 272 h 362"/>
                  <a:gd name="T88" fmla="*/ 308 w 320"/>
                  <a:gd name="T89" fmla="*/ 262 h 362"/>
                  <a:gd name="T90" fmla="*/ 302 w 320"/>
                  <a:gd name="T91" fmla="*/ 252 h 362"/>
                  <a:gd name="T92" fmla="*/ 292 w 320"/>
                  <a:gd name="T93" fmla="*/ 244 h 362"/>
                  <a:gd name="T94" fmla="*/ 280 w 320"/>
                  <a:gd name="T95" fmla="*/ 238 h 362"/>
                  <a:gd name="T96" fmla="*/ 268 w 320"/>
                  <a:gd name="T97" fmla="*/ 234 h 362"/>
                  <a:gd name="T98" fmla="*/ 256 w 320"/>
                  <a:gd name="T99" fmla="*/ 234 h 362"/>
                  <a:gd name="T100" fmla="*/ 256 w 320"/>
                  <a:gd name="T101" fmla="*/ 234 h 362"/>
                  <a:gd name="T102" fmla="*/ 256 w 320"/>
                  <a:gd name="T103" fmla="*/ 234 h 362"/>
                  <a:gd name="T104" fmla="*/ 256 w 320"/>
                  <a:gd name="T105" fmla="*/ 234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20" h="362">
                    <a:moveTo>
                      <a:pt x="256" y="234"/>
                    </a:moveTo>
                    <a:lnTo>
                      <a:pt x="128" y="234"/>
                    </a:lnTo>
                    <a:lnTo>
                      <a:pt x="128" y="64"/>
                    </a:lnTo>
                    <a:lnTo>
                      <a:pt x="128" y="64"/>
                    </a:lnTo>
                    <a:lnTo>
                      <a:pt x="126" y="50"/>
                    </a:lnTo>
                    <a:lnTo>
                      <a:pt x="122" y="38"/>
                    </a:lnTo>
                    <a:lnTo>
                      <a:pt x="116" y="28"/>
                    </a:lnTo>
                    <a:lnTo>
                      <a:pt x="108" y="18"/>
                    </a:lnTo>
                    <a:lnTo>
                      <a:pt x="98" y="10"/>
                    </a:lnTo>
                    <a:lnTo>
                      <a:pt x="88" y="4"/>
                    </a:lnTo>
                    <a:lnTo>
                      <a:pt x="76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50" y="0"/>
                    </a:lnTo>
                    <a:lnTo>
                      <a:pt x="38" y="4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0" y="50"/>
                    </a:lnTo>
                    <a:lnTo>
                      <a:pt x="0" y="64"/>
                    </a:lnTo>
                    <a:lnTo>
                      <a:pt x="0" y="298"/>
                    </a:lnTo>
                    <a:lnTo>
                      <a:pt x="0" y="298"/>
                    </a:lnTo>
                    <a:lnTo>
                      <a:pt x="0" y="310"/>
                    </a:lnTo>
                    <a:lnTo>
                      <a:pt x="4" y="322"/>
                    </a:lnTo>
                    <a:lnTo>
                      <a:pt x="10" y="334"/>
                    </a:lnTo>
                    <a:lnTo>
                      <a:pt x="18" y="342"/>
                    </a:lnTo>
                    <a:lnTo>
                      <a:pt x="28" y="350"/>
                    </a:lnTo>
                    <a:lnTo>
                      <a:pt x="38" y="356"/>
                    </a:lnTo>
                    <a:lnTo>
                      <a:pt x="50" y="360"/>
                    </a:lnTo>
                    <a:lnTo>
                      <a:pt x="64" y="362"/>
                    </a:lnTo>
                    <a:lnTo>
                      <a:pt x="256" y="362"/>
                    </a:lnTo>
                    <a:lnTo>
                      <a:pt x="256" y="362"/>
                    </a:lnTo>
                    <a:lnTo>
                      <a:pt x="268" y="360"/>
                    </a:lnTo>
                    <a:lnTo>
                      <a:pt x="280" y="356"/>
                    </a:lnTo>
                    <a:lnTo>
                      <a:pt x="292" y="350"/>
                    </a:lnTo>
                    <a:lnTo>
                      <a:pt x="302" y="342"/>
                    </a:lnTo>
                    <a:lnTo>
                      <a:pt x="308" y="334"/>
                    </a:lnTo>
                    <a:lnTo>
                      <a:pt x="314" y="322"/>
                    </a:lnTo>
                    <a:lnTo>
                      <a:pt x="318" y="310"/>
                    </a:lnTo>
                    <a:lnTo>
                      <a:pt x="320" y="298"/>
                    </a:lnTo>
                    <a:lnTo>
                      <a:pt x="320" y="298"/>
                    </a:lnTo>
                    <a:lnTo>
                      <a:pt x="318" y="284"/>
                    </a:lnTo>
                    <a:lnTo>
                      <a:pt x="314" y="272"/>
                    </a:lnTo>
                    <a:lnTo>
                      <a:pt x="308" y="262"/>
                    </a:lnTo>
                    <a:lnTo>
                      <a:pt x="302" y="252"/>
                    </a:lnTo>
                    <a:lnTo>
                      <a:pt x="292" y="244"/>
                    </a:lnTo>
                    <a:lnTo>
                      <a:pt x="280" y="238"/>
                    </a:lnTo>
                    <a:lnTo>
                      <a:pt x="268" y="234"/>
                    </a:lnTo>
                    <a:lnTo>
                      <a:pt x="256" y="234"/>
                    </a:lnTo>
                    <a:lnTo>
                      <a:pt x="256" y="234"/>
                    </a:lnTo>
                    <a:close/>
                    <a:moveTo>
                      <a:pt x="256" y="234"/>
                    </a:moveTo>
                    <a:lnTo>
                      <a:pt x="256" y="2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54" name="Freeform 18">
                <a:extLst>
                  <a:ext uri="{FF2B5EF4-FFF2-40B4-BE49-F238E27FC236}">
                    <a16:creationId xmlns:a16="http://schemas.microsoft.com/office/drawing/2014/main" id="{768A98E7-4194-4B2A-BB98-474D7C7E0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2" y="2501"/>
                <a:ext cx="320" cy="362"/>
              </a:xfrm>
              <a:custGeom>
                <a:avLst/>
                <a:gdLst>
                  <a:gd name="T0" fmla="*/ 256 w 320"/>
                  <a:gd name="T1" fmla="*/ 234 h 362"/>
                  <a:gd name="T2" fmla="*/ 128 w 320"/>
                  <a:gd name="T3" fmla="*/ 234 h 362"/>
                  <a:gd name="T4" fmla="*/ 128 w 320"/>
                  <a:gd name="T5" fmla="*/ 64 h 362"/>
                  <a:gd name="T6" fmla="*/ 128 w 320"/>
                  <a:gd name="T7" fmla="*/ 64 h 362"/>
                  <a:gd name="T8" fmla="*/ 126 w 320"/>
                  <a:gd name="T9" fmla="*/ 50 h 362"/>
                  <a:gd name="T10" fmla="*/ 122 w 320"/>
                  <a:gd name="T11" fmla="*/ 38 h 362"/>
                  <a:gd name="T12" fmla="*/ 116 w 320"/>
                  <a:gd name="T13" fmla="*/ 28 h 362"/>
                  <a:gd name="T14" fmla="*/ 108 w 320"/>
                  <a:gd name="T15" fmla="*/ 18 h 362"/>
                  <a:gd name="T16" fmla="*/ 98 w 320"/>
                  <a:gd name="T17" fmla="*/ 10 h 362"/>
                  <a:gd name="T18" fmla="*/ 88 w 320"/>
                  <a:gd name="T19" fmla="*/ 4 h 362"/>
                  <a:gd name="T20" fmla="*/ 76 w 320"/>
                  <a:gd name="T21" fmla="*/ 0 h 362"/>
                  <a:gd name="T22" fmla="*/ 64 w 320"/>
                  <a:gd name="T23" fmla="*/ 0 h 362"/>
                  <a:gd name="T24" fmla="*/ 64 w 320"/>
                  <a:gd name="T25" fmla="*/ 0 h 362"/>
                  <a:gd name="T26" fmla="*/ 50 w 320"/>
                  <a:gd name="T27" fmla="*/ 0 h 362"/>
                  <a:gd name="T28" fmla="*/ 38 w 320"/>
                  <a:gd name="T29" fmla="*/ 4 h 362"/>
                  <a:gd name="T30" fmla="*/ 28 w 320"/>
                  <a:gd name="T31" fmla="*/ 10 h 362"/>
                  <a:gd name="T32" fmla="*/ 18 w 320"/>
                  <a:gd name="T33" fmla="*/ 18 h 362"/>
                  <a:gd name="T34" fmla="*/ 10 w 320"/>
                  <a:gd name="T35" fmla="*/ 28 h 362"/>
                  <a:gd name="T36" fmla="*/ 4 w 320"/>
                  <a:gd name="T37" fmla="*/ 38 h 362"/>
                  <a:gd name="T38" fmla="*/ 0 w 320"/>
                  <a:gd name="T39" fmla="*/ 50 h 362"/>
                  <a:gd name="T40" fmla="*/ 0 w 320"/>
                  <a:gd name="T41" fmla="*/ 64 h 362"/>
                  <a:gd name="T42" fmla="*/ 0 w 320"/>
                  <a:gd name="T43" fmla="*/ 298 h 362"/>
                  <a:gd name="T44" fmla="*/ 0 w 320"/>
                  <a:gd name="T45" fmla="*/ 298 h 362"/>
                  <a:gd name="T46" fmla="*/ 0 w 320"/>
                  <a:gd name="T47" fmla="*/ 310 h 362"/>
                  <a:gd name="T48" fmla="*/ 4 w 320"/>
                  <a:gd name="T49" fmla="*/ 322 h 362"/>
                  <a:gd name="T50" fmla="*/ 10 w 320"/>
                  <a:gd name="T51" fmla="*/ 334 h 362"/>
                  <a:gd name="T52" fmla="*/ 18 w 320"/>
                  <a:gd name="T53" fmla="*/ 342 h 362"/>
                  <a:gd name="T54" fmla="*/ 28 w 320"/>
                  <a:gd name="T55" fmla="*/ 350 h 362"/>
                  <a:gd name="T56" fmla="*/ 38 w 320"/>
                  <a:gd name="T57" fmla="*/ 356 h 362"/>
                  <a:gd name="T58" fmla="*/ 50 w 320"/>
                  <a:gd name="T59" fmla="*/ 360 h 362"/>
                  <a:gd name="T60" fmla="*/ 64 w 320"/>
                  <a:gd name="T61" fmla="*/ 362 h 362"/>
                  <a:gd name="T62" fmla="*/ 256 w 320"/>
                  <a:gd name="T63" fmla="*/ 362 h 362"/>
                  <a:gd name="T64" fmla="*/ 256 w 320"/>
                  <a:gd name="T65" fmla="*/ 362 h 362"/>
                  <a:gd name="T66" fmla="*/ 268 w 320"/>
                  <a:gd name="T67" fmla="*/ 360 h 362"/>
                  <a:gd name="T68" fmla="*/ 280 w 320"/>
                  <a:gd name="T69" fmla="*/ 356 h 362"/>
                  <a:gd name="T70" fmla="*/ 292 w 320"/>
                  <a:gd name="T71" fmla="*/ 350 h 362"/>
                  <a:gd name="T72" fmla="*/ 302 w 320"/>
                  <a:gd name="T73" fmla="*/ 342 h 362"/>
                  <a:gd name="T74" fmla="*/ 308 w 320"/>
                  <a:gd name="T75" fmla="*/ 334 h 362"/>
                  <a:gd name="T76" fmla="*/ 314 w 320"/>
                  <a:gd name="T77" fmla="*/ 322 h 362"/>
                  <a:gd name="T78" fmla="*/ 318 w 320"/>
                  <a:gd name="T79" fmla="*/ 310 h 362"/>
                  <a:gd name="T80" fmla="*/ 320 w 320"/>
                  <a:gd name="T81" fmla="*/ 298 h 362"/>
                  <a:gd name="T82" fmla="*/ 320 w 320"/>
                  <a:gd name="T83" fmla="*/ 298 h 362"/>
                  <a:gd name="T84" fmla="*/ 318 w 320"/>
                  <a:gd name="T85" fmla="*/ 284 h 362"/>
                  <a:gd name="T86" fmla="*/ 314 w 320"/>
                  <a:gd name="T87" fmla="*/ 272 h 362"/>
                  <a:gd name="T88" fmla="*/ 308 w 320"/>
                  <a:gd name="T89" fmla="*/ 262 h 362"/>
                  <a:gd name="T90" fmla="*/ 302 w 320"/>
                  <a:gd name="T91" fmla="*/ 252 h 362"/>
                  <a:gd name="T92" fmla="*/ 292 w 320"/>
                  <a:gd name="T93" fmla="*/ 244 h 362"/>
                  <a:gd name="T94" fmla="*/ 280 w 320"/>
                  <a:gd name="T95" fmla="*/ 238 h 362"/>
                  <a:gd name="T96" fmla="*/ 268 w 320"/>
                  <a:gd name="T97" fmla="*/ 234 h 362"/>
                  <a:gd name="T98" fmla="*/ 256 w 320"/>
                  <a:gd name="T99" fmla="*/ 234 h 362"/>
                  <a:gd name="T100" fmla="*/ 256 w 320"/>
                  <a:gd name="T101" fmla="*/ 234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20" h="362">
                    <a:moveTo>
                      <a:pt x="256" y="234"/>
                    </a:moveTo>
                    <a:lnTo>
                      <a:pt x="128" y="234"/>
                    </a:lnTo>
                    <a:lnTo>
                      <a:pt x="128" y="64"/>
                    </a:lnTo>
                    <a:lnTo>
                      <a:pt x="128" y="64"/>
                    </a:lnTo>
                    <a:lnTo>
                      <a:pt x="126" y="50"/>
                    </a:lnTo>
                    <a:lnTo>
                      <a:pt x="122" y="38"/>
                    </a:lnTo>
                    <a:lnTo>
                      <a:pt x="116" y="28"/>
                    </a:lnTo>
                    <a:lnTo>
                      <a:pt x="108" y="18"/>
                    </a:lnTo>
                    <a:lnTo>
                      <a:pt x="98" y="10"/>
                    </a:lnTo>
                    <a:lnTo>
                      <a:pt x="88" y="4"/>
                    </a:lnTo>
                    <a:lnTo>
                      <a:pt x="76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50" y="0"/>
                    </a:lnTo>
                    <a:lnTo>
                      <a:pt x="38" y="4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0" y="50"/>
                    </a:lnTo>
                    <a:lnTo>
                      <a:pt x="0" y="64"/>
                    </a:lnTo>
                    <a:lnTo>
                      <a:pt x="0" y="298"/>
                    </a:lnTo>
                    <a:lnTo>
                      <a:pt x="0" y="298"/>
                    </a:lnTo>
                    <a:lnTo>
                      <a:pt x="0" y="310"/>
                    </a:lnTo>
                    <a:lnTo>
                      <a:pt x="4" y="322"/>
                    </a:lnTo>
                    <a:lnTo>
                      <a:pt x="10" y="334"/>
                    </a:lnTo>
                    <a:lnTo>
                      <a:pt x="18" y="342"/>
                    </a:lnTo>
                    <a:lnTo>
                      <a:pt x="28" y="350"/>
                    </a:lnTo>
                    <a:lnTo>
                      <a:pt x="38" y="356"/>
                    </a:lnTo>
                    <a:lnTo>
                      <a:pt x="50" y="360"/>
                    </a:lnTo>
                    <a:lnTo>
                      <a:pt x="64" y="362"/>
                    </a:lnTo>
                    <a:lnTo>
                      <a:pt x="256" y="362"/>
                    </a:lnTo>
                    <a:lnTo>
                      <a:pt x="256" y="362"/>
                    </a:lnTo>
                    <a:lnTo>
                      <a:pt x="268" y="360"/>
                    </a:lnTo>
                    <a:lnTo>
                      <a:pt x="280" y="356"/>
                    </a:lnTo>
                    <a:lnTo>
                      <a:pt x="292" y="350"/>
                    </a:lnTo>
                    <a:lnTo>
                      <a:pt x="302" y="342"/>
                    </a:lnTo>
                    <a:lnTo>
                      <a:pt x="308" y="334"/>
                    </a:lnTo>
                    <a:lnTo>
                      <a:pt x="314" y="322"/>
                    </a:lnTo>
                    <a:lnTo>
                      <a:pt x="318" y="310"/>
                    </a:lnTo>
                    <a:lnTo>
                      <a:pt x="320" y="298"/>
                    </a:lnTo>
                    <a:lnTo>
                      <a:pt x="320" y="298"/>
                    </a:lnTo>
                    <a:lnTo>
                      <a:pt x="318" y="284"/>
                    </a:lnTo>
                    <a:lnTo>
                      <a:pt x="314" y="272"/>
                    </a:lnTo>
                    <a:lnTo>
                      <a:pt x="308" y="262"/>
                    </a:lnTo>
                    <a:lnTo>
                      <a:pt x="302" y="252"/>
                    </a:lnTo>
                    <a:lnTo>
                      <a:pt x="292" y="244"/>
                    </a:lnTo>
                    <a:lnTo>
                      <a:pt x="280" y="238"/>
                    </a:lnTo>
                    <a:lnTo>
                      <a:pt x="268" y="234"/>
                    </a:lnTo>
                    <a:lnTo>
                      <a:pt x="256" y="234"/>
                    </a:lnTo>
                    <a:lnTo>
                      <a:pt x="256" y="234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55" name="Line 19">
                <a:extLst>
                  <a:ext uri="{FF2B5EF4-FFF2-40B4-BE49-F238E27FC236}">
                    <a16:creationId xmlns:a16="http://schemas.microsoft.com/office/drawing/2014/main" id="{93AD0958-2868-41E3-AD28-9CE8AED303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48" y="2735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58" name="Line 22">
                <a:extLst>
                  <a:ext uri="{FF2B5EF4-FFF2-40B4-BE49-F238E27FC236}">
                    <a16:creationId xmlns:a16="http://schemas.microsoft.com/office/drawing/2014/main" id="{587F781D-96F6-41FD-A534-20F9570973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72" y="2385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61" name="Line 25">
                <a:extLst>
                  <a:ext uri="{FF2B5EF4-FFF2-40B4-BE49-F238E27FC236}">
                    <a16:creationId xmlns:a16="http://schemas.microsoft.com/office/drawing/2014/main" id="{34FA0569-F0A5-4005-B9AB-C3EBDAAA32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62" y="2155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64" name="Line 28">
                <a:extLst>
                  <a:ext uri="{FF2B5EF4-FFF2-40B4-BE49-F238E27FC236}">
                    <a16:creationId xmlns:a16="http://schemas.microsoft.com/office/drawing/2014/main" id="{896E97F7-2AE4-498B-AB86-113015A208E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2" y="1865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65" name="Freeform 29">
                <a:extLst>
                  <a:ext uri="{FF2B5EF4-FFF2-40B4-BE49-F238E27FC236}">
                    <a16:creationId xmlns:a16="http://schemas.microsoft.com/office/drawing/2014/main" id="{B4C44C76-134B-4523-A9E1-8F2869181D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92" y="1089"/>
                <a:ext cx="2820" cy="1774"/>
              </a:xfrm>
              <a:custGeom>
                <a:avLst/>
                <a:gdLst>
                  <a:gd name="T0" fmla="*/ 2338 w 2820"/>
                  <a:gd name="T1" fmla="*/ 310 h 1774"/>
                  <a:gd name="T2" fmla="*/ 2308 w 2820"/>
                  <a:gd name="T3" fmla="*/ 296 h 1774"/>
                  <a:gd name="T4" fmla="*/ 1758 w 2820"/>
                  <a:gd name="T5" fmla="*/ 64 h 1774"/>
                  <a:gd name="T6" fmla="*/ 1752 w 2820"/>
                  <a:gd name="T7" fmla="*/ 40 h 1774"/>
                  <a:gd name="T8" fmla="*/ 1728 w 2820"/>
                  <a:gd name="T9" fmla="*/ 10 h 1774"/>
                  <a:gd name="T10" fmla="*/ 1694 w 2820"/>
                  <a:gd name="T11" fmla="*/ 0 h 1774"/>
                  <a:gd name="T12" fmla="*/ 50 w 2820"/>
                  <a:gd name="T13" fmla="*/ 2 h 1774"/>
                  <a:gd name="T14" fmla="*/ 18 w 2820"/>
                  <a:gd name="T15" fmla="*/ 18 h 1774"/>
                  <a:gd name="T16" fmla="*/ 0 w 2820"/>
                  <a:gd name="T17" fmla="*/ 52 h 1774"/>
                  <a:gd name="T18" fmla="*/ 0 w 2820"/>
                  <a:gd name="T19" fmla="*/ 532 h 1774"/>
                  <a:gd name="T20" fmla="*/ 10 w 2820"/>
                  <a:gd name="T21" fmla="*/ 568 h 1774"/>
                  <a:gd name="T22" fmla="*/ 38 w 2820"/>
                  <a:gd name="T23" fmla="*/ 592 h 1774"/>
                  <a:gd name="T24" fmla="*/ 64 w 2820"/>
                  <a:gd name="T25" fmla="*/ 596 h 1774"/>
                  <a:gd name="T26" fmla="*/ 98 w 2820"/>
                  <a:gd name="T27" fmla="*/ 586 h 1774"/>
                  <a:gd name="T28" fmla="*/ 122 w 2820"/>
                  <a:gd name="T29" fmla="*/ 558 h 1774"/>
                  <a:gd name="T30" fmla="*/ 128 w 2820"/>
                  <a:gd name="T31" fmla="*/ 128 h 1774"/>
                  <a:gd name="T32" fmla="*/ 1106 w 2820"/>
                  <a:gd name="T33" fmla="*/ 1646 h 1774"/>
                  <a:gd name="T34" fmla="*/ 1080 w 2820"/>
                  <a:gd name="T35" fmla="*/ 1650 h 1774"/>
                  <a:gd name="T36" fmla="*/ 1052 w 2820"/>
                  <a:gd name="T37" fmla="*/ 1674 h 1774"/>
                  <a:gd name="T38" fmla="*/ 1042 w 2820"/>
                  <a:gd name="T39" fmla="*/ 1710 h 1774"/>
                  <a:gd name="T40" fmla="*/ 1046 w 2820"/>
                  <a:gd name="T41" fmla="*/ 1734 h 1774"/>
                  <a:gd name="T42" fmla="*/ 1070 w 2820"/>
                  <a:gd name="T43" fmla="*/ 1762 h 1774"/>
                  <a:gd name="T44" fmla="*/ 1106 w 2820"/>
                  <a:gd name="T45" fmla="*/ 1774 h 1774"/>
                  <a:gd name="T46" fmla="*/ 1900 w 2820"/>
                  <a:gd name="T47" fmla="*/ 1772 h 1774"/>
                  <a:gd name="T48" fmla="*/ 1932 w 2820"/>
                  <a:gd name="T49" fmla="*/ 1754 h 1774"/>
                  <a:gd name="T50" fmla="*/ 1950 w 2820"/>
                  <a:gd name="T51" fmla="*/ 1722 h 1774"/>
                  <a:gd name="T52" fmla="*/ 1950 w 2820"/>
                  <a:gd name="T53" fmla="*/ 1696 h 1774"/>
                  <a:gd name="T54" fmla="*/ 1932 w 2820"/>
                  <a:gd name="T55" fmla="*/ 1664 h 1774"/>
                  <a:gd name="T56" fmla="*/ 1900 w 2820"/>
                  <a:gd name="T57" fmla="*/ 1646 h 1774"/>
                  <a:gd name="T58" fmla="*/ 1758 w 2820"/>
                  <a:gd name="T59" fmla="*/ 422 h 1774"/>
                  <a:gd name="T60" fmla="*/ 2686 w 2820"/>
                  <a:gd name="T61" fmla="*/ 1644 h 1774"/>
                  <a:gd name="T62" fmla="*/ 2608 w 2820"/>
                  <a:gd name="T63" fmla="*/ 1646 h 1774"/>
                  <a:gd name="T64" fmla="*/ 2574 w 2820"/>
                  <a:gd name="T65" fmla="*/ 1662 h 1774"/>
                  <a:gd name="T66" fmla="*/ 2558 w 2820"/>
                  <a:gd name="T67" fmla="*/ 1696 h 1774"/>
                  <a:gd name="T68" fmla="*/ 2558 w 2820"/>
                  <a:gd name="T69" fmla="*/ 1722 h 1774"/>
                  <a:gd name="T70" fmla="*/ 2574 w 2820"/>
                  <a:gd name="T71" fmla="*/ 1754 h 1774"/>
                  <a:gd name="T72" fmla="*/ 2608 w 2820"/>
                  <a:gd name="T73" fmla="*/ 1770 h 1774"/>
                  <a:gd name="T74" fmla="*/ 2750 w 2820"/>
                  <a:gd name="T75" fmla="*/ 1772 h 1774"/>
                  <a:gd name="T76" fmla="*/ 2786 w 2820"/>
                  <a:gd name="T77" fmla="*/ 1762 h 1774"/>
                  <a:gd name="T78" fmla="*/ 2808 w 2820"/>
                  <a:gd name="T79" fmla="*/ 1734 h 1774"/>
                  <a:gd name="T80" fmla="*/ 2820 w 2820"/>
                  <a:gd name="T81" fmla="*/ 738 h 1774"/>
                  <a:gd name="T82" fmla="*/ 2812 w 2820"/>
                  <a:gd name="T83" fmla="*/ 710 h 1774"/>
                  <a:gd name="T84" fmla="*/ 2796 w 2820"/>
                  <a:gd name="T85" fmla="*/ 688 h 17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820" h="1774">
                    <a:moveTo>
                      <a:pt x="2796" y="688"/>
                    </a:moveTo>
                    <a:lnTo>
                      <a:pt x="2338" y="310"/>
                    </a:lnTo>
                    <a:lnTo>
                      <a:pt x="2338" y="310"/>
                    </a:lnTo>
                    <a:lnTo>
                      <a:pt x="2328" y="302"/>
                    </a:lnTo>
                    <a:lnTo>
                      <a:pt x="2318" y="298"/>
                    </a:lnTo>
                    <a:lnTo>
                      <a:pt x="2308" y="296"/>
                    </a:lnTo>
                    <a:lnTo>
                      <a:pt x="2296" y="294"/>
                    </a:lnTo>
                    <a:lnTo>
                      <a:pt x="1758" y="294"/>
                    </a:lnTo>
                    <a:lnTo>
                      <a:pt x="1758" y="64"/>
                    </a:lnTo>
                    <a:lnTo>
                      <a:pt x="1758" y="64"/>
                    </a:lnTo>
                    <a:lnTo>
                      <a:pt x="1756" y="52"/>
                    </a:lnTo>
                    <a:lnTo>
                      <a:pt x="1752" y="40"/>
                    </a:lnTo>
                    <a:lnTo>
                      <a:pt x="1746" y="28"/>
                    </a:lnTo>
                    <a:lnTo>
                      <a:pt x="1738" y="18"/>
                    </a:lnTo>
                    <a:lnTo>
                      <a:pt x="1728" y="10"/>
                    </a:lnTo>
                    <a:lnTo>
                      <a:pt x="1718" y="6"/>
                    </a:lnTo>
                    <a:lnTo>
                      <a:pt x="1706" y="2"/>
                    </a:lnTo>
                    <a:lnTo>
                      <a:pt x="169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40"/>
                    </a:lnTo>
                    <a:lnTo>
                      <a:pt x="0" y="52"/>
                    </a:lnTo>
                    <a:lnTo>
                      <a:pt x="0" y="64"/>
                    </a:lnTo>
                    <a:lnTo>
                      <a:pt x="0" y="532"/>
                    </a:lnTo>
                    <a:lnTo>
                      <a:pt x="0" y="532"/>
                    </a:lnTo>
                    <a:lnTo>
                      <a:pt x="0" y="546"/>
                    </a:lnTo>
                    <a:lnTo>
                      <a:pt x="4" y="558"/>
                    </a:lnTo>
                    <a:lnTo>
                      <a:pt x="10" y="568"/>
                    </a:lnTo>
                    <a:lnTo>
                      <a:pt x="18" y="578"/>
                    </a:lnTo>
                    <a:lnTo>
                      <a:pt x="28" y="586"/>
                    </a:lnTo>
                    <a:lnTo>
                      <a:pt x="38" y="592"/>
                    </a:lnTo>
                    <a:lnTo>
                      <a:pt x="50" y="596"/>
                    </a:lnTo>
                    <a:lnTo>
                      <a:pt x="64" y="596"/>
                    </a:lnTo>
                    <a:lnTo>
                      <a:pt x="64" y="596"/>
                    </a:lnTo>
                    <a:lnTo>
                      <a:pt x="76" y="596"/>
                    </a:lnTo>
                    <a:lnTo>
                      <a:pt x="88" y="592"/>
                    </a:lnTo>
                    <a:lnTo>
                      <a:pt x="98" y="586"/>
                    </a:lnTo>
                    <a:lnTo>
                      <a:pt x="108" y="578"/>
                    </a:lnTo>
                    <a:lnTo>
                      <a:pt x="116" y="568"/>
                    </a:lnTo>
                    <a:lnTo>
                      <a:pt x="122" y="558"/>
                    </a:lnTo>
                    <a:lnTo>
                      <a:pt x="126" y="546"/>
                    </a:lnTo>
                    <a:lnTo>
                      <a:pt x="128" y="532"/>
                    </a:lnTo>
                    <a:lnTo>
                      <a:pt x="128" y="128"/>
                    </a:lnTo>
                    <a:lnTo>
                      <a:pt x="1630" y="128"/>
                    </a:lnTo>
                    <a:lnTo>
                      <a:pt x="1630" y="1646"/>
                    </a:lnTo>
                    <a:lnTo>
                      <a:pt x="1106" y="1646"/>
                    </a:lnTo>
                    <a:lnTo>
                      <a:pt x="1106" y="1646"/>
                    </a:lnTo>
                    <a:lnTo>
                      <a:pt x="1092" y="1646"/>
                    </a:lnTo>
                    <a:lnTo>
                      <a:pt x="1080" y="1650"/>
                    </a:lnTo>
                    <a:lnTo>
                      <a:pt x="1070" y="1656"/>
                    </a:lnTo>
                    <a:lnTo>
                      <a:pt x="1060" y="1664"/>
                    </a:lnTo>
                    <a:lnTo>
                      <a:pt x="1052" y="1674"/>
                    </a:lnTo>
                    <a:lnTo>
                      <a:pt x="1046" y="1684"/>
                    </a:lnTo>
                    <a:lnTo>
                      <a:pt x="1042" y="1696"/>
                    </a:lnTo>
                    <a:lnTo>
                      <a:pt x="1042" y="1710"/>
                    </a:lnTo>
                    <a:lnTo>
                      <a:pt x="1042" y="1710"/>
                    </a:lnTo>
                    <a:lnTo>
                      <a:pt x="1042" y="1722"/>
                    </a:lnTo>
                    <a:lnTo>
                      <a:pt x="1046" y="1734"/>
                    </a:lnTo>
                    <a:lnTo>
                      <a:pt x="1052" y="1746"/>
                    </a:lnTo>
                    <a:lnTo>
                      <a:pt x="1060" y="1754"/>
                    </a:lnTo>
                    <a:lnTo>
                      <a:pt x="1070" y="1762"/>
                    </a:lnTo>
                    <a:lnTo>
                      <a:pt x="1080" y="1768"/>
                    </a:lnTo>
                    <a:lnTo>
                      <a:pt x="1092" y="1772"/>
                    </a:lnTo>
                    <a:lnTo>
                      <a:pt x="1106" y="1774"/>
                    </a:lnTo>
                    <a:lnTo>
                      <a:pt x="1886" y="1774"/>
                    </a:lnTo>
                    <a:lnTo>
                      <a:pt x="1886" y="1774"/>
                    </a:lnTo>
                    <a:lnTo>
                      <a:pt x="1900" y="1772"/>
                    </a:lnTo>
                    <a:lnTo>
                      <a:pt x="1912" y="1768"/>
                    </a:lnTo>
                    <a:lnTo>
                      <a:pt x="1922" y="1762"/>
                    </a:lnTo>
                    <a:lnTo>
                      <a:pt x="1932" y="1754"/>
                    </a:lnTo>
                    <a:lnTo>
                      <a:pt x="1940" y="1746"/>
                    </a:lnTo>
                    <a:lnTo>
                      <a:pt x="1946" y="1734"/>
                    </a:lnTo>
                    <a:lnTo>
                      <a:pt x="1950" y="1722"/>
                    </a:lnTo>
                    <a:lnTo>
                      <a:pt x="1950" y="1710"/>
                    </a:lnTo>
                    <a:lnTo>
                      <a:pt x="1950" y="1710"/>
                    </a:lnTo>
                    <a:lnTo>
                      <a:pt x="1950" y="1696"/>
                    </a:lnTo>
                    <a:lnTo>
                      <a:pt x="1946" y="1684"/>
                    </a:lnTo>
                    <a:lnTo>
                      <a:pt x="1940" y="1674"/>
                    </a:lnTo>
                    <a:lnTo>
                      <a:pt x="1932" y="1664"/>
                    </a:lnTo>
                    <a:lnTo>
                      <a:pt x="1922" y="1656"/>
                    </a:lnTo>
                    <a:lnTo>
                      <a:pt x="1912" y="1650"/>
                    </a:lnTo>
                    <a:lnTo>
                      <a:pt x="1900" y="1646"/>
                    </a:lnTo>
                    <a:lnTo>
                      <a:pt x="1886" y="1646"/>
                    </a:lnTo>
                    <a:lnTo>
                      <a:pt x="1758" y="1646"/>
                    </a:lnTo>
                    <a:lnTo>
                      <a:pt x="1758" y="422"/>
                    </a:lnTo>
                    <a:lnTo>
                      <a:pt x="2274" y="422"/>
                    </a:lnTo>
                    <a:lnTo>
                      <a:pt x="2692" y="768"/>
                    </a:lnTo>
                    <a:lnTo>
                      <a:pt x="2686" y="1644"/>
                    </a:lnTo>
                    <a:lnTo>
                      <a:pt x="2620" y="1644"/>
                    </a:lnTo>
                    <a:lnTo>
                      <a:pt x="2620" y="1644"/>
                    </a:lnTo>
                    <a:lnTo>
                      <a:pt x="2608" y="1646"/>
                    </a:lnTo>
                    <a:lnTo>
                      <a:pt x="2596" y="1650"/>
                    </a:lnTo>
                    <a:lnTo>
                      <a:pt x="2584" y="1656"/>
                    </a:lnTo>
                    <a:lnTo>
                      <a:pt x="2574" y="1662"/>
                    </a:lnTo>
                    <a:lnTo>
                      <a:pt x="2566" y="1672"/>
                    </a:lnTo>
                    <a:lnTo>
                      <a:pt x="2562" y="1684"/>
                    </a:lnTo>
                    <a:lnTo>
                      <a:pt x="2558" y="1696"/>
                    </a:lnTo>
                    <a:lnTo>
                      <a:pt x="2556" y="1708"/>
                    </a:lnTo>
                    <a:lnTo>
                      <a:pt x="2556" y="1708"/>
                    </a:lnTo>
                    <a:lnTo>
                      <a:pt x="2558" y="1722"/>
                    </a:lnTo>
                    <a:lnTo>
                      <a:pt x="2562" y="1734"/>
                    </a:lnTo>
                    <a:lnTo>
                      <a:pt x="2566" y="1744"/>
                    </a:lnTo>
                    <a:lnTo>
                      <a:pt x="2574" y="1754"/>
                    </a:lnTo>
                    <a:lnTo>
                      <a:pt x="2584" y="1762"/>
                    </a:lnTo>
                    <a:lnTo>
                      <a:pt x="2596" y="1768"/>
                    </a:lnTo>
                    <a:lnTo>
                      <a:pt x="2608" y="1770"/>
                    </a:lnTo>
                    <a:lnTo>
                      <a:pt x="2620" y="1772"/>
                    </a:lnTo>
                    <a:lnTo>
                      <a:pt x="2750" y="1772"/>
                    </a:lnTo>
                    <a:lnTo>
                      <a:pt x="2750" y="1772"/>
                    </a:lnTo>
                    <a:lnTo>
                      <a:pt x="2762" y="1770"/>
                    </a:lnTo>
                    <a:lnTo>
                      <a:pt x="2774" y="1768"/>
                    </a:lnTo>
                    <a:lnTo>
                      <a:pt x="2786" y="1762"/>
                    </a:lnTo>
                    <a:lnTo>
                      <a:pt x="2796" y="1754"/>
                    </a:lnTo>
                    <a:lnTo>
                      <a:pt x="2802" y="1744"/>
                    </a:lnTo>
                    <a:lnTo>
                      <a:pt x="2808" y="1734"/>
                    </a:lnTo>
                    <a:lnTo>
                      <a:pt x="2812" y="1722"/>
                    </a:lnTo>
                    <a:lnTo>
                      <a:pt x="2814" y="1708"/>
                    </a:lnTo>
                    <a:lnTo>
                      <a:pt x="2820" y="738"/>
                    </a:lnTo>
                    <a:lnTo>
                      <a:pt x="2820" y="738"/>
                    </a:lnTo>
                    <a:lnTo>
                      <a:pt x="2818" y="724"/>
                    </a:lnTo>
                    <a:lnTo>
                      <a:pt x="2812" y="710"/>
                    </a:lnTo>
                    <a:lnTo>
                      <a:pt x="2806" y="698"/>
                    </a:lnTo>
                    <a:lnTo>
                      <a:pt x="2796" y="688"/>
                    </a:lnTo>
                    <a:lnTo>
                      <a:pt x="2796" y="688"/>
                    </a:lnTo>
                    <a:close/>
                    <a:moveTo>
                      <a:pt x="2796" y="688"/>
                    </a:moveTo>
                    <a:lnTo>
                      <a:pt x="2796" y="6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66" name="Freeform 30">
                <a:extLst>
                  <a:ext uri="{FF2B5EF4-FFF2-40B4-BE49-F238E27FC236}">
                    <a16:creationId xmlns:a16="http://schemas.microsoft.com/office/drawing/2014/main" id="{985F07FE-3258-419C-9FD3-95D73CD0B2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2" y="1089"/>
                <a:ext cx="2820" cy="1774"/>
              </a:xfrm>
              <a:custGeom>
                <a:avLst/>
                <a:gdLst>
                  <a:gd name="T0" fmla="*/ 2338 w 2820"/>
                  <a:gd name="T1" fmla="*/ 310 h 1774"/>
                  <a:gd name="T2" fmla="*/ 2308 w 2820"/>
                  <a:gd name="T3" fmla="*/ 296 h 1774"/>
                  <a:gd name="T4" fmla="*/ 1758 w 2820"/>
                  <a:gd name="T5" fmla="*/ 64 h 1774"/>
                  <a:gd name="T6" fmla="*/ 1752 w 2820"/>
                  <a:gd name="T7" fmla="*/ 40 h 1774"/>
                  <a:gd name="T8" fmla="*/ 1728 w 2820"/>
                  <a:gd name="T9" fmla="*/ 10 h 1774"/>
                  <a:gd name="T10" fmla="*/ 1694 w 2820"/>
                  <a:gd name="T11" fmla="*/ 0 h 1774"/>
                  <a:gd name="T12" fmla="*/ 50 w 2820"/>
                  <a:gd name="T13" fmla="*/ 2 h 1774"/>
                  <a:gd name="T14" fmla="*/ 18 w 2820"/>
                  <a:gd name="T15" fmla="*/ 18 h 1774"/>
                  <a:gd name="T16" fmla="*/ 0 w 2820"/>
                  <a:gd name="T17" fmla="*/ 52 h 1774"/>
                  <a:gd name="T18" fmla="*/ 0 w 2820"/>
                  <a:gd name="T19" fmla="*/ 532 h 1774"/>
                  <a:gd name="T20" fmla="*/ 10 w 2820"/>
                  <a:gd name="T21" fmla="*/ 568 h 1774"/>
                  <a:gd name="T22" fmla="*/ 38 w 2820"/>
                  <a:gd name="T23" fmla="*/ 592 h 1774"/>
                  <a:gd name="T24" fmla="*/ 64 w 2820"/>
                  <a:gd name="T25" fmla="*/ 596 h 1774"/>
                  <a:gd name="T26" fmla="*/ 98 w 2820"/>
                  <a:gd name="T27" fmla="*/ 586 h 1774"/>
                  <a:gd name="T28" fmla="*/ 122 w 2820"/>
                  <a:gd name="T29" fmla="*/ 558 h 1774"/>
                  <a:gd name="T30" fmla="*/ 128 w 2820"/>
                  <a:gd name="T31" fmla="*/ 128 h 1774"/>
                  <a:gd name="T32" fmla="*/ 1106 w 2820"/>
                  <a:gd name="T33" fmla="*/ 1646 h 1774"/>
                  <a:gd name="T34" fmla="*/ 1080 w 2820"/>
                  <a:gd name="T35" fmla="*/ 1650 h 1774"/>
                  <a:gd name="T36" fmla="*/ 1052 w 2820"/>
                  <a:gd name="T37" fmla="*/ 1674 h 1774"/>
                  <a:gd name="T38" fmla="*/ 1042 w 2820"/>
                  <a:gd name="T39" fmla="*/ 1710 h 1774"/>
                  <a:gd name="T40" fmla="*/ 1046 w 2820"/>
                  <a:gd name="T41" fmla="*/ 1734 h 1774"/>
                  <a:gd name="T42" fmla="*/ 1070 w 2820"/>
                  <a:gd name="T43" fmla="*/ 1762 h 1774"/>
                  <a:gd name="T44" fmla="*/ 1106 w 2820"/>
                  <a:gd name="T45" fmla="*/ 1774 h 1774"/>
                  <a:gd name="T46" fmla="*/ 1900 w 2820"/>
                  <a:gd name="T47" fmla="*/ 1772 h 1774"/>
                  <a:gd name="T48" fmla="*/ 1932 w 2820"/>
                  <a:gd name="T49" fmla="*/ 1754 h 1774"/>
                  <a:gd name="T50" fmla="*/ 1950 w 2820"/>
                  <a:gd name="T51" fmla="*/ 1722 h 1774"/>
                  <a:gd name="T52" fmla="*/ 1950 w 2820"/>
                  <a:gd name="T53" fmla="*/ 1696 h 1774"/>
                  <a:gd name="T54" fmla="*/ 1932 w 2820"/>
                  <a:gd name="T55" fmla="*/ 1664 h 1774"/>
                  <a:gd name="T56" fmla="*/ 1900 w 2820"/>
                  <a:gd name="T57" fmla="*/ 1646 h 1774"/>
                  <a:gd name="T58" fmla="*/ 1758 w 2820"/>
                  <a:gd name="T59" fmla="*/ 422 h 1774"/>
                  <a:gd name="T60" fmla="*/ 2686 w 2820"/>
                  <a:gd name="T61" fmla="*/ 1644 h 1774"/>
                  <a:gd name="T62" fmla="*/ 2608 w 2820"/>
                  <a:gd name="T63" fmla="*/ 1646 h 1774"/>
                  <a:gd name="T64" fmla="*/ 2574 w 2820"/>
                  <a:gd name="T65" fmla="*/ 1662 h 1774"/>
                  <a:gd name="T66" fmla="*/ 2558 w 2820"/>
                  <a:gd name="T67" fmla="*/ 1696 h 1774"/>
                  <a:gd name="T68" fmla="*/ 2558 w 2820"/>
                  <a:gd name="T69" fmla="*/ 1722 h 1774"/>
                  <a:gd name="T70" fmla="*/ 2574 w 2820"/>
                  <a:gd name="T71" fmla="*/ 1754 h 1774"/>
                  <a:gd name="T72" fmla="*/ 2608 w 2820"/>
                  <a:gd name="T73" fmla="*/ 1770 h 1774"/>
                  <a:gd name="T74" fmla="*/ 2750 w 2820"/>
                  <a:gd name="T75" fmla="*/ 1772 h 1774"/>
                  <a:gd name="T76" fmla="*/ 2786 w 2820"/>
                  <a:gd name="T77" fmla="*/ 1762 h 1774"/>
                  <a:gd name="T78" fmla="*/ 2808 w 2820"/>
                  <a:gd name="T79" fmla="*/ 1734 h 1774"/>
                  <a:gd name="T80" fmla="*/ 2820 w 2820"/>
                  <a:gd name="T81" fmla="*/ 738 h 1774"/>
                  <a:gd name="T82" fmla="*/ 2812 w 2820"/>
                  <a:gd name="T83" fmla="*/ 710 h 1774"/>
                  <a:gd name="T84" fmla="*/ 2796 w 2820"/>
                  <a:gd name="T85" fmla="*/ 688 h 17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820" h="1774">
                    <a:moveTo>
                      <a:pt x="2796" y="688"/>
                    </a:moveTo>
                    <a:lnTo>
                      <a:pt x="2338" y="310"/>
                    </a:lnTo>
                    <a:lnTo>
                      <a:pt x="2338" y="310"/>
                    </a:lnTo>
                    <a:lnTo>
                      <a:pt x="2328" y="302"/>
                    </a:lnTo>
                    <a:lnTo>
                      <a:pt x="2318" y="298"/>
                    </a:lnTo>
                    <a:lnTo>
                      <a:pt x="2308" y="296"/>
                    </a:lnTo>
                    <a:lnTo>
                      <a:pt x="2296" y="294"/>
                    </a:lnTo>
                    <a:lnTo>
                      <a:pt x="1758" y="294"/>
                    </a:lnTo>
                    <a:lnTo>
                      <a:pt x="1758" y="64"/>
                    </a:lnTo>
                    <a:lnTo>
                      <a:pt x="1758" y="64"/>
                    </a:lnTo>
                    <a:lnTo>
                      <a:pt x="1756" y="52"/>
                    </a:lnTo>
                    <a:lnTo>
                      <a:pt x="1752" y="40"/>
                    </a:lnTo>
                    <a:lnTo>
                      <a:pt x="1746" y="28"/>
                    </a:lnTo>
                    <a:lnTo>
                      <a:pt x="1738" y="18"/>
                    </a:lnTo>
                    <a:lnTo>
                      <a:pt x="1728" y="10"/>
                    </a:lnTo>
                    <a:lnTo>
                      <a:pt x="1718" y="6"/>
                    </a:lnTo>
                    <a:lnTo>
                      <a:pt x="1706" y="2"/>
                    </a:lnTo>
                    <a:lnTo>
                      <a:pt x="169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50" y="2"/>
                    </a:lnTo>
                    <a:lnTo>
                      <a:pt x="38" y="6"/>
                    </a:lnTo>
                    <a:lnTo>
                      <a:pt x="28" y="10"/>
                    </a:lnTo>
                    <a:lnTo>
                      <a:pt x="18" y="18"/>
                    </a:lnTo>
                    <a:lnTo>
                      <a:pt x="10" y="28"/>
                    </a:lnTo>
                    <a:lnTo>
                      <a:pt x="4" y="40"/>
                    </a:lnTo>
                    <a:lnTo>
                      <a:pt x="0" y="52"/>
                    </a:lnTo>
                    <a:lnTo>
                      <a:pt x="0" y="64"/>
                    </a:lnTo>
                    <a:lnTo>
                      <a:pt x="0" y="532"/>
                    </a:lnTo>
                    <a:lnTo>
                      <a:pt x="0" y="532"/>
                    </a:lnTo>
                    <a:lnTo>
                      <a:pt x="0" y="546"/>
                    </a:lnTo>
                    <a:lnTo>
                      <a:pt x="4" y="558"/>
                    </a:lnTo>
                    <a:lnTo>
                      <a:pt x="10" y="568"/>
                    </a:lnTo>
                    <a:lnTo>
                      <a:pt x="18" y="578"/>
                    </a:lnTo>
                    <a:lnTo>
                      <a:pt x="28" y="586"/>
                    </a:lnTo>
                    <a:lnTo>
                      <a:pt x="38" y="592"/>
                    </a:lnTo>
                    <a:lnTo>
                      <a:pt x="50" y="596"/>
                    </a:lnTo>
                    <a:lnTo>
                      <a:pt x="64" y="596"/>
                    </a:lnTo>
                    <a:lnTo>
                      <a:pt x="64" y="596"/>
                    </a:lnTo>
                    <a:lnTo>
                      <a:pt x="76" y="596"/>
                    </a:lnTo>
                    <a:lnTo>
                      <a:pt x="88" y="592"/>
                    </a:lnTo>
                    <a:lnTo>
                      <a:pt x="98" y="586"/>
                    </a:lnTo>
                    <a:lnTo>
                      <a:pt x="108" y="578"/>
                    </a:lnTo>
                    <a:lnTo>
                      <a:pt x="116" y="568"/>
                    </a:lnTo>
                    <a:lnTo>
                      <a:pt x="122" y="558"/>
                    </a:lnTo>
                    <a:lnTo>
                      <a:pt x="126" y="546"/>
                    </a:lnTo>
                    <a:lnTo>
                      <a:pt x="128" y="532"/>
                    </a:lnTo>
                    <a:lnTo>
                      <a:pt x="128" y="128"/>
                    </a:lnTo>
                    <a:lnTo>
                      <a:pt x="1630" y="128"/>
                    </a:lnTo>
                    <a:lnTo>
                      <a:pt x="1630" y="1646"/>
                    </a:lnTo>
                    <a:lnTo>
                      <a:pt x="1106" y="1646"/>
                    </a:lnTo>
                    <a:lnTo>
                      <a:pt x="1106" y="1646"/>
                    </a:lnTo>
                    <a:lnTo>
                      <a:pt x="1092" y="1646"/>
                    </a:lnTo>
                    <a:lnTo>
                      <a:pt x="1080" y="1650"/>
                    </a:lnTo>
                    <a:lnTo>
                      <a:pt x="1070" y="1656"/>
                    </a:lnTo>
                    <a:lnTo>
                      <a:pt x="1060" y="1664"/>
                    </a:lnTo>
                    <a:lnTo>
                      <a:pt x="1052" y="1674"/>
                    </a:lnTo>
                    <a:lnTo>
                      <a:pt x="1046" y="1684"/>
                    </a:lnTo>
                    <a:lnTo>
                      <a:pt x="1042" y="1696"/>
                    </a:lnTo>
                    <a:lnTo>
                      <a:pt x="1042" y="1710"/>
                    </a:lnTo>
                    <a:lnTo>
                      <a:pt x="1042" y="1710"/>
                    </a:lnTo>
                    <a:lnTo>
                      <a:pt x="1042" y="1722"/>
                    </a:lnTo>
                    <a:lnTo>
                      <a:pt x="1046" y="1734"/>
                    </a:lnTo>
                    <a:lnTo>
                      <a:pt x="1052" y="1746"/>
                    </a:lnTo>
                    <a:lnTo>
                      <a:pt x="1060" y="1754"/>
                    </a:lnTo>
                    <a:lnTo>
                      <a:pt x="1070" y="1762"/>
                    </a:lnTo>
                    <a:lnTo>
                      <a:pt x="1080" y="1768"/>
                    </a:lnTo>
                    <a:lnTo>
                      <a:pt x="1092" y="1772"/>
                    </a:lnTo>
                    <a:lnTo>
                      <a:pt x="1106" y="1774"/>
                    </a:lnTo>
                    <a:lnTo>
                      <a:pt x="1886" y="1774"/>
                    </a:lnTo>
                    <a:lnTo>
                      <a:pt x="1886" y="1774"/>
                    </a:lnTo>
                    <a:lnTo>
                      <a:pt x="1900" y="1772"/>
                    </a:lnTo>
                    <a:lnTo>
                      <a:pt x="1912" y="1768"/>
                    </a:lnTo>
                    <a:lnTo>
                      <a:pt x="1922" y="1762"/>
                    </a:lnTo>
                    <a:lnTo>
                      <a:pt x="1932" y="1754"/>
                    </a:lnTo>
                    <a:lnTo>
                      <a:pt x="1940" y="1746"/>
                    </a:lnTo>
                    <a:lnTo>
                      <a:pt x="1946" y="1734"/>
                    </a:lnTo>
                    <a:lnTo>
                      <a:pt x="1950" y="1722"/>
                    </a:lnTo>
                    <a:lnTo>
                      <a:pt x="1950" y="1710"/>
                    </a:lnTo>
                    <a:lnTo>
                      <a:pt x="1950" y="1710"/>
                    </a:lnTo>
                    <a:lnTo>
                      <a:pt x="1950" y="1696"/>
                    </a:lnTo>
                    <a:lnTo>
                      <a:pt x="1946" y="1684"/>
                    </a:lnTo>
                    <a:lnTo>
                      <a:pt x="1940" y="1674"/>
                    </a:lnTo>
                    <a:lnTo>
                      <a:pt x="1932" y="1664"/>
                    </a:lnTo>
                    <a:lnTo>
                      <a:pt x="1922" y="1656"/>
                    </a:lnTo>
                    <a:lnTo>
                      <a:pt x="1912" y="1650"/>
                    </a:lnTo>
                    <a:lnTo>
                      <a:pt x="1900" y="1646"/>
                    </a:lnTo>
                    <a:lnTo>
                      <a:pt x="1886" y="1646"/>
                    </a:lnTo>
                    <a:lnTo>
                      <a:pt x="1758" y="1646"/>
                    </a:lnTo>
                    <a:lnTo>
                      <a:pt x="1758" y="422"/>
                    </a:lnTo>
                    <a:lnTo>
                      <a:pt x="2274" y="422"/>
                    </a:lnTo>
                    <a:lnTo>
                      <a:pt x="2692" y="768"/>
                    </a:lnTo>
                    <a:lnTo>
                      <a:pt x="2686" y="1644"/>
                    </a:lnTo>
                    <a:lnTo>
                      <a:pt x="2620" y="1644"/>
                    </a:lnTo>
                    <a:lnTo>
                      <a:pt x="2620" y="1644"/>
                    </a:lnTo>
                    <a:lnTo>
                      <a:pt x="2608" y="1646"/>
                    </a:lnTo>
                    <a:lnTo>
                      <a:pt x="2596" y="1650"/>
                    </a:lnTo>
                    <a:lnTo>
                      <a:pt x="2584" y="1656"/>
                    </a:lnTo>
                    <a:lnTo>
                      <a:pt x="2574" y="1662"/>
                    </a:lnTo>
                    <a:lnTo>
                      <a:pt x="2566" y="1672"/>
                    </a:lnTo>
                    <a:lnTo>
                      <a:pt x="2562" y="1684"/>
                    </a:lnTo>
                    <a:lnTo>
                      <a:pt x="2558" y="1696"/>
                    </a:lnTo>
                    <a:lnTo>
                      <a:pt x="2556" y="1708"/>
                    </a:lnTo>
                    <a:lnTo>
                      <a:pt x="2556" y="1708"/>
                    </a:lnTo>
                    <a:lnTo>
                      <a:pt x="2558" y="1722"/>
                    </a:lnTo>
                    <a:lnTo>
                      <a:pt x="2562" y="1734"/>
                    </a:lnTo>
                    <a:lnTo>
                      <a:pt x="2566" y="1744"/>
                    </a:lnTo>
                    <a:lnTo>
                      <a:pt x="2574" y="1754"/>
                    </a:lnTo>
                    <a:lnTo>
                      <a:pt x="2584" y="1762"/>
                    </a:lnTo>
                    <a:lnTo>
                      <a:pt x="2596" y="1768"/>
                    </a:lnTo>
                    <a:lnTo>
                      <a:pt x="2608" y="1770"/>
                    </a:lnTo>
                    <a:lnTo>
                      <a:pt x="2620" y="1772"/>
                    </a:lnTo>
                    <a:lnTo>
                      <a:pt x="2750" y="1772"/>
                    </a:lnTo>
                    <a:lnTo>
                      <a:pt x="2750" y="1772"/>
                    </a:lnTo>
                    <a:lnTo>
                      <a:pt x="2762" y="1770"/>
                    </a:lnTo>
                    <a:lnTo>
                      <a:pt x="2774" y="1768"/>
                    </a:lnTo>
                    <a:lnTo>
                      <a:pt x="2786" y="1762"/>
                    </a:lnTo>
                    <a:lnTo>
                      <a:pt x="2796" y="1754"/>
                    </a:lnTo>
                    <a:lnTo>
                      <a:pt x="2802" y="1744"/>
                    </a:lnTo>
                    <a:lnTo>
                      <a:pt x="2808" y="1734"/>
                    </a:lnTo>
                    <a:lnTo>
                      <a:pt x="2812" y="1722"/>
                    </a:lnTo>
                    <a:lnTo>
                      <a:pt x="2814" y="1708"/>
                    </a:lnTo>
                    <a:lnTo>
                      <a:pt x="2820" y="738"/>
                    </a:lnTo>
                    <a:lnTo>
                      <a:pt x="2820" y="738"/>
                    </a:lnTo>
                    <a:lnTo>
                      <a:pt x="2818" y="724"/>
                    </a:lnTo>
                    <a:lnTo>
                      <a:pt x="2812" y="710"/>
                    </a:lnTo>
                    <a:lnTo>
                      <a:pt x="2806" y="698"/>
                    </a:lnTo>
                    <a:lnTo>
                      <a:pt x="2796" y="688"/>
                    </a:lnTo>
                    <a:lnTo>
                      <a:pt x="2796" y="688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567" name="Line 31">
                <a:extLst>
                  <a:ext uri="{FF2B5EF4-FFF2-40B4-BE49-F238E27FC236}">
                    <a16:creationId xmlns:a16="http://schemas.microsoft.com/office/drawing/2014/main" id="{AB83AB8B-9023-4AAE-971C-16052C0DDA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388" y="1777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</p:grpSp>
      <p:grpSp>
        <p:nvGrpSpPr>
          <p:cNvPr id="7" name="Group 4">
            <a:extLst>
              <a:ext uri="{FF2B5EF4-FFF2-40B4-BE49-F238E27FC236}">
                <a16:creationId xmlns:a16="http://schemas.microsoft.com/office/drawing/2014/main" id="{51E03529-C547-4EAC-8FB6-3029BC67D52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8708" y="3399845"/>
            <a:ext cx="627315" cy="427581"/>
            <a:chOff x="2345" y="1141"/>
            <a:chExt cx="2990" cy="2038"/>
          </a:xfrm>
          <a:solidFill>
            <a:schemeClr val="accent2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59445869-6E17-468A-BF1F-B93A608195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5" y="1573"/>
              <a:ext cx="1312" cy="310"/>
            </a:xfrm>
            <a:custGeom>
              <a:avLst/>
              <a:gdLst>
                <a:gd name="T0" fmla="*/ 1306 w 1312"/>
                <a:gd name="T1" fmla="*/ 270 h 310"/>
                <a:gd name="T2" fmla="*/ 1238 w 1312"/>
                <a:gd name="T3" fmla="*/ 208 h 310"/>
                <a:gd name="T4" fmla="*/ 1166 w 1312"/>
                <a:gd name="T5" fmla="*/ 154 h 310"/>
                <a:gd name="T6" fmla="*/ 1088 w 1312"/>
                <a:gd name="T7" fmla="*/ 108 h 310"/>
                <a:gd name="T8" fmla="*/ 1008 w 1312"/>
                <a:gd name="T9" fmla="*/ 70 h 310"/>
                <a:gd name="T10" fmla="*/ 924 w 1312"/>
                <a:gd name="T11" fmla="*/ 40 h 310"/>
                <a:gd name="T12" fmla="*/ 836 w 1312"/>
                <a:gd name="T13" fmla="*/ 18 h 310"/>
                <a:gd name="T14" fmla="*/ 748 w 1312"/>
                <a:gd name="T15" fmla="*/ 6 h 310"/>
                <a:gd name="T16" fmla="*/ 656 w 1312"/>
                <a:gd name="T17" fmla="*/ 0 h 310"/>
                <a:gd name="T18" fmla="*/ 610 w 1312"/>
                <a:gd name="T19" fmla="*/ 2 h 310"/>
                <a:gd name="T20" fmla="*/ 520 w 1312"/>
                <a:gd name="T21" fmla="*/ 10 h 310"/>
                <a:gd name="T22" fmla="*/ 432 w 1312"/>
                <a:gd name="T23" fmla="*/ 28 h 310"/>
                <a:gd name="T24" fmla="*/ 346 w 1312"/>
                <a:gd name="T25" fmla="*/ 54 h 310"/>
                <a:gd name="T26" fmla="*/ 264 w 1312"/>
                <a:gd name="T27" fmla="*/ 88 h 310"/>
                <a:gd name="T28" fmla="*/ 186 w 1312"/>
                <a:gd name="T29" fmla="*/ 130 h 310"/>
                <a:gd name="T30" fmla="*/ 110 w 1312"/>
                <a:gd name="T31" fmla="*/ 180 h 310"/>
                <a:gd name="T32" fmla="*/ 40 w 1312"/>
                <a:gd name="T33" fmla="*/ 238 h 310"/>
                <a:gd name="T34" fmla="*/ 8 w 1312"/>
                <a:gd name="T35" fmla="*/ 270 h 310"/>
                <a:gd name="T36" fmla="*/ 0 w 1312"/>
                <a:gd name="T37" fmla="*/ 286 h 310"/>
                <a:gd name="T38" fmla="*/ 8 w 1312"/>
                <a:gd name="T39" fmla="*/ 302 h 310"/>
                <a:gd name="T40" fmla="*/ 16 w 1312"/>
                <a:gd name="T41" fmla="*/ 308 h 310"/>
                <a:gd name="T42" fmla="*/ 34 w 1312"/>
                <a:gd name="T43" fmla="*/ 308 h 310"/>
                <a:gd name="T44" fmla="*/ 42 w 1312"/>
                <a:gd name="T45" fmla="*/ 302 h 310"/>
                <a:gd name="T46" fmla="*/ 106 w 1312"/>
                <a:gd name="T47" fmla="*/ 244 h 310"/>
                <a:gd name="T48" fmla="*/ 174 w 1312"/>
                <a:gd name="T49" fmla="*/ 194 h 310"/>
                <a:gd name="T50" fmla="*/ 246 w 1312"/>
                <a:gd name="T51" fmla="*/ 150 h 310"/>
                <a:gd name="T52" fmla="*/ 322 w 1312"/>
                <a:gd name="T53" fmla="*/ 114 h 310"/>
                <a:gd name="T54" fmla="*/ 402 w 1312"/>
                <a:gd name="T55" fmla="*/ 86 h 310"/>
                <a:gd name="T56" fmla="*/ 486 w 1312"/>
                <a:gd name="T57" fmla="*/ 66 h 310"/>
                <a:gd name="T58" fmla="*/ 570 w 1312"/>
                <a:gd name="T59" fmla="*/ 52 h 310"/>
                <a:gd name="T60" fmla="*/ 656 w 1312"/>
                <a:gd name="T61" fmla="*/ 48 h 310"/>
                <a:gd name="T62" fmla="*/ 700 w 1312"/>
                <a:gd name="T63" fmla="*/ 50 h 310"/>
                <a:gd name="T64" fmla="*/ 786 w 1312"/>
                <a:gd name="T65" fmla="*/ 58 h 310"/>
                <a:gd name="T66" fmla="*/ 870 w 1312"/>
                <a:gd name="T67" fmla="*/ 74 h 310"/>
                <a:gd name="T68" fmla="*/ 950 w 1312"/>
                <a:gd name="T69" fmla="*/ 98 h 310"/>
                <a:gd name="T70" fmla="*/ 1028 w 1312"/>
                <a:gd name="T71" fmla="*/ 132 h 310"/>
                <a:gd name="T72" fmla="*/ 1104 w 1312"/>
                <a:gd name="T73" fmla="*/ 172 h 310"/>
                <a:gd name="T74" fmla="*/ 1174 w 1312"/>
                <a:gd name="T75" fmla="*/ 218 h 310"/>
                <a:gd name="T76" fmla="*/ 1240 w 1312"/>
                <a:gd name="T77" fmla="*/ 272 h 310"/>
                <a:gd name="T78" fmla="*/ 1272 w 1312"/>
                <a:gd name="T79" fmla="*/ 302 h 310"/>
                <a:gd name="T80" fmla="*/ 1288 w 1312"/>
                <a:gd name="T81" fmla="*/ 310 h 310"/>
                <a:gd name="T82" fmla="*/ 1298 w 1312"/>
                <a:gd name="T83" fmla="*/ 308 h 310"/>
                <a:gd name="T84" fmla="*/ 1306 w 1312"/>
                <a:gd name="T85" fmla="*/ 302 h 310"/>
                <a:gd name="T86" fmla="*/ 1312 w 1312"/>
                <a:gd name="T87" fmla="*/ 286 h 310"/>
                <a:gd name="T88" fmla="*/ 1306 w 1312"/>
                <a:gd name="T89" fmla="*/ 270 h 310"/>
                <a:gd name="T90" fmla="*/ 1306 w 1312"/>
                <a:gd name="T91" fmla="*/ 27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12" h="310">
                  <a:moveTo>
                    <a:pt x="1306" y="270"/>
                  </a:moveTo>
                  <a:lnTo>
                    <a:pt x="1306" y="270"/>
                  </a:lnTo>
                  <a:lnTo>
                    <a:pt x="1272" y="238"/>
                  </a:lnTo>
                  <a:lnTo>
                    <a:pt x="1238" y="208"/>
                  </a:lnTo>
                  <a:lnTo>
                    <a:pt x="1202" y="180"/>
                  </a:lnTo>
                  <a:lnTo>
                    <a:pt x="1166" y="154"/>
                  </a:lnTo>
                  <a:lnTo>
                    <a:pt x="1128" y="130"/>
                  </a:lnTo>
                  <a:lnTo>
                    <a:pt x="1088" y="108"/>
                  </a:lnTo>
                  <a:lnTo>
                    <a:pt x="1048" y="88"/>
                  </a:lnTo>
                  <a:lnTo>
                    <a:pt x="1008" y="70"/>
                  </a:lnTo>
                  <a:lnTo>
                    <a:pt x="966" y="54"/>
                  </a:lnTo>
                  <a:lnTo>
                    <a:pt x="924" y="40"/>
                  </a:lnTo>
                  <a:lnTo>
                    <a:pt x="880" y="28"/>
                  </a:lnTo>
                  <a:lnTo>
                    <a:pt x="836" y="18"/>
                  </a:lnTo>
                  <a:lnTo>
                    <a:pt x="792" y="10"/>
                  </a:lnTo>
                  <a:lnTo>
                    <a:pt x="748" y="6"/>
                  </a:lnTo>
                  <a:lnTo>
                    <a:pt x="702" y="2"/>
                  </a:lnTo>
                  <a:lnTo>
                    <a:pt x="656" y="0"/>
                  </a:lnTo>
                  <a:lnTo>
                    <a:pt x="656" y="0"/>
                  </a:lnTo>
                  <a:lnTo>
                    <a:pt x="610" y="2"/>
                  </a:lnTo>
                  <a:lnTo>
                    <a:pt x="566" y="6"/>
                  </a:lnTo>
                  <a:lnTo>
                    <a:pt x="520" y="10"/>
                  </a:lnTo>
                  <a:lnTo>
                    <a:pt x="476" y="18"/>
                  </a:lnTo>
                  <a:lnTo>
                    <a:pt x="432" y="28"/>
                  </a:lnTo>
                  <a:lnTo>
                    <a:pt x="388" y="40"/>
                  </a:lnTo>
                  <a:lnTo>
                    <a:pt x="346" y="54"/>
                  </a:lnTo>
                  <a:lnTo>
                    <a:pt x="304" y="70"/>
                  </a:lnTo>
                  <a:lnTo>
                    <a:pt x="264" y="88"/>
                  </a:lnTo>
                  <a:lnTo>
                    <a:pt x="224" y="108"/>
                  </a:lnTo>
                  <a:lnTo>
                    <a:pt x="186" y="130"/>
                  </a:lnTo>
                  <a:lnTo>
                    <a:pt x="148" y="154"/>
                  </a:lnTo>
                  <a:lnTo>
                    <a:pt x="110" y="180"/>
                  </a:lnTo>
                  <a:lnTo>
                    <a:pt x="74" y="208"/>
                  </a:lnTo>
                  <a:lnTo>
                    <a:pt x="40" y="238"/>
                  </a:lnTo>
                  <a:lnTo>
                    <a:pt x="8" y="270"/>
                  </a:lnTo>
                  <a:lnTo>
                    <a:pt x="8" y="270"/>
                  </a:lnTo>
                  <a:lnTo>
                    <a:pt x="2" y="278"/>
                  </a:lnTo>
                  <a:lnTo>
                    <a:pt x="0" y="286"/>
                  </a:lnTo>
                  <a:lnTo>
                    <a:pt x="2" y="294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16" y="308"/>
                  </a:lnTo>
                  <a:lnTo>
                    <a:pt x="24" y="310"/>
                  </a:lnTo>
                  <a:lnTo>
                    <a:pt x="34" y="308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72" y="272"/>
                  </a:lnTo>
                  <a:lnTo>
                    <a:pt x="106" y="244"/>
                  </a:lnTo>
                  <a:lnTo>
                    <a:pt x="138" y="218"/>
                  </a:lnTo>
                  <a:lnTo>
                    <a:pt x="174" y="194"/>
                  </a:lnTo>
                  <a:lnTo>
                    <a:pt x="210" y="172"/>
                  </a:lnTo>
                  <a:lnTo>
                    <a:pt x="246" y="150"/>
                  </a:lnTo>
                  <a:lnTo>
                    <a:pt x="284" y="132"/>
                  </a:lnTo>
                  <a:lnTo>
                    <a:pt x="322" y="114"/>
                  </a:lnTo>
                  <a:lnTo>
                    <a:pt x="362" y="98"/>
                  </a:lnTo>
                  <a:lnTo>
                    <a:pt x="402" y="86"/>
                  </a:lnTo>
                  <a:lnTo>
                    <a:pt x="444" y="74"/>
                  </a:lnTo>
                  <a:lnTo>
                    <a:pt x="486" y="66"/>
                  </a:lnTo>
                  <a:lnTo>
                    <a:pt x="528" y="58"/>
                  </a:lnTo>
                  <a:lnTo>
                    <a:pt x="570" y="52"/>
                  </a:lnTo>
                  <a:lnTo>
                    <a:pt x="612" y="50"/>
                  </a:lnTo>
                  <a:lnTo>
                    <a:pt x="656" y="48"/>
                  </a:lnTo>
                  <a:lnTo>
                    <a:pt x="656" y="48"/>
                  </a:lnTo>
                  <a:lnTo>
                    <a:pt x="700" y="50"/>
                  </a:lnTo>
                  <a:lnTo>
                    <a:pt x="742" y="52"/>
                  </a:lnTo>
                  <a:lnTo>
                    <a:pt x="786" y="58"/>
                  </a:lnTo>
                  <a:lnTo>
                    <a:pt x="828" y="66"/>
                  </a:lnTo>
                  <a:lnTo>
                    <a:pt x="870" y="74"/>
                  </a:lnTo>
                  <a:lnTo>
                    <a:pt x="910" y="86"/>
                  </a:lnTo>
                  <a:lnTo>
                    <a:pt x="950" y="98"/>
                  </a:lnTo>
                  <a:lnTo>
                    <a:pt x="990" y="114"/>
                  </a:lnTo>
                  <a:lnTo>
                    <a:pt x="1028" y="132"/>
                  </a:lnTo>
                  <a:lnTo>
                    <a:pt x="1066" y="150"/>
                  </a:lnTo>
                  <a:lnTo>
                    <a:pt x="1104" y="172"/>
                  </a:lnTo>
                  <a:lnTo>
                    <a:pt x="1138" y="194"/>
                  </a:lnTo>
                  <a:lnTo>
                    <a:pt x="1174" y="218"/>
                  </a:lnTo>
                  <a:lnTo>
                    <a:pt x="1208" y="244"/>
                  </a:lnTo>
                  <a:lnTo>
                    <a:pt x="1240" y="272"/>
                  </a:lnTo>
                  <a:lnTo>
                    <a:pt x="1272" y="302"/>
                  </a:lnTo>
                  <a:lnTo>
                    <a:pt x="1272" y="302"/>
                  </a:lnTo>
                  <a:lnTo>
                    <a:pt x="1280" y="308"/>
                  </a:lnTo>
                  <a:lnTo>
                    <a:pt x="1288" y="310"/>
                  </a:lnTo>
                  <a:lnTo>
                    <a:pt x="1288" y="310"/>
                  </a:lnTo>
                  <a:lnTo>
                    <a:pt x="1298" y="308"/>
                  </a:lnTo>
                  <a:lnTo>
                    <a:pt x="1306" y="302"/>
                  </a:lnTo>
                  <a:lnTo>
                    <a:pt x="1306" y="302"/>
                  </a:lnTo>
                  <a:lnTo>
                    <a:pt x="1310" y="294"/>
                  </a:lnTo>
                  <a:lnTo>
                    <a:pt x="1312" y="286"/>
                  </a:lnTo>
                  <a:lnTo>
                    <a:pt x="1310" y="278"/>
                  </a:lnTo>
                  <a:lnTo>
                    <a:pt x="1306" y="270"/>
                  </a:lnTo>
                  <a:lnTo>
                    <a:pt x="1306" y="270"/>
                  </a:lnTo>
                  <a:close/>
                  <a:moveTo>
                    <a:pt x="1306" y="270"/>
                  </a:moveTo>
                  <a:lnTo>
                    <a:pt x="1306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6FB3C88-2ED6-4C50-A03A-52EBA33D12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5" y="1573"/>
              <a:ext cx="1312" cy="310"/>
            </a:xfrm>
            <a:custGeom>
              <a:avLst/>
              <a:gdLst>
                <a:gd name="T0" fmla="*/ 1306 w 1312"/>
                <a:gd name="T1" fmla="*/ 270 h 310"/>
                <a:gd name="T2" fmla="*/ 1238 w 1312"/>
                <a:gd name="T3" fmla="*/ 208 h 310"/>
                <a:gd name="T4" fmla="*/ 1166 w 1312"/>
                <a:gd name="T5" fmla="*/ 154 h 310"/>
                <a:gd name="T6" fmla="*/ 1088 w 1312"/>
                <a:gd name="T7" fmla="*/ 108 h 310"/>
                <a:gd name="T8" fmla="*/ 1008 w 1312"/>
                <a:gd name="T9" fmla="*/ 70 h 310"/>
                <a:gd name="T10" fmla="*/ 924 w 1312"/>
                <a:gd name="T11" fmla="*/ 40 h 310"/>
                <a:gd name="T12" fmla="*/ 836 w 1312"/>
                <a:gd name="T13" fmla="*/ 18 h 310"/>
                <a:gd name="T14" fmla="*/ 748 w 1312"/>
                <a:gd name="T15" fmla="*/ 6 h 310"/>
                <a:gd name="T16" fmla="*/ 656 w 1312"/>
                <a:gd name="T17" fmla="*/ 0 h 310"/>
                <a:gd name="T18" fmla="*/ 610 w 1312"/>
                <a:gd name="T19" fmla="*/ 2 h 310"/>
                <a:gd name="T20" fmla="*/ 520 w 1312"/>
                <a:gd name="T21" fmla="*/ 10 h 310"/>
                <a:gd name="T22" fmla="*/ 432 w 1312"/>
                <a:gd name="T23" fmla="*/ 28 h 310"/>
                <a:gd name="T24" fmla="*/ 346 w 1312"/>
                <a:gd name="T25" fmla="*/ 54 h 310"/>
                <a:gd name="T26" fmla="*/ 264 w 1312"/>
                <a:gd name="T27" fmla="*/ 88 h 310"/>
                <a:gd name="T28" fmla="*/ 186 w 1312"/>
                <a:gd name="T29" fmla="*/ 130 h 310"/>
                <a:gd name="T30" fmla="*/ 110 w 1312"/>
                <a:gd name="T31" fmla="*/ 180 h 310"/>
                <a:gd name="T32" fmla="*/ 40 w 1312"/>
                <a:gd name="T33" fmla="*/ 238 h 310"/>
                <a:gd name="T34" fmla="*/ 8 w 1312"/>
                <a:gd name="T35" fmla="*/ 270 h 310"/>
                <a:gd name="T36" fmla="*/ 0 w 1312"/>
                <a:gd name="T37" fmla="*/ 286 h 310"/>
                <a:gd name="T38" fmla="*/ 8 w 1312"/>
                <a:gd name="T39" fmla="*/ 302 h 310"/>
                <a:gd name="T40" fmla="*/ 16 w 1312"/>
                <a:gd name="T41" fmla="*/ 308 h 310"/>
                <a:gd name="T42" fmla="*/ 34 w 1312"/>
                <a:gd name="T43" fmla="*/ 308 h 310"/>
                <a:gd name="T44" fmla="*/ 42 w 1312"/>
                <a:gd name="T45" fmla="*/ 302 h 310"/>
                <a:gd name="T46" fmla="*/ 106 w 1312"/>
                <a:gd name="T47" fmla="*/ 244 h 310"/>
                <a:gd name="T48" fmla="*/ 174 w 1312"/>
                <a:gd name="T49" fmla="*/ 194 h 310"/>
                <a:gd name="T50" fmla="*/ 246 w 1312"/>
                <a:gd name="T51" fmla="*/ 150 h 310"/>
                <a:gd name="T52" fmla="*/ 322 w 1312"/>
                <a:gd name="T53" fmla="*/ 114 h 310"/>
                <a:gd name="T54" fmla="*/ 402 w 1312"/>
                <a:gd name="T55" fmla="*/ 86 h 310"/>
                <a:gd name="T56" fmla="*/ 486 w 1312"/>
                <a:gd name="T57" fmla="*/ 66 h 310"/>
                <a:gd name="T58" fmla="*/ 570 w 1312"/>
                <a:gd name="T59" fmla="*/ 52 h 310"/>
                <a:gd name="T60" fmla="*/ 656 w 1312"/>
                <a:gd name="T61" fmla="*/ 48 h 310"/>
                <a:gd name="T62" fmla="*/ 700 w 1312"/>
                <a:gd name="T63" fmla="*/ 50 h 310"/>
                <a:gd name="T64" fmla="*/ 786 w 1312"/>
                <a:gd name="T65" fmla="*/ 58 h 310"/>
                <a:gd name="T66" fmla="*/ 870 w 1312"/>
                <a:gd name="T67" fmla="*/ 74 h 310"/>
                <a:gd name="T68" fmla="*/ 950 w 1312"/>
                <a:gd name="T69" fmla="*/ 98 h 310"/>
                <a:gd name="T70" fmla="*/ 1028 w 1312"/>
                <a:gd name="T71" fmla="*/ 132 h 310"/>
                <a:gd name="T72" fmla="*/ 1104 w 1312"/>
                <a:gd name="T73" fmla="*/ 172 h 310"/>
                <a:gd name="T74" fmla="*/ 1174 w 1312"/>
                <a:gd name="T75" fmla="*/ 218 h 310"/>
                <a:gd name="T76" fmla="*/ 1240 w 1312"/>
                <a:gd name="T77" fmla="*/ 272 h 310"/>
                <a:gd name="T78" fmla="*/ 1272 w 1312"/>
                <a:gd name="T79" fmla="*/ 302 h 310"/>
                <a:gd name="T80" fmla="*/ 1288 w 1312"/>
                <a:gd name="T81" fmla="*/ 310 h 310"/>
                <a:gd name="T82" fmla="*/ 1298 w 1312"/>
                <a:gd name="T83" fmla="*/ 308 h 310"/>
                <a:gd name="T84" fmla="*/ 1306 w 1312"/>
                <a:gd name="T85" fmla="*/ 302 h 310"/>
                <a:gd name="T86" fmla="*/ 1312 w 1312"/>
                <a:gd name="T87" fmla="*/ 286 h 310"/>
                <a:gd name="T88" fmla="*/ 1306 w 1312"/>
                <a:gd name="T89" fmla="*/ 27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312" h="310">
                  <a:moveTo>
                    <a:pt x="1306" y="270"/>
                  </a:moveTo>
                  <a:lnTo>
                    <a:pt x="1306" y="270"/>
                  </a:lnTo>
                  <a:lnTo>
                    <a:pt x="1272" y="238"/>
                  </a:lnTo>
                  <a:lnTo>
                    <a:pt x="1238" y="208"/>
                  </a:lnTo>
                  <a:lnTo>
                    <a:pt x="1202" y="180"/>
                  </a:lnTo>
                  <a:lnTo>
                    <a:pt x="1166" y="154"/>
                  </a:lnTo>
                  <a:lnTo>
                    <a:pt x="1128" y="130"/>
                  </a:lnTo>
                  <a:lnTo>
                    <a:pt x="1088" y="108"/>
                  </a:lnTo>
                  <a:lnTo>
                    <a:pt x="1048" y="88"/>
                  </a:lnTo>
                  <a:lnTo>
                    <a:pt x="1008" y="70"/>
                  </a:lnTo>
                  <a:lnTo>
                    <a:pt x="966" y="54"/>
                  </a:lnTo>
                  <a:lnTo>
                    <a:pt x="924" y="40"/>
                  </a:lnTo>
                  <a:lnTo>
                    <a:pt x="880" y="28"/>
                  </a:lnTo>
                  <a:lnTo>
                    <a:pt x="836" y="18"/>
                  </a:lnTo>
                  <a:lnTo>
                    <a:pt x="792" y="10"/>
                  </a:lnTo>
                  <a:lnTo>
                    <a:pt x="748" y="6"/>
                  </a:lnTo>
                  <a:lnTo>
                    <a:pt x="702" y="2"/>
                  </a:lnTo>
                  <a:lnTo>
                    <a:pt x="656" y="0"/>
                  </a:lnTo>
                  <a:lnTo>
                    <a:pt x="656" y="0"/>
                  </a:lnTo>
                  <a:lnTo>
                    <a:pt x="610" y="2"/>
                  </a:lnTo>
                  <a:lnTo>
                    <a:pt x="566" y="6"/>
                  </a:lnTo>
                  <a:lnTo>
                    <a:pt x="520" y="10"/>
                  </a:lnTo>
                  <a:lnTo>
                    <a:pt x="476" y="18"/>
                  </a:lnTo>
                  <a:lnTo>
                    <a:pt x="432" y="28"/>
                  </a:lnTo>
                  <a:lnTo>
                    <a:pt x="388" y="40"/>
                  </a:lnTo>
                  <a:lnTo>
                    <a:pt x="346" y="54"/>
                  </a:lnTo>
                  <a:lnTo>
                    <a:pt x="304" y="70"/>
                  </a:lnTo>
                  <a:lnTo>
                    <a:pt x="264" y="88"/>
                  </a:lnTo>
                  <a:lnTo>
                    <a:pt x="224" y="108"/>
                  </a:lnTo>
                  <a:lnTo>
                    <a:pt x="186" y="130"/>
                  </a:lnTo>
                  <a:lnTo>
                    <a:pt x="148" y="154"/>
                  </a:lnTo>
                  <a:lnTo>
                    <a:pt x="110" y="180"/>
                  </a:lnTo>
                  <a:lnTo>
                    <a:pt x="74" y="208"/>
                  </a:lnTo>
                  <a:lnTo>
                    <a:pt x="40" y="238"/>
                  </a:lnTo>
                  <a:lnTo>
                    <a:pt x="8" y="270"/>
                  </a:lnTo>
                  <a:lnTo>
                    <a:pt x="8" y="270"/>
                  </a:lnTo>
                  <a:lnTo>
                    <a:pt x="2" y="278"/>
                  </a:lnTo>
                  <a:lnTo>
                    <a:pt x="0" y="286"/>
                  </a:lnTo>
                  <a:lnTo>
                    <a:pt x="2" y="294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16" y="308"/>
                  </a:lnTo>
                  <a:lnTo>
                    <a:pt x="24" y="310"/>
                  </a:lnTo>
                  <a:lnTo>
                    <a:pt x="34" y="308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72" y="272"/>
                  </a:lnTo>
                  <a:lnTo>
                    <a:pt x="106" y="244"/>
                  </a:lnTo>
                  <a:lnTo>
                    <a:pt x="138" y="218"/>
                  </a:lnTo>
                  <a:lnTo>
                    <a:pt x="174" y="194"/>
                  </a:lnTo>
                  <a:lnTo>
                    <a:pt x="210" y="172"/>
                  </a:lnTo>
                  <a:lnTo>
                    <a:pt x="246" y="150"/>
                  </a:lnTo>
                  <a:lnTo>
                    <a:pt x="284" y="132"/>
                  </a:lnTo>
                  <a:lnTo>
                    <a:pt x="322" y="114"/>
                  </a:lnTo>
                  <a:lnTo>
                    <a:pt x="362" y="98"/>
                  </a:lnTo>
                  <a:lnTo>
                    <a:pt x="402" y="86"/>
                  </a:lnTo>
                  <a:lnTo>
                    <a:pt x="444" y="74"/>
                  </a:lnTo>
                  <a:lnTo>
                    <a:pt x="486" y="66"/>
                  </a:lnTo>
                  <a:lnTo>
                    <a:pt x="528" y="58"/>
                  </a:lnTo>
                  <a:lnTo>
                    <a:pt x="570" y="52"/>
                  </a:lnTo>
                  <a:lnTo>
                    <a:pt x="612" y="50"/>
                  </a:lnTo>
                  <a:lnTo>
                    <a:pt x="656" y="48"/>
                  </a:lnTo>
                  <a:lnTo>
                    <a:pt x="656" y="48"/>
                  </a:lnTo>
                  <a:lnTo>
                    <a:pt x="700" y="50"/>
                  </a:lnTo>
                  <a:lnTo>
                    <a:pt x="742" y="52"/>
                  </a:lnTo>
                  <a:lnTo>
                    <a:pt x="786" y="58"/>
                  </a:lnTo>
                  <a:lnTo>
                    <a:pt x="828" y="66"/>
                  </a:lnTo>
                  <a:lnTo>
                    <a:pt x="870" y="74"/>
                  </a:lnTo>
                  <a:lnTo>
                    <a:pt x="910" y="86"/>
                  </a:lnTo>
                  <a:lnTo>
                    <a:pt x="950" y="98"/>
                  </a:lnTo>
                  <a:lnTo>
                    <a:pt x="990" y="114"/>
                  </a:lnTo>
                  <a:lnTo>
                    <a:pt x="1028" y="132"/>
                  </a:lnTo>
                  <a:lnTo>
                    <a:pt x="1066" y="150"/>
                  </a:lnTo>
                  <a:lnTo>
                    <a:pt x="1104" y="172"/>
                  </a:lnTo>
                  <a:lnTo>
                    <a:pt x="1138" y="194"/>
                  </a:lnTo>
                  <a:lnTo>
                    <a:pt x="1174" y="218"/>
                  </a:lnTo>
                  <a:lnTo>
                    <a:pt x="1208" y="244"/>
                  </a:lnTo>
                  <a:lnTo>
                    <a:pt x="1240" y="272"/>
                  </a:lnTo>
                  <a:lnTo>
                    <a:pt x="1272" y="302"/>
                  </a:lnTo>
                  <a:lnTo>
                    <a:pt x="1272" y="302"/>
                  </a:lnTo>
                  <a:lnTo>
                    <a:pt x="1280" y="308"/>
                  </a:lnTo>
                  <a:lnTo>
                    <a:pt x="1288" y="310"/>
                  </a:lnTo>
                  <a:lnTo>
                    <a:pt x="1288" y="310"/>
                  </a:lnTo>
                  <a:lnTo>
                    <a:pt x="1298" y="308"/>
                  </a:lnTo>
                  <a:lnTo>
                    <a:pt x="1306" y="302"/>
                  </a:lnTo>
                  <a:lnTo>
                    <a:pt x="1306" y="302"/>
                  </a:lnTo>
                  <a:lnTo>
                    <a:pt x="1310" y="294"/>
                  </a:lnTo>
                  <a:lnTo>
                    <a:pt x="1312" y="286"/>
                  </a:lnTo>
                  <a:lnTo>
                    <a:pt x="1310" y="278"/>
                  </a:lnTo>
                  <a:lnTo>
                    <a:pt x="1306" y="270"/>
                  </a:lnTo>
                  <a:lnTo>
                    <a:pt x="1306" y="27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Line 7">
              <a:extLst>
                <a:ext uri="{FF2B5EF4-FFF2-40B4-BE49-F238E27FC236}">
                  <a16:creationId xmlns:a16="http://schemas.microsoft.com/office/drawing/2014/main" id="{F3206576-35D4-4F35-B902-7EC423442D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91" y="1843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952C104F-893A-4FBD-8135-F792DFF62E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5" y="1773"/>
              <a:ext cx="1032" cy="250"/>
            </a:xfrm>
            <a:custGeom>
              <a:avLst/>
              <a:gdLst>
                <a:gd name="T0" fmla="*/ 8 w 1032"/>
                <a:gd name="T1" fmla="*/ 210 h 250"/>
                <a:gd name="T2" fmla="*/ 0 w 1032"/>
                <a:gd name="T3" fmla="*/ 226 h 250"/>
                <a:gd name="T4" fmla="*/ 8 w 1032"/>
                <a:gd name="T5" fmla="*/ 244 h 250"/>
                <a:gd name="T6" fmla="*/ 16 w 1032"/>
                <a:gd name="T7" fmla="*/ 248 h 250"/>
                <a:gd name="T8" fmla="*/ 24 w 1032"/>
                <a:gd name="T9" fmla="*/ 250 h 250"/>
                <a:gd name="T10" fmla="*/ 42 w 1032"/>
                <a:gd name="T11" fmla="*/ 244 h 250"/>
                <a:gd name="T12" fmla="*/ 66 w 1032"/>
                <a:gd name="T13" fmla="*/ 220 h 250"/>
                <a:gd name="T14" fmla="*/ 120 w 1032"/>
                <a:gd name="T15" fmla="*/ 176 h 250"/>
                <a:gd name="T16" fmla="*/ 174 w 1032"/>
                <a:gd name="T17" fmla="*/ 140 h 250"/>
                <a:gd name="T18" fmla="*/ 234 w 1032"/>
                <a:gd name="T19" fmla="*/ 110 h 250"/>
                <a:gd name="T20" fmla="*/ 294 w 1032"/>
                <a:gd name="T21" fmla="*/ 84 h 250"/>
                <a:gd name="T22" fmla="*/ 356 w 1032"/>
                <a:gd name="T23" fmla="*/ 66 h 250"/>
                <a:gd name="T24" fmla="*/ 420 w 1032"/>
                <a:gd name="T25" fmla="*/ 54 h 250"/>
                <a:gd name="T26" fmla="*/ 484 w 1032"/>
                <a:gd name="T27" fmla="*/ 48 h 250"/>
                <a:gd name="T28" fmla="*/ 548 w 1032"/>
                <a:gd name="T29" fmla="*/ 48 h 250"/>
                <a:gd name="T30" fmla="*/ 612 w 1032"/>
                <a:gd name="T31" fmla="*/ 54 h 250"/>
                <a:gd name="T32" fmla="*/ 676 w 1032"/>
                <a:gd name="T33" fmla="*/ 66 h 250"/>
                <a:gd name="T34" fmla="*/ 738 w 1032"/>
                <a:gd name="T35" fmla="*/ 84 h 250"/>
                <a:gd name="T36" fmla="*/ 800 w 1032"/>
                <a:gd name="T37" fmla="*/ 110 h 250"/>
                <a:gd name="T38" fmla="*/ 858 w 1032"/>
                <a:gd name="T39" fmla="*/ 140 h 250"/>
                <a:gd name="T40" fmla="*/ 914 w 1032"/>
                <a:gd name="T41" fmla="*/ 176 h 250"/>
                <a:gd name="T42" fmla="*/ 966 w 1032"/>
                <a:gd name="T43" fmla="*/ 220 h 250"/>
                <a:gd name="T44" fmla="*/ 992 w 1032"/>
                <a:gd name="T45" fmla="*/ 244 h 250"/>
                <a:gd name="T46" fmla="*/ 1008 w 1032"/>
                <a:gd name="T47" fmla="*/ 250 h 250"/>
                <a:gd name="T48" fmla="*/ 1024 w 1032"/>
                <a:gd name="T49" fmla="*/ 244 h 250"/>
                <a:gd name="T50" fmla="*/ 1030 w 1032"/>
                <a:gd name="T51" fmla="*/ 236 h 250"/>
                <a:gd name="T52" fmla="*/ 1030 w 1032"/>
                <a:gd name="T53" fmla="*/ 218 h 250"/>
                <a:gd name="T54" fmla="*/ 1024 w 1032"/>
                <a:gd name="T55" fmla="*/ 210 h 250"/>
                <a:gd name="T56" fmla="*/ 970 w 1032"/>
                <a:gd name="T57" fmla="*/ 160 h 250"/>
                <a:gd name="T58" fmla="*/ 912 w 1032"/>
                <a:gd name="T59" fmla="*/ 118 h 250"/>
                <a:gd name="T60" fmla="*/ 850 w 1032"/>
                <a:gd name="T61" fmla="*/ 82 h 250"/>
                <a:gd name="T62" fmla="*/ 788 w 1032"/>
                <a:gd name="T63" fmla="*/ 52 h 250"/>
                <a:gd name="T64" fmla="*/ 722 w 1032"/>
                <a:gd name="T65" fmla="*/ 28 h 250"/>
                <a:gd name="T66" fmla="*/ 654 w 1032"/>
                <a:gd name="T67" fmla="*/ 12 h 250"/>
                <a:gd name="T68" fmla="*/ 586 w 1032"/>
                <a:gd name="T69" fmla="*/ 2 h 250"/>
                <a:gd name="T70" fmla="*/ 516 w 1032"/>
                <a:gd name="T71" fmla="*/ 0 h 250"/>
                <a:gd name="T72" fmla="*/ 448 w 1032"/>
                <a:gd name="T73" fmla="*/ 2 h 250"/>
                <a:gd name="T74" fmla="*/ 378 w 1032"/>
                <a:gd name="T75" fmla="*/ 12 h 250"/>
                <a:gd name="T76" fmla="*/ 312 w 1032"/>
                <a:gd name="T77" fmla="*/ 28 h 250"/>
                <a:gd name="T78" fmla="*/ 246 w 1032"/>
                <a:gd name="T79" fmla="*/ 52 h 250"/>
                <a:gd name="T80" fmla="*/ 182 w 1032"/>
                <a:gd name="T81" fmla="*/ 82 h 250"/>
                <a:gd name="T82" fmla="*/ 120 w 1032"/>
                <a:gd name="T83" fmla="*/ 118 h 250"/>
                <a:gd name="T84" fmla="*/ 62 w 1032"/>
                <a:gd name="T85" fmla="*/ 160 h 250"/>
                <a:gd name="T86" fmla="*/ 8 w 1032"/>
                <a:gd name="T87" fmla="*/ 210 h 250"/>
                <a:gd name="T88" fmla="*/ 8 w 1032"/>
                <a:gd name="T89" fmla="*/ 21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32" h="250">
                  <a:moveTo>
                    <a:pt x="8" y="210"/>
                  </a:moveTo>
                  <a:lnTo>
                    <a:pt x="8" y="210"/>
                  </a:lnTo>
                  <a:lnTo>
                    <a:pt x="2" y="218"/>
                  </a:lnTo>
                  <a:lnTo>
                    <a:pt x="0" y="226"/>
                  </a:lnTo>
                  <a:lnTo>
                    <a:pt x="2" y="236"/>
                  </a:lnTo>
                  <a:lnTo>
                    <a:pt x="8" y="244"/>
                  </a:lnTo>
                  <a:lnTo>
                    <a:pt x="8" y="244"/>
                  </a:lnTo>
                  <a:lnTo>
                    <a:pt x="16" y="248"/>
                  </a:lnTo>
                  <a:lnTo>
                    <a:pt x="24" y="250"/>
                  </a:lnTo>
                  <a:lnTo>
                    <a:pt x="24" y="250"/>
                  </a:lnTo>
                  <a:lnTo>
                    <a:pt x="34" y="248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66" y="220"/>
                  </a:lnTo>
                  <a:lnTo>
                    <a:pt x="92" y="198"/>
                  </a:lnTo>
                  <a:lnTo>
                    <a:pt x="120" y="176"/>
                  </a:lnTo>
                  <a:lnTo>
                    <a:pt x="146" y="158"/>
                  </a:lnTo>
                  <a:lnTo>
                    <a:pt x="174" y="140"/>
                  </a:lnTo>
                  <a:lnTo>
                    <a:pt x="204" y="124"/>
                  </a:lnTo>
                  <a:lnTo>
                    <a:pt x="234" y="110"/>
                  </a:lnTo>
                  <a:lnTo>
                    <a:pt x="264" y="96"/>
                  </a:lnTo>
                  <a:lnTo>
                    <a:pt x="294" y="84"/>
                  </a:lnTo>
                  <a:lnTo>
                    <a:pt x="326" y="74"/>
                  </a:lnTo>
                  <a:lnTo>
                    <a:pt x="356" y="66"/>
                  </a:lnTo>
                  <a:lnTo>
                    <a:pt x="388" y="60"/>
                  </a:lnTo>
                  <a:lnTo>
                    <a:pt x="420" y="54"/>
                  </a:lnTo>
                  <a:lnTo>
                    <a:pt x="452" y="50"/>
                  </a:lnTo>
                  <a:lnTo>
                    <a:pt x="484" y="48"/>
                  </a:lnTo>
                  <a:lnTo>
                    <a:pt x="516" y="46"/>
                  </a:lnTo>
                  <a:lnTo>
                    <a:pt x="548" y="48"/>
                  </a:lnTo>
                  <a:lnTo>
                    <a:pt x="580" y="50"/>
                  </a:lnTo>
                  <a:lnTo>
                    <a:pt x="612" y="54"/>
                  </a:lnTo>
                  <a:lnTo>
                    <a:pt x="644" y="60"/>
                  </a:lnTo>
                  <a:lnTo>
                    <a:pt x="676" y="66"/>
                  </a:lnTo>
                  <a:lnTo>
                    <a:pt x="708" y="74"/>
                  </a:lnTo>
                  <a:lnTo>
                    <a:pt x="738" y="84"/>
                  </a:lnTo>
                  <a:lnTo>
                    <a:pt x="770" y="96"/>
                  </a:lnTo>
                  <a:lnTo>
                    <a:pt x="800" y="110"/>
                  </a:lnTo>
                  <a:lnTo>
                    <a:pt x="828" y="124"/>
                  </a:lnTo>
                  <a:lnTo>
                    <a:pt x="858" y="140"/>
                  </a:lnTo>
                  <a:lnTo>
                    <a:pt x="886" y="158"/>
                  </a:lnTo>
                  <a:lnTo>
                    <a:pt x="914" y="176"/>
                  </a:lnTo>
                  <a:lnTo>
                    <a:pt x="940" y="198"/>
                  </a:lnTo>
                  <a:lnTo>
                    <a:pt x="966" y="220"/>
                  </a:lnTo>
                  <a:lnTo>
                    <a:pt x="992" y="244"/>
                  </a:lnTo>
                  <a:lnTo>
                    <a:pt x="992" y="244"/>
                  </a:lnTo>
                  <a:lnTo>
                    <a:pt x="1000" y="248"/>
                  </a:lnTo>
                  <a:lnTo>
                    <a:pt x="1008" y="250"/>
                  </a:lnTo>
                  <a:lnTo>
                    <a:pt x="1018" y="248"/>
                  </a:lnTo>
                  <a:lnTo>
                    <a:pt x="1024" y="244"/>
                  </a:lnTo>
                  <a:lnTo>
                    <a:pt x="1024" y="244"/>
                  </a:lnTo>
                  <a:lnTo>
                    <a:pt x="1030" y="236"/>
                  </a:lnTo>
                  <a:lnTo>
                    <a:pt x="1032" y="226"/>
                  </a:lnTo>
                  <a:lnTo>
                    <a:pt x="1030" y="218"/>
                  </a:lnTo>
                  <a:lnTo>
                    <a:pt x="1024" y="210"/>
                  </a:lnTo>
                  <a:lnTo>
                    <a:pt x="1024" y="210"/>
                  </a:lnTo>
                  <a:lnTo>
                    <a:pt x="998" y="184"/>
                  </a:lnTo>
                  <a:lnTo>
                    <a:pt x="970" y="160"/>
                  </a:lnTo>
                  <a:lnTo>
                    <a:pt x="942" y="138"/>
                  </a:lnTo>
                  <a:lnTo>
                    <a:pt x="912" y="118"/>
                  </a:lnTo>
                  <a:lnTo>
                    <a:pt x="882" y="98"/>
                  </a:lnTo>
                  <a:lnTo>
                    <a:pt x="850" y="82"/>
                  </a:lnTo>
                  <a:lnTo>
                    <a:pt x="820" y="66"/>
                  </a:lnTo>
                  <a:lnTo>
                    <a:pt x="788" y="52"/>
                  </a:lnTo>
                  <a:lnTo>
                    <a:pt x="754" y="40"/>
                  </a:lnTo>
                  <a:lnTo>
                    <a:pt x="722" y="28"/>
                  </a:lnTo>
                  <a:lnTo>
                    <a:pt x="688" y="20"/>
                  </a:lnTo>
                  <a:lnTo>
                    <a:pt x="654" y="12"/>
                  </a:lnTo>
                  <a:lnTo>
                    <a:pt x="620" y="6"/>
                  </a:lnTo>
                  <a:lnTo>
                    <a:pt x="586" y="2"/>
                  </a:lnTo>
                  <a:lnTo>
                    <a:pt x="550" y="0"/>
                  </a:lnTo>
                  <a:lnTo>
                    <a:pt x="516" y="0"/>
                  </a:lnTo>
                  <a:lnTo>
                    <a:pt x="482" y="0"/>
                  </a:lnTo>
                  <a:lnTo>
                    <a:pt x="448" y="2"/>
                  </a:lnTo>
                  <a:lnTo>
                    <a:pt x="414" y="6"/>
                  </a:lnTo>
                  <a:lnTo>
                    <a:pt x="378" y="12"/>
                  </a:lnTo>
                  <a:lnTo>
                    <a:pt x="346" y="20"/>
                  </a:lnTo>
                  <a:lnTo>
                    <a:pt x="312" y="28"/>
                  </a:lnTo>
                  <a:lnTo>
                    <a:pt x="278" y="40"/>
                  </a:lnTo>
                  <a:lnTo>
                    <a:pt x="246" y="52"/>
                  </a:lnTo>
                  <a:lnTo>
                    <a:pt x="214" y="66"/>
                  </a:lnTo>
                  <a:lnTo>
                    <a:pt x="182" y="82"/>
                  </a:lnTo>
                  <a:lnTo>
                    <a:pt x="150" y="98"/>
                  </a:lnTo>
                  <a:lnTo>
                    <a:pt x="120" y="118"/>
                  </a:lnTo>
                  <a:lnTo>
                    <a:pt x="90" y="138"/>
                  </a:lnTo>
                  <a:lnTo>
                    <a:pt x="62" y="160"/>
                  </a:lnTo>
                  <a:lnTo>
                    <a:pt x="34" y="184"/>
                  </a:lnTo>
                  <a:lnTo>
                    <a:pt x="8" y="210"/>
                  </a:lnTo>
                  <a:lnTo>
                    <a:pt x="8" y="210"/>
                  </a:lnTo>
                  <a:close/>
                  <a:moveTo>
                    <a:pt x="8" y="210"/>
                  </a:moveTo>
                  <a:lnTo>
                    <a:pt x="8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78FA2401-3D7E-4033-902D-2637E2FB4F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" y="1773"/>
              <a:ext cx="1032" cy="250"/>
            </a:xfrm>
            <a:custGeom>
              <a:avLst/>
              <a:gdLst>
                <a:gd name="T0" fmla="*/ 8 w 1032"/>
                <a:gd name="T1" fmla="*/ 210 h 250"/>
                <a:gd name="T2" fmla="*/ 0 w 1032"/>
                <a:gd name="T3" fmla="*/ 226 h 250"/>
                <a:gd name="T4" fmla="*/ 8 w 1032"/>
                <a:gd name="T5" fmla="*/ 244 h 250"/>
                <a:gd name="T6" fmla="*/ 16 w 1032"/>
                <a:gd name="T7" fmla="*/ 248 h 250"/>
                <a:gd name="T8" fmla="*/ 24 w 1032"/>
                <a:gd name="T9" fmla="*/ 250 h 250"/>
                <a:gd name="T10" fmla="*/ 42 w 1032"/>
                <a:gd name="T11" fmla="*/ 244 h 250"/>
                <a:gd name="T12" fmla="*/ 66 w 1032"/>
                <a:gd name="T13" fmla="*/ 220 h 250"/>
                <a:gd name="T14" fmla="*/ 120 w 1032"/>
                <a:gd name="T15" fmla="*/ 176 h 250"/>
                <a:gd name="T16" fmla="*/ 174 w 1032"/>
                <a:gd name="T17" fmla="*/ 140 h 250"/>
                <a:gd name="T18" fmla="*/ 234 w 1032"/>
                <a:gd name="T19" fmla="*/ 110 h 250"/>
                <a:gd name="T20" fmla="*/ 294 w 1032"/>
                <a:gd name="T21" fmla="*/ 84 h 250"/>
                <a:gd name="T22" fmla="*/ 356 w 1032"/>
                <a:gd name="T23" fmla="*/ 66 h 250"/>
                <a:gd name="T24" fmla="*/ 420 w 1032"/>
                <a:gd name="T25" fmla="*/ 54 h 250"/>
                <a:gd name="T26" fmla="*/ 484 w 1032"/>
                <a:gd name="T27" fmla="*/ 48 h 250"/>
                <a:gd name="T28" fmla="*/ 548 w 1032"/>
                <a:gd name="T29" fmla="*/ 48 h 250"/>
                <a:gd name="T30" fmla="*/ 612 w 1032"/>
                <a:gd name="T31" fmla="*/ 54 h 250"/>
                <a:gd name="T32" fmla="*/ 676 w 1032"/>
                <a:gd name="T33" fmla="*/ 66 h 250"/>
                <a:gd name="T34" fmla="*/ 738 w 1032"/>
                <a:gd name="T35" fmla="*/ 84 h 250"/>
                <a:gd name="T36" fmla="*/ 800 w 1032"/>
                <a:gd name="T37" fmla="*/ 110 h 250"/>
                <a:gd name="T38" fmla="*/ 858 w 1032"/>
                <a:gd name="T39" fmla="*/ 140 h 250"/>
                <a:gd name="T40" fmla="*/ 914 w 1032"/>
                <a:gd name="T41" fmla="*/ 176 h 250"/>
                <a:gd name="T42" fmla="*/ 966 w 1032"/>
                <a:gd name="T43" fmla="*/ 220 h 250"/>
                <a:gd name="T44" fmla="*/ 992 w 1032"/>
                <a:gd name="T45" fmla="*/ 244 h 250"/>
                <a:gd name="T46" fmla="*/ 1008 w 1032"/>
                <a:gd name="T47" fmla="*/ 250 h 250"/>
                <a:gd name="T48" fmla="*/ 1024 w 1032"/>
                <a:gd name="T49" fmla="*/ 244 h 250"/>
                <a:gd name="T50" fmla="*/ 1030 w 1032"/>
                <a:gd name="T51" fmla="*/ 236 h 250"/>
                <a:gd name="T52" fmla="*/ 1030 w 1032"/>
                <a:gd name="T53" fmla="*/ 218 h 250"/>
                <a:gd name="T54" fmla="*/ 1024 w 1032"/>
                <a:gd name="T55" fmla="*/ 210 h 250"/>
                <a:gd name="T56" fmla="*/ 970 w 1032"/>
                <a:gd name="T57" fmla="*/ 160 h 250"/>
                <a:gd name="T58" fmla="*/ 912 w 1032"/>
                <a:gd name="T59" fmla="*/ 118 h 250"/>
                <a:gd name="T60" fmla="*/ 850 w 1032"/>
                <a:gd name="T61" fmla="*/ 82 h 250"/>
                <a:gd name="T62" fmla="*/ 788 w 1032"/>
                <a:gd name="T63" fmla="*/ 52 h 250"/>
                <a:gd name="T64" fmla="*/ 722 w 1032"/>
                <a:gd name="T65" fmla="*/ 28 h 250"/>
                <a:gd name="T66" fmla="*/ 654 w 1032"/>
                <a:gd name="T67" fmla="*/ 12 h 250"/>
                <a:gd name="T68" fmla="*/ 586 w 1032"/>
                <a:gd name="T69" fmla="*/ 2 h 250"/>
                <a:gd name="T70" fmla="*/ 516 w 1032"/>
                <a:gd name="T71" fmla="*/ 0 h 250"/>
                <a:gd name="T72" fmla="*/ 448 w 1032"/>
                <a:gd name="T73" fmla="*/ 2 h 250"/>
                <a:gd name="T74" fmla="*/ 378 w 1032"/>
                <a:gd name="T75" fmla="*/ 12 h 250"/>
                <a:gd name="T76" fmla="*/ 312 w 1032"/>
                <a:gd name="T77" fmla="*/ 28 h 250"/>
                <a:gd name="T78" fmla="*/ 246 w 1032"/>
                <a:gd name="T79" fmla="*/ 52 h 250"/>
                <a:gd name="T80" fmla="*/ 182 w 1032"/>
                <a:gd name="T81" fmla="*/ 82 h 250"/>
                <a:gd name="T82" fmla="*/ 120 w 1032"/>
                <a:gd name="T83" fmla="*/ 118 h 250"/>
                <a:gd name="T84" fmla="*/ 62 w 1032"/>
                <a:gd name="T85" fmla="*/ 160 h 250"/>
                <a:gd name="T86" fmla="*/ 8 w 1032"/>
                <a:gd name="T87" fmla="*/ 21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32" h="250">
                  <a:moveTo>
                    <a:pt x="8" y="210"/>
                  </a:moveTo>
                  <a:lnTo>
                    <a:pt x="8" y="210"/>
                  </a:lnTo>
                  <a:lnTo>
                    <a:pt x="2" y="218"/>
                  </a:lnTo>
                  <a:lnTo>
                    <a:pt x="0" y="226"/>
                  </a:lnTo>
                  <a:lnTo>
                    <a:pt x="2" y="236"/>
                  </a:lnTo>
                  <a:lnTo>
                    <a:pt x="8" y="244"/>
                  </a:lnTo>
                  <a:lnTo>
                    <a:pt x="8" y="244"/>
                  </a:lnTo>
                  <a:lnTo>
                    <a:pt x="16" y="248"/>
                  </a:lnTo>
                  <a:lnTo>
                    <a:pt x="24" y="250"/>
                  </a:lnTo>
                  <a:lnTo>
                    <a:pt x="24" y="250"/>
                  </a:lnTo>
                  <a:lnTo>
                    <a:pt x="34" y="248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66" y="220"/>
                  </a:lnTo>
                  <a:lnTo>
                    <a:pt x="92" y="198"/>
                  </a:lnTo>
                  <a:lnTo>
                    <a:pt x="120" y="176"/>
                  </a:lnTo>
                  <a:lnTo>
                    <a:pt x="146" y="158"/>
                  </a:lnTo>
                  <a:lnTo>
                    <a:pt x="174" y="140"/>
                  </a:lnTo>
                  <a:lnTo>
                    <a:pt x="204" y="124"/>
                  </a:lnTo>
                  <a:lnTo>
                    <a:pt x="234" y="110"/>
                  </a:lnTo>
                  <a:lnTo>
                    <a:pt x="264" y="96"/>
                  </a:lnTo>
                  <a:lnTo>
                    <a:pt x="294" y="84"/>
                  </a:lnTo>
                  <a:lnTo>
                    <a:pt x="326" y="74"/>
                  </a:lnTo>
                  <a:lnTo>
                    <a:pt x="356" y="66"/>
                  </a:lnTo>
                  <a:lnTo>
                    <a:pt x="388" y="60"/>
                  </a:lnTo>
                  <a:lnTo>
                    <a:pt x="420" y="54"/>
                  </a:lnTo>
                  <a:lnTo>
                    <a:pt x="452" y="50"/>
                  </a:lnTo>
                  <a:lnTo>
                    <a:pt x="484" y="48"/>
                  </a:lnTo>
                  <a:lnTo>
                    <a:pt x="516" y="46"/>
                  </a:lnTo>
                  <a:lnTo>
                    <a:pt x="548" y="48"/>
                  </a:lnTo>
                  <a:lnTo>
                    <a:pt x="580" y="50"/>
                  </a:lnTo>
                  <a:lnTo>
                    <a:pt x="612" y="54"/>
                  </a:lnTo>
                  <a:lnTo>
                    <a:pt x="644" y="60"/>
                  </a:lnTo>
                  <a:lnTo>
                    <a:pt x="676" y="66"/>
                  </a:lnTo>
                  <a:lnTo>
                    <a:pt x="708" y="74"/>
                  </a:lnTo>
                  <a:lnTo>
                    <a:pt x="738" y="84"/>
                  </a:lnTo>
                  <a:lnTo>
                    <a:pt x="770" y="96"/>
                  </a:lnTo>
                  <a:lnTo>
                    <a:pt x="800" y="110"/>
                  </a:lnTo>
                  <a:lnTo>
                    <a:pt x="828" y="124"/>
                  </a:lnTo>
                  <a:lnTo>
                    <a:pt x="858" y="140"/>
                  </a:lnTo>
                  <a:lnTo>
                    <a:pt x="886" y="158"/>
                  </a:lnTo>
                  <a:lnTo>
                    <a:pt x="914" y="176"/>
                  </a:lnTo>
                  <a:lnTo>
                    <a:pt x="940" y="198"/>
                  </a:lnTo>
                  <a:lnTo>
                    <a:pt x="966" y="220"/>
                  </a:lnTo>
                  <a:lnTo>
                    <a:pt x="992" y="244"/>
                  </a:lnTo>
                  <a:lnTo>
                    <a:pt x="992" y="244"/>
                  </a:lnTo>
                  <a:lnTo>
                    <a:pt x="1000" y="248"/>
                  </a:lnTo>
                  <a:lnTo>
                    <a:pt x="1008" y="250"/>
                  </a:lnTo>
                  <a:lnTo>
                    <a:pt x="1018" y="248"/>
                  </a:lnTo>
                  <a:lnTo>
                    <a:pt x="1024" y="244"/>
                  </a:lnTo>
                  <a:lnTo>
                    <a:pt x="1024" y="244"/>
                  </a:lnTo>
                  <a:lnTo>
                    <a:pt x="1030" y="236"/>
                  </a:lnTo>
                  <a:lnTo>
                    <a:pt x="1032" y="226"/>
                  </a:lnTo>
                  <a:lnTo>
                    <a:pt x="1030" y="218"/>
                  </a:lnTo>
                  <a:lnTo>
                    <a:pt x="1024" y="210"/>
                  </a:lnTo>
                  <a:lnTo>
                    <a:pt x="1024" y="210"/>
                  </a:lnTo>
                  <a:lnTo>
                    <a:pt x="998" y="184"/>
                  </a:lnTo>
                  <a:lnTo>
                    <a:pt x="970" y="160"/>
                  </a:lnTo>
                  <a:lnTo>
                    <a:pt x="942" y="138"/>
                  </a:lnTo>
                  <a:lnTo>
                    <a:pt x="912" y="118"/>
                  </a:lnTo>
                  <a:lnTo>
                    <a:pt x="882" y="98"/>
                  </a:lnTo>
                  <a:lnTo>
                    <a:pt x="850" y="82"/>
                  </a:lnTo>
                  <a:lnTo>
                    <a:pt x="820" y="66"/>
                  </a:lnTo>
                  <a:lnTo>
                    <a:pt x="788" y="52"/>
                  </a:lnTo>
                  <a:lnTo>
                    <a:pt x="754" y="40"/>
                  </a:lnTo>
                  <a:lnTo>
                    <a:pt x="722" y="28"/>
                  </a:lnTo>
                  <a:lnTo>
                    <a:pt x="688" y="20"/>
                  </a:lnTo>
                  <a:lnTo>
                    <a:pt x="654" y="12"/>
                  </a:lnTo>
                  <a:lnTo>
                    <a:pt x="620" y="6"/>
                  </a:lnTo>
                  <a:lnTo>
                    <a:pt x="586" y="2"/>
                  </a:lnTo>
                  <a:lnTo>
                    <a:pt x="550" y="0"/>
                  </a:lnTo>
                  <a:lnTo>
                    <a:pt x="516" y="0"/>
                  </a:lnTo>
                  <a:lnTo>
                    <a:pt x="482" y="0"/>
                  </a:lnTo>
                  <a:lnTo>
                    <a:pt x="448" y="2"/>
                  </a:lnTo>
                  <a:lnTo>
                    <a:pt x="414" y="6"/>
                  </a:lnTo>
                  <a:lnTo>
                    <a:pt x="378" y="12"/>
                  </a:lnTo>
                  <a:lnTo>
                    <a:pt x="346" y="20"/>
                  </a:lnTo>
                  <a:lnTo>
                    <a:pt x="312" y="28"/>
                  </a:lnTo>
                  <a:lnTo>
                    <a:pt x="278" y="40"/>
                  </a:lnTo>
                  <a:lnTo>
                    <a:pt x="246" y="52"/>
                  </a:lnTo>
                  <a:lnTo>
                    <a:pt x="214" y="66"/>
                  </a:lnTo>
                  <a:lnTo>
                    <a:pt x="182" y="82"/>
                  </a:lnTo>
                  <a:lnTo>
                    <a:pt x="150" y="98"/>
                  </a:lnTo>
                  <a:lnTo>
                    <a:pt x="120" y="118"/>
                  </a:lnTo>
                  <a:lnTo>
                    <a:pt x="90" y="138"/>
                  </a:lnTo>
                  <a:lnTo>
                    <a:pt x="62" y="160"/>
                  </a:lnTo>
                  <a:lnTo>
                    <a:pt x="34" y="184"/>
                  </a:lnTo>
                  <a:lnTo>
                    <a:pt x="8" y="210"/>
                  </a:lnTo>
                  <a:lnTo>
                    <a:pt x="8" y="21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Line 10">
              <a:extLst>
                <a:ext uri="{FF2B5EF4-FFF2-40B4-BE49-F238E27FC236}">
                  <a16:creationId xmlns:a16="http://schemas.microsoft.com/office/drawing/2014/main" id="{F9E068AA-DDF1-4B74-9D20-4B41438663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1983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FF0F6715-E773-447C-81C8-87C9DF3662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7" y="1971"/>
              <a:ext cx="750" cy="192"/>
            </a:xfrm>
            <a:custGeom>
              <a:avLst/>
              <a:gdLst>
                <a:gd name="T0" fmla="*/ 374 w 750"/>
                <a:gd name="T1" fmla="*/ 0 h 192"/>
                <a:gd name="T2" fmla="*/ 322 w 750"/>
                <a:gd name="T3" fmla="*/ 2 h 192"/>
                <a:gd name="T4" fmla="*/ 272 w 750"/>
                <a:gd name="T5" fmla="*/ 10 h 192"/>
                <a:gd name="T6" fmla="*/ 222 w 750"/>
                <a:gd name="T7" fmla="*/ 22 h 192"/>
                <a:gd name="T8" fmla="*/ 174 w 750"/>
                <a:gd name="T9" fmla="*/ 40 h 192"/>
                <a:gd name="T10" fmla="*/ 130 w 750"/>
                <a:gd name="T11" fmla="*/ 60 h 192"/>
                <a:gd name="T12" fmla="*/ 86 w 750"/>
                <a:gd name="T13" fmla="*/ 86 h 192"/>
                <a:gd name="T14" fmla="*/ 44 w 750"/>
                <a:gd name="T15" fmla="*/ 118 h 192"/>
                <a:gd name="T16" fmla="*/ 6 w 750"/>
                <a:gd name="T17" fmla="*/ 152 h 192"/>
                <a:gd name="T18" fmla="*/ 0 w 750"/>
                <a:gd name="T19" fmla="*/ 160 h 192"/>
                <a:gd name="T20" fmla="*/ 0 w 750"/>
                <a:gd name="T21" fmla="*/ 178 h 192"/>
                <a:gd name="T22" fmla="*/ 6 w 750"/>
                <a:gd name="T23" fmla="*/ 186 h 192"/>
                <a:gd name="T24" fmla="*/ 24 w 750"/>
                <a:gd name="T25" fmla="*/ 192 h 192"/>
                <a:gd name="T26" fmla="*/ 40 w 750"/>
                <a:gd name="T27" fmla="*/ 186 h 192"/>
                <a:gd name="T28" fmla="*/ 74 w 750"/>
                <a:gd name="T29" fmla="*/ 154 h 192"/>
                <a:gd name="T30" fmla="*/ 152 w 750"/>
                <a:gd name="T31" fmla="*/ 102 h 192"/>
                <a:gd name="T32" fmla="*/ 236 w 750"/>
                <a:gd name="T33" fmla="*/ 68 h 192"/>
                <a:gd name="T34" fmla="*/ 328 w 750"/>
                <a:gd name="T35" fmla="*/ 50 h 192"/>
                <a:gd name="T36" fmla="*/ 374 w 750"/>
                <a:gd name="T37" fmla="*/ 48 h 192"/>
                <a:gd name="T38" fmla="*/ 468 w 750"/>
                <a:gd name="T39" fmla="*/ 56 h 192"/>
                <a:gd name="T40" fmla="*/ 556 w 750"/>
                <a:gd name="T41" fmla="*/ 84 h 192"/>
                <a:gd name="T42" fmla="*/ 636 w 750"/>
                <a:gd name="T43" fmla="*/ 126 h 192"/>
                <a:gd name="T44" fmla="*/ 708 w 750"/>
                <a:gd name="T45" fmla="*/ 186 h 192"/>
                <a:gd name="T46" fmla="*/ 716 w 750"/>
                <a:gd name="T47" fmla="*/ 192 h 192"/>
                <a:gd name="T48" fmla="*/ 726 w 750"/>
                <a:gd name="T49" fmla="*/ 192 h 192"/>
                <a:gd name="T50" fmla="*/ 742 w 750"/>
                <a:gd name="T51" fmla="*/ 186 h 192"/>
                <a:gd name="T52" fmla="*/ 748 w 750"/>
                <a:gd name="T53" fmla="*/ 178 h 192"/>
                <a:gd name="T54" fmla="*/ 748 w 750"/>
                <a:gd name="T55" fmla="*/ 160 h 192"/>
                <a:gd name="T56" fmla="*/ 742 w 750"/>
                <a:gd name="T57" fmla="*/ 152 h 192"/>
                <a:gd name="T58" fmla="*/ 704 w 750"/>
                <a:gd name="T59" fmla="*/ 118 h 192"/>
                <a:gd name="T60" fmla="*/ 664 w 750"/>
                <a:gd name="T61" fmla="*/ 86 h 192"/>
                <a:gd name="T62" fmla="*/ 620 w 750"/>
                <a:gd name="T63" fmla="*/ 60 h 192"/>
                <a:gd name="T64" fmla="*/ 574 w 750"/>
                <a:gd name="T65" fmla="*/ 40 h 192"/>
                <a:gd name="T66" fmla="*/ 526 w 750"/>
                <a:gd name="T67" fmla="*/ 22 h 192"/>
                <a:gd name="T68" fmla="*/ 476 w 750"/>
                <a:gd name="T69" fmla="*/ 10 h 192"/>
                <a:gd name="T70" fmla="*/ 426 w 750"/>
                <a:gd name="T71" fmla="*/ 2 h 192"/>
                <a:gd name="T72" fmla="*/ 374 w 750"/>
                <a:gd name="T73" fmla="*/ 0 h 192"/>
                <a:gd name="T74" fmla="*/ 374 w 750"/>
                <a:gd name="T75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50" h="192">
                  <a:moveTo>
                    <a:pt x="374" y="0"/>
                  </a:moveTo>
                  <a:lnTo>
                    <a:pt x="374" y="0"/>
                  </a:lnTo>
                  <a:lnTo>
                    <a:pt x="348" y="0"/>
                  </a:lnTo>
                  <a:lnTo>
                    <a:pt x="322" y="2"/>
                  </a:lnTo>
                  <a:lnTo>
                    <a:pt x="298" y="6"/>
                  </a:lnTo>
                  <a:lnTo>
                    <a:pt x="272" y="10"/>
                  </a:lnTo>
                  <a:lnTo>
                    <a:pt x="248" y="16"/>
                  </a:lnTo>
                  <a:lnTo>
                    <a:pt x="222" y="22"/>
                  </a:lnTo>
                  <a:lnTo>
                    <a:pt x="198" y="30"/>
                  </a:lnTo>
                  <a:lnTo>
                    <a:pt x="174" y="40"/>
                  </a:lnTo>
                  <a:lnTo>
                    <a:pt x="152" y="50"/>
                  </a:lnTo>
                  <a:lnTo>
                    <a:pt x="130" y="60"/>
                  </a:lnTo>
                  <a:lnTo>
                    <a:pt x="108" y="74"/>
                  </a:lnTo>
                  <a:lnTo>
                    <a:pt x="86" y="86"/>
                  </a:lnTo>
                  <a:lnTo>
                    <a:pt x="64" y="102"/>
                  </a:lnTo>
                  <a:lnTo>
                    <a:pt x="44" y="118"/>
                  </a:lnTo>
                  <a:lnTo>
                    <a:pt x="26" y="134"/>
                  </a:lnTo>
                  <a:lnTo>
                    <a:pt x="6" y="152"/>
                  </a:lnTo>
                  <a:lnTo>
                    <a:pt x="6" y="152"/>
                  </a:lnTo>
                  <a:lnTo>
                    <a:pt x="0" y="160"/>
                  </a:lnTo>
                  <a:lnTo>
                    <a:pt x="0" y="168"/>
                  </a:lnTo>
                  <a:lnTo>
                    <a:pt x="0" y="178"/>
                  </a:lnTo>
                  <a:lnTo>
                    <a:pt x="6" y="186"/>
                  </a:lnTo>
                  <a:lnTo>
                    <a:pt x="6" y="186"/>
                  </a:lnTo>
                  <a:lnTo>
                    <a:pt x="14" y="192"/>
                  </a:lnTo>
                  <a:lnTo>
                    <a:pt x="24" y="192"/>
                  </a:lnTo>
                  <a:lnTo>
                    <a:pt x="32" y="192"/>
                  </a:lnTo>
                  <a:lnTo>
                    <a:pt x="40" y="186"/>
                  </a:lnTo>
                  <a:lnTo>
                    <a:pt x="40" y="186"/>
                  </a:lnTo>
                  <a:lnTo>
                    <a:pt x="74" y="154"/>
                  </a:lnTo>
                  <a:lnTo>
                    <a:pt x="112" y="126"/>
                  </a:lnTo>
                  <a:lnTo>
                    <a:pt x="152" y="102"/>
                  </a:lnTo>
                  <a:lnTo>
                    <a:pt x="194" y="84"/>
                  </a:lnTo>
                  <a:lnTo>
                    <a:pt x="236" y="68"/>
                  </a:lnTo>
                  <a:lnTo>
                    <a:pt x="282" y="56"/>
                  </a:lnTo>
                  <a:lnTo>
                    <a:pt x="328" y="50"/>
                  </a:lnTo>
                  <a:lnTo>
                    <a:pt x="374" y="48"/>
                  </a:lnTo>
                  <a:lnTo>
                    <a:pt x="374" y="48"/>
                  </a:lnTo>
                  <a:lnTo>
                    <a:pt x="422" y="50"/>
                  </a:lnTo>
                  <a:lnTo>
                    <a:pt x="468" y="56"/>
                  </a:lnTo>
                  <a:lnTo>
                    <a:pt x="512" y="68"/>
                  </a:lnTo>
                  <a:lnTo>
                    <a:pt x="556" y="84"/>
                  </a:lnTo>
                  <a:lnTo>
                    <a:pt x="598" y="102"/>
                  </a:lnTo>
                  <a:lnTo>
                    <a:pt x="636" y="126"/>
                  </a:lnTo>
                  <a:lnTo>
                    <a:pt x="674" y="154"/>
                  </a:lnTo>
                  <a:lnTo>
                    <a:pt x="708" y="186"/>
                  </a:lnTo>
                  <a:lnTo>
                    <a:pt x="708" y="186"/>
                  </a:lnTo>
                  <a:lnTo>
                    <a:pt x="716" y="192"/>
                  </a:lnTo>
                  <a:lnTo>
                    <a:pt x="726" y="192"/>
                  </a:lnTo>
                  <a:lnTo>
                    <a:pt x="726" y="192"/>
                  </a:lnTo>
                  <a:lnTo>
                    <a:pt x="734" y="192"/>
                  </a:lnTo>
                  <a:lnTo>
                    <a:pt x="742" y="186"/>
                  </a:lnTo>
                  <a:lnTo>
                    <a:pt x="742" y="186"/>
                  </a:lnTo>
                  <a:lnTo>
                    <a:pt x="748" y="178"/>
                  </a:lnTo>
                  <a:lnTo>
                    <a:pt x="750" y="168"/>
                  </a:lnTo>
                  <a:lnTo>
                    <a:pt x="748" y="160"/>
                  </a:lnTo>
                  <a:lnTo>
                    <a:pt x="742" y="152"/>
                  </a:lnTo>
                  <a:lnTo>
                    <a:pt x="742" y="152"/>
                  </a:lnTo>
                  <a:lnTo>
                    <a:pt x="724" y="134"/>
                  </a:lnTo>
                  <a:lnTo>
                    <a:pt x="704" y="118"/>
                  </a:lnTo>
                  <a:lnTo>
                    <a:pt x="684" y="102"/>
                  </a:lnTo>
                  <a:lnTo>
                    <a:pt x="664" y="86"/>
                  </a:lnTo>
                  <a:lnTo>
                    <a:pt x="642" y="74"/>
                  </a:lnTo>
                  <a:lnTo>
                    <a:pt x="620" y="60"/>
                  </a:lnTo>
                  <a:lnTo>
                    <a:pt x="596" y="50"/>
                  </a:lnTo>
                  <a:lnTo>
                    <a:pt x="574" y="40"/>
                  </a:lnTo>
                  <a:lnTo>
                    <a:pt x="550" y="30"/>
                  </a:lnTo>
                  <a:lnTo>
                    <a:pt x="526" y="22"/>
                  </a:lnTo>
                  <a:lnTo>
                    <a:pt x="502" y="16"/>
                  </a:lnTo>
                  <a:lnTo>
                    <a:pt x="476" y="10"/>
                  </a:lnTo>
                  <a:lnTo>
                    <a:pt x="452" y="6"/>
                  </a:lnTo>
                  <a:lnTo>
                    <a:pt x="426" y="2"/>
                  </a:lnTo>
                  <a:lnTo>
                    <a:pt x="400" y="0"/>
                  </a:lnTo>
                  <a:lnTo>
                    <a:pt x="374" y="0"/>
                  </a:lnTo>
                  <a:lnTo>
                    <a:pt x="374" y="0"/>
                  </a:lnTo>
                  <a:close/>
                  <a:moveTo>
                    <a:pt x="374" y="0"/>
                  </a:moveTo>
                  <a:lnTo>
                    <a:pt x="37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006D9D00-D53A-4301-9D0A-D3A3E97C0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" y="1971"/>
              <a:ext cx="750" cy="192"/>
            </a:xfrm>
            <a:custGeom>
              <a:avLst/>
              <a:gdLst>
                <a:gd name="T0" fmla="*/ 374 w 750"/>
                <a:gd name="T1" fmla="*/ 0 h 192"/>
                <a:gd name="T2" fmla="*/ 322 w 750"/>
                <a:gd name="T3" fmla="*/ 2 h 192"/>
                <a:gd name="T4" fmla="*/ 272 w 750"/>
                <a:gd name="T5" fmla="*/ 10 h 192"/>
                <a:gd name="T6" fmla="*/ 222 w 750"/>
                <a:gd name="T7" fmla="*/ 22 h 192"/>
                <a:gd name="T8" fmla="*/ 174 w 750"/>
                <a:gd name="T9" fmla="*/ 40 h 192"/>
                <a:gd name="T10" fmla="*/ 130 w 750"/>
                <a:gd name="T11" fmla="*/ 60 h 192"/>
                <a:gd name="T12" fmla="*/ 86 w 750"/>
                <a:gd name="T13" fmla="*/ 86 h 192"/>
                <a:gd name="T14" fmla="*/ 44 w 750"/>
                <a:gd name="T15" fmla="*/ 118 h 192"/>
                <a:gd name="T16" fmla="*/ 6 w 750"/>
                <a:gd name="T17" fmla="*/ 152 h 192"/>
                <a:gd name="T18" fmla="*/ 0 w 750"/>
                <a:gd name="T19" fmla="*/ 160 h 192"/>
                <a:gd name="T20" fmla="*/ 0 w 750"/>
                <a:gd name="T21" fmla="*/ 178 h 192"/>
                <a:gd name="T22" fmla="*/ 6 w 750"/>
                <a:gd name="T23" fmla="*/ 186 h 192"/>
                <a:gd name="T24" fmla="*/ 24 w 750"/>
                <a:gd name="T25" fmla="*/ 192 h 192"/>
                <a:gd name="T26" fmla="*/ 40 w 750"/>
                <a:gd name="T27" fmla="*/ 186 h 192"/>
                <a:gd name="T28" fmla="*/ 74 w 750"/>
                <a:gd name="T29" fmla="*/ 154 h 192"/>
                <a:gd name="T30" fmla="*/ 152 w 750"/>
                <a:gd name="T31" fmla="*/ 102 h 192"/>
                <a:gd name="T32" fmla="*/ 236 w 750"/>
                <a:gd name="T33" fmla="*/ 68 h 192"/>
                <a:gd name="T34" fmla="*/ 328 w 750"/>
                <a:gd name="T35" fmla="*/ 50 h 192"/>
                <a:gd name="T36" fmla="*/ 374 w 750"/>
                <a:gd name="T37" fmla="*/ 48 h 192"/>
                <a:gd name="T38" fmla="*/ 468 w 750"/>
                <a:gd name="T39" fmla="*/ 56 h 192"/>
                <a:gd name="T40" fmla="*/ 556 w 750"/>
                <a:gd name="T41" fmla="*/ 84 h 192"/>
                <a:gd name="T42" fmla="*/ 636 w 750"/>
                <a:gd name="T43" fmla="*/ 126 h 192"/>
                <a:gd name="T44" fmla="*/ 708 w 750"/>
                <a:gd name="T45" fmla="*/ 186 h 192"/>
                <a:gd name="T46" fmla="*/ 716 w 750"/>
                <a:gd name="T47" fmla="*/ 192 h 192"/>
                <a:gd name="T48" fmla="*/ 726 w 750"/>
                <a:gd name="T49" fmla="*/ 192 h 192"/>
                <a:gd name="T50" fmla="*/ 742 w 750"/>
                <a:gd name="T51" fmla="*/ 186 h 192"/>
                <a:gd name="T52" fmla="*/ 748 w 750"/>
                <a:gd name="T53" fmla="*/ 178 h 192"/>
                <a:gd name="T54" fmla="*/ 748 w 750"/>
                <a:gd name="T55" fmla="*/ 160 h 192"/>
                <a:gd name="T56" fmla="*/ 742 w 750"/>
                <a:gd name="T57" fmla="*/ 152 h 192"/>
                <a:gd name="T58" fmla="*/ 704 w 750"/>
                <a:gd name="T59" fmla="*/ 118 h 192"/>
                <a:gd name="T60" fmla="*/ 664 w 750"/>
                <a:gd name="T61" fmla="*/ 86 h 192"/>
                <a:gd name="T62" fmla="*/ 620 w 750"/>
                <a:gd name="T63" fmla="*/ 60 h 192"/>
                <a:gd name="T64" fmla="*/ 574 w 750"/>
                <a:gd name="T65" fmla="*/ 40 h 192"/>
                <a:gd name="T66" fmla="*/ 526 w 750"/>
                <a:gd name="T67" fmla="*/ 22 h 192"/>
                <a:gd name="T68" fmla="*/ 476 w 750"/>
                <a:gd name="T69" fmla="*/ 10 h 192"/>
                <a:gd name="T70" fmla="*/ 426 w 750"/>
                <a:gd name="T71" fmla="*/ 2 h 192"/>
                <a:gd name="T72" fmla="*/ 374 w 750"/>
                <a:gd name="T73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50" h="192">
                  <a:moveTo>
                    <a:pt x="374" y="0"/>
                  </a:moveTo>
                  <a:lnTo>
                    <a:pt x="374" y="0"/>
                  </a:lnTo>
                  <a:lnTo>
                    <a:pt x="348" y="0"/>
                  </a:lnTo>
                  <a:lnTo>
                    <a:pt x="322" y="2"/>
                  </a:lnTo>
                  <a:lnTo>
                    <a:pt x="298" y="6"/>
                  </a:lnTo>
                  <a:lnTo>
                    <a:pt x="272" y="10"/>
                  </a:lnTo>
                  <a:lnTo>
                    <a:pt x="248" y="16"/>
                  </a:lnTo>
                  <a:lnTo>
                    <a:pt x="222" y="22"/>
                  </a:lnTo>
                  <a:lnTo>
                    <a:pt x="198" y="30"/>
                  </a:lnTo>
                  <a:lnTo>
                    <a:pt x="174" y="40"/>
                  </a:lnTo>
                  <a:lnTo>
                    <a:pt x="152" y="50"/>
                  </a:lnTo>
                  <a:lnTo>
                    <a:pt x="130" y="60"/>
                  </a:lnTo>
                  <a:lnTo>
                    <a:pt x="108" y="74"/>
                  </a:lnTo>
                  <a:lnTo>
                    <a:pt x="86" y="86"/>
                  </a:lnTo>
                  <a:lnTo>
                    <a:pt x="64" y="102"/>
                  </a:lnTo>
                  <a:lnTo>
                    <a:pt x="44" y="118"/>
                  </a:lnTo>
                  <a:lnTo>
                    <a:pt x="26" y="134"/>
                  </a:lnTo>
                  <a:lnTo>
                    <a:pt x="6" y="152"/>
                  </a:lnTo>
                  <a:lnTo>
                    <a:pt x="6" y="152"/>
                  </a:lnTo>
                  <a:lnTo>
                    <a:pt x="0" y="160"/>
                  </a:lnTo>
                  <a:lnTo>
                    <a:pt x="0" y="168"/>
                  </a:lnTo>
                  <a:lnTo>
                    <a:pt x="0" y="178"/>
                  </a:lnTo>
                  <a:lnTo>
                    <a:pt x="6" y="186"/>
                  </a:lnTo>
                  <a:lnTo>
                    <a:pt x="6" y="186"/>
                  </a:lnTo>
                  <a:lnTo>
                    <a:pt x="14" y="192"/>
                  </a:lnTo>
                  <a:lnTo>
                    <a:pt x="24" y="192"/>
                  </a:lnTo>
                  <a:lnTo>
                    <a:pt x="32" y="192"/>
                  </a:lnTo>
                  <a:lnTo>
                    <a:pt x="40" y="186"/>
                  </a:lnTo>
                  <a:lnTo>
                    <a:pt x="40" y="186"/>
                  </a:lnTo>
                  <a:lnTo>
                    <a:pt x="74" y="154"/>
                  </a:lnTo>
                  <a:lnTo>
                    <a:pt x="112" y="126"/>
                  </a:lnTo>
                  <a:lnTo>
                    <a:pt x="152" y="102"/>
                  </a:lnTo>
                  <a:lnTo>
                    <a:pt x="194" y="84"/>
                  </a:lnTo>
                  <a:lnTo>
                    <a:pt x="236" y="68"/>
                  </a:lnTo>
                  <a:lnTo>
                    <a:pt x="282" y="56"/>
                  </a:lnTo>
                  <a:lnTo>
                    <a:pt x="328" y="50"/>
                  </a:lnTo>
                  <a:lnTo>
                    <a:pt x="374" y="48"/>
                  </a:lnTo>
                  <a:lnTo>
                    <a:pt x="374" y="48"/>
                  </a:lnTo>
                  <a:lnTo>
                    <a:pt x="422" y="50"/>
                  </a:lnTo>
                  <a:lnTo>
                    <a:pt x="468" y="56"/>
                  </a:lnTo>
                  <a:lnTo>
                    <a:pt x="512" y="68"/>
                  </a:lnTo>
                  <a:lnTo>
                    <a:pt x="556" y="84"/>
                  </a:lnTo>
                  <a:lnTo>
                    <a:pt x="598" y="102"/>
                  </a:lnTo>
                  <a:lnTo>
                    <a:pt x="636" y="126"/>
                  </a:lnTo>
                  <a:lnTo>
                    <a:pt x="674" y="154"/>
                  </a:lnTo>
                  <a:lnTo>
                    <a:pt x="708" y="186"/>
                  </a:lnTo>
                  <a:lnTo>
                    <a:pt x="708" y="186"/>
                  </a:lnTo>
                  <a:lnTo>
                    <a:pt x="716" y="192"/>
                  </a:lnTo>
                  <a:lnTo>
                    <a:pt x="726" y="192"/>
                  </a:lnTo>
                  <a:lnTo>
                    <a:pt x="726" y="192"/>
                  </a:lnTo>
                  <a:lnTo>
                    <a:pt x="734" y="192"/>
                  </a:lnTo>
                  <a:lnTo>
                    <a:pt x="742" y="186"/>
                  </a:lnTo>
                  <a:lnTo>
                    <a:pt x="742" y="186"/>
                  </a:lnTo>
                  <a:lnTo>
                    <a:pt x="748" y="178"/>
                  </a:lnTo>
                  <a:lnTo>
                    <a:pt x="750" y="168"/>
                  </a:lnTo>
                  <a:lnTo>
                    <a:pt x="748" y="160"/>
                  </a:lnTo>
                  <a:lnTo>
                    <a:pt x="742" y="152"/>
                  </a:lnTo>
                  <a:lnTo>
                    <a:pt x="742" y="152"/>
                  </a:lnTo>
                  <a:lnTo>
                    <a:pt x="724" y="134"/>
                  </a:lnTo>
                  <a:lnTo>
                    <a:pt x="704" y="118"/>
                  </a:lnTo>
                  <a:lnTo>
                    <a:pt x="684" y="102"/>
                  </a:lnTo>
                  <a:lnTo>
                    <a:pt x="664" y="86"/>
                  </a:lnTo>
                  <a:lnTo>
                    <a:pt x="642" y="74"/>
                  </a:lnTo>
                  <a:lnTo>
                    <a:pt x="620" y="60"/>
                  </a:lnTo>
                  <a:lnTo>
                    <a:pt x="596" y="50"/>
                  </a:lnTo>
                  <a:lnTo>
                    <a:pt x="574" y="40"/>
                  </a:lnTo>
                  <a:lnTo>
                    <a:pt x="550" y="30"/>
                  </a:lnTo>
                  <a:lnTo>
                    <a:pt x="526" y="22"/>
                  </a:lnTo>
                  <a:lnTo>
                    <a:pt x="502" y="16"/>
                  </a:lnTo>
                  <a:lnTo>
                    <a:pt x="476" y="10"/>
                  </a:lnTo>
                  <a:lnTo>
                    <a:pt x="452" y="6"/>
                  </a:lnTo>
                  <a:lnTo>
                    <a:pt x="426" y="2"/>
                  </a:lnTo>
                  <a:lnTo>
                    <a:pt x="400" y="0"/>
                  </a:lnTo>
                  <a:lnTo>
                    <a:pt x="374" y="0"/>
                  </a:lnTo>
                  <a:lnTo>
                    <a:pt x="37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Line 13">
              <a:extLst>
                <a:ext uri="{FF2B5EF4-FFF2-40B4-BE49-F238E27FC236}">
                  <a16:creationId xmlns:a16="http://schemas.microsoft.com/office/drawing/2014/main" id="{81E07C84-19E1-46D3-BEBD-334520AA7E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41" y="1971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70390251-ED5D-4523-BBD8-BC50FC530E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5" y="2195"/>
              <a:ext cx="312" cy="314"/>
            </a:xfrm>
            <a:custGeom>
              <a:avLst/>
              <a:gdLst>
                <a:gd name="T0" fmla="*/ 156 w 312"/>
                <a:gd name="T1" fmla="*/ 0 h 314"/>
                <a:gd name="T2" fmla="*/ 124 w 312"/>
                <a:gd name="T3" fmla="*/ 4 h 314"/>
                <a:gd name="T4" fmla="*/ 96 w 312"/>
                <a:gd name="T5" fmla="*/ 12 h 314"/>
                <a:gd name="T6" fmla="*/ 68 w 312"/>
                <a:gd name="T7" fmla="*/ 28 h 314"/>
                <a:gd name="T8" fmla="*/ 46 w 312"/>
                <a:gd name="T9" fmla="*/ 46 h 314"/>
                <a:gd name="T10" fmla="*/ 26 w 312"/>
                <a:gd name="T11" fmla="*/ 70 h 314"/>
                <a:gd name="T12" fmla="*/ 12 w 312"/>
                <a:gd name="T13" fmla="*/ 96 h 314"/>
                <a:gd name="T14" fmla="*/ 2 w 312"/>
                <a:gd name="T15" fmla="*/ 126 h 314"/>
                <a:gd name="T16" fmla="*/ 0 w 312"/>
                <a:gd name="T17" fmla="*/ 158 h 314"/>
                <a:gd name="T18" fmla="*/ 0 w 312"/>
                <a:gd name="T19" fmla="*/ 174 h 314"/>
                <a:gd name="T20" fmla="*/ 6 w 312"/>
                <a:gd name="T21" fmla="*/ 204 h 314"/>
                <a:gd name="T22" fmla="*/ 18 w 312"/>
                <a:gd name="T23" fmla="*/ 232 h 314"/>
                <a:gd name="T24" fmla="*/ 36 w 312"/>
                <a:gd name="T25" fmla="*/ 256 h 314"/>
                <a:gd name="T26" fmla="*/ 56 w 312"/>
                <a:gd name="T27" fmla="*/ 278 h 314"/>
                <a:gd name="T28" fmla="*/ 82 w 312"/>
                <a:gd name="T29" fmla="*/ 294 h 314"/>
                <a:gd name="T30" fmla="*/ 110 w 312"/>
                <a:gd name="T31" fmla="*/ 306 h 314"/>
                <a:gd name="T32" fmla="*/ 140 w 312"/>
                <a:gd name="T33" fmla="*/ 314 h 314"/>
                <a:gd name="T34" fmla="*/ 156 w 312"/>
                <a:gd name="T35" fmla="*/ 314 h 314"/>
                <a:gd name="T36" fmla="*/ 188 w 312"/>
                <a:gd name="T37" fmla="*/ 310 h 314"/>
                <a:gd name="T38" fmla="*/ 218 w 312"/>
                <a:gd name="T39" fmla="*/ 302 h 314"/>
                <a:gd name="T40" fmla="*/ 244 w 312"/>
                <a:gd name="T41" fmla="*/ 288 h 314"/>
                <a:gd name="T42" fmla="*/ 266 w 312"/>
                <a:gd name="T43" fmla="*/ 268 h 314"/>
                <a:gd name="T44" fmla="*/ 286 w 312"/>
                <a:gd name="T45" fmla="*/ 244 h 314"/>
                <a:gd name="T46" fmla="*/ 300 w 312"/>
                <a:gd name="T47" fmla="*/ 218 h 314"/>
                <a:gd name="T48" fmla="*/ 310 w 312"/>
                <a:gd name="T49" fmla="*/ 188 h 314"/>
                <a:gd name="T50" fmla="*/ 312 w 312"/>
                <a:gd name="T51" fmla="*/ 158 h 314"/>
                <a:gd name="T52" fmla="*/ 312 w 312"/>
                <a:gd name="T53" fmla="*/ 142 h 314"/>
                <a:gd name="T54" fmla="*/ 306 w 312"/>
                <a:gd name="T55" fmla="*/ 110 h 314"/>
                <a:gd name="T56" fmla="*/ 294 w 312"/>
                <a:gd name="T57" fmla="*/ 82 h 314"/>
                <a:gd name="T58" fmla="*/ 278 w 312"/>
                <a:gd name="T59" fmla="*/ 58 h 314"/>
                <a:gd name="T60" fmla="*/ 256 w 312"/>
                <a:gd name="T61" fmla="*/ 36 h 314"/>
                <a:gd name="T62" fmla="*/ 230 w 312"/>
                <a:gd name="T63" fmla="*/ 20 h 314"/>
                <a:gd name="T64" fmla="*/ 202 w 312"/>
                <a:gd name="T65" fmla="*/ 8 h 314"/>
                <a:gd name="T66" fmla="*/ 172 w 312"/>
                <a:gd name="T67" fmla="*/ 2 h 314"/>
                <a:gd name="T68" fmla="*/ 156 w 312"/>
                <a:gd name="T69" fmla="*/ 0 h 314"/>
                <a:gd name="T70" fmla="*/ 156 w 312"/>
                <a:gd name="T71" fmla="*/ 266 h 314"/>
                <a:gd name="T72" fmla="*/ 114 w 312"/>
                <a:gd name="T73" fmla="*/ 258 h 314"/>
                <a:gd name="T74" fmla="*/ 80 w 312"/>
                <a:gd name="T75" fmla="*/ 234 h 314"/>
                <a:gd name="T76" fmla="*/ 56 w 312"/>
                <a:gd name="T77" fmla="*/ 200 h 314"/>
                <a:gd name="T78" fmla="*/ 48 w 312"/>
                <a:gd name="T79" fmla="*/ 158 h 314"/>
                <a:gd name="T80" fmla="*/ 50 w 312"/>
                <a:gd name="T81" fmla="*/ 136 h 314"/>
                <a:gd name="T82" fmla="*/ 66 w 312"/>
                <a:gd name="T83" fmla="*/ 96 h 314"/>
                <a:gd name="T84" fmla="*/ 96 w 312"/>
                <a:gd name="T85" fmla="*/ 68 h 314"/>
                <a:gd name="T86" fmla="*/ 134 w 312"/>
                <a:gd name="T87" fmla="*/ 50 h 314"/>
                <a:gd name="T88" fmla="*/ 156 w 312"/>
                <a:gd name="T89" fmla="*/ 48 h 314"/>
                <a:gd name="T90" fmla="*/ 198 w 312"/>
                <a:gd name="T91" fmla="*/ 58 h 314"/>
                <a:gd name="T92" fmla="*/ 234 w 312"/>
                <a:gd name="T93" fmla="*/ 80 h 314"/>
                <a:gd name="T94" fmla="*/ 256 w 312"/>
                <a:gd name="T95" fmla="*/ 114 h 314"/>
                <a:gd name="T96" fmla="*/ 266 w 312"/>
                <a:gd name="T97" fmla="*/ 158 h 314"/>
                <a:gd name="T98" fmla="*/ 262 w 312"/>
                <a:gd name="T99" fmla="*/ 180 h 314"/>
                <a:gd name="T100" fmla="*/ 246 w 312"/>
                <a:gd name="T101" fmla="*/ 218 h 314"/>
                <a:gd name="T102" fmla="*/ 218 w 312"/>
                <a:gd name="T103" fmla="*/ 248 h 314"/>
                <a:gd name="T104" fmla="*/ 178 w 312"/>
                <a:gd name="T105" fmla="*/ 264 h 314"/>
                <a:gd name="T106" fmla="*/ 156 w 312"/>
                <a:gd name="T107" fmla="*/ 266 h 314"/>
                <a:gd name="T108" fmla="*/ 156 w 312"/>
                <a:gd name="T109" fmla="*/ 266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2" h="314">
                  <a:moveTo>
                    <a:pt x="156" y="0"/>
                  </a:moveTo>
                  <a:lnTo>
                    <a:pt x="156" y="0"/>
                  </a:lnTo>
                  <a:lnTo>
                    <a:pt x="140" y="2"/>
                  </a:lnTo>
                  <a:lnTo>
                    <a:pt x="124" y="4"/>
                  </a:lnTo>
                  <a:lnTo>
                    <a:pt x="110" y="8"/>
                  </a:lnTo>
                  <a:lnTo>
                    <a:pt x="96" y="12"/>
                  </a:lnTo>
                  <a:lnTo>
                    <a:pt x="82" y="20"/>
                  </a:lnTo>
                  <a:lnTo>
                    <a:pt x="68" y="28"/>
                  </a:lnTo>
                  <a:lnTo>
                    <a:pt x="56" y="36"/>
                  </a:lnTo>
                  <a:lnTo>
                    <a:pt x="46" y="46"/>
                  </a:lnTo>
                  <a:lnTo>
                    <a:pt x="36" y="58"/>
                  </a:lnTo>
                  <a:lnTo>
                    <a:pt x="26" y="70"/>
                  </a:lnTo>
                  <a:lnTo>
                    <a:pt x="18" y="82"/>
                  </a:lnTo>
                  <a:lnTo>
                    <a:pt x="12" y="96"/>
                  </a:lnTo>
                  <a:lnTo>
                    <a:pt x="6" y="110"/>
                  </a:lnTo>
                  <a:lnTo>
                    <a:pt x="2" y="126"/>
                  </a:lnTo>
                  <a:lnTo>
                    <a:pt x="0" y="142"/>
                  </a:lnTo>
                  <a:lnTo>
                    <a:pt x="0" y="158"/>
                  </a:lnTo>
                  <a:lnTo>
                    <a:pt x="0" y="158"/>
                  </a:lnTo>
                  <a:lnTo>
                    <a:pt x="0" y="174"/>
                  </a:lnTo>
                  <a:lnTo>
                    <a:pt x="2" y="188"/>
                  </a:lnTo>
                  <a:lnTo>
                    <a:pt x="6" y="204"/>
                  </a:lnTo>
                  <a:lnTo>
                    <a:pt x="12" y="218"/>
                  </a:lnTo>
                  <a:lnTo>
                    <a:pt x="18" y="232"/>
                  </a:lnTo>
                  <a:lnTo>
                    <a:pt x="26" y="244"/>
                  </a:lnTo>
                  <a:lnTo>
                    <a:pt x="36" y="256"/>
                  </a:lnTo>
                  <a:lnTo>
                    <a:pt x="46" y="268"/>
                  </a:lnTo>
                  <a:lnTo>
                    <a:pt x="56" y="278"/>
                  </a:lnTo>
                  <a:lnTo>
                    <a:pt x="68" y="288"/>
                  </a:lnTo>
                  <a:lnTo>
                    <a:pt x="82" y="294"/>
                  </a:lnTo>
                  <a:lnTo>
                    <a:pt x="96" y="302"/>
                  </a:lnTo>
                  <a:lnTo>
                    <a:pt x="110" y="306"/>
                  </a:lnTo>
                  <a:lnTo>
                    <a:pt x="124" y="310"/>
                  </a:lnTo>
                  <a:lnTo>
                    <a:pt x="140" y="31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72" y="314"/>
                  </a:lnTo>
                  <a:lnTo>
                    <a:pt x="188" y="310"/>
                  </a:lnTo>
                  <a:lnTo>
                    <a:pt x="202" y="306"/>
                  </a:lnTo>
                  <a:lnTo>
                    <a:pt x="218" y="302"/>
                  </a:lnTo>
                  <a:lnTo>
                    <a:pt x="230" y="294"/>
                  </a:lnTo>
                  <a:lnTo>
                    <a:pt x="244" y="288"/>
                  </a:lnTo>
                  <a:lnTo>
                    <a:pt x="256" y="278"/>
                  </a:lnTo>
                  <a:lnTo>
                    <a:pt x="266" y="268"/>
                  </a:lnTo>
                  <a:lnTo>
                    <a:pt x="278" y="256"/>
                  </a:lnTo>
                  <a:lnTo>
                    <a:pt x="286" y="244"/>
                  </a:lnTo>
                  <a:lnTo>
                    <a:pt x="294" y="232"/>
                  </a:lnTo>
                  <a:lnTo>
                    <a:pt x="300" y="218"/>
                  </a:lnTo>
                  <a:lnTo>
                    <a:pt x="306" y="204"/>
                  </a:lnTo>
                  <a:lnTo>
                    <a:pt x="310" y="188"/>
                  </a:lnTo>
                  <a:lnTo>
                    <a:pt x="312" y="174"/>
                  </a:lnTo>
                  <a:lnTo>
                    <a:pt x="312" y="158"/>
                  </a:lnTo>
                  <a:lnTo>
                    <a:pt x="312" y="158"/>
                  </a:lnTo>
                  <a:lnTo>
                    <a:pt x="312" y="142"/>
                  </a:lnTo>
                  <a:lnTo>
                    <a:pt x="310" y="126"/>
                  </a:lnTo>
                  <a:lnTo>
                    <a:pt x="306" y="110"/>
                  </a:lnTo>
                  <a:lnTo>
                    <a:pt x="300" y="96"/>
                  </a:lnTo>
                  <a:lnTo>
                    <a:pt x="294" y="82"/>
                  </a:lnTo>
                  <a:lnTo>
                    <a:pt x="286" y="70"/>
                  </a:lnTo>
                  <a:lnTo>
                    <a:pt x="278" y="58"/>
                  </a:lnTo>
                  <a:lnTo>
                    <a:pt x="266" y="46"/>
                  </a:lnTo>
                  <a:lnTo>
                    <a:pt x="256" y="36"/>
                  </a:lnTo>
                  <a:lnTo>
                    <a:pt x="244" y="28"/>
                  </a:lnTo>
                  <a:lnTo>
                    <a:pt x="230" y="20"/>
                  </a:lnTo>
                  <a:lnTo>
                    <a:pt x="218" y="12"/>
                  </a:lnTo>
                  <a:lnTo>
                    <a:pt x="202" y="8"/>
                  </a:lnTo>
                  <a:lnTo>
                    <a:pt x="188" y="4"/>
                  </a:lnTo>
                  <a:lnTo>
                    <a:pt x="172" y="2"/>
                  </a:lnTo>
                  <a:lnTo>
                    <a:pt x="156" y="0"/>
                  </a:lnTo>
                  <a:lnTo>
                    <a:pt x="156" y="0"/>
                  </a:lnTo>
                  <a:close/>
                  <a:moveTo>
                    <a:pt x="156" y="266"/>
                  </a:moveTo>
                  <a:lnTo>
                    <a:pt x="156" y="266"/>
                  </a:lnTo>
                  <a:lnTo>
                    <a:pt x="134" y="264"/>
                  </a:lnTo>
                  <a:lnTo>
                    <a:pt x="114" y="258"/>
                  </a:lnTo>
                  <a:lnTo>
                    <a:pt x="96" y="248"/>
                  </a:lnTo>
                  <a:lnTo>
                    <a:pt x="80" y="234"/>
                  </a:lnTo>
                  <a:lnTo>
                    <a:pt x="66" y="218"/>
                  </a:lnTo>
                  <a:lnTo>
                    <a:pt x="56" y="200"/>
                  </a:lnTo>
                  <a:lnTo>
                    <a:pt x="50" y="180"/>
                  </a:lnTo>
                  <a:lnTo>
                    <a:pt x="48" y="158"/>
                  </a:lnTo>
                  <a:lnTo>
                    <a:pt x="48" y="158"/>
                  </a:lnTo>
                  <a:lnTo>
                    <a:pt x="50" y="136"/>
                  </a:lnTo>
                  <a:lnTo>
                    <a:pt x="56" y="114"/>
                  </a:lnTo>
                  <a:lnTo>
                    <a:pt x="66" y="96"/>
                  </a:lnTo>
                  <a:lnTo>
                    <a:pt x="80" y="80"/>
                  </a:lnTo>
                  <a:lnTo>
                    <a:pt x="96" y="68"/>
                  </a:lnTo>
                  <a:lnTo>
                    <a:pt x="114" y="58"/>
                  </a:lnTo>
                  <a:lnTo>
                    <a:pt x="134" y="50"/>
                  </a:lnTo>
                  <a:lnTo>
                    <a:pt x="156" y="48"/>
                  </a:lnTo>
                  <a:lnTo>
                    <a:pt x="156" y="48"/>
                  </a:lnTo>
                  <a:lnTo>
                    <a:pt x="178" y="50"/>
                  </a:lnTo>
                  <a:lnTo>
                    <a:pt x="198" y="58"/>
                  </a:lnTo>
                  <a:lnTo>
                    <a:pt x="218" y="68"/>
                  </a:lnTo>
                  <a:lnTo>
                    <a:pt x="234" y="80"/>
                  </a:lnTo>
                  <a:lnTo>
                    <a:pt x="246" y="96"/>
                  </a:lnTo>
                  <a:lnTo>
                    <a:pt x="256" y="114"/>
                  </a:lnTo>
                  <a:lnTo>
                    <a:pt x="262" y="136"/>
                  </a:lnTo>
                  <a:lnTo>
                    <a:pt x="266" y="158"/>
                  </a:lnTo>
                  <a:lnTo>
                    <a:pt x="266" y="158"/>
                  </a:lnTo>
                  <a:lnTo>
                    <a:pt x="262" y="180"/>
                  </a:lnTo>
                  <a:lnTo>
                    <a:pt x="256" y="200"/>
                  </a:lnTo>
                  <a:lnTo>
                    <a:pt x="246" y="218"/>
                  </a:lnTo>
                  <a:lnTo>
                    <a:pt x="234" y="234"/>
                  </a:lnTo>
                  <a:lnTo>
                    <a:pt x="218" y="248"/>
                  </a:lnTo>
                  <a:lnTo>
                    <a:pt x="198" y="258"/>
                  </a:lnTo>
                  <a:lnTo>
                    <a:pt x="178" y="264"/>
                  </a:lnTo>
                  <a:lnTo>
                    <a:pt x="156" y="266"/>
                  </a:lnTo>
                  <a:lnTo>
                    <a:pt x="156" y="266"/>
                  </a:lnTo>
                  <a:close/>
                  <a:moveTo>
                    <a:pt x="156" y="266"/>
                  </a:moveTo>
                  <a:lnTo>
                    <a:pt x="156" y="2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Line 17">
              <a:extLst>
                <a:ext uri="{FF2B5EF4-FFF2-40B4-BE49-F238E27FC236}">
                  <a16:creationId xmlns:a16="http://schemas.microsoft.com/office/drawing/2014/main" id="{D37AC9DA-909E-46D7-91C1-4CB258E254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41" y="2461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ACFFD2FC-7A88-49A4-B76E-B3AFE5AC83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3" y="1285"/>
              <a:ext cx="2456" cy="1512"/>
            </a:xfrm>
            <a:custGeom>
              <a:avLst/>
              <a:gdLst>
                <a:gd name="T0" fmla="*/ 74 w 2456"/>
                <a:gd name="T1" fmla="*/ 0 h 1512"/>
                <a:gd name="T2" fmla="*/ 58 w 2456"/>
                <a:gd name="T3" fmla="*/ 0 h 1512"/>
                <a:gd name="T4" fmla="*/ 32 w 2456"/>
                <a:gd name="T5" fmla="*/ 12 h 1512"/>
                <a:gd name="T6" fmla="*/ 12 w 2456"/>
                <a:gd name="T7" fmla="*/ 32 h 1512"/>
                <a:gd name="T8" fmla="*/ 0 w 2456"/>
                <a:gd name="T9" fmla="*/ 58 h 1512"/>
                <a:gd name="T10" fmla="*/ 0 w 2456"/>
                <a:gd name="T11" fmla="*/ 1438 h 1512"/>
                <a:gd name="T12" fmla="*/ 0 w 2456"/>
                <a:gd name="T13" fmla="*/ 1452 h 1512"/>
                <a:gd name="T14" fmla="*/ 12 w 2456"/>
                <a:gd name="T15" fmla="*/ 1480 h 1512"/>
                <a:gd name="T16" fmla="*/ 32 w 2456"/>
                <a:gd name="T17" fmla="*/ 1500 h 1512"/>
                <a:gd name="T18" fmla="*/ 58 w 2456"/>
                <a:gd name="T19" fmla="*/ 1510 h 1512"/>
                <a:gd name="T20" fmla="*/ 2382 w 2456"/>
                <a:gd name="T21" fmla="*/ 1512 h 1512"/>
                <a:gd name="T22" fmla="*/ 2396 w 2456"/>
                <a:gd name="T23" fmla="*/ 1510 h 1512"/>
                <a:gd name="T24" fmla="*/ 2422 w 2456"/>
                <a:gd name="T25" fmla="*/ 1500 h 1512"/>
                <a:gd name="T26" fmla="*/ 2442 w 2456"/>
                <a:gd name="T27" fmla="*/ 1480 h 1512"/>
                <a:gd name="T28" fmla="*/ 2454 w 2456"/>
                <a:gd name="T29" fmla="*/ 1452 h 1512"/>
                <a:gd name="T30" fmla="*/ 2456 w 2456"/>
                <a:gd name="T31" fmla="*/ 74 h 1512"/>
                <a:gd name="T32" fmla="*/ 2454 w 2456"/>
                <a:gd name="T33" fmla="*/ 58 h 1512"/>
                <a:gd name="T34" fmla="*/ 2442 w 2456"/>
                <a:gd name="T35" fmla="*/ 32 h 1512"/>
                <a:gd name="T36" fmla="*/ 2422 w 2456"/>
                <a:gd name="T37" fmla="*/ 12 h 1512"/>
                <a:gd name="T38" fmla="*/ 2396 w 2456"/>
                <a:gd name="T39" fmla="*/ 0 h 1512"/>
                <a:gd name="T40" fmla="*/ 2382 w 2456"/>
                <a:gd name="T41" fmla="*/ 0 h 1512"/>
                <a:gd name="T42" fmla="*/ 2392 w 2456"/>
                <a:gd name="T43" fmla="*/ 1438 h 1512"/>
                <a:gd name="T44" fmla="*/ 2388 w 2456"/>
                <a:gd name="T45" fmla="*/ 1444 h 1512"/>
                <a:gd name="T46" fmla="*/ 2382 w 2456"/>
                <a:gd name="T47" fmla="*/ 1448 h 1512"/>
                <a:gd name="T48" fmla="*/ 74 w 2456"/>
                <a:gd name="T49" fmla="*/ 1448 h 1512"/>
                <a:gd name="T50" fmla="*/ 66 w 2456"/>
                <a:gd name="T51" fmla="*/ 1444 h 1512"/>
                <a:gd name="T52" fmla="*/ 64 w 2456"/>
                <a:gd name="T53" fmla="*/ 1438 h 1512"/>
                <a:gd name="T54" fmla="*/ 64 w 2456"/>
                <a:gd name="T55" fmla="*/ 74 h 1512"/>
                <a:gd name="T56" fmla="*/ 66 w 2456"/>
                <a:gd name="T57" fmla="*/ 66 h 1512"/>
                <a:gd name="T58" fmla="*/ 74 w 2456"/>
                <a:gd name="T59" fmla="*/ 64 h 1512"/>
                <a:gd name="T60" fmla="*/ 2382 w 2456"/>
                <a:gd name="T61" fmla="*/ 64 h 1512"/>
                <a:gd name="T62" fmla="*/ 2388 w 2456"/>
                <a:gd name="T63" fmla="*/ 66 h 1512"/>
                <a:gd name="T64" fmla="*/ 2392 w 2456"/>
                <a:gd name="T65" fmla="*/ 74 h 1512"/>
                <a:gd name="T66" fmla="*/ 2392 w 2456"/>
                <a:gd name="T67" fmla="*/ 1438 h 1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56" h="1512">
                  <a:moveTo>
                    <a:pt x="2382" y="0"/>
                  </a:moveTo>
                  <a:lnTo>
                    <a:pt x="74" y="0"/>
                  </a:lnTo>
                  <a:lnTo>
                    <a:pt x="74" y="0"/>
                  </a:lnTo>
                  <a:lnTo>
                    <a:pt x="58" y="0"/>
                  </a:lnTo>
                  <a:lnTo>
                    <a:pt x="44" y="6"/>
                  </a:lnTo>
                  <a:lnTo>
                    <a:pt x="32" y="12"/>
                  </a:lnTo>
                  <a:lnTo>
                    <a:pt x="22" y="22"/>
                  </a:lnTo>
                  <a:lnTo>
                    <a:pt x="12" y="32"/>
                  </a:lnTo>
                  <a:lnTo>
                    <a:pt x="6" y="44"/>
                  </a:lnTo>
                  <a:lnTo>
                    <a:pt x="0" y="58"/>
                  </a:lnTo>
                  <a:lnTo>
                    <a:pt x="0" y="74"/>
                  </a:lnTo>
                  <a:lnTo>
                    <a:pt x="0" y="1438"/>
                  </a:lnTo>
                  <a:lnTo>
                    <a:pt x="0" y="1438"/>
                  </a:lnTo>
                  <a:lnTo>
                    <a:pt x="0" y="1452"/>
                  </a:lnTo>
                  <a:lnTo>
                    <a:pt x="6" y="1466"/>
                  </a:lnTo>
                  <a:lnTo>
                    <a:pt x="12" y="1480"/>
                  </a:lnTo>
                  <a:lnTo>
                    <a:pt x="22" y="1490"/>
                  </a:lnTo>
                  <a:lnTo>
                    <a:pt x="32" y="1500"/>
                  </a:lnTo>
                  <a:lnTo>
                    <a:pt x="44" y="1506"/>
                  </a:lnTo>
                  <a:lnTo>
                    <a:pt x="58" y="1510"/>
                  </a:lnTo>
                  <a:lnTo>
                    <a:pt x="74" y="1512"/>
                  </a:lnTo>
                  <a:lnTo>
                    <a:pt x="2382" y="1512"/>
                  </a:lnTo>
                  <a:lnTo>
                    <a:pt x="2382" y="1512"/>
                  </a:lnTo>
                  <a:lnTo>
                    <a:pt x="2396" y="1510"/>
                  </a:lnTo>
                  <a:lnTo>
                    <a:pt x="2410" y="1506"/>
                  </a:lnTo>
                  <a:lnTo>
                    <a:pt x="2422" y="1500"/>
                  </a:lnTo>
                  <a:lnTo>
                    <a:pt x="2434" y="1490"/>
                  </a:lnTo>
                  <a:lnTo>
                    <a:pt x="2442" y="1480"/>
                  </a:lnTo>
                  <a:lnTo>
                    <a:pt x="2450" y="1466"/>
                  </a:lnTo>
                  <a:lnTo>
                    <a:pt x="2454" y="1452"/>
                  </a:lnTo>
                  <a:lnTo>
                    <a:pt x="2456" y="1438"/>
                  </a:lnTo>
                  <a:lnTo>
                    <a:pt x="2456" y="74"/>
                  </a:lnTo>
                  <a:lnTo>
                    <a:pt x="2456" y="74"/>
                  </a:lnTo>
                  <a:lnTo>
                    <a:pt x="2454" y="58"/>
                  </a:lnTo>
                  <a:lnTo>
                    <a:pt x="2450" y="44"/>
                  </a:lnTo>
                  <a:lnTo>
                    <a:pt x="2442" y="32"/>
                  </a:lnTo>
                  <a:lnTo>
                    <a:pt x="2434" y="22"/>
                  </a:lnTo>
                  <a:lnTo>
                    <a:pt x="2422" y="12"/>
                  </a:lnTo>
                  <a:lnTo>
                    <a:pt x="2410" y="6"/>
                  </a:lnTo>
                  <a:lnTo>
                    <a:pt x="2396" y="0"/>
                  </a:lnTo>
                  <a:lnTo>
                    <a:pt x="2382" y="0"/>
                  </a:lnTo>
                  <a:lnTo>
                    <a:pt x="2382" y="0"/>
                  </a:lnTo>
                  <a:close/>
                  <a:moveTo>
                    <a:pt x="2392" y="1438"/>
                  </a:moveTo>
                  <a:lnTo>
                    <a:pt x="2392" y="1438"/>
                  </a:lnTo>
                  <a:lnTo>
                    <a:pt x="2390" y="1442"/>
                  </a:lnTo>
                  <a:lnTo>
                    <a:pt x="2388" y="1444"/>
                  </a:lnTo>
                  <a:lnTo>
                    <a:pt x="2386" y="1446"/>
                  </a:lnTo>
                  <a:lnTo>
                    <a:pt x="2382" y="1448"/>
                  </a:lnTo>
                  <a:lnTo>
                    <a:pt x="74" y="1448"/>
                  </a:lnTo>
                  <a:lnTo>
                    <a:pt x="74" y="1448"/>
                  </a:lnTo>
                  <a:lnTo>
                    <a:pt x="70" y="1446"/>
                  </a:lnTo>
                  <a:lnTo>
                    <a:pt x="66" y="1444"/>
                  </a:lnTo>
                  <a:lnTo>
                    <a:pt x="64" y="1442"/>
                  </a:lnTo>
                  <a:lnTo>
                    <a:pt x="64" y="1438"/>
                  </a:lnTo>
                  <a:lnTo>
                    <a:pt x="64" y="74"/>
                  </a:lnTo>
                  <a:lnTo>
                    <a:pt x="64" y="74"/>
                  </a:lnTo>
                  <a:lnTo>
                    <a:pt x="64" y="70"/>
                  </a:lnTo>
                  <a:lnTo>
                    <a:pt x="66" y="66"/>
                  </a:lnTo>
                  <a:lnTo>
                    <a:pt x="70" y="64"/>
                  </a:lnTo>
                  <a:lnTo>
                    <a:pt x="74" y="64"/>
                  </a:lnTo>
                  <a:lnTo>
                    <a:pt x="2382" y="64"/>
                  </a:lnTo>
                  <a:lnTo>
                    <a:pt x="2382" y="64"/>
                  </a:lnTo>
                  <a:lnTo>
                    <a:pt x="2386" y="64"/>
                  </a:lnTo>
                  <a:lnTo>
                    <a:pt x="2388" y="66"/>
                  </a:lnTo>
                  <a:lnTo>
                    <a:pt x="2390" y="70"/>
                  </a:lnTo>
                  <a:lnTo>
                    <a:pt x="2392" y="74"/>
                  </a:lnTo>
                  <a:lnTo>
                    <a:pt x="2392" y="1438"/>
                  </a:lnTo>
                  <a:close/>
                  <a:moveTo>
                    <a:pt x="2392" y="1438"/>
                  </a:moveTo>
                  <a:lnTo>
                    <a:pt x="2392" y="14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Line 21">
              <a:extLst>
                <a:ext uri="{FF2B5EF4-FFF2-40B4-BE49-F238E27FC236}">
                  <a16:creationId xmlns:a16="http://schemas.microsoft.com/office/drawing/2014/main" id="{9083A122-953B-4443-94A4-9D6EFDB3C4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5" y="2723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405C8358-DC5C-4F4B-8EF9-40AABA74C2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5" y="1141"/>
              <a:ext cx="2990" cy="2038"/>
            </a:xfrm>
            <a:custGeom>
              <a:avLst/>
              <a:gdLst>
                <a:gd name="T0" fmla="*/ 2868 w 2990"/>
                <a:gd name="T1" fmla="*/ 182 h 2038"/>
                <a:gd name="T2" fmla="*/ 2864 w 2990"/>
                <a:gd name="T3" fmla="*/ 146 h 2038"/>
                <a:gd name="T4" fmla="*/ 2846 w 2990"/>
                <a:gd name="T5" fmla="*/ 96 h 2038"/>
                <a:gd name="T6" fmla="*/ 2814 w 2990"/>
                <a:gd name="T7" fmla="*/ 54 h 2038"/>
                <a:gd name="T8" fmla="*/ 2772 w 2990"/>
                <a:gd name="T9" fmla="*/ 22 h 2038"/>
                <a:gd name="T10" fmla="*/ 2722 w 2990"/>
                <a:gd name="T11" fmla="*/ 4 h 2038"/>
                <a:gd name="T12" fmla="*/ 306 w 2990"/>
                <a:gd name="T13" fmla="*/ 0 h 2038"/>
                <a:gd name="T14" fmla="*/ 270 w 2990"/>
                <a:gd name="T15" fmla="*/ 4 h 2038"/>
                <a:gd name="T16" fmla="*/ 220 w 2990"/>
                <a:gd name="T17" fmla="*/ 22 h 2038"/>
                <a:gd name="T18" fmla="*/ 178 w 2990"/>
                <a:gd name="T19" fmla="*/ 54 h 2038"/>
                <a:gd name="T20" fmla="*/ 146 w 2990"/>
                <a:gd name="T21" fmla="*/ 96 h 2038"/>
                <a:gd name="T22" fmla="*/ 128 w 2990"/>
                <a:gd name="T23" fmla="*/ 146 h 2038"/>
                <a:gd name="T24" fmla="*/ 124 w 2990"/>
                <a:gd name="T25" fmla="*/ 1704 h 2038"/>
                <a:gd name="T26" fmla="*/ 38 w 2990"/>
                <a:gd name="T27" fmla="*/ 1704 h 2038"/>
                <a:gd name="T28" fmla="*/ 14 w 2990"/>
                <a:gd name="T29" fmla="*/ 1718 h 2038"/>
                <a:gd name="T30" fmla="*/ 2 w 2990"/>
                <a:gd name="T31" fmla="*/ 1742 h 2038"/>
                <a:gd name="T32" fmla="*/ 0 w 2990"/>
                <a:gd name="T33" fmla="*/ 1884 h 2038"/>
                <a:gd name="T34" fmla="*/ 8 w 2990"/>
                <a:gd name="T35" fmla="*/ 1930 h 2038"/>
                <a:gd name="T36" fmla="*/ 26 w 2990"/>
                <a:gd name="T37" fmla="*/ 1970 h 2038"/>
                <a:gd name="T38" fmla="*/ 56 w 2990"/>
                <a:gd name="T39" fmla="*/ 2004 h 2038"/>
                <a:gd name="T40" fmla="*/ 96 w 2990"/>
                <a:gd name="T41" fmla="*/ 2026 h 2038"/>
                <a:gd name="T42" fmla="*/ 140 w 2990"/>
                <a:gd name="T43" fmla="*/ 2038 h 2038"/>
                <a:gd name="T44" fmla="*/ 2836 w 2990"/>
                <a:gd name="T45" fmla="*/ 2038 h 2038"/>
                <a:gd name="T46" fmla="*/ 2882 w 2990"/>
                <a:gd name="T47" fmla="*/ 2032 h 2038"/>
                <a:gd name="T48" fmla="*/ 2922 w 2990"/>
                <a:gd name="T49" fmla="*/ 2012 h 2038"/>
                <a:gd name="T50" fmla="*/ 2954 w 2990"/>
                <a:gd name="T51" fmla="*/ 1982 h 2038"/>
                <a:gd name="T52" fmla="*/ 2978 w 2990"/>
                <a:gd name="T53" fmla="*/ 1944 h 2038"/>
                <a:gd name="T54" fmla="*/ 2990 w 2990"/>
                <a:gd name="T55" fmla="*/ 1900 h 2038"/>
                <a:gd name="T56" fmla="*/ 2990 w 2990"/>
                <a:gd name="T57" fmla="*/ 1752 h 2038"/>
                <a:gd name="T58" fmla="*/ 2982 w 2990"/>
                <a:gd name="T59" fmla="*/ 1724 h 2038"/>
                <a:gd name="T60" fmla="*/ 2962 w 2990"/>
                <a:gd name="T61" fmla="*/ 1708 h 2038"/>
                <a:gd name="T62" fmla="*/ 2942 w 2990"/>
                <a:gd name="T63" fmla="*/ 1704 h 2038"/>
                <a:gd name="T64" fmla="*/ 222 w 2990"/>
                <a:gd name="T65" fmla="*/ 164 h 2038"/>
                <a:gd name="T66" fmla="*/ 244 w 2990"/>
                <a:gd name="T67" fmla="*/ 120 h 2038"/>
                <a:gd name="T68" fmla="*/ 288 w 2990"/>
                <a:gd name="T69" fmla="*/ 98 h 2038"/>
                <a:gd name="T70" fmla="*/ 2684 w 2990"/>
                <a:gd name="T71" fmla="*/ 96 h 2038"/>
                <a:gd name="T72" fmla="*/ 2732 w 2990"/>
                <a:gd name="T73" fmla="*/ 110 h 2038"/>
                <a:gd name="T74" fmla="*/ 2764 w 2990"/>
                <a:gd name="T75" fmla="*/ 148 h 2038"/>
                <a:gd name="T76" fmla="*/ 2772 w 2990"/>
                <a:gd name="T77" fmla="*/ 1704 h 2038"/>
                <a:gd name="T78" fmla="*/ 1354 w 2990"/>
                <a:gd name="T79" fmla="*/ 1800 h 2038"/>
                <a:gd name="T80" fmla="*/ 1636 w 2990"/>
                <a:gd name="T81" fmla="*/ 1824 h 2038"/>
                <a:gd name="T82" fmla="*/ 1624 w 2990"/>
                <a:gd name="T83" fmla="*/ 1844 h 2038"/>
                <a:gd name="T84" fmla="*/ 1374 w 2990"/>
                <a:gd name="T85" fmla="*/ 1846 h 2038"/>
                <a:gd name="T86" fmla="*/ 1356 w 2990"/>
                <a:gd name="T87" fmla="*/ 1832 h 2038"/>
                <a:gd name="T88" fmla="*/ 1354 w 2990"/>
                <a:gd name="T89" fmla="*/ 1800 h 2038"/>
                <a:gd name="T90" fmla="*/ 2894 w 2990"/>
                <a:gd name="T91" fmla="*/ 1896 h 2038"/>
                <a:gd name="T92" fmla="*/ 2878 w 2990"/>
                <a:gd name="T93" fmla="*/ 1926 h 2038"/>
                <a:gd name="T94" fmla="*/ 2848 w 2990"/>
                <a:gd name="T95" fmla="*/ 1942 h 2038"/>
                <a:gd name="T96" fmla="*/ 156 w 2990"/>
                <a:gd name="T97" fmla="*/ 1942 h 2038"/>
                <a:gd name="T98" fmla="*/ 122 w 2990"/>
                <a:gd name="T99" fmla="*/ 1932 h 2038"/>
                <a:gd name="T100" fmla="*/ 100 w 2990"/>
                <a:gd name="T101" fmla="*/ 1906 h 2038"/>
                <a:gd name="T102" fmla="*/ 96 w 2990"/>
                <a:gd name="T103" fmla="*/ 1800 h 2038"/>
                <a:gd name="T104" fmla="*/ 1290 w 2990"/>
                <a:gd name="T105" fmla="*/ 1824 h 2038"/>
                <a:gd name="T106" fmla="*/ 1306 w 2990"/>
                <a:gd name="T107" fmla="*/ 1872 h 2038"/>
                <a:gd name="T108" fmla="*/ 1342 w 2990"/>
                <a:gd name="T109" fmla="*/ 1902 h 2038"/>
                <a:gd name="T110" fmla="*/ 1616 w 2990"/>
                <a:gd name="T111" fmla="*/ 1910 h 2038"/>
                <a:gd name="T112" fmla="*/ 1648 w 2990"/>
                <a:gd name="T113" fmla="*/ 1902 h 2038"/>
                <a:gd name="T114" fmla="*/ 1686 w 2990"/>
                <a:gd name="T115" fmla="*/ 1872 h 2038"/>
                <a:gd name="T116" fmla="*/ 1700 w 2990"/>
                <a:gd name="T117" fmla="*/ 1824 h 2038"/>
                <a:gd name="T118" fmla="*/ 2894 w 2990"/>
                <a:gd name="T119" fmla="*/ 1884 h 20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90" h="2038">
                  <a:moveTo>
                    <a:pt x="2942" y="1704"/>
                  </a:moveTo>
                  <a:lnTo>
                    <a:pt x="2868" y="1704"/>
                  </a:lnTo>
                  <a:lnTo>
                    <a:pt x="2868" y="182"/>
                  </a:lnTo>
                  <a:lnTo>
                    <a:pt x="2868" y="182"/>
                  </a:lnTo>
                  <a:lnTo>
                    <a:pt x="2866" y="164"/>
                  </a:lnTo>
                  <a:lnTo>
                    <a:pt x="2864" y="146"/>
                  </a:lnTo>
                  <a:lnTo>
                    <a:pt x="2860" y="128"/>
                  </a:lnTo>
                  <a:lnTo>
                    <a:pt x="2852" y="112"/>
                  </a:lnTo>
                  <a:lnTo>
                    <a:pt x="2846" y="96"/>
                  </a:lnTo>
                  <a:lnTo>
                    <a:pt x="2836" y="80"/>
                  </a:lnTo>
                  <a:lnTo>
                    <a:pt x="2826" y="66"/>
                  </a:lnTo>
                  <a:lnTo>
                    <a:pt x="2814" y="54"/>
                  </a:lnTo>
                  <a:lnTo>
                    <a:pt x="2800" y="42"/>
                  </a:lnTo>
                  <a:lnTo>
                    <a:pt x="2786" y="30"/>
                  </a:lnTo>
                  <a:lnTo>
                    <a:pt x="2772" y="22"/>
                  </a:lnTo>
                  <a:lnTo>
                    <a:pt x="2756" y="14"/>
                  </a:lnTo>
                  <a:lnTo>
                    <a:pt x="2738" y="8"/>
                  </a:lnTo>
                  <a:lnTo>
                    <a:pt x="2722" y="4"/>
                  </a:lnTo>
                  <a:lnTo>
                    <a:pt x="2704" y="0"/>
                  </a:lnTo>
                  <a:lnTo>
                    <a:pt x="2684" y="0"/>
                  </a:lnTo>
                  <a:lnTo>
                    <a:pt x="306" y="0"/>
                  </a:lnTo>
                  <a:lnTo>
                    <a:pt x="306" y="0"/>
                  </a:lnTo>
                  <a:lnTo>
                    <a:pt x="288" y="0"/>
                  </a:lnTo>
                  <a:lnTo>
                    <a:pt x="270" y="4"/>
                  </a:lnTo>
                  <a:lnTo>
                    <a:pt x="252" y="8"/>
                  </a:lnTo>
                  <a:lnTo>
                    <a:pt x="236" y="14"/>
                  </a:lnTo>
                  <a:lnTo>
                    <a:pt x="220" y="22"/>
                  </a:lnTo>
                  <a:lnTo>
                    <a:pt x="204" y="30"/>
                  </a:lnTo>
                  <a:lnTo>
                    <a:pt x="190" y="42"/>
                  </a:lnTo>
                  <a:lnTo>
                    <a:pt x="178" y="54"/>
                  </a:lnTo>
                  <a:lnTo>
                    <a:pt x="166" y="66"/>
                  </a:lnTo>
                  <a:lnTo>
                    <a:pt x="154" y="80"/>
                  </a:lnTo>
                  <a:lnTo>
                    <a:pt x="146" y="96"/>
                  </a:lnTo>
                  <a:lnTo>
                    <a:pt x="138" y="112"/>
                  </a:lnTo>
                  <a:lnTo>
                    <a:pt x="132" y="128"/>
                  </a:lnTo>
                  <a:lnTo>
                    <a:pt x="128" y="146"/>
                  </a:lnTo>
                  <a:lnTo>
                    <a:pt x="124" y="164"/>
                  </a:lnTo>
                  <a:lnTo>
                    <a:pt x="124" y="182"/>
                  </a:lnTo>
                  <a:lnTo>
                    <a:pt x="124" y="1704"/>
                  </a:lnTo>
                  <a:lnTo>
                    <a:pt x="48" y="1704"/>
                  </a:lnTo>
                  <a:lnTo>
                    <a:pt x="48" y="1704"/>
                  </a:lnTo>
                  <a:lnTo>
                    <a:pt x="38" y="1704"/>
                  </a:lnTo>
                  <a:lnTo>
                    <a:pt x="30" y="1708"/>
                  </a:lnTo>
                  <a:lnTo>
                    <a:pt x="22" y="1712"/>
                  </a:lnTo>
                  <a:lnTo>
                    <a:pt x="14" y="1718"/>
                  </a:lnTo>
                  <a:lnTo>
                    <a:pt x="8" y="1724"/>
                  </a:lnTo>
                  <a:lnTo>
                    <a:pt x="4" y="1732"/>
                  </a:lnTo>
                  <a:lnTo>
                    <a:pt x="2" y="1742"/>
                  </a:lnTo>
                  <a:lnTo>
                    <a:pt x="0" y="1752"/>
                  </a:lnTo>
                  <a:lnTo>
                    <a:pt x="0" y="1884"/>
                  </a:lnTo>
                  <a:lnTo>
                    <a:pt x="0" y="1884"/>
                  </a:lnTo>
                  <a:lnTo>
                    <a:pt x="2" y="1900"/>
                  </a:lnTo>
                  <a:lnTo>
                    <a:pt x="4" y="1914"/>
                  </a:lnTo>
                  <a:lnTo>
                    <a:pt x="8" y="1930"/>
                  </a:lnTo>
                  <a:lnTo>
                    <a:pt x="12" y="1944"/>
                  </a:lnTo>
                  <a:lnTo>
                    <a:pt x="20" y="1958"/>
                  </a:lnTo>
                  <a:lnTo>
                    <a:pt x="26" y="1970"/>
                  </a:lnTo>
                  <a:lnTo>
                    <a:pt x="36" y="1982"/>
                  </a:lnTo>
                  <a:lnTo>
                    <a:pt x="46" y="1994"/>
                  </a:lnTo>
                  <a:lnTo>
                    <a:pt x="56" y="2004"/>
                  </a:lnTo>
                  <a:lnTo>
                    <a:pt x="68" y="2012"/>
                  </a:lnTo>
                  <a:lnTo>
                    <a:pt x="82" y="2020"/>
                  </a:lnTo>
                  <a:lnTo>
                    <a:pt x="96" y="2026"/>
                  </a:lnTo>
                  <a:lnTo>
                    <a:pt x="110" y="2032"/>
                  </a:lnTo>
                  <a:lnTo>
                    <a:pt x="124" y="2036"/>
                  </a:lnTo>
                  <a:lnTo>
                    <a:pt x="140" y="2038"/>
                  </a:lnTo>
                  <a:lnTo>
                    <a:pt x="156" y="2038"/>
                  </a:lnTo>
                  <a:lnTo>
                    <a:pt x="2836" y="2038"/>
                  </a:lnTo>
                  <a:lnTo>
                    <a:pt x="2836" y="2038"/>
                  </a:lnTo>
                  <a:lnTo>
                    <a:pt x="2852" y="2038"/>
                  </a:lnTo>
                  <a:lnTo>
                    <a:pt x="2866" y="2036"/>
                  </a:lnTo>
                  <a:lnTo>
                    <a:pt x="2882" y="2032"/>
                  </a:lnTo>
                  <a:lnTo>
                    <a:pt x="2896" y="2026"/>
                  </a:lnTo>
                  <a:lnTo>
                    <a:pt x="2910" y="2020"/>
                  </a:lnTo>
                  <a:lnTo>
                    <a:pt x="2922" y="2012"/>
                  </a:lnTo>
                  <a:lnTo>
                    <a:pt x="2934" y="2004"/>
                  </a:lnTo>
                  <a:lnTo>
                    <a:pt x="2944" y="1994"/>
                  </a:lnTo>
                  <a:lnTo>
                    <a:pt x="2954" y="1982"/>
                  </a:lnTo>
                  <a:lnTo>
                    <a:pt x="2964" y="1970"/>
                  </a:lnTo>
                  <a:lnTo>
                    <a:pt x="2972" y="1958"/>
                  </a:lnTo>
                  <a:lnTo>
                    <a:pt x="2978" y="1944"/>
                  </a:lnTo>
                  <a:lnTo>
                    <a:pt x="2984" y="1930"/>
                  </a:lnTo>
                  <a:lnTo>
                    <a:pt x="2988" y="1914"/>
                  </a:lnTo>
                  <a:lnTo>
                    <a:pt x="2990" y="1900"/>
                  </a:lnTo>
                  <a:lnTo>
                    <a:pt x="2990" y="1884"/>
                  </a:lnTo>
                  <a:lnTo>
                    <a:pt x="2990" y="1752"/>
                  </a:lnTo>
                  <a:lnTo>
                    <a:pt x="2990" y="1752"/>
                  </a:lnTo>
                  <a:lnTo>
                    <a:pt x="2990" y="1742"/>
                  </a:lnTo>
                  <a:lnTo>
                    <a:pt x="2986" y="1732"/>
                  </a:lnTo>
                  <a:lnTo>
                    <a:pt x="2982" y="1724"/>
                  </a:lnTo>
                  <a:lnTo>
                    <a:pt x="2976" y="1718"/>
                  </a:lnTo>
                  <a:lnTo>
                    <a:pt x="2970" y="1712"/>
                  </a:lnTo>
                  <a:lnTo>
                    <a:pt x="2962" y="1708"/>
                  </a:lnTo>
                  <a:lnTo>
                    <a:pt x="2952" y="1704"/>
                  </a:lnTo>
                  <a:lnTo>
                    <a:pt x="2942" y="1704"/>
                  </a:lnTo>
                  <a:lnTo>
                    <a:pt x="2942" y="1704"/>
                  </a:lnTo>
                  <a:close/>
                  <a:moveTo>
                    <a:pt x="220" y="182"/>
                  </a:moveTo>
                  <a:lnTo>
                    <a:pt x="220" y="182"/>
                  </a:lnTo>
                  <a:lnTo>
                    <a:pt x="222" y="164"/>
                  </a:lnTo>
                  <a:lnTo>
                    <a:pt x="226" y="148"/>
                  </a:lnTo>
                  <a:lnTo>
                    <a:pt x="234" y="134"/>
                  </a:lnTo>
                  <a:lnTo>
                    <a:pt x="244" y="120"/>
                  </a:lnTo>
                  <a:lnTo>
                    <a:pt x="258" y="110"/>
                  </a:lnTo>
                  <a:lnTo>
                    <a:pt x="272" y="102"/>
                  </a:lnTo>
                  <a:lnTo>
                    <a:pt x="288" y="98"/>
                  </a:lnTo>
                  <a:lnTo>
                    <a:pt x="306" y="96"/>
                  </a:lnTo>
                  <a:lnTo>
                    <a:pt x="2684" y="96"/>
                  </a:lnTo>
                  <a:lnTo>
                    <a:pt x="2684" y="96"/>
                  </a:lnTo>
                  <a:lnTo>
                    <a:pt x="2702" y="98"/>
                  </a:lnTo>
                  <a:lnTo>
                    <a:pt x="2718" y="102"/>
                  </a:lnTo>
                  <a:lnTo>
                    <a:pt x="2732" y="110"/>
                  </a:lnTo>
                  <a:lnTo>
                    <a:pt x="2746" y="120"/>
                  </a:lnTo>
                  <a:lnTo>
                    <a:pt x="2756" y="134"/>
                  </a:lnTo>
                  <a:lnTo>
                    <a:pt x="2764" y="148"/>
                  </a:lnTo>
                  <a:lnTo>
                    <a:pt x="2770" y="164"/>
                  </a:lnTo>
                  <a:lnTo>
                    <a:pt x="2772" y="182"/>
                  </a:lnTo>
                  <a:lnTo>
                    <a:pt x="2772" y="1704"/>
                  </a:lnTo>
                  <a:lnTo>
                    <a:pt x="220" y="1704"/>
                  </a:lnTo>
                  <a:lnTo>
                    <a:pt x="220" y="182"/>
                  </a:lnTo>
                  <a:close/>
                  <a:moveTo>
                    <a:pt x="1354" y="1800"/>
                  </a:moveTo>
                  <a:lnTo>
                    <a:pt x="1636" y="1800"/>
                  </a:lnTo>
                  <a:lnTo>
                    <a:pt x="1636" y="1824"/>
                  </a:lnTo>
                  <a:lnTo>
                    <a:pt x="1636" y="1824"/>
                  </a:lnTo>
                  <a:lnTo>
                    <a:pt x="1634" y="1832"/>
                  </a:lnTo>
                  <a:lnTo>
                    <a:pt x="1630" y="1840"/>
                  </a:lnTo>
                  <a:lnTo>
                    <a:pt x="1624" y="1844"/>
                  </a:lnTo>
                  <a:lnTo>
                    <a:pt x="1616" y="1846"/>
                  </a:lnTo>
                  <a:lnTo>
                    <a:pt x="1374" y="1846"/>
                  </a:lnTo>
                  <a:lnTo>
                    <a:pt x="1374" y="1846"/>
                  </a:lnTo>
                  <a:lnTo>
                    <a:pt x="1368" y="1844"/>
                  </a:lnTo>
                  <a:lnTo>
                    <a:pt x="1360" y="1840"/>
                  </a:lnTo>
                  <a:lnTo>
                    <a:pt x="1356" y="1832"/>
                  </a:lnTo>
                  <a:lnTo>
                    <a:pt x="1354" y="1824"/>
                  </a:lnTo>
                  <a:lnTo>
                    <a:pt x="1354" y="1800"/>
                  </a:lnTo>
                  <a:lnTo>
                    <a:pt x="1354" y="1800"/>
                  </a:lnTo>
                  <a:close/>
                  <a:moveTo>
                    <a:pt x="2894" y="1884"/>
                  </a:moveTo>
                  <a:lnTo>
                    <a:pt x="2894" y="1884"/>
                  </a:lnTo>
                  <a:lnTo>
                    <a:pt x="2894" y="1896"/>
                  </a:lnTo>
                  <a:lnTo>
                    <a:pt x="2890" y="1906"/>
                  </a:lnTo>
                  <a:lnTo>
                    <a:pt x="2884" y="1916"/>
                  </a:lnTo>
                  <a:lnTo>
                    <a:pt x="2878" y="1926"/>
                  </a:lnTo>
                  <a:lnTo>
                    <a:pt x="2868" y="1932"/>
                  </a:lnTo>
                  <a:lnTo>
                    <a:pt x="2858" y="1938"/>
                  </a:lnTo>
                  <a:lnTo>
                    <a:pt x="2848" y="1942"/>
                  </a:lnTo>
                  <a:lnTo>
                    <a:pt x="2836" y="1942"/>
                  </a:lnTo>
                  <a:lnTo>
                    <a:pt x="156" y="1942"/>
                  </a:lnTo>
                  <a:lnTo>
                    <a:pt x="156" y="1942"/>
                  </a:lnTo>
                  <a:lnTo>
                    <a:pt x="144" y="1942"/>
                  </a:lnTo>
                  <a:lnTo>
                    <a:pt x="132" y="1938"/>
                  </a:lnTo>
                  <a:lnTo>
                    <a:pt x="122" y="1932"/>
                  </a:lnTo>
                  <a:lnTo>
                    <a:pt x="114" y="1926"/>
                  </a:lnTo>
                  <a:lnTo>
                    <a:pt x="106" y="1916"/>
                  </a:lnTo>
                  <a:lnTo>
                    <a:pt x="100" y="1906"/>
                  </a:lnTo>
                  <a:lnTo>
                    <a:pt x="98" y="1896"/>
                  </a:lnTo>
                  <a:lnTo>
                    <a:pt x="96" y="1884"/>
                  </a:lnTo>
                  <a:lnTo>
                    <a:pt x="96" y="1800"/>
                  </a:lnTo>
                  <a:lnTo>
                    <a:pt x="1290" y="1800"/>
                  </a:lnTo>
                  <a:lnTo>
                    <a:pt x="1290" y="1824"/>
                  </a:lnTo>
                  <a:lnTo>
                    <a:pt x="1290" y="1824"/>
                  </a:lnTo>
                  <a:lnTo>
                    <a:pt x="1292" y="1842"/>
                  </a:lnTo>
                  <a:lnTo>
                    <a:pt x="1298" y="1858"/>
                  </a:lnTo>
                  <a:lnTo>
                    <a:pt x="1306" y="1872"/>
                  </a:lnTo>
                  <a:lnTo>
                    <a:pt x="1316" y="1884"/>
                  </a:lnTo>
                  <a:lnTo>
                    <a:pt x="1328" y="1894"/>
                  </a:lnTo>
                  <a:lnTo>
                    <a:pt x="1342" y="1902"/>
                  </a:lnTo>
                  <a:lnTo>
                    <a:pt x="1358" y="1908"/>
                  </a:lnTo>
                  <a:lnTo>
                    <a:pt x="1374" y="1910"/>
                  </a:lnTo>
                  <a:lnTo>
                    <a:pt x="1616" y="1910"/>
                  </a:lnTo>
                  <a:lnTo>
                    <a:pt x="1616" y="1910"/>
                  </a:lnTo>
                  <a:lnTo>
                    <a:pt x="1632" y="1908"/>
                  </a:lnTo>
                  <a:lnTo>
                    <a:pt x="1648" y="1902"/>
                  </a:lnTo>
                  <a:lnTo>
                    <a:pt x="1662" y="1894"/>
                  </a:lnTo>
                  <a:lnTo>
                    <a:pt x="1676" y="1884"/>
                  </a:lnTo>
                  <a:lnTo>
                    <a:pt x="1686" y="1872"/>
                  </a:lnTo>
                  <a:lnTo>
                    <a:pt x="1694" y="1858"/>
                  </a:lnTo>
                  <a:lnTo>
                    <a:pt x="1698" y="1842"/>
                  </a:lnTo>
                  <a:lnTo>
                    <a:pt x="1700" y="1824"/>
                  </a:lnTo>
                  <a:lnTo>
                    <a:pt x="1700" y="1800"/>
                  </a:lnTo>
                  <a:lnTo>
                    <a:pt x="2894" y="1800"/>
                  </a:lnTo>
                  <a:lnTo>
                    <a:pt x="2894" y="1884"/>
                  </a:lnTo>
                  <a:close/>
                  <a:moveTo>
                    <a:pt x="2894" y="1884"/>
                  </a:moveTo>
                  <a:lnTo>
                    <a:pt x="2894" y="18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Line 27">
              <a:extLst>
                <a:ext uri="{FF2B5EF4-FFF2-40B4-BE49-F238E27FC236}">
                  <a16:creationId xmlns:a16="http://schemas.microsoft.com/office/drawing/2014/main" id="{88F22C49-8280-4CBA-B10F-A62D421A60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39" y="3025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568F296-948B-4078-890A-276C38D00D9C}"/>
              </a:ext>
            </a:extLst>
          </p:cNvPr>
          <p:cNvGrpSpPr/>
          <p:nvPr/>
        </p:nvGrpSpPr>
        <p:grpSpPr>
          <a:xfrm>
            <a:off x="10163884" y="3156649"/>
            <a:ext cx="662298" cy="656117"/>
            <a:chOff x="10045383" y="3162619"/>
            <a:chExt cx="662298" cy="656117"/>
          </a:xfrm>
        </p:grpSpPr>
        <p:sp>
          <p:nvSpPr>
            <p:cNvPr id="107" name="Freeform 22">
              <a:extLst>
                <a:ext uri="{FF2B5EF4-FFF2-40B4-BE49-F238E27FC236}">
                  <a16:creationId xmlns:a16="http://schemas.microsoft.com/office/drawing/2014/main" id="{ED2247CD-6C03-46B9-829D-26F92C3271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34893" y="3287697"/>
              <a:ext cx="572788" cy="531039"/>
            </a:xfrm>
            <a:custGeom>
              <a:avLst/>
              <a:gdLst>
                <a:gd name="T0" fmla="*/ 297 w 343"/>
                <a:gd name="T1" fmla="*/ 287 h 318"/>
                <a:gd name="T2" fmla="*/ 296 w 343"/>
                <a:gd name="T3" fmla="*/ 290 h 318"/>
                <a:gd name="T4" fmla="*/ 292 w 343"/>
                <a:gd name="T5" fmla="*/ 298 h 318"/>
                <a:gd name="T6" fmla="*/ 283 w 343"/>
                <a:gd name="T7" fmla="*/ 304 h 318"/>
                <a:gd name="T8" fmla="*/ 220 w 343"/>
                <a:gd name="T9" fmla="*/ 304 h 318"/>
                <a:gd name="T10" fmla="*/ 220 w 343"/>
                <a:gd name="T11" fmla="*/ 197 h 318"/>
                <a:gd name="T12" fmla="*/ 218 w 343"/>
                <a:gd name="T13" fmla="*/ 185 h 318"/>
                <a:gd name="T14" fmla="*/ 211 w 343"/>
                <a:gd name="T15" fmla="*/ 176 h 318"/>
                <a:gd name="T16" fmla="*/ 203 w 343"/>
                <a:gd name="T17" fmla="*/ 171 h 318"/>
                <a:gd name="T18" fmla="*/ 191 w 343"/>
                <a:gd name="T19" fmla="*/ 169 h 318"/>
                <a:gd name="T20" fmla="*/ 150 w 343"/>
                <a:gd name="T21" fmla="*/ 169 h 318"/>
                <a:gd name="T22" fmla="*/ 139 w 343"/>
                <a:gd name="T23" fmla="*/ 171 h 318"/>
                <a:gd name="T24" fmla="*/ 130 w 343"/>
                <a:gd name="T25" fmla="*/ 176 h 318"/>
                <a:gd name="T26" fmla="*/ 123 w 343"/>
                <a:gd name="T27" fmla="*/ 185 h 318"/>
                <a:gd name="T28" fmla="*/ 121 w 343"/>
                <a:gd name="T29" fmla="*/ 197 h 318"/>
                <a:gd name="T30" fmla="*/ 61 w 343"/>
                <a:gd name="T31" fmla="*/ 304 h 318"/>
                <a:gd name="T32" fmla="*/ 58 w 343"/>
                <a:gd name="T33" fmla="*/ 304 h 318"/>
                <a:gd name="T34" fmla="*/ 50 w 343"/>
                <a:gd name="T35" fmla="*/ 298 h 318"/>
                <a:gd name="T36" fmla="*/ 46 w 343"/>
                <a:gd name="T37" fmla="*/ 287 h 318"/>
                <a:gd name="T38" fmla="*/ 46 w 343"/>
                <a:gd name="T39" fmla="*/ 138 h 318"/>
                <a:gd name="T40" fmla="*/ 164 w 343"/>
                <a:gd name="T41" fmla="*/ 18 h 318"/>
                <a:gd name="T42" fmla="*/ 167 w 343"/>
                <a:gd name="T43" fmla="*/ 15 h 318"/>
                <a:gd name="T44" fmla="*/ 175 w 343"/>
                <a:gd name="T45" fmla="*/ 15 h 318"/>
                <a:gd name="T46" fmla="*/ 297 w 343"/>
                <a:gd name="T47" fmla="*/ 135 h 318"/>
                <a:gd name="T48" fmla="*/ 297 w 343"/>
                <a:gd name="T49" fmla="*/ 138 h 318"/>
                <a:gd name="T50" fmla="*/ 134 w 343"/>
                <a:gd name="T51" fmla="*/ 304 h 318"/>
                <a:gd name="T52" fmla="*/ 134 w 343"/>
                <a:gd name="T53" fmla="*/ 197 h 318"/>
                <a:gd name="T54" fmla="*/ 135 w 343"/>
                <a:gd name="T55" fmla="*/ 190 h 318"/>
                <a:gd name="T56" fmla="*/ 145 w 343"/>
                <a:gd name="T57" fmla="*/ 183 h 318"/>
                <a:gd name="T58" fmla="*/ 191 w 343"/>
                <a:gd name="T59" fmla="*/ 182 h 318"/>
                <a:gd name="T60" fmla="*/ 197 w 343"/>
                <a:gd name="T61" fmla="*/ 183 h 318"/>
                <a:gd name="T62" fmla="*/ 205 w 343"/>
                <a:gd name="T63" fmla="*/ 190 h 318"/>
                <a:gd name="T64" fmla="*/ 206 w 343"/>
                <a:gd name="T65" fmla="*/ 304 h 318"/>
                <a:gd name="T66" fmla="*/ 188 w 343"/>
                <a:gd name="T67" fmla="*/ 8 h 318"/>
                <a:gd name="T68" fmla="*/ 180 w 343"/>
                <a:gd name="T69" fmla="*/ 3 h 318"/>
                <a:gd name="T70" fmla="*/ 172 w 343"/>
                <a:gd name="T71" fmla="*/ 0 h 318"/>
                <a:gd name="T72" fmla="*/ 167 w 343"/>
                <a:gd name="T73" fmla="*/ 2 h 318"/>
                <a:gd name="T74" fmla="*/ 159 w 343"/>
                <a:gd name="T75" fmla="*/ 5 h 318"/>
                <a:gd name="T76" fmla="*/ 1 w 343"/>
                <a:gd name="T77" fmla="*/ 161 h 318"/>
                <a:gd name="T78" fmla="*/ 0 w 343"/>
                <a:gd name="T79" fmla="*/ 163 h 318"/>
                <a:gd name="T80" fmla="*/ 0 w 343"/>
                <a:gd name="T81" fmla="*/ 169 h 318"/>
                <a:gd name="T82" fmla="*/ 1 w 343"/>
                <a:gd name="T83" fmla="*/ 171 h 318"/>
                <a:gd name="T84" fmla="*/ 7 w 343"/>
                <a:gd name="T85" fmla="*/ 172 h 318"/>
                <a:gd name="T86" fmla="*/ 12 w 343"/>
                <a:gd name="T87" fmla="*/ 171 h 318"/>
                <a:gd name="T88" fmla="*/ 33 w 343"/>
                <a:gd name="T89" fmla="*/ 287 h 318"/>
                <a:gd name="T90" fmla="*/ 33 w 343"/>
                <a:gd name="T91" fmla="*/ 293 h 318"/>
                <a:gd name="T92" fmla="*/ 38 w 343"/>
                <a:gd name="T93" fmla="*/ 304 h 318"/>
                <a:gd name="T94" fmla="*/ 45 w 343"/>
                <a:gd name="T95" fmla="*/ 312 h 318"/>
                <a:gd name="T96" fmla="*/ 56 w 343"/>
                <a:gd name="T97" fmla="*/ 317 h 318"/>
                <a:gd name="T98" fmla="*/ 280 w 343"/>
                <a:gd name="T99" fmla="*/ 318 h 318"/>
                <a:gd name="T100" fmla="*/ 286 w 343"/>
                <a:gd name="T101" fmla="*/ 317 h 318"/>
                <a:gd name="T102" fmla="*/ 297 w 343"/>
                <a:gd name="T103" fmla="*/ 312 h 318"/>
                <a:gd name="T104" fmla="*/ 304 w 343"/>
                <a:gd name="T105" fmla="*/ 304 h 318"/>
                <a:gd name="T106" fmla="*/ 309 w 343"/>
                <a:gd name="T107" fmla="*/ 293 h 318"/>
                <a:gd name="T108" fmla="*/ 310 w 343"/>
                <a:gd name="T109" fmla="*/ 148 h 318"/>
                <a:gd name="T110" fmla="*/ 332 w 343"/>
                <a:gd name="T111" fmla="*/ 171 h 318"/>
                <a:gd name="T112" fmla="*/ 337 w 343"/>
                <a:gd name="T113" fmla="*/ 172 h 318"/>
                <a:gd name="T114" fmla="*/ 339 w 343"/>
                <a:gd name="T115" fmla="*/ 172 h 318"/>
                <a:gd name="T116" fmla="*/ 341 w 343"/>
                <a:gd name="T117" fmla="*/ 171 h 318"/>
                <a:gd name="T118" fmla="*/ 343 w 343"/>
                <a:gd name="T119" fmla="*/ 165 h 318"/>
                <a:gd name="T120" fmla="*/ 341 w 343"/>
                <a:gd name="T121" fmla="*/ 161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3" h="318">
                  <a:moveTo>
                    <a:pt x="297" y="138"/>
                  </a:moveTo>
                  <a:lnTo>
                    <a:pt x="297" y="287"/>
                  </a:lnTo>
                  <a:lnTo>
                    <a:pt x="297" y="287"/>
                  </a:lnTo>
                  <a:lnTo>
                    <a:pt x="296" y="290"/>
                  </a:lnTo>
                  <a:lnTo>
                    <a:pt x="295" y="293"/>
                  </a:lnTo>
                  <a:lnTo>
                    <a:pt x="292" y="298"/>
                  </a:lnTo>
                  <a:lnTo>
                    <a:pt x="286" y="303"/>
                  </a:lnTo>
                  <a:lnTo>
                    <a:pt x="283" y="304"/>
                  </a:lnTo>
                  <a:lnTo>
                    <a:pt x="280" y="304"/>
                  </a:lnTo>
                  <a:lnTo>
                    <a:pt x="220" y="304"/>
                  </a:lnTo>
                  <a:lnTo>
                    <a:pt x="220" y="197"/>
                  </a:lnTo>
                  <a:lnTo>
                    <a:pt x="220" y="197"/>
                  </a:lnTo>
                  <a:lnTo>
                    <a:pt x="219" y="190"/>
                  </a:lnTo>
                  <a:lnTo>
                    <a:pt x="218" y="185"/>
                  </a:lnTo>
                  <a:lnTo>
                    <a:pt x="214" y="180"/>
                  </a:lnTo>
                  <a:lnTo>
                    <a:pt x="211" y="176"/>
                  </a:lnTo>
                  <a:lnTo>
                    <a:pt x="207" y="173"/>
                  </a:lnTo>
                  <a:lnTo>
                    <a:pt x="203" y="171"/>
                  </a:lnTo>
                  <a:lnTo>
                    <a:pt x="197" y="169"/>
                  </a:lnTo>
                  <a:lnTo>
                    <a:pt x="191" y="169"/>
                  </a:lnTo>
                  <a:lnTo>
                    <a:pt x="150" y="169"/>
                  </a:lnTo>
                  <a:lnTo>
                    <a:pt x="150" y="169"/>
                  </a:lnTo>
                  <a:lnTo>
                    <a:pt x="145" y="169"/>
                  </a:lnTo>
                  <a:lnTo>
                    <a:pt x="139" y="171"/>
                  </a:lnTo>
                  <a:lnTo>
                    <a:pt x="134" y="173"/>
                  </a:lnTo>
                  <a:lnTo>
                    <a:pt x="130" y="176"/>
                  </a:lnTo>
                  <a:lnTo>
                    <a:pt x="127" y="180"/>
                  </a:lnTo>
                  <a:lnTo>
                    <a:pt x="123" y="185"/>
                  </a:lnTo>
                  <a:lnTo>
                    <a:pt x="121" y="190"/>
                  </a:lnTo>
                  <a:lnTo>
                    <a:pt x="121" y="197"/>
                  </a:lnTo>
                  <a:lnTo>
                    <a:pt x="121" y="304"/>
                  </a:lnTo>
                  <a:lnTo>
                    <a:pt x="61" y="304"/>
                  </a:lnTo>
                  <a:lnTo>
                    <a:pt x="61" y="304"/>
                  </a:lnTo>
                  <a:lnTo>
                    <a:pt x="58" y="304"/>
                  </a:lnTo>
                  <a:lnTo>
                    <a:pt x="56" y="303"/>
                  </a:lnTo>
                  <a:lnTo>
                    <a:pt x="50" y="298"/>
                  </a:lnTo>
                  <a:lnTo>
                    <a:pt x="47" y="293"/>
                  </a:lnTo>
                  <a:lnTo>
                    <a:pt x="46" y="287"/>
                  </a:lnTo>
                  <a:lnTo>
                    <a:pt x="46" y="138"/>
                  </a:lnTo>
                  <a:lnTo>
                    <a:pt x="46" y="138"/>
                  </a:lnTo>
                  <a:lnTo>
                    <a:pt x="46" y="137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7" y="15"/>
                  </a:lnTo>
                  <a:lnTo>
                    <a:pt x="172" y="14"/>
                  </a:lnTo>
                  <a:lnTo>
                    <a:pt x="175" y="15"/>
                  </a:lnTo>
                  <a:lnTo>
                    <a:pt x="179" y="18"/>
                  </a:lnTo>
                  <a:lnTo>
                    <a:pt x="297" y="135"/>
                  </a:lnTo>
                  <a:lnTo>
                    <a:pt x="297" y="135"/>
                  </a:lnTo>
                  <a:lnTo>
                    <a:pt x="297" y="138"/>
                  </a:lnTo>
                  <a:close/>
                  <a:moveTo>
                    <a:pt x="206" y="304"/>
                  </a:moveTo>
                  <a:lnTo>
                    <a:pt x="134" y="304"/>
                  </a:lnTo>
                  <a:lnTo>
                    <a:pt x="134" y="197"/>
                  </a:lnTo>
                  <a:lnTo>
                    <a:pt x="134" y="197"/>
                  </a:lnTo>
                  <a:lnTo>
                    <a:pt x="134" y="193"/>
                  </a:lnTo>
                  <a:lnTo>
                    <a:pt x="135" y="190"/>
                  </a:lnTo>
                  <a:lnTo>
                    <a:pt x="139" y="186"/>
                  </a:lnTo>
                  <a:lnTo>
                    <a:pt x="145" y="183"/>
                  </a:lnTo>
                  <a:lnTo>
                    <a:pt x="150" y="182"/>
                  </a:lnTo>
                  <a:lnTo>
                    <a:pt x="191" y="182"/>
                  </a:lnTo>
                  <a:lnTo>
                    <a:pt x="191" y="182"/>
                  </a:lnTo>
                  <a:lnTo>
                    <a:pt x="197" y="183"/>
                  </a:lnTo>
                  <a:lnTo>
                    <a:pt x="202" y="186"/>
                  </a:lnTo>
                  <a:lnTo>
                    <a:pt x="205" y="190"/>
                  </a:lnTo>
                  <a:lnTo>
                    <a:pt x="206" y="197"/>
                  </a:lnTo>
                  <a:lnTo>
                    <a:pt x="206" y="304"/>
                  </a:lnTo>
                  <a:close/>
                  <a:moveTo>
                    <a:pt x="188" y="8"/>
                  </a:moveTo>
                  <a:lnTo>
                    <a:pt x="188" y="8"/>
                  </a:lnTo>
                  <a:lnTo>
                    <a:pt x="184" y="5"/>
                  </a:lnTo>
                  <a:lnTo>
                    <a:pt x="180" y="3"/>
                  </a:lnTo>
                  <a:lnTo>
                    <a:pt x="176" y="2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67" y="2"/>
                  </a:lnTo>
                  <a:lnTo>
                    <a:pt x="163" y="3"/>
                  </a:lnTo>
                  <a:lnTo>
                    <a:pt x="159" y="5"/>
                  </a:lnTo>
                  <a:lnTo>
                    <a:pt x="155" y="8"/>
                  </a:lnTo>
                  <a:lnTo>
                    <a:pt x="1" y="161"/>
                  </a:lnTo>
                  <a:lnTo>
                    <a:pt x="1" y="161"/>
                  </a:lnTo>
                  <a:lnTo>
                    <a:pt x="0" y="163"/>
                  </a:lnTo>
                  <a:lnTo>
                    <a:pt x="0" y="165"/>
                  </a:lnTo>
                  <a:lnTo>
                    <a:pt x="0" y="169"/>
                  </a:lnTo>
                  <a:lnTo>
                    <a:pt x="1" y="171"/>
                  </a:lnTo>
                  <a:lnTo>
                    <a:pt x="1" y="171"/>
                  </a:lnTo>
                  <a:lnTo>
                    <a:pt x="4" y="172"/>
                  </a:lnTo>
                  <a:lnTo>
                    <a:pt x="7" y="172"/>
                  </a:lnTo>
                  <a:lnTo>
                    <a:pt x="9" y="172"/>
                  </a:lnTo>
                  <a:lnTo>
                    <a:pt x="12" y="171"/>
                  </a:lnTo>
                  <a:lnTo>
                    <a:pt x="33" y="149"/>
                  </a:lnTo>
                  <a:lnTo>
                    <a:pt x="33" y="287"/>
                  </a:lnTo>
                  <a:lnTo>
                    <a:pt x="33" y="287"/>
                  </a:lnTo>
                  <a:lnTo>
                    <a:pt x="33" y="293"/>
                  </a:lnTo>
                  <a:lnTo>
                    <a:pt x="35" y="298"/>
                  </a:lnTo>
                  <a:lnTo>
                    <a:pt x="38" y="304"/>
                  </a:lnTo>
                  <a:lnTo>
                    <a:pt x="41" y="308"/>
                  </a:lnTo>
                  <a:lnTo>
                    <a:pt x="45" y="312"/>
                  </a:lnTo>
                  <a:lnTo>
                    <a:pt x="50" y="314"/>
                  </a:lnTo>
                  <a:lnTo>
                    <a:pt x="56" y="317"/>
                  </a:lnTo>
                  <a:lnTo>
                    <a:pt x="61" y="318"/>
                  </a:lnTo>
                  <a:lnTo>
                    <a:pt x="280" y="318"/>
                  </a:lnTo>
                  <a:lnTo>
                    <a:pt x="280" y="318"/>
                  </a:lnTo>
                  <a:lnTo>
                    <a:pt x="286" y="317"/>
                  </a:lnTo>
                  <a:lnTo>
                    <a:pt x="292" y="314"/>
                  </a:lnTo>
                  <a:lnTo>
                    <a:pt x="297" y="312"/>
                  </a:lnTo>
                  <a:lnTo>
                    <a:pt x="301" y="308"/>
                  </a:lnTo>
                  <a:lnTo>
                    <a:pt x="304" y="304"/>
                  </a:lnTo>
                  <a:lnTo>
                    <a:pt x="308" y="298"/>
                  </a:lnTo>
                  <a:lnTo>
                    <a:pt x="309" y="293"/>
                  </a:lnTo>
                  <a:lnTo>
                    <a:pt x="310" y="287"/>
                  </a:lnTo>
                  <a:lnTo>
                    <a:pt x="310" y="148"/>
                  </a:lnTo>
                  <a:lnTo>
                    <a:pt x="332" y="171"/>
                  </a:lnTo>
                  <a:lnTo>
                    <a:pt x="332" y="171"/>
                  </a:lnTo>
                  <a:lnTo>
                    <a:pt x="334" y="172"/>
                  </a:lnTo>
                  <a:lnTo>
                    <a:pt x="337" y="172"/>
                  </a:lnTo>
                  <a:lnTo>
                    <a:pt x="337" y="172"/>
                  </a:lnTo>
                  <a:lnTo>
                    <a:pt x="339" y="172"/>
                  </a:lnTo>
                  <a:lnTo>
                    <a:pt x="341" y="171"/>
                  </a:lnTo>
                  <a:lnTo>
                    <a:pt x="341" y="171"/>
                  </a:lnTo>
                  <a:lnTo>
                    <a:pt x="343" y="169"/>
                  </a:lnTo>
                  <a:lnTo>
                    <a:pt x="343" y="165"/>
                  </a:lnTo>
                  <a:lnTo>
                    <a:pt x="343" y="163"/>
                  </a:lnTo>
                  <a:lnTo>
                    <a:pt x="341" y="161"/>
                  </a:lnTo>
                  <a:lnTo>
                    <a:pt x="188" y="8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71062177-5BA6-4426-B539-C3561A9FF7C8}"/>
                </a:ext>
              </a:extLst>
            </p:cNvPr>
            <p:cNvGrpSpPr/>
            <p:nvPr/>
          </p:nvGrpSpPr>
          <p:grpSpPr>
            <a:xfrm>
              <a:off x="10045383" y="3162619"/>
              <a:ext cx="280033" cy="280246"/>
              <a:chOff x="10029343" y="2714933"/>
              <a:chExt cx="441414" cy="441750"/>
            </a:xfrm>
          </p:grpSpPr>
          <p:grpSp>
            <p:nvGrpSpPr>
              <p:cNvPr id="306" name="Group 305">
                <a:extLst>
                  <a:ext uri="{FF2B5EF4-FFF2-40B4-BE49-F238E27FC236}">
                    <a16:creationId xmlns:a16="http://schemas.microsoft.com/office/drawing/2014/main" id="{7B6F3276-4BF0-4C91-8469-7D3809F8FF45}"/>
                  </a:ext>
                </a:extLst>
              </p:cNvPr>
              <p:cNvGrpSpPr/>
              <p:nvPr/>
            </p:nvGrpSpPr>
            <p:grpSpPr>
              <a:xfrm flipH="1">
                <a:off x="10029343" y="2714933"/>
                <a:ext cx="241037" cy="241036"/>
                <a:chOff x="18445163" y="4270376"/>
                <a:chExt cx="192088" cy="192088"/>
              </a:xfrm>
              <a:solidFill>
                <a:schemeClr val="tx1"/>
              </a:solidFill>
            </p:grpSpPr>
            <p:sp>
              <p:nvSpPr>
                <p:cNvPr id="100" name="Freeform 16">
                  <a:extLst>
                    <a:ext uri="{FF2B5EF4-FFF2-40B4-BE49-F238E27FC236}">
                      <a16:creationId xmlns:a16="http://schemas.microsoft.com/office/drawing/2014/main" id="{D03ABA0B-D95E-4B31-B0A6-56EF091963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45163" y="4368801"/>
                  <a:ext cx="93663" cy="93663"/>
                </a:xfrm>
                <a:custGeom>
                  <a:avLst/>
                  <a:gdLst>
                    <a:gd name="T0" fmla="*/ 47 w 59"/>
                    <a:gd name="T1" fmla="*/ 53 h 59"/>
                    <a:gd name="T2" fmla="*/ 47 w 59"/>
                    <a:gd name="T3" fmla="*/ 53 h 59"/>
                    <a:gd name="T4" fmla="*/ 47 w 59"/>
                    <a:gd name="T5" fmla="*/ 55 h 59"/>
                    <a:gd name="T6" fmla="*/ 48 w 59"/>
                    <a:gd name="T7" fmla="*/ 57 h 59"/>
                    <a:gd name="T8" fmla="*/ 50 w 59"/>
                    <a:gd name="T9" fmla="*/ 58 h 59"/>
                    <a:gd name="T10" fmla="*/ 53 w 59"/>
                    <a:gd name="T11" fmla="*/ 59 h 59"/>
                    <a:gd name="T12" fmla="*/ 53 w 59"/>
                    <a:gd name="T13" fmla="*/ 59 h 59"/>
                    <a:gd name="T14" fmla="*/ 55 w 59"/>
                    <a:gd name="T15" fmla="*/ 58 h 59"/>
                    <a:gd name="T16" fmla="*/ 58 w 59"/>
                    <a:gd name="T17" fmla="*/ 57 h 59"/>
                    <a:gd name="T18" fmla="*/ 59 w 59"/>
                    <a:gd name="T19" fmla="*/ 55 h 59"/>
                    <a:gd name="T20" fmla="*/ 59 w 59"/>
                    <a:gd name="T21" fmla="*/ 53 h 59"/>
                    <a:gd name="T22" fmla="*/ 59 w 59"/>
                    <a:gd name="T23" fmla="*/ 53 h 59"/>
                    <a:gd name="T24" fmla="*/ 58 w 59"/>
                    <a:gd name="T25" fmla="*/ 42 h 59"/>
                    <a:gd name="T26" fmla="*/ 55 w 59"/>
                    <a:gd name="T27" fmla="*/ 32 h 59"/>
                    <a:gd name="T28" fmla="*/ 50 w 59"/>
                    <a:gd name="T29" fmla="*/ 23 h 59"/>
                    <a:gd name="T30" fmla="*/ 44 w 59"/>
                    <a:gd name="T31" fmla="*/ 15 h 59"/>
                    <a:gd name="T32" fmla="*/ 36 w 59"/>
                    <a:gd name="T33" fmla="*/ 9 h 59"/>
                    <a:gd name="T34" fmla="*/ 26 w 59"/>
                    <a:gd name="T35" fmla="*/ 3 h 59"/>
                    <a:gd name="T36" fmla="*/ 17 w 59"/>
                    <a:gd name="T37" fmla="*/ 1 h 59"/>
                    <a:gd name="T38" fmla="*/ 6 w 59"/>
                    <a:gd name="T39" fmla="*/ 0 h 59"/>
                    <a:gd name="T40" fmla="*/ 6 w 59"/>
                    <a:gd name="T41" fmla="*/ 0 h 59"/>
                    <a:gd name="T42" fmla="*/ 4 w 59"/>
                    <a:gd name="T43" fmla="*/ 0 h 59"/>
                    <a:gd name="T44" fmla="*/ 2 w 59"/>
                    <a:gd name="T45" fmla="*/ 1 h 59"/>
                    <a:gd name="T46" fmla="*/ 1 w 59"/>
                    <a:gd name="T47" fmla="*/ 3 h 59"/>
                    <a:gd name="T48" fmla="*/ 0 w 59"/>
                    <a:gd name="T49" fmla="*/ 5 h 59"/>
                    <a:gd name="T50" fmla="*/ 0 w 59"/>
                    <a:gd name="T51" fmla="*/ 5 h 59"/>
                    <a:gd name="T52" fmla="*/ 1 w 59"/>
                    <a:gd name="T53" fmla="*/ 9 h 59"/>
                    <a:gd name="T54" fmla="*/ 2 w 59"/>
                    <a:gd name="T55" fmla="*/ 11 h 59"/>
                    <a:gd name="T56" fmla="*/ 4 w 59"/>
                    <a:gd name="T57" fmla="*/ 12 h 59"/>
                    <a:gd name="T58" fmla="*/ 6 w 59"/>
                    <a:gd name="T59" fmla="*/ 12 h 59"/>
                    <a:gd name="T60" fmla="*/ 6 w 59"/>
                    <a:gd name="T61" fmla="*/ 12 h 59"/>
                    <a:gd name="T62" fmla="*/ 15 w 59"/>
                    <a:gd name="T63" fmla="*/ 13 h 59"/>
                    <a:gd name="T64" fmla="*/ 22 w 59"/>
                    <a:gd name="T65" fmla="*/ 15 h 59"/>
                    <a:gd name="T66" fmla="*/ 29 w 59"/>
                    <a:gd name="T67" fmla="*/ 19 h 59"/>
                    <a:gd name="T68" fmla="*/ 35 w 59"/>
                    <a:gd name="T69" fmla="*/ 24 h 59"/>
                    <a:gd name="T70" fmla="*/ 39 w 59"/>
                    <a:gd name="T71" fmla="*/ 30 h 59"/>
                    <a:gd name="T72" fmla="*/ 44 w 59"/>
                    <a:gd name="T73" fmla="*/ 36 h 59"/>
                    <a:gd name="T74" fmla="*/ 46 w 59"/>
                    <a:gd name="T75" fmla="*/ 44 h 59"/>
                    <a:gd name="T76" fmla="*/ 47 w 59"/>
                    <a:gd name="T77" fmla="*/ 53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59" h="59">
                      <a:moveTo>
                        <a:pt x="47" y="53"/>
                      </a:moveTo>
                      <a:lnTo>
                        <a:pt x="47" y="53"/>
                      </a:lnTo>
                      <a:lnTo>
                        <a:pt x="47" y="55"/>
                      </a:lnTo>
                      <a:lnTo>
                        <a:pt x="48" y="57"/>
                      </a:lnTo>
                      <a:lnTo>
                        <a:pt x="50" y="58"/>
                      </a:lnTo>
                      <a:lnTo>
                        <a:pt x="53" y="59"/>
                      </a:lnTo>
                      <a:lnTo>
                        <a:pt x="53" y="59"/>
                      </a:lnTo>
                      <a:lnTo>
                        <a:pt x="55" y="58"/>
                      </a:lnTo>
                      <a:lnTo>
                        <a:pt x="58" y="57"/>
                      </a:lnTo>
                      <a:lnTo>
                        <a:pt x="59" y="55"/>
                      </a:lnTo>
                      <a:lnTo>
                        <a:pt x="59" y="53"/>
                      </a:lnTo>
                      <a:lnTo>
                        <a:pt x="59" y="53"/>
                      </a:lnTo>
                      <a:lnTo>
                        <a:pt x="58" y="42"/>
                      </a:lnTo>
                      <a:lnTo>
                        <a:pt x="55" y="32"/>
                      </a:lnTo>
                      <a:lnTo>
                        <a:pt x="50" y="23"/>
                      </a:lnTo>
                      <a:lnTo>
                        <a:pt x="44" y="15"/>
                      </a:lnTo>
                      <a:lnTo>
                        <a:pt x="36" y="9"/>
                      </a:lnTo>
                      <a:lnTo>
                        <a:pt x="26" y="3"/>
                      </a:lnTo>
                      <a:lnTo>
                        <a:pt x="17" y="1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1" y="3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1" y="9"/>
                      </a:lnTo>
                      <a:lnTo>
                        <a:pt x="2" y="11"/>
                      </a:lnTo>
                      <a:lnTo>
                        <a:pt x="4" y="12"/>
                      </a:lnTo>
                      <a:lnTo>
                        <a:pt x="6" y="12"/>
                      </a:lnTo>
                      <a:lnTo>
                        <a:pt x="6" y="12"/>
                      </a:lnTo>
                      <a:lnTo>
                        <a:pt x="15" y="13"/>
                      </a:lnTo>
                      <a:lnTo>
                        <a:pt x="22" y="15"/>
                      </a:lnTo>
                      <a:lnTo>
                        <a:pt x="29" y="19"/>
                      </a:lnTo>
                      <a:lnTo>
                        <a:pt x="35" y="24"/>
                      </a:lnTo>
                      <a:lnTo>
                        <a:pt x="39" y="30"/>
                      </a:lnTo>
                      <a:lnTo>
                        <a:pt x="44" y="36"/>
                      </a:lnTo>
                      <a:lnTo>
                        <a:pt x="46" y="44"/>
                      </a:lnTo>
                      <a:lnTo>
                        <a:pt x="47" y="5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3" name="Freeform 18">
                  <a:extLst>
                    <a:ext uri="{FF2B5EF4-FFF2-40B4-BE49-F238E27FC236}">
                      <a16:creationId xmlns:a16="http://schemas.microsoft.com/office/drawing/2014/main" id="{5A1261CB-847E-43CA-B66A-E10739A7DB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45163" y="4319588"/>
                  <a:ext cx="142875" cy="142875"/>
                </a:xfrm>
                <a:custGeom>
                  <a:avLst/>
                  <a:gdLst>
                    <a:gd name="T0" fmla="*/ 6 w 90"/>
                    <a:gd name="T1" fmla="*/ 0 h 90"/>
                    <a:gd name="T2" fmla="*/ 6 w 90"/>
                    <a:gd name="T3" fmla="*/ 0 h 90"/>
                    <a:gd name="T4" fmla="*/ 4 w 90"/>
                    <a:gd name="T5" fmla="*/ 0 h 90"/>
                    <a:gd name="T6" fmla="*/ 2 w 90"/>
                    <a:gd name="T7" fmla="*/ 1 h 90"/>
                    <a:gd name="T8" fmla="*/ 1 w 90"/>
                    <a:gd name="T9" fmla="*/ 3 h 90"/>
                    <a:gd name="T10" fmla="*/ 0 w 90"/>
                    <a:gd name="T11" fmla="*/ 6 h 90"/>
                    <a:gd name="T12" fmla="*/ 0 w 90"/>
                    <a:gd name="T13" fmla="*/ 6 h 90"/>
                    <a:gd name="T14" fmla="*/ 1 w 90"/>
                    <a:gd name="T15" fmla="*/ 9 h 90"/>
                    <a:gd name="T16" fmla="*/ 2 w 90"/>
                    <a:gd name="T17" fmla="*/ 11 h 90"/>
                    <a:gd name="T18" fmla="*/ 4 w 90"/>
                    <a:gd name="T19" fmla="*/ 12 h 90"/>
                    <a:gd name="T20" fmla="*/ 6 w 90"/>
                    <a:gd name="T21" fmla="*/ 12 h 90"/>
                    <a:gd name="T22" fmla="*/ 6 w 90"/>
                    <a:gd name="T23" fmla="*/ 12 h 90"/>
                    <a:gd name="T24" fmla="*/ 14 w 90"/>
                    <a:gd name="T25" fmla="*/ 13 h 90"/>
                    <a:gd name="T26" fmla="*/ 21 w 90"/>
                    <a:gd name="T27" fmla="*/ 14 h 90"/>
                    <a:gd name="T28" fmla="*/ 28 w 90"/>
                    <a:gd name="T29" fmla="*/ 15 h 90"/>
                    <a:gd name="T30" fmla="*/ 34 w 90"/>
                    <a:gd name="T31" fmla="*/ 18 h 90"/>
                    <a:gd name="T32" fmla="*/ 40 w 90"/>
                    <a:gd name="T33" fmla="*/ 20 h 90"/>
                    <a:gd name="T34" fmla="*/ 46 w 90"/>
                    <a:gd name="T35" fmla="*/ 25 h 90"/>
                    <a:gd name="T36" fmla="*/ 51 w 90"/>
                    <a:gd name="T37" fmla="*/ 29 h 90"/>
                    <a:gd name="T38" fmla="*/ 56 w 90"/>
                    <a:gd name="T39" fmla="*/ 33 h 90"/>
                    <a:gd name="T40" fmla="*/ 61 w 90"/>
                    <a:gd name="T41" fmla="*/ 39 h 90"/>
                    <a:gd name="T42" fmla="*/ 65 w 90"/>
                    <a:gd name="T43" fmla="*/ 44 h 90"/>
                    <a:gd name="T44" fmla="*/ 69 w 90"/>
                    <a:gd name="T45" fmla="*/ 49 h 90"/>
                    <a:gd name="T46" fmla="*/ 71 w 90"/>
                    <a:gd name="T47" fmla="*/ 56 h 90"/>
                    <a:gd name="T48" fmla="*/ 75 w 90"/>
                    <a:gd name="T49" fmla="*/ 62 h 90"/>
                    <a:gd name="T50" fmla="*/ 76 w 90"/>
                    <a:gd name="T51" fmla="*/ 69 h 90"/>
                    <a:gd name="T52" fmla="*/ 77 w 90"/>
                    <a:gd name="T53" fmla="*/ 76 h 90"/>
                    <a:gd name="T54" fmla="*/ 78 w 90"/>
                    <a:gd name="T55" fmla="*/ 84 h 90"/>
                    <a:gd name="T56" fmla="*/ 78 w 90"/>
                    <a:gd name="T57" fmla="*/ 84 h 90"/>
                    <a:gd name="T58" fmla="*/ 78 w 90"/>
                    <a:gd name="T59" fmla="*/ 86 h 90"/>
                    <a:gd name="T60" fmla="*/ 79 w 90"/>
                    <a:gd name="T61" fmla="*/ 88 h 90"/>
                    <a:gd name="T62" fmla="*/ 81 w 90"/>
                    <a:gd name="T63" fmla="*/ 89 h 90"/>
                    <a:gd name="T64" fmla="*/ 83 w 90"/>
                    <a:gd name="T65" fmla="*/ 90 h 90"/>
                    <a:gd name="T66" fmla="*/ 83 w 90"/>
                    <a:gd name="T67" fmla="*/ 90 h 90"/>
                    <a:gd name="T68" fmla="*/ 86 w 90"/>
                    <a:gd name="T69" fmla="*/ 89 h 90"/>
                    <a:gd name="T70" fmla="*/ 89 w 90"/>
                    <a:gd name="T71" fmla="*/ 88 h 90"/>
                    <a:gd name="T72" fmla="*/ 90 w 90"/>
                    <a:gd name="T73" fmla="*/ 86 h 90"/>
                    <a:gd name="T74" fmla="*/ 90 w 90"/>
                    <a:gd name="T75" fmla="*/ 84 h 90"/>
                    <a:gd name="T76" fmla="*/ 90 w 90"/>
                    <a:gd name="T77" fmla="*/ 84 h 90"/>
                    <a:gd name="T78" fmla="*/ 90 w 90"/>
                    <a:gd name="T79" fmla="*/ 75 h 90"/>
                    <a:gd name="T80" fmla="*/ 89 w 90"/>
                    <a:gd name="T81" fmla="*/ 66 h 90"/>
                    <a:gd name="T82" fmla="*/ 86 w 90"/>
                    <a:gd name="T83" fmla="*/ 59 h 90"/>
                    <a:gd name="T84" fmla="*/ 83 w 90"/>
                    <a:gd name="T85" fmla="*/ 50 h 90"/>
                    <a:gd name="T86" fmla="*/ 80 w 90"/>
                    <a:gd name="T87" fmla="*/ 44 h 90"/>
                    <a:gd name="T88" fmla="*/ 76 w 90"/>
                    <a:gd name="T89" fmla="*/ 36 h 90"/>
                    <a:gd name="T90" fmla="*/ 70 w 90"/>
                    <a:gd name="T91" fmla="*/ 30 h 90"/>
                    <a:gd name="T92" fmla="*/ 65 w 90"/>
                    <a:gd name="T93" fmla="*/ 25 h 90"/>
                    <a:gd name="T94" fmla="*/ 60 w 90"/>
                    <a:gd name="T95" fmla="*/ 19 h 90"/>
                    <a:gd name="T96" fmla="*/ 53 w 90"/>
                    <a:gd name="T97" fmla="*/ 14 h 90"/>
                    <a:gd name="T98" fmla="*/ 46 w 90"/>
                    <a:gd name="T99" fmla="*/ 10 h 90"/>
                    <a:gd name="T100" fmla="*/ 39 w 90"/>
                    <a:gd name="T101" fmla="*/ 6 h 90"/>
                    <a:gd name="T102" fmla="*/ 31 w 90"/>
                    <a:gd name="T103" fmla="*/ 3 h 90"/>
                    <a:gd name="T104" fmla="*/ 23 w 90"/>
                    <a:gd name="T105" fmla="*/ 1 h 90"/>
                    <a:gd name="T106" fmla="*/ 15 w 90"/>
                    <a:gd name="T107" fmla="*/ 0 h 90"/>
                    <a:gd name="T108" fmla="*/ 6 w 90"/>
                    <a:gd name="T109" fmla="*/ 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90" h="90"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1" y="3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1" y="9"/>
                      </a:lnTo>
                      <a:lnTo>
                        <a:pt x="2" y="11"/>
                      </a:lnTo>
                      <a:lnTo>
                        <a:pt x="4" y="12"/>
                      </a:lnTo>
                      <a:lnTo>
                        <a:pt x="6" y="12"/>
                      </a:lnTo>
                      <a:lnTo>
                        <a:pt x="6" y="12"/>
                      </a:lnTo>
                      <a:lnTo>
                        <a:pt x="14" y="13"/>
                      </a:lnTo>
                      <a:lnTo>
                        <a:pt x="21" y="14"/>
                      </a:lnTo>
                      <a:lnTo>
                        <a:pt x="28" y="15"/>
                      </a:lnTo>
                      <a:lnTo>
                        <a:pt x="34" y="18"/>
                      </a:lnTo>
                      <a:lnTo>
                        <a:pt x="40" y="20"/>
                      </a:lnTo>
                      <a:lnTo>
                        <a:pt x="46" y="25"/>
                      </a:lnTo>
                      <a:lnTo>
                        <a:pt x="51" y="29"/>
                      </a:lnTo>
                      <a:lnTo>
                        <a:pt x="56" y="33"/>
                      </a:lnTo>
                      <a:lnTo>
                        <a:pt x="61" y="39"/>
                      </a:lnTo>
                      <a:lnTo>
                        <a:pt x="65" y="44"/>
                      </a:lnTo>
                      <a:lnTo>
                        <a:pt x="69" y="49"/>
                      </a:lnTo>
                      <a:lnTo>
                        <a:pt x="71" y="56"/>
                      </a:lnTo>
                      <a:lnTo>
                        <a:pt x="75" y="62"/>
                      </a:lnTo>
                      <a:lnTo>
                        <a:pt x="76" y="69"/>
                      </a:lnTo>
                      <a:lnTo>
                        <a:pt x="77" y="76"/>
                      </a:lnTo>
                      <a:lnTo>
                        <a:pt x="78" y="84"/>
                      </a:lnTo>
                      <a:lnTo>
                        <a:pt x="78" y="84"/>
                      </a:lnTo>
                      <a:lnTo>
                        <a:pt x="78" y="86"/>
                      </a:lnTo>
                      <a:lnTo>
                        <a:pt x="79" y="88"/>
                      </a:lnTo>
                      <a:lnTo>
                        <a:pt x="81" y="89"/>
                      </a:lnTo>
                      <a:lnTo>
                        <a:pt x="83" y="90"/>
                      </a:lnTo>
                      <a:lnTo>
                        <a:pt x="83" y="90"/>
                      </a:lnTo>
                      <a:lnTo>
                        <a:pt x="86" y="89"/>
                      </a:lnTo>
                      <a:lnTo>
                        <a:pt x="89" y="88"/>
                      </a:lnTo>
                      <a:lnTo>
                        <a:pt x="90" y="86"/>
                      </a:lnTo>
                      <a:lnTo>
                        <a:pt x="90" y="84"/>
                      </a:lnTo>
                      <a:lnTo>
                        <a:pt x="90" y="84"/>
                      </a:lnTo>
                      <a:lnTo>
                        <a:pt x="90" y="75"/>
                      </a:lnTo>
                      <a:lnTo>
                        <a:pt x="89" y="66"/>
                      </a:lnTo>
                      <a:lnTo>
                        <a:pt x="86" y="59"/>
                      </a:lnTo>
                      <a:lnTo>
                        <a:pt x="83" y="50"/>
                      </a:lnTo>
                      <a:lnTo>
                        <a:pt x="80" y="44"/>
                      </a:lnTo>
                      <a:lnTo>
                        <a:pt x="76" y="36"/>
                      </a:lnTo>
                      <a:lnTo>
                        <a:pt x="70" y="30"/>
                      </a:lnTo>
                      <a:lnTo>
                        <a:pt x="65" y="25"/>
                      </a:lnTo>
                      <a:lnTo>
                        <a:pt x="60" y="19"/>
                      </a:lnTo>
                      <a:lnTo>
                        <a:pt x="53" y="14"/>
                      </a:lnTo>
                      <a:lnTo>
                        <a:pt x="46" y="10"/>
                      </a:lnTo>
                      <a:lnTo>
                        <a:pt x="39" y="6"/>
                      </a:lnTo>
                      <a:lnTo>
                        <a:pt x="31" y="3"/>
                      </a:lnTo>
                      <a:lnTo>
                        <a:pt x="23" y="1"/>
                      </a:lnTo>
                      <a:lnTo>
                        <a:pt x="15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  <p:sp>
              <p:nvSpPr>
                <p:cNvPr id="105" name="Freeform 20">
                  <a:extLst>
                    <a:ext uri="{FF2B5EF4-FFF2-40B4-BE49-F238E27FC236}">
                      <a16:creationId xmlns:a16="http://schemas.microsoft.com/office/drawing/2014/main" id="{CF24D5D0-8B0D-42B3-843C-41FD5F3DD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45163" y="4270376"/>
                  <a:ext cx="192088" cy="192088"/>
                </a:xfrm>
                <a:custGeom>
                  <a:avLst/>
                  <a:gdLst>
                    <a:gd name="T0" fmla="*/ 6 w 121"/>
                    <a:gd name="T1" fmla="*/ 0 h 121"/>
                    <a:gd name="T2" fmla="*/ 6 w 121"/>
                    <a:gd name="T3" fmla="*/ 0 h 121"/>
                    <a:gd name="T4" fmla="*/ 4 w 121"/>
                    <a:gd name="T5" fmla="*/ 0 h 121"/>
                    <a:gd name="T6" fmla="*/ 2 w 121"/>
                    <a:gd name="T7" fmla="*/ 2 h 121"/>
                    <a:gd name="T8" fmla="*/ 1 w 121"/>
                    <a:gd name="T9" fmla="*/ 3 h 121"/>
                    <a:gd name="T10" fmla="*/ 0 w 121"/>
                    <a:gd name="T11" fmla="*/ 6 h 121"/>
                    <a:gd name="T12" fmla="*/ 0 w 121"/>
                    <a:gd name="T13" fmla="*/ 6 h 121"/>
                    <a:gd name="T14" fmla="*/ 1 w 121"/>
                    <a:gd name="T15" fmla="*/ 8 h 121"/>
                    <a:gd name="T16" fmla="*/ 2 w 121"/>
                    <a:gd name="T17" fmla="*/ 11 h 121"/>
                    <a:gd name="T18" fmla="*/ 4 w 121"/>
                    <a:gd name="T19" fmla="*/ 12 h 121"/>
                    <a:gd name="T20" fmla="*/ 6 w 121"/>
                    <a:gd name="T21" fmla="*/ 13 h 121"/>
                    <a:gd name="T22" fmla="*/ 6 w 121"/>
                    <a:gd name="T23" fmla="*/ 13 h 121"/>
                    <a:gd name="T24" fmla="*/ 17 w 121"/>
                    <a:gd name="T25" fmla="*/ 13 h 121"/>
                    <a:gd name="T26" fmla="*/ 26 w 121"/>
                    <a:gd name="T27" fmla="*/ 15 h 121"/>
                    <a:gd name="T28" fmla="*/ 37 w 121"/>
                    <a:gd name="T29" fmla="*/ 17 h 121"/>
                    <a:gd name="T30" fmla="*/ 46 w 121"/>
                    <a:gd name="T31" fmla="*/ 20 h 121"/>
                    <a:gd name="T32" fmla="*/ 55 w 121"/>
                    <a:gd name="T33" fmla="*/ 25 h 121"/>
                    <a:gd name="T34" fmla="*/ 63 w 121"/>
                    <a:gd name="T35" fmla="*/ 30 h 121"/>
                    <a:gd name="T36" fmla="*/ 71 w 121"/>
                    <a:gd name="T37" fmla="*/ 35 h 121"/>
                    <a:gd name="T38" fmla="*/ 79 w 121"/>
                    <a:gd name="T39" fmla="*/ 43 h 121"/>
                    <a:gd name="T40" fmla="*/ 85 w 121"/>
                    <a:gd name="T41" fmla="*/ 49 h 121"/>
                    <a:gd name="T42" fmla="*/ 91 w 121"/>
                    <a:gd name="T43" fmla="*/ 58 h 121"/>
                    <a:gd name="T44" fmla="*/ 96 w 121"/>
                    <a:gd name="T45" fmla="*/ 65 h 121"/>
                    <a:gd name="T46" fmla="*/ 100 w 121"/>
                    <a:gd name="T47" fmla="*/ 75 h 121"/>
                    <a:gd name="T48" fmla="*/ 104 w 121"/>
                    <a:gd name="T49" fmla="*/ 85 h 121"/>
                    <a:gd name="T50" fmla="*/ 106 w 121"/>
                    <a:gd name="T51" fmla="*/ 94 h 121"/>
                    <a:gd name="T52" fmla="*/ 108 w 121"/>
                    <a:gd name="T53" fmla="*/ 104 h 121"/>
                    <a:gd name="T54" fmla="*/ 108 w 121"/>
                    <a:gd name="T55" fmla="*/ 115 h 121"/>
                    <a:gd name="T56" fmla="*/ 108 w 121"/>
                    <a:gd name="T57" fmla="*/ 115 h 121"/>
                    <a:gd name="T58" fmla="*/ 109 w 121"/>
                    <a:gd name="T59" fmla="*/ 117 h 121"/>
                    <a:gd name="T60" fmla="*/ 110 w 121"/>
                    <a:gd name="T61" fmla="*/ 119 h 121"/>
                    <a:gd name="T62" fmla="*/ 112 w 121"/>
                    <a:gd name="T63" fmla="*/ 120 h 121"/>
                    <a:gd name="T64" fmla="*/ 114 w 121"/>
                    <a:gd name="T65" fmla="*/ 121 h 121"/>
                    <a:gd name="T66" fmla="*/ 114 w 121"/>
                    <a:gd name="T67" fmla="*/ 121 h 121"/>
                    <a:gd name="T68" fmla="*/ 118 w 121"/>
                    <a:gd name="T69" fmla="*/ 120 h 121"/>
                    <a:gd name="T70" fmla="*/ 119 w 121"/>
                    <a:gd name="T71" fmla="*/ 119 h 121"/>
                    <a:gd name="T72" fmla="*/ 121 w 121"/>
                    <a:gd name="T73" fmla="*/ 117 h 121"/>
                    <a:gd name="T74" fmla="*/ 121 w 121"/>
                    <a:gd name="T75" fmla="*/ 115 h 121"/>
                    <a:gd name="T76" fmla="*/ 121 w 121"/>
                    <a:gd name="T77" fmla="*/ 115 h 121"/>
                    <a:gd name="T78" fmla="*/ 121 w 121"/>
                    <a:gd name="T79" fmla="*/ 103 h 121"/>
                    <a:gd name="T80" fmla="*/ 119 w 121"/>
                    <a:gd name="T81" fmla="*/ 91 h 121"/>
                    <a:gd name="T82" fmla="*/ 115 w 121"/>
                    <a:gd name="T83" fmla="*/ 80 h 121"/>
                    <a:gd name="T84" fmla="*/ 112 w 121"/>
                    <a:gd name="T85" fmla="*/ 70 h 121"/>
                    <a:gd name="T86" fmla="*/ 107 w 121"/>
                    <a:gd name="T87" fmla="*/ 60 h 121"/>
                    <a:gd name="T88" fmla="*/ 101 w 121"/>
                    <a:gd name="T89" fmla="*/ 50 h 121"/>
                    <a:gd name="T90" fmla="*/ 95 w 121"/>
                    <a:gd name="T91" fmla="*/ 42 h 121"/>
                    <a:gd name="T92" fmla="*/ 88 w 121"/>
                    <a:gd name="T93" fmla="*/ 33 h 121"/>
                    <a:gd name="T94" fmla="*/ 79 w 121"/>
                    <a:gd name="T95" fmla="*/ 26 h 121"/>
                    <a:gd name="T96" fmla="*/ 70 w 121"/>
                    <a:gd name="T97" fmla="*/ 19 h 121"/>
                    <a:gd name="T98" fmla="*/ 61 w 121"/>
                    <a:gd name="T99" fmla="*/ 14 h 121"/>
                    <a:gd name="T100" fmla="*/ 51 w 121"/>
                    <a:gd name="T101" fmla="*/ 8 h 121"/>
                    <a:gd name="T102" fmla="*/ 40 w 121"/>
                    <a:gd name="T103" fmla="*/ 5 h 121"/>
                    <a:gd name="T104" fmla="*/ 30 w 121"/>
                    <a:gd name="T105" fmla="*/ 2 h 121"/>
                    <a:gd name="T106" fmla="*/ 18 w 121"/>
                    <a:gd name="T107" fmla="*/ 0 h 121"/>
                    <a:gd name="T108" fmla="*/ 6 w 121"/>
                    <a:gd name="T109" fmla="*/ 0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21" h="121"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1" y="3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1" y="8"/>
                      </a:lnTo>
                      <a:lnTo>
                        <a:pt x="2" y="11"/>
                      </a:lnTo>
                      <a:lnTo>
                        <a:pt x="4" y="12"/>
                      </a:lnTo>
                      <a:lnTo>
                        <a:pt x="6" y="13"/>
                      </a:lnTo>
                      <a:lnTo>
                        <a:pt x="6" y="13"/>
                      </a:lnTo>
                      <a:lnTo>
                        <a:pt x="17" y="13"/>
                      </a:lnTo>
                      <a:lnTo>
                        <a:pt x="26" y="15"/>
                      </a:lnTo>
                      <a:lnTo>
                        <a:pt x="37" y="17"/>
                      </a:lnTo>
                      <a:lnTo>
                        <a:pt x="46" y="20"/>
                      </a:lnTo>
                      <a:lnTo>
                        <a:pt x="55" y="25"/>
                      </a:lnTo>
                      <a:lnTo>
                        <a:pt x="63" y="30"/>
                      </a:lnTo>
                      <a:lnTo>
                        <a:pt x="71" y="35"/>
                      </a:lnTo>
                      <a:lnTo>
                        <a:pt x="79" y="43"/>
                      </a:lnTo>
                      <a:lnTo>
                        <a:pt x="85" y="49"/>
                      </a:lnTo>
                      <a:lnTo>
                        <a:pt x="91" y="58"/>
                      </a:lnTo>
                      <a:lnTo>
                        <a:pt x="96" y="65"/>
                      </a:lnTo>
                      <a:lnTo>
                        <a:pt x="100" y="75"/>
                      </a:lnTo>
                      <a:lnTo>
                        <a:pt x="104" y="85"/>
                      </a:lnTo>
                      <a:lnTo>
                        <a:pt x="106" y="94"/>
                      </a:lnTo>
                      <a:lnTo>
                        <a:pt x="108" y="104"/>
                      </a:lnTo>
                      <a:lnTo>
                        <a:pt x="108" y="115"/>
                      </a:lnTo>
                      <a:lnTo>
                        <a:pt x="108" y="115"/>
                      </a:lnTo>
                      <a:lnTo>
                        <a:pt x="109" y="117"/>
                      </a:lnTo>
                      <a:lnTo>
                        <a:pt x="110" y="119"/>
                      </a:lnTo>
                      <a:lnTo>
                        <a:pt x="112" y="120"/>
                      </a:lnTo>
                      <a:lnTo>
                        <a:pt x="114" y="121"/>
                      </a:lnTo>
                      <a:lnTo>
                        <a:pt x="114" y="121"/>
                      </a:lnTo>
                      <a:lnTo>
                        <a:pt x="118" y="120"/>
                      </a:lnTo>
                      <a:lnTo>
                        <a:pt x="119" y="119"/>
                      </a:lnTo>
                      <a:lnTo>
                        <a:pt x="121" y="117"/>
                      </a:lnTo>
                      <a:lnTo>
                        <a:pt x="121" y="115"/>
                      </a:lnTo>
                      <a:lnTo>
                        <a:pt x="121" y="115"/>
                      </a:lnTo>
                      <a:lnTo>
                        <a:pt x="121" y="103"/>
                      </a:lnTo>
                      <a:lnTo>
                        <a:pt x="119" y="91"/>
                      </a:lnTo>
                      <a:lnTo>
                        <a:pt x="115" y="80"/>
                      </a:lnTo>
                      <a:lnTo>
                        <a:pt x="112" y="70"/>
                      </a:lnTo>
                      <a:lnTo>
                        <a:pt x="107" y="60"/>
                      </a:lnTo>
                      <a:lnTo>
                        <a:pt x="101" y="50"/>
                      </a:lnTo>
                      <a:lnTo>
                        <a:pt x="95" y="42"/>
                      </a:lnTo>
                      <a:lnTo>
                        <a:pt x="88" y="33"/>
                      </a:lnTo>
                      <a:lnTo>
                        <a:pt x="79" y="26"/>
                      </a:lnTo>
                      <a:lnTo>
                        <a:pt x="70" y="19"/>
                      </a:lnTo>
                      <a:lnTo>
                        <a:pt x="61" y="14"/>
                      </a:lnTo>
                      <a:lnTo>
                        <a:pt x="51" y="8"/>
                      </a:lnTo>
                      <a:lnTo>
                        <a:pt x="40" y="5"/>
                      </a:lnTo>
                      <a:lnTo>
                        <a:pt x="30" y="2"/>
                      </a:lnTo>
                      <a:lnTo>
                        <a:pt x="18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fr-FR"/>
                </a:p>
              </p:txBody>
            </p:sp>
          </p:grpSp>
          <p:sp>
            <p:nvSpPr>
              <p:cNvPr id="427" name="Partial Circle 426">
                <a:extLst>
                  <a:ext uri="{FF2B5EF4-FFF2-40B4-BE49-F238E27FC236}">
                    <a16:creationId xmlns:a16="http://schemas.microsoft.com/office/drawing/2014/main" id="{DB582E70-78F5-4595-8AC7-E637BC915244}"/>
                  </a:ext>
                </a:extLst>
              </p:cNvPr>
              <p:cNvSpPr/>
              <p:nvPr/>
            </p:nvSpPr>
            <p:spPr>
              <a:xfrm rot="7949093">
                <a:off x="10212981" y="2901838"/>
                <a:ext cx="108336" cy="108336"/>
              </a:xfrm>
              <a:prstGeom prst="pie">
                <a:avLst>
                  <a:gd name="adj1" fmla="val 0"/>
                  <a:gd name="adj2" fmla="val 10787120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tx1"/>
                  </a:solidFill>
                </a:endParaRPr>
              </a:p>
            </p:txBody>
          </p:sp>
          <p:sp>
            <p:nvSpPr>
              <p:cNvPr id="435" name="Partial Circle 434">
                <a:extLst>
                  <a:ext uri="{FF2B5EF4-FFF2-40B4-BE49-F238E27FC236}">
                    <a16:creationId xmlns:a16="http://schemas.microsoft.com/office/drawing/2014/main" id="{2D886436-3C9C-43F2-B2E3-69B5CBC4AA38}"/>
                  </a:ext>
                </a:extLst>
              </p:cNvPr>
              <p:cNvSpPr/>
              <p:nvPr/>
            </p:nvSpPr>
            <p:spPr>
              <a:xfrm rot="18614703">
                <a:off x="10070064" y="2755990"/>
                <a:ext cx="400693" cy="400693"/>
              </a:xfrm>
              <a:prstGeom prst="pie">
                <a:avLst>
                  <a:gd name="adj1" fmla="val 0"/>
                  <a:gd name="adj2" fmla="val 10787120"/>
                </a:avLst>
              </a:prstGeom>
              <a:noFill/>
              <a:ln w="1587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64" name="Rectangle 3">
            <a:extLst>
              <a:ext uri="{FF2B5EF4-FFF2-40B4-BE49-F238E27FC236}">
                <a16:creationId xmlns:a16="http://schemas.microsoft.com/office/drawing/2014/main" id="{83302970-4E21-4042-ABB5-61877676A42E}"/>
              </a:ext>
            </a:extLst>
          </p:cNvPr>
          <p:cNvSpPr txBox="1">
            <a:spLocks/>
          </p:cNvSpPr>
          <p:nvPr/>
        </p:nvSpPr>
        <p:spPr bwMode="auto">
          <a:xfrm>
            <a:off x="20255" y="3883189"/>
            <a:ext cx="1282974" cy="1194206"/>
          </a:xfrm>
          <a:prstGeom prst="rect">
            <a:avLst/>
          </a:prstGeom>
          <a:noFill/>
          <a:ln>
            <a:noFill/>
            <a:prstDash val="sys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1440" rIns="0" bIns="91440" anchor="t">
            <a:noAutofit/>
          </a:bodyPr>
          <a:lstStyle>
            <a:lvl1pPr>
              <a:defRPr b="1">
                <a:solidFill>
                  <a:srgbClr val="90989E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>
              <a:defRPr sz="1600">
                <a:solidFill>
                  <a:srgbClr val="00B4DE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>
              <a:defRPr sz="15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>
              <a:defRPr sz="1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ts val="1275"/>
              </a:lnSpc>
              <a:spcBef>
                <a:spcPct val="20000"/>
              </a:spcBef>
              <a:spcAft>
                <a:spcPts val="0"/>
              </a:spcAft>
              <a:buClr>
                <a:srgbClr val="83B5CB"/>
              </a:buClr>
              <a:buSzTx/>
              <a:buFontTx/>
              <a:buNone/>
              <a:tabLst/>
              <a:defRPr/>
            </a:pPr>
            <a:r>
              <a:rPr kumimoji="0" lang="ru-RU" sz="1000" b="1" i="0" u="none" strike="noStrike" cap="none" normalizeH="0" baseline="0" noProof="0" dirty="0">
                <a:ln>
                  <a:noFill/>
                </a:ln>
                <a:solidFill>
                  <a:schemeClr val="bg2"/>
                </a:solidFill>
                <a:uLnTx/>
                <a:uFillTx/>
                <a:latin typeface="+mj-lt"/>
                <a:ea typeface="ヒラギノ角ゴ Pro W3" charset="0"/>
              </a:rPr>
              <a:t>МАГИСТРАЛЬНЫЕ IP-КАНАЛЫ</a:t>
            </a:r>
          </a:p>
        </p:txBody>
      </p:sp>
      <p:sp>
        <p:nvSpPr>
          <p:cNvPr id="265" name="Text Box 5">
            <a:extLst>
              <a:ext uri="{FF2B5EF4-FFF2-40B4-BE49-F238E27FC236}">
                <a16:creationId xmlns:a16="http://schemas.microsoft.com/office/drawing/2014/main" id="{D8064047-9A71-48AE-AF30-059D58A8A9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86141" y="3860574"/>
            <a:ext cx="1188000" cy="1194206"/>
          </a:xfrm>
          <a:prstGeom prst="rect">
            <a:avLst/>
          </a:prstGeom>
          <a:noFill/>
          <a:ln>
            <a:noFill/>
            <a:prstDash val="sys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1440" rIns="0" bIns="91440" anchor="t">
            <a:noAutofit/>
          </a:bodyPr>
          <a:lstStyle>
            <a:lvl1pPr>
              <a:defRPr b="1">
                <a:solidFill>
                  <a:srgbClr val="90989E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>
              <a:defRPr sz="1600">
                <a:solidFill>
                  <a:srgbClr val="00B4DE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>
              <a:defRPr sz="15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>
              <a:defRPr sz="1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cap="none" normalizeH="0" baseline="0" noProof="0">
                <a:ln>
                  <a:noFill/>
                </a:ln>
                <a:solidFill>
                  <a:schemeClr val="bg2"/>
                </a:solidFill>
                <a:uLnTx/>
                <a:uFillTx/>
                <a:latin typeface="+mj-lt"/>
                <a:ea typeface="ヒラギノ角ゴ Pro W3" charset="0"/>
              </a:rPr>
              <a:t>КОРПОРАТИВНАЯ СВЯЗЬ С МОРСКИМИ ОБЪЕКТАМИ</a:t>
            </a:r>
          </a:p>
        </p:txBody>
      </p:sp>
      <p:sp>
        <p:nvSpPr>
          <p:cNvPr id="266" name="Text Box 12">
            <a:extLst>
              <a:ext uri="{FF2B5EF4-FFF2-40B4-BE49-F238E27FC236}">
                <a16:creationId xmlns:a16="http://schemas.microsoft.com/office/drawing/2014/main" id="{6AC75EDD-52A0-4B85-895B-EA12860657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0115" y="5063453"/>
            <a:ext cx="1188000" cy="1194206"/>
          </a:xfrm>
          <a:prstGeom prst="rect">
            <a:avLst/>
          </a:prstGeom>
          <a:noFill/>
          <a:ln>
            <a:noFill/>
            <a:prstDash val="sysDash"/>
          </a:ln>
          <a:effectLst/>
        </p:spPr>
        <p:txBody>
          <a:bodyPr wrap="square" lIns="0" tIns="91440" rIns="0" bIns="9144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cap="none" normalizeH="0" baseline="0" noProof="0">
                <a:ln>
                  <a:noFill/>
                </a:ln>
                <a:solidFill>
                  <a:schemeClr val="bg2"/>
                </a:solidFill>
                <a:uLnTx/>
                <a:uFillTx/>
                <a:latin typeface="+mj-lt"/>
              </a:rPr>
              <a:t>ТРАНЗИТНЫЙ ТРАФИК МОБИЛЬНОЙ СВЯЗИ</a:t>
            </a:r>
          </a:p>
        </p:txBody>
      </p:sp>
      <p:sp>
        <p:nvSpPr>
          <p:cNvPr id="267" name="Rectangle 3">
            <a:extLst>
              <a:ext uri="{FF2B5EF4-FFF2-40B4-BE49-F238E27FC236}">
                <a16:creationId xmlns:a16="http://schemas.microsoft.com/office/drawing/2014/main" id="{ADF34D5B-E02E-41F2-95B5-391A78CBDB5B}"/>
              </a:ext>
            </a:extLst>
          </p:cNvPr>
          <p:cNvSpPr txBox="1">
            <a:spLocks/>
          </p:cNvSpPr>
          <p:nvPr/>
        </p:nvSpPr>
        <p:spPr bwMode="auto">
          <a:xfrm>
            <a:off x="3465614" y="4972715"/>
            <a:ext cx="1760979" cy="1194206"/>
          </a:xfrm>
          <a:prstGeom prst="rect">
            <a:avLst/>
          </a:prstGeom>
          <a:noFill/>
          <a:ln>
            <a:noFill/>
            <a:prstDash val="sys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1440" rIns="0" bIns="91440" anchor="t">
            <a:noAutofit/>
          </a:bodyPr>
          <a:lstStyle>
            <a:lvl1pPr>
              <a:defRPr b="1">
                <a:solidFill>
                  <a:srgbClr val="90989E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>
              <a:defRPr sz="1600">
                <a:solidFill>
                  <a:srgbClr val="00B4DE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>
              <a:defRPr sz="15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>
              <a:defRPr sz="1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cap="none" normalizeH="0" baseline="0" noProof="0" dirty="0">
                <a:ln>
                  <a:noFill/>
                </a:ln>
                <a:solidFill>
                  <a:schemeClr val="bg2"/>
                </a:solidFill>
                <a:uLnTx/>
                <a:uFillTx/>
                <a:latin typeface="+mj-lt"/>
                <a:ea typeface="ヒラギノ角ゴ Pro W3" charset="0"/>
              </a:rPr>
              <a:t>ЛИКВИДАЦИЯ ЧРЕЗВЫЧАЙНЫХ СИТУАЦИЙ,</a:t>
            </a:r>
            <a:r>
              <a:rPr kumimoji="0" lang="ru-RU" sz="1000" b="1" i="0" u="none" strike="noStrike" cap="none" normalizeH="0" noProof="0" dirty="0">
                <a:ln>
                  <a:noFill/>
                </a:ln>
                <a:solidFill>
                  <a:schemeClr val="bg2"/>
                </a:solidFill>
                <a:uLnTx/>
                <a:uFillTx/>
                <a:latin typeface="+mj-lt"/>
                <a:ea typeface="ヒラギノ角ゴ Pro W3" charset="0"/>
              </a:rPr>
              <a:t> МИССИИ НЕГОСУДАРСТВЕННЫХ ОРГАНИЗАЦИЙ</a:t>
            </a:r>
            <a:br>
              <a:rPr kumimoji="0" lang="ru-RU" sz="1000" b="1" i="0" u="none" strike="noStrike" cap="none" normalizeH="0" baseline="0" noProof="0" dirty="0">
                <a:ln>
                  <a:noFill/>
                </a:ln>
                <a:solidFill>
                  <a:schemeClr val="bg2"/>
                </a:solidFill>
                <a:uLnTx/>
                <a:uFillTx/>
                <a:latin typeface="+mj-lt"/>
                <a:ea typeface="ヒラギノ角ゴ Pro W3" charset="0"/>
              </a:rPr>
            </a:br>
            <a:endParaRPr kumimoji="0" lang="ru-RU" sz="1000" b="1" i="0" u="none" strike="noStrike" cap="none" normalizeH="0" baseline="0" noProof="0" dirty="0">
              <a:ln>
                <a:noFill/>
              </a:ln>
              <a:solidFill>
                <a:schemeClr val="bg2"/>
              </a:solidFill>
              <a:uLnTx/>
              <a:uFillTx/>
              <a:latin typeface="+mj-lt"/>
              <a:ea typeface="ヒラギノ角ゴ Pro W3" charset="0"/>
            </a:endParaRPr>
          </a:p>
        </p:txBody>
      </p:sp>
      <p:sp>
        <p:nvSpPr>
          <p:cNvPr id="268" name="Rectangle 3">
            <a:extLst>
              <a:ext uri="{FF2B5EF4-FFF2-40B4-BE49-F238E27FC236}">
                <a16:creationId xmlns:a16="http://schemas.microsoft.com/office/drawing/2014/main" id="{293B4006-42FB-47B7-82C5-A7C7211E5EBD}"/>
              </a:ext>
            </a:extLst>
          </p:cNvPr>
          <p:cNvSpPr txBox="1">
            <a:spLocks/>
          </p:cNvSpPr>
          <p:nvPr/>
        </p:nvSpPr>
        <p:spPr bwMode="auto">
          <a:xfrm>
            <a:off x="4920613" y="3814486"/>
            <a:ext cx="1188000" cy="1194206"/>
          </a:xfrm>
          <a:prstGeom prst="rect">
            <a:avLst/>
          </a:prstGeom>
          <a:noFill/>
          <a:ln>
            <a:noFill/>
            <a:prstDash val="sys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1440" rIns="0" bIns="91440" anchor="t">
            <a:noAutofit/>
          </a:bodyPr>
          <a:lstStyle>
            <a:lvl1pPr>
              <a:defRPr b="1">
                <a:solidFill>
                  <a:srgbClr val="90989E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>
              <a:defRPr sz="1600">
                <a:solidFill>
                  <a:srgbClr val="00B4DE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>
              <a:defRPr sz="15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>
              <a:defRPr sz="1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>
                <a:solidFill>
                  <a:schemeClr val="bg2"/>
                </a:solidFill>
                <a:latin typeface="+mj-lt"/>
              </a:rPr>
              <a:t>МОРСКАЯ СВЯЗЬ</a:t>
            </a:r>
          </a:p>
        </p:txBody>
      </p:sp>
      <p:sp>
        <p:nvSpPr>
          <p:cNvPr id="269" name="Rectangle 3">
            <a:extLst>
              <a:ext uri="{FF2B5EF4-FFF2-40B4-BE49-F238E27FC236}">
                <a16:creationId xmlns:a16="http://schemas.microsoft.com/office/drawing/2014/main" id="{06D439B5-8D7E-4FCD-9393-DC1931205C3A}"/>
              </a:ext>
            </a:extLst>
          </p:cNvPr>
          <p:cNvSpPr txBox="1">
            <a:spLocks/>
          </p:cNvSpPr>
          <p:nvPr/>
        </p:nvSpPr>
        <p:spPr bwMode="auto">
          <a:xfrm>
            <a:off x="6027866" y="4980090"/>
            <a:ext cx="1360468" cy="1194206"/>
          </a:xfrm>
          <a:prstGeom prst="rect">
            <a:avLst/>
          </a:prstGeom>
          <a:noFill/>
          <a:ln>
            <a:noFill/>
            <a:prstDash val="sys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1440" rIns="0" bIns="91440" anchor="t">
            <a:noAutofit/>
          </a:bodyPr>
          <a:lstStyle>
            <a:lvl1pPr>
              <a:defRPr b="1">
                <a:solidFill>
                  <a:srgbClr val="90989E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>
              <a:defRPr sz="1600">
                <a:solidFill>
                  <a:srgbClr val="00B4DE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>
              <a:defRPr sz="15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>
              <a:defRPr sz="1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cap="none" normalizeH="0" baseline="0" noProof="0" dirty="0">
                <a:ln>
                  <a:noFill/>
                </a:ln>
                <a:solidFill>
                  <a:schemeClr val="bg2"/>
                </a:solidFill>
                <a:uLnTx/>
                <a:uFillTx/>
                <a:latin typeface="+mj-lt"/>
              </a:rPr>
              <a:t>ШИРОКОПОЛОСНАЯ </a:t>
            </a:r>
            <a:r>
              <a:rPr kumimoji="0" lang="ru-RU" sz="1000" b="1" i="0" u="none" strike="noStrike" cap="none" normalizeH="0" noProof="0" dirty="0">
                <a:ln>
                  <a:noFill/>
                </a:ln>
                <a:solidFill>
                  <a:schemeClr val="bg2"/>
                </a:solidFill>
                <a:uLnTx/>
                <a:uFillTx/>
                <a:latin typeface="+mj-lt"/>
              </a:rPr>
              <a:t>СВЯЗЬ</a:t>
            </a:r>
            <a:r>
              <a:rPr lang="ru-RU" sz="1000" dirty="0">
                <a:solidFill>
                  <a:schemeClr val="bg2"/>
                </a:solidFill>
                <a:latin typeface="+mj-lt"/>
              </a:rPr>
              <a:t>,  IP-</a:t>
            </a:r>
            <a:r>
              <a:rPr kumimoji="0" lang="ru-RU" sz="1000" b="1" i="0" u="none" strike="noStrike" cap="none" normalizeH="0" noProof="0" dirty="0">
                <a:ln>
                  <a:noFill/>
                </a:ln>
                <a:solidFill>
                  <a:schemeClr val="bg2"/>
                </a:solidFill>
                <a:uLnTx/>
                <a:uFillTx/>
                <a:latin typeface="+mj-lt"/>
              </a:rPr>
              <a:t>ТЕЛЕВЕЩАНИЕ</a:t>
            </a:r>
            <a:br>
              <a:rPr kumimoji="0" lang="ru-RU" sz="1000" b="1" i="0" u="none" strike="noStrike" cap="none" normalizeH="0" baseline="0" noProof="0" dirty="0">
                <a:ln>
                  <a:noFill/>
                </a:ln>
                <a:solidFill>
                  <a:schemeClr val="bg2"/>
                </a:solidFill>
                <a:uLnTx/>
                <a:uFillTx/>
                <a:latin typeface="+mj-lt"/>
              </a:rPr>
            </a:br>
            <a:endParaRPr kumimoji="0" lang="ru-RU" sz="1000" b="1" i="0" u="none" strike="noStrike" cap="none" normalizeH="0" baseline="0" noProof="0" dirty="0">
              <a:ln>
                <a:noFill/>
              </a:ln>
              <a:solidFill>
                <a:schemeClr val="bg2"/>
              </a:solidFill>
              <a:uLnTx/>
              <a:uFillTx/>
              <a:latin typeface="+mj-lt"/>
            </a:endParaRPr>
          </a:p>
        </p:txBody>
      </p:sp>
      <p:sp>
        <p:nvSpPr>
          <p:cNvPr id="270" name="Text Box 12">
            <a:extLst>
              <a:ext uri="{FF2B5EF4-FFF2-40B4-BE49-F238E27FC236}">
                <a16:creationId xmlns:a16="http://schemas.microsoft.com/office/drawing/2014/main" id="{3C9333C5-4408-4208-B0C9-53091CFBD9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28758" y="3861048"/>
            <a:ext cx="1188000" cy="1194206"/>
          </a:xfrm>
          <a:prstGeom prst="rect">
            <a:avLst/>
          </a:prstGeom>
          <a:noFill/>
          <a:ln>
            <a:noFill/>
            <a:prstDash val="sysDash"/>
          </a:ln>
          <a:effectLst/>
        </p:spPr>
        <p:txBody>
          <a:bodyPr wrap="square" lIns="0" tIns="91440" rIns="0" bIns="9144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cap="none" normalizeH="0" baseline="0" noProof="0" dirty="0">
                <a:ln>
                  <a:noFill/>
                </a:ln>
                <a:solidFill>
                  <a:schemeClr val="bg2"/>
                </a:solidFill>
                <a:uLnTx/>
                <a:uFillTx/>
                <a:latin typeface="+mj-lt"/>
              </a:rPr>
              <a:t>ЭЛЕКТРОННАЯ ЖУРНАЛИСТИКА</a:t>
            </a:r>
          </a:p>
        </p:txBody>
      </p:sp>
      <p:sp>
        <p:nvSpPr>
          <p:cNvPr id="271" name="Rectangle 3">
            <a:extLst>
              <a:ext uri="{FF2B5EF4-FFF2-40B4-BE49-F238E27FC236}">
                <a16:creationId xmlns:a16="http://schemas.microsoft.com/office/drawing/2014/main" id="{6B08E77D-7497-4B07-BAEE-132992C453CB}"/>
              </a:ext>
            </a:extLst>
          </p:cNvPr>
          <p:cNvSpPr txBox="1">
            <a:spLocks/>
          </p:cNvSpPr>
          <p:nvPr/>
        </p:nvSpPr>
        <p:spPr bwMode="auto">
          <a:xfrm>
            <a:off x="8368105" y="5083840"/>
            <a:ext cx="1821522" cy="1194206"/>
          </a:xfrm>
          <a:prstGeom prst="rect">
            <a:avLst/>
          </a:prstGeom>
          <a:noFill/>
          <a:ln>
            <a:noFill/>
            <a:prstDash val="sys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1440" rIns="0" bIns="91440" anchor="t">
            <a:noAutofit/>
          </a:bodyPr>
          <a:lstStyle>
            <a:lvl1pPr>
              <a:defRPr b="1">
                <a:solidFill>
                  <a:srgbClr val="90989E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>
              <a:defRPr sz="1600">
                <a:solidFill>
                  <a:srgbClr val="00B4DE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>
              <a:defRPr sz="15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>
              <a:defRPr sz="1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dirty="0">
                <a:solidFill>
                  <a:schemeClr val="bg2"/>
                </a:solidFill>
                <a:latin typeface="+mj-lt"/>
              </a:rPr>
              <a:t>ДОСТАВКА НА ГОЛОВНЫЕ СТАНЦИИ</a:t>
            </a:r>
            <a:br>
              <a:rPr lang="ru-RU" sz="1000" dirty="0">
                <a:solidFill>
                  <a:schemeClr val="bg2"/>
                </a:solidFill>
                <a:latin typeface="+mj-lt"/>
              </a:rPr>
            </a:br>
            <a:r>
              <a:rPr lang="ru-RU" sz="1000" dirty="0">
                <a:solidFill>
                  <a:schemeClr val="bg2"/>
                </a:solidFill>
                <a:latin typeface="+mj-lt"/>
              </a:rPr>
              <a:t>(КАБЕЛЬНЫЕ, IP-КАНАЛЫ)</a:t>
            </a:r>
          </a:p>
        </p:txBody>
      </p:sp>
      <p:sp>
        <p:nvSpPr>
          <p:cNvPr id="272" name="Rectangle 3">
            <a:extLst>
              <a:ext uri="{FF2B5EF4-FFF2-40B4-BE49-F238E27FC236}">
                <a16:creationId xmlns:a16="http://schemas.microsoft.com/office/drawing/2014/main" id="{E52A7AD1-9D46-4371-AF51-D4D91D809C2D}"/>
              </a:ext>
            </a:extLst>
          </p:cNvPr>
          <p:cNvSpPr txBox="1">
            <a:spLocks/>
          </p:cNvSpPr>
          <p:nvPr/>
        </p:nvSpPr>
        <p:spPr bwMode="auto">
          <a:xfrm>
            <a:off x="9778764" y="3818970"/>
            <a:ext cx="1537297" cy="1194206"/>
          </a:xfrm>
          <a:prstGeom prst="rect">
            <a:avLst/>
          </a:prstGeom>
          <a:noFill/>
          <a:ln>
            <a:noFill/>
            <a:prstDash val="sys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1440" rIns="0" bIns="91440" anchor="t">
            <a:noAutofit/>
          </a:bodyPr>
          <a:lstStyle>
            <a:defPPr>
              <a:defRPr lang="fr-FR"/>
            </a:defPPr>
            <a:lvl1pPr algn="ctr">
              <a:spcBef>
                <a:spcPct val="50000"/>
              </a:spcBef>
              <a:defRPr sz="8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cap="none" normalizeH="0" baseline="0" noProof="0" dirty="0">
                <a:ln>
                  <a:noFill/>
                </a:ln>
                <a:solidFill>
                  <a:schemeClr val="bg2"/>
                </a:solidFill>
                <a:uLnTx/>
                <a:uFillTx/>
                <a:latin typeface="+mj-lt"/>
              </a:rPr>
              <a:t>СЛУЖБЫ НЕПОСРЕДСТВЕННОГО ТЕЛЕВИЗИОННОГО ВЕЩАНИЯ</a:t>
            </a:r>
            <a:r>
              <a:rPr kumimoji="0" lang="ru-RU" sz="1000" b="1" i="0" u="none" strike="noStrike" cap="none" normalizeH="0" noProof="0" dirty="0">
                <a:ln>
                  <a:noFill/>
                </a:ln>
                <a:solidFill>
                  <a:schemeClr val="bg2"/>
                </a:solidFill>
                <a:uLnTx/>
                <a:uFillTx/>
                <a:latin typeface="+mj-lt"/>
              </a:rPr>
              <a:t> </a:t>
            </a:r>
            <a:r>
              <a:rPr lang="ru-RU" sz="1000" dirty="0">
                <a:solidFill>
                  <a:schemeClr val="bg2"/>
                </a:solidFill>
                <a:latin typeface="+mj-lt"/>
              </a:rPr>
              <a:t>(</a:t>
            </a:r>
            <a:r>
              <a:rPr kumimoji="0" lang="ru-RU" sz="1000" b="1" i="0" u="none" strike="noStrike" cap="none" normalizeH="0" noProof="0" dirty="0">
                <a:ln>
                  <a:noFill/>
                </a:ln>
                <a:solidFill>
                  <a:schemeClr val="bg2"/>
                </a:solidFill>
                <a:uLnTx/>
                <a:uFillTx/>
                <a:latin typeface="+mj-lt"/>
              </a:rPr>
              <a:t>ТВ, ШИРОКОПОЛОСНЫЙ ДОСТУП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73" name="Rectangle 3">
            <a:extLst>
              <a:ext uri="{FF2B5EF4-FFF2-40B4-BE49-F238E27FC236}">
                <a16:creationId xmlns:a16="http://schemas.microsoft.com/office/drawing/2014/main" id="{CDB57358-7352-485B-BDEC-03ED1B0FD56D}"/>
              </a:ext>
            </a:extLst>
          </p:cNvPr>
          <p:cNvSpPr txBox="1">
            <a:spLocks/>
          </p:cNvSpPr>
          <p:nvPr/>
        </p:nvSpPr>
        <p:spPr bwMode="auto">
          <a:xfrm>
            <a:off x="11008973" y="5083840"/>
            <a:ext cx="1188000" cy="614995"/>
          </a:xfrm>
          <a:prstGeom prst="rect">
            <a:avLst/>
          </a:prstGeom>
          <a:noFill/>
          <a:ln>
            <a:noFill/>
            <a:prstDash val="sys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1440" rIns="0" bIns="91440" anchor="t">
            <a:noAutofit/>
          </a:bodyPr>
          <a:lstStyle>
            <a:lvl1pPr>
              <a:defRPr b="1">
                <a:solidFill>
                  <a:srgbClr val="90989E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>
              <a:defRPr sz="1600">
                <a:solidFill>
                  <a:srgbClr val="00B4DE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2pPr>
            <a:lvl3pPr>
              <a:defRPr sz="15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3pPr>
            <a:lvl4pPr>
              <a:defRPr sz="1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4pPr>
            <a:lvl5pPr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13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cap="none" normalizeH="0" baseline="0" noProof="0" dirty="0">
                <a:ln>
                  <a:noFill/>
                </a:ln>
                <a:solidFill>
                  <a:schemeClr val="bg2"/>
                </a:solidFill>
                <a:uLnTx/>
                <a:uFillTx/>
                <a:latin typeface="+mj-lt"/>
              </a:rPr>
              <a:t>ЦИФРОВОЕ НАЗЕМНОЕ</a:t>
            </a:r>
            <a:br>
              <a:rPr kumimoji="0" lang="ru-RU" sz="1000" b="1" i="0" u="none" strike="noStrike" cap="none" normalizeH="0" baseline="0" noProof="0" dirty="0">
                <a:ln>
                  <a:noFill/>
                </a:ln>
                <a:solidFill>
                  <a:schemeClr val="bg2"/>
                </a:solidFill>
                <a:uLnTx/>
                <a:uFillTx/>
                <a:latin typeface="+mj-lt"/>
              </a:rPr>
            </a:br>
            <a:r>
              <a:rPr kumimoji="0" lang="ru-RU" sz="1000" b="1" i="0" u="none" strike="noStrike" cap="none" normalizeH="0" baseline="0" noProof="0" dirty="0">
                <a:ln>
                  <a:noFill/>
                </a:ln>
                <a:solidFill>
                  <a:schemeClr val="bg2"/>
                </a:solidFill>
                <a:uLnTx/>
                <a:uFillTx/>
                <a:latin typeface="+mj-lt"/>
              </a:rPr>
              <a:t>ТВ-ВЕЩАНИЕ</a:t>
            </a:r>
          </a:p>
        </p:txBody>
      </p:sp>
    </p:spTree>
    <p:extLst>
      <p:ext uri="{BB962C8B-B14F-4D97-AF65-F5344CB8AC3E}">
        <p14:creationId xmlns:p14="http://schemas.microsoft.com/office/powerpoint/2010/main" val="1132466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3500"/>
                            </p:stCondLst>
                            <p:childTnLst>
                              <p:par>
                                <p:cTn id="7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4" grpId="0"/>
      <p:bldP spid="265" grpId="0"/>
      <p:bldP spid="266" grpId="0"/>
      <p:bldP spid="267" grpId="0"/>
      <p:bldP spid="268" grpId="0"/>
      <p:bldP spid="269" grpId="0"/>
      <p:bldP spid="270" grpId="0"/>
      <p:bldP spid="271" grpId="0"/>
      <p:bldP spid="272" grpId="0"/>
      <p:bldP spid="27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Placeholder 24" descr="A picture containing outdoor, watercraft, water, plane&#10;&#10;Description automatically generated">
            <a:extLst>
              <a:ext uri="{FF2B5EF4-FFF2-40B4-BE49-F238E27FC236}">
                <a16:creationId xmlns:a16="http://schemas.microsoft.com/office/drawing/2014/main" id="{E022B268-4E86-4B59-9A3F-8B03B840F936}"/>
              </a:ext>
            </a:extLst>
          </p:cNvPr>
          <p:cNvPicPr>
            <a:picLocks noGrp="1" noChangeAspect="1"/>
          </p:cNvPicPr>
          <p:nvPr>
            <p:ph type="pic" idx="14"/>
          </p:nvPr>
        </p:nvPicPr>
        <p:blipFill rotWithShape="1">
          <a:blip r:embed="rId3"/>
          <a:srcRect l="3594" t="386" r="33374" b="1549"/>
          <a:stretch/>
        </p:blipFill>
        <p:spPr>
          <a:xfrm>
            <a:off x="238518" y="226799"/>
            <a:ext cx="5760000" cy="5973975"/>
          </a:xfr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93484" y="269966"/>
            <a:ext cx="4101507" cy="907941"/>
          </a:xfrm>
        </p:spPr>
        <p:txBody>
          <a:bodyPr tIns="0"/>
          <a:lstStyle/>
          <a:p>
            <a:r>
              <a:rPr lang="ru-RU" dirty="0"/>
              <a:t>видео: открываем </a:t>
            </a:r>
            <a:br>
              <a:rPr lang="ru-RU" dirty="0"/>
            </a:br>
            <a:r>
              <a:rPr lang="ru-RU" dirty="0"/>
              <a:t>новую эру вещания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B25D37E6-73A8-404B-9E18-93D5BE630382}"/>
              </a:ext>
            </a:extLst>
          </p:cNvPr>
          <p:cNvSpPr/>
          <p:nvPr/>
        </p:nvSpPr>
        <p:spPr>
          <a:xfrm>
            <a:off x="6023992" y="1720588"/>
            <a:ext cx="196777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lang="ru-RU" sz="1000" b="1">
                <a:solidFill>
                  <a:schemeClr val="bg2"/>
                </a:solidFill>
              </a:rPr>
              <a:t>около</a:t>
            </a:r>
            <a:r>
              <a:rPr lang="ru-RU" sz="3200" b="1">
                <a:solidFill>
                  <a:schemeClr val="bg2"/>
                </a:solidFill>
              </a:rPr>
              <a:t> </a:t>
            </a:r>
            <a:r>
              <a:rPr kumimoji="0" lang="ru-RU" sz="3200" b="1" i="0" u="none" strike="noStrike" cap="none" normalizeH="0" baseline="0" noProof="0">
                <a:ln>
                  <a:noFill/>
                </a:ln>
                <a:solidFill>
                  <a:schemeClr val="bg2"/>
                </a:solidFill>
                <a:uLnTx/>
                <a:uFillTx/>
              </a:rPr>
              <a:t>7000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9AF578C-EF68-488E-BD24-268B3612083F}"/>
              </a:ext>
            </a:extLst>
          </p:cNvPr>
          <p:cNvSpPr/>
          <p:nvPr/>
        </p:nvSpPr>
        <p:spPr>
          <a:xfrm>
            <a:off x="6638008" y="2197892"/>
            <a:ext cx="1161470" cy="33855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cap="none" normalizeH="0" baseline="0" noProof="0">
                <a:ln>
                  <a:noFill/>
                </a:ln>
                <a:solidFill>
                  <a:schemeClr val="bg2"/>
                </a:solidFill>
                <a:uLnTx/>
                <a:uFillTx/>
              </a:rPr>
              <a:t>КАНАЛОВ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F925519F-FC39-40A0-B1EC-D8ADFDE7A8AB}"/>
              </a:ext>
            </a:extLst>
          </p:cNvPr>
          <p:cNvSpPr/>
          <p:nvPr/>
        </p:nvSpPr>
        <p:spPr>
          <a:xfrm>
            <a:off x="8003162" y="2109462"/>
            <a:ext cx="1693994" cy="58477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cap="none" normalizeH="0" baseline="0" noProof="0">
                <a:ln>
                  <a:noFill/>
                </a:ln>
                <a:solidFill>
                  <a:schemeClr val="bg2"/>
                </a:solidFill>
                <a:uLnTx/>
                <a:uFillTx/>
              </a:rPr>
              <a:t>40</a:t>
            </a:r>
            <a:r>
              <a:rPr kumimoji="0" lang="ru-RU" sz="2000" i="0" u="none" strike="noStrike" cap="none" normalizeH="0" baseline="0" noProof="0">
                <a:ln>
                  <a:noFill/>
                </a:ln>
                <a:solidFill>
                  <a:schemeClr val="bg2"/>
                </a:solidFill>
                <a:uLnTx/>
                <a:uFillTx/>
              </a:rPr>
              <a:t>%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389185EA-F48B-436A-BF52-74397D0E1978}"/>
              </a:ext>
            </a:extLst>
          </p:cNvPr>
          <p:cNvSpPr/>
          <p:nvPr/>
        </p:nvSpPr>
        <p:spPr>
          <a:xfrm>
            <a:off x="8729829" y="2259698"/>
            <a:ext cx="2153951" cy="36022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ts val="2300"/>
              </a:lnSpc>
              <a:spcBef>
                <a:spcPts val="240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lang="ru-RU" sz="1600" b="1"/>
              <a:t>бесплатных </a:t>
            </a:r>
            <a:r>
              <a:rPr kumimoji="0" lang="ru-RU" sz="1600" b="0" i="0" u="none" strike="noStrike" cap="none" normalizeH="0" baseline="0" noProof="0">
                <a:ln>
                  <a:noFill/>
                </a:ln>
                <a:uLnTx/>
                <a:uFillTx/>
              </a:rPr>
              <a:t>каналов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544B9FEE-2BA3-41E9-9DB9-88433EA482A1}"/>
              </a:ext>
            </a:extLst>
          </p:cNvPr>
          <p:cNvSpPr/>
          <p:nvPr/>
        </p:nvSpPr>
        <p:spPr>
          <a:xfrm>
            <a:off x="8003162" y="1659309"/>
            <a:ext cx="834950" cy="58477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lang="ru-RU" sz="3200" b="1">
                <a:solidFill>
                  <a:schemeClr val="bg2"/>
                </a:solidFill>
              </a:rPr>
              <a:t>6</a:t>
            </a:r>
            <a:r>
              <a:rPr kumimoji="0" lang="ru-RU" sz="3200" b="1" i="0" u="none" strike="noStrike" cap="none" normalizeH="0" baseline="0" noProof="0">
                <a:ln>
                  <a:noFill/>
                </a:ln>
                <a:solidFill>
                  <a:schemeClr val="bg2"/>
                </a:solidFill>
                <a:uLnTx/>
                <a:uFillTx/>
              </a:rPr>
              <a:t>0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0551CE61-2DC5-433E-9633-AE82CDEE0154}"/>
              </a:ext>
            </a:extLst>
          </p:cNvPr>
          <p:cNvSpPr/>
          <p:nvPr/>
        </p:nvSpPr>
        <p:spPr>
          <a:xfrm>
            <a:off x="8426067" y="1830958"/>
            <a:ext cx="23214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cap="none" normalizeH="0" baseline="0" noProof="0">
                <a:ln>
                  <a:noFill/>
                </a:ln>
                <a:solidFill>
                  <a:schemeClr val="tx2"/>
                </a:solidFill>
                <a:uLnTx/>
                <a:uFillTx/>
              </a:rPr>
              <a:t>ТВ-</a:t>
            </a:r>
            <a:r>
              <a:rPr kumimoji="0" lang="ru-RU" sz="1600" i="0" u="none" strike="noStrike" cap="none" normalizeH="0" baseline="0" noProof="0">
                <a:ln>
                  <a:noFill/>
                </a:ln>
                <a:solidFill>
                  <a:schemeClr val="tx2"/>
                </a:solidFill>
                <a:uLnTx/>
                <a:uFillTx/>
              </a:rPr>
              <a:t>платформ</a:t>
            </a:r>
          </a:p>
        </p:txBody>
      </p:sp>
      <p:sp>
        <p:nvSpPr>
          <p:cNvPr id="90" name="Content Placeholder 5">
            <a:extLst>
              <a:ext uri="{FF2B5EF4-FFF2-40B4-BE49-F238E27FC236}">
                <a16:creationId xmlns:a16="http://schemas.microsoft.com/office/drawing/2014/main" id="{55102C07-FCCB-4AEF-99A7-F2ABFBE3F845}"/>
              </a:ext>
            </a:extLst>
          </p:cNvPr>
          <p:cNvSpPr txBox="1">
            <a:spLocks/>
          </p:cNvSpPr>
          <p:nvPr/>
        </p:nvSpPr>
        <p:spPr>
          <a:xfrm>
            <a:off x="8015271" y="5025618"/>
            <a:ext cx="3276345" cy="12357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SzPct val="140000"/>
              <a:buFontTx/>
              <a:buBlip>
                <a:blip r:embed="rId4"/>
              </a:buBlip>
              <a:defRPr sz="2000" b="1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627063" indent="-285750" algn="l" defTabSz="457200" rtl="0" eaLnBrk="1" latinLnBrk="0" hangingPunct="1">
              <a:spcBef>
                <a:spcPct val="20000"/>
              </a:spcBef>
              <a:buClr>
                <a:srgbClr val="003C78"/>
              </a:buClr>
              <a:buSzPct val="80000"/>
              <a:buFont typeface="Wingdings" panose="05000000000000000000" pitchFamily="2" charset="2"/>
              <a:buChar char="è"/>
              <a:defRPr sz="1800" b="1" kern="1200">
                <a:solidFill>
                  <a:srgbClr val="7F7F7F"/>
                </a:solidFill>
                <a:latin typeface="Verdana"/>
                <a:ea typeface="+mn-ea"/>
                <a:cs typeface="Verdana"/>
              </a:defRPr>
            </a:lvl2pPr>
            <a:lvl3pPr marL="855663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à"/>
              <a:tabLst/>
              <a:defRPr sz="1600" b="1" kern="1200">
                <a:solidFill>
                  <a:schemeClr val="accent2"/>
                </a:solidFill>
                <a:latin typeface="Verdana"/>
                <a:ea typeface="+mn-ea"/>
                <a:cs typeface="Verdana"/>
              </a:defRPr>
            </a:lvl3pPr>
            <a:lvl4pPr marL="1485900" indent="-114300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1943100" indent="-114300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2400"/>
              </a:spcBef>
              <a:spcAft>
                <a:spcPts val="1800"/>
              </a:spcAft>
              <a:buClrTx/>
              <a:buSzPct val="140000"/>
              <a:buFontTx/>
              <a:buNone/>
              <a:tabLst/>
              <a:defRPr/>
            </a:pPr>
            <a:r>
              <a:rPr lang="ru-RU" sz="1400" b="0" dirty="0"/>
              <a:t>Работа с </a:t>
            </a:r>
            <a:r>
              <a:rPr kumimoji="0" lang="ru-RU" sz="14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Verdana"/>
                <a:ea typeface="+mn-ea"/>
                <a:cs typeface="Verdana"/>
              </a:rPr>
              <a:t>клиентами над</a:t>
            </a:r>
            <a:r>
              <a:rPr kumimoji="0" lang="ru-RU" sz="1400" b="0" i="0" u="none" strike="noStrike" cap="none" normalizeH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Verdana"/>
                <a:ea typeface="+mn-ea"/>
                <a:cs typeface="Verdana"/>
              </a:rPr>
              <a:t> новыми продуктами и услугами</a:t>
            </a:r>
            <a:br>
              <a:rPr kumimoji="0" lang="ru-RU" sz="1400" b="1" i="0" u="none" strike="noStrike" cap="none" normalizeH="0" baseline="0" noProof="0" dirty="0">
                <a:ln>
                  <a:noFill/>
                </a:ln>
                <a:solidFill>
                  <a:schemeClr val="tx2"/>
                </a:solidFill>
                <a:uLnTx/>
                <a:uFillTx/>
                <a:latin typeface="Verdana"/>
                <a:ea typeface="+mn-ea"/>
                <a:cs typeface="Verdana"/>
              </a:rPr>
            </a:br>
            <a:r>
              <a:rPr kumimoji="0" lang="ru-RU" sz="1600" b="1" i="0" u="none" strike="noStrike" cap="none" normalizeH="0" baseline="0" noProof="0" dirty="0">
                <a:ln>
                  <a:noFill/>
                </a:ln>
                <a:solidFill>
                  <a:schemeClr val="bg2"/>
                </a:solidFill>
                <a:uLnTx/>
                <a:uFillTx/>
                <a:latin typeface="Verdana"/>
                <a:ea typeface="+mn-ea"/>
                <a:cs typeface="Verdana"/>
              </a:rPr>
              <a:t>ВСЕГДА, ВЕЗДЕ, НА ЛЮБОМ УСТРОЙСТВЕ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60A2F938-D7E8-4243-AAB4-03702B63704D}"/>
              </a:ext>
            </a:extLst>
          </p:cNvPr>
          <p:cNvSpPr/>
          <p:nvPr/>
        </p:nvSpPr>
        <p:spPr>
          <a:xfrm>
            <a:off x="8003162" y="3218606"/>
            <a:ext cx="2744341" cy="58477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>
                <a:solidFill>
                  <a:schemeClr val="bg2"/>
                </a:solidFill>
              </a:rPr>
              <a:t>свыше 1670 каналов HD </a:t>
            </a:r>
            <a:br>
              <a:rPr kumimoji="0" lang="ru-RU" sz="1600" b="1" i="0" u="none" strike="noStrike" cap="none" normalizeH="0" baseline="0" noProof="0">
                <a:ln>
                  <a:noFill/>
                </a:ln>
                <a:solidFill>
                  <a:schemeClr val="bg2"/>
                </a:solidFill>
                <a:uLnTx/>
                <a:uFillTx/>
              </a:rPr>
            </a:br>
            <a:r>
              <a:rPr kumimoji="0" lang="ru-RU" sz="1400" b="0" i="0" u="none" strike="noStrike" cap="none" normalizeH="0" baseline="0" noProof="0">
                <a:ln>
                  <a:noFill/>
                </a:ln>
                <a:solidFill>
                  <a:schemeClr val="tx2"/>
                </a:solidFill>
                <a:uLnTx/>
                <a:uFillTx/>
              </a:rPr>
              <a:t>ускоренное внедрение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F9395A66-E69B-4744-9829-A0FA6414C51B}"/>
              </a:ext>
            </a:extLst>
          </p:cNvPr>
          <p:cNvSpPr/>
          <p:nvPr/>
        </p:nvSpPr>
        <p:spPr>
          <a:xfrm>
            <a:off x="8003162" y="3962113"/>
            <a:ext cx="2845366" cy="58477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>
              <a:defRPr/>
            </a:pPr>
            <a:r>
              <a:rPr lang="ru-RU" b="1">
                <a:solidFill>
                  <a:schemeClr val="bg2"/>
                </a:solidFill>
              </a:rPr>
              <a:t>17 каналов формата Ultra HD</a:t>
            </a:r>
            <a:br>
              <a:rPr lang="ru-RU" sz="1600" b="1">
                <a:solidFill>
                  <a:schemeClr val="bg2"/>
                </a:solidFill>
              </a:rPr>
            </a:br>
            <a:r>
              <a:rPr lang="ru-RU" sz="1400">
                <a:solidFill>
                  <a:schemeClr val="tx2"/>
                </a:solidFill>
              </a:rPr>
              <a:t>в 7 орбитальных позициях</a:t>
            </a:r>
          </a:p>
        </p:txBody>
      </p:sp>
      <p:sp>
        <p:nvSpPr>
          <p:cNvPr id="96" name="Freeform 6">
            <a:extLst>
              <a:ext uri="{FF2B5EF4-FFF2-40B4-BE49-F238E27FC236}">
                <a16:creationId xmlns:a16="http://schemas.microsoft.com/office/drawing/2014/main" id="{8B169E07-B458-4F5E-8007-EA32C5825A21}"/>
              </a:ext>
            </a:extLst>
          </p:cNvPr>
          <p:cNvSpPr>
            <a:spLocks noEditPoints="1"/>
          </p:cNvSpPr>
          <p:nvPr/>
        </p:nvSpPr>
        <p:spPr bwMode="auto">
          <a:xfrm>
            <a:off x="11109230" y="3129219"/>
            <a:ext cx="474195" cy="364173"/>
          </a:xfrm>
          <a:custGeom>
            <a:avLst/>
            <a:gdLst>
              <a:gd name="T0" fmla="*/ 1966 w 3448"/>
              <a:gd name="T1" fmla="*/ 1008 h 2650"/>
              <a:gd name="T2" fmla="*/ 2458 w 3448"/>
              <a:gd name="T3" fmla="*/ 1010 h 2650"/>
              <a:gd name="T4" fmla="*/ 2525 w 3448"/>
              <a:gd name="T5" fmla="*/ 1028 h 2650"/>
              <a:gd name="T6" fmla="*/ 2577 w 3448"/>
              <a:gd name="T7" fmla="*/ 1061 h 2650"/>
              <a:gd name="T8" fmla="*/ 2615 w 3448"/>
              <a:gd name="T9" fmla="*/ 1109 h 2650"/>
              <a:gd name="T10" fmla="*/ 2637 w 3448"/>
              <a:gd name="T11" fmla="*/ 1171 h 2650"/>
              <a:gd name="T12" fmla="*/ 2641 w 3448"/>
              <a:gd name="T13" fmla="*/ 1244 h 2650"/>
              <a:gd name="T14" fmla="*/ 2625 w 3448"/>
              <a:gd name="T15" fmla="*/ 1326 h 2650"/>
              <a:gd name="T16" fmla="*/ 2587 w 3448"/>
              <a:gd name="T17" fmla="*/ 1423 h 2650"/>
              <a:gd name="T18" fmla="*/ 2531 w 3448"/>
              <a:gd name="T19" fmla="*/ 1505 h 2650"/>
              <a:gd name="T20" fmla="*/ 2462 w 3448"/>
              <a:gd name="T21" fmla="*/ 1570 h 2650"/>
              <a:gd name="T22" fmla="*/ 2382 w 3448"/>
              <a:gd name="T23" fmla="*/ 1616 h 2650"/>
              <a:gd name="T24" fmla="*/ 2295 w 3448"/>
              <a:gd name="T25" fmla="*/ 1640 h 2650"/>
              <a:gd name="T26" fmla="*/ 2056 w 3448"/>
              <a:gd name="T27" fmla="*/ 1643 h 2650"/>
              <a:gd name="T28" fmla="*/ 1924 w 3448"/>
              <a:gd name="T29" fmla="*/ 1153 h 2650"/>
              <a:gd name="T30" fmla="*/ 2171 w 3448"/>
              <a:gd name="T31" fmla="*/ 1860 h 2650"/>
              <a:gd name="T32" fmla="*/ 2306 w 3448"/>
              <a:gd name="T33" fmla="*/ 1848 h 2650"/>
              <a:gd name="T34" fmla="*/ 2432 w 3448"/>
              <a:gd name="T35" fmla="*/ 1816 h 2650"/>
              <a:gd name="T36" fmla="*/ 2551 w 3448"/>
              <a:gd name="T37" fmla="*/ 1762 h 2650"/>
              <a:gd name="T38" fmla="*/ 2657 w 3448"/>
              <a:gd name="T39" fmla="*/ 1691 h 2650"/>
              <a:gd name="T40" fmla="*/ 2749 w 3448"/>
              <a:gd name="T41" fmla="*/ 1604 h 2650"/>
              <a:gd name="T42" fmla="*/ 2825 w 3448"/>
              <a:gd name="T43" fmla="*/ 1502 h 2650"/>
              <a:gd name="T44" fmla="*/ 2882 w 3448"/>
              <a:gd name="T45" fmla="*/ 1387 h 2650"/>
              <a:gd name="T46" fmla="*/ 2916 w 3448"/>
              <a:gd name="T47" fmla="*/ 1270 h 2650"/>
              <a:gd name="T48" fmla="*/ 2926 w 3448"/>
              <a:gd name="T49" fmla="*/ 1167 h 2650"/>
              <a:gd name="T50" fmla="*/ 2917 w 3448"/>
              <a:gd name="T51" fmla="*/ 1074 h 2650"/>
              <a:gd name="T52" fmla="*/ 2889 w 3448"/>
              <a:gd name="T53" fmla="*/ 992 h 2650"/>
              <a:gd name="T54" fmla="*/ 2841 w 3448"/>
              <a:gd name="T55" fmla="*/ 923 h 2650"/>
              <a:gd name="T56" fmla="*/ 2776 w 3448"/>
              <a:gd name="T57" fmla="*/ 867 h 2650"/>
              <a:gd name="T58" fmla="*/ 2696 w 3448"/>
              <a:gd name="T59" fmla="*/ 825 h 2650"/>
              <a:gd name="T60" fmla="*/ 2598 w 3448"/>
              <a:gd name="T61" fmla="*/ 799 h 2650"/>
              <a:gd name="T62" fmla="*/ 2487 w 3448"/>
              <a:gd name="T63" fmla="*/ 791 h 2650"/>
              <a:gd name="T64" fmla="*/ 827 w 3448"/>
              <a:gd name="T65" fmla="*/ 791 h 2650"/>
              <a:gd name="T66" fmla="*/ 794 w 3448"/>
              <a:gd name="T67" fmla="*/ 1860 h 2650"/>
              <a:gd name="T68" fmla="*/ 1355 w 3448"/>
              <a:gd name="T69" fmla="*/ 1445 h 2650"/>
              <a:gd name="T70" fmla="*/ 1508 w 3448"/>
              <a:gd name="T71" fmla="*/ 1860 h 2650"/>
              <a:gd name="T72" fmla="*/ 1541 w 3448"/>
              <a:gd name="T73" fmla="*/ 791 h 2650"/>
              <a:gd name="T74" fmla="*/ 973 w 3448"/>
              <a:gd name="T75" fmla="*/ 1231 h 2650"/>
              <a:gd name="T76" fmla="*/ 827 w 3448"/>
              <a:gd name="T77" fmla="*/ 791 h 2650"/>
              <a:gd name="T78" fmla="*/ 3311 w 3448"/>
              <a:gd name="T79" fmla="*/ 0 h 2650"/>
              <a:gd name="T80" fmla="*/ 3365 w 3448"/>
              <a:gd name="T81" fmla="*/ 12 h 2650"/>
              <a:gd name="T82" fmla="*/ 3409 w 3448"/>
              <a:gd name="T83" fmla="*/ 41 h 2650"/>
              <a:gd name="T84" fmla="*/ 3438 w 3448"/>
              <a:gd name="T85" fmla="*/ 84 h 2650"/>
              <a:gd name="T86" fmla="*/ 3448 w 3448"/>
              <a:gd name="T87" fmla="*/ 138 h 2650"/>
              <a:gd name="T88" fmla="*/ 3445 w 3448"/>
              <a:gd name="T89" fmla="*/ 2540 h 2650"/>
              <a:gd name="T90" fmla="*/ 3425 w 3448"/>
              <a:gd name="T91" fmla="*/ 2590 h 2650"/>
              <a:gd name="T92" fmla="*/ 3388 w 3448"/>
              <a:gd name="T93" fmla="*/ 2626 h 2650"/>
              <a:gd name="T94" fmla="*/ 3339 w 3448"/>
              <a:gd name="T95" fmla="*/ 2647 h 2650"/>
              <a:gd name="T96" fmla="*/ 137 w 3448"/>
              <a:gd name="T97" fmla="*/ 2650 h 2650"/>
              <a:gd name="T98" fmla="*/ 84 w 3448"/>
              <a:gd name="T99" fmla="*/ 2639 h 2650"/>
              <a:gd name="T100" fmla="*/ 40 w 3448"/>
              <a:gd name="T101" fmla="*/ 2609 h 2650"/>
              <a:gd name="T102" fmla="*/ 10 w 3448"/>
              <a:gd name="T103" fmla="*/ 2566 h 2650"/>
              <a:gd name="T104" fmla="*/ 0 w 3448"/>
              <a:gd name="T105" fmla="*/ 2513 h 2650"/>
              <a:gd name="T106" fmla="*/ 3 w 3448"/>
              <a:gd name="T107" fmla="*/ 110 h 2650"/>
              <a:gd name="T108" fmla="*/ 23 w 3448"/>
              <a:gd name="T109" fmla="*/ 61 h 2650"/>
              <a:gd name="T110" fmla="*/ 61 w 3448"/>
              <a:gd name="T111" fmla="*/ 24 h 2650"/>
              <a:gd name="T112" fmla="*/ 109 w 3448"/>
              <a:gd name="T113" fmla="*/ 3 h 26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48" h="2650">
                <a:moveTo>
                  <a:pt x="2028" y="791"/>
                </a:moveTo>
                <a:lnTo>
                  <a:pt x="1966" y="1008"/>
                </a:lnTo>
                <a:lnTo>
                  <a:pt x="2419" y="1008"/>
                </a:lnTo>
                <a:lnTo>
                  <a:pt x="2458" y="1010"/>
                </a:lnTo>
                <a:lnTo>
                  <a:pt x="2492" y="1017"/>
                </a:lnTo>
                <a:lnTo>
                  <a:pt x="2525" y="1028"/>
                </a:lnTo>
                <a:lnTo>
                  <a:pt x="2553" y="1042"/>
                </a:lnTo>
                <a:lnTo>
                  <a:pt x="2577" y="1061"/>
                </a:lnTo>
                <a:lnTo>
                  <a:pt x="2598" y="1084"/>
                </a:lnTo>
                <a:lnTo>
                  <a:pt x="2615" y="1109"/>
                </a:lnTo>
                <a:lnTo>
                  <a:pt x="2629" y="1139"/>
                </a:lnTo>
                <a:lnTo>
                  <a:pt x="2637" y="1171"/>
                </a:lnTo>
                <a:lnTo>
                  <a:pt x="2641" y="1206"/>
                </a:lnTo>
                <a:lnTo>
                  <a:pt x="2641" y="1244"/>
                </a:lnTo>
                <a:lnTo>
                  <a:pt x="2636" y="1284"/>
                </a:lnTo>
                <a:lnTo>
                  <a:pt x="2625" y="1326"/>
                </a:lnTo>
                <a:lnTo>
                  <a:pt x="2609" y="1377"/>
                </a:lnTo>
                <a:lnTo>
                  <a:pt x="2587" y="1423"/>
                </a:lnTo>
                <a:lnTo>
                  <a:pt x="2560" y="1466"/>
                </a:lnTo>
                <a:lnTo>
                  <a:pt x="2531" y="1505"/>
                </a:lnTo>
                <a:lnTo>
                  <a:pt x="2497" y="1539"/>
                </a:lnTo>
                <a:lnTo>
                  <a:pt x="2462" y="1570"/>
                </a:lnTo>
                <a:lnTo>
                  <a:pt x="2423" y="1596"/>
                </a:lnTo>
                <a:lnTo>
                  <a:pt x="2382" y="1616"/>
                </a:lnTo>
                <a:lnTo>
                  <a:pt x="2339" y="1630"/>
                </a:lnTo>
                <a:lnTo>
                  <a:pt x="2295" y="1640"/>
                </a:lnTo>
                <a:lnTo>
                  <a:pt x="2250" y="1643"/>
                </a:lnTo>
                <a:lnTo>
                  <a:pt x="2056" y="1643"/>
                </a:lnTo>
                <a:lnTo>
                  <a:pt x="2196" y="1153"/>
                </a:lnTo>
                <a:lnTo>
                  <a:pt x="1924" y="1153"/>
                </a:lnTo>
                <a:lnTo>
                  <a:pt x="1722" y="1860"/>
                </a:lnTo>
                <a:lnTo>
                  <a:pt x="2171" y="1860"/>
                </a:lnTo>
                <a:lnTo>
                  <a:pt x="2239" y="1857"/>
                </a:lnTo>
                <a:lnTo>
                  <a:pt x="2306" y="1848"/>
                </a:lnTo>
                <a:lnTo>
                  <a:pt x="2371" y="1835"/>
                </a:lnTo>
                <a:lnTo>
                  <a:pt x="2432" y="1816"/>
                </a:lnTo>
                <a:lnTo>
                  <a:pt x="2493" y="1792"/>
                </a:lnTo>
                <a:lnTo>
                  <a:pt x="2551" y="1762"/>
                </a:lnTo>
                <a:lnTo>
                  <a:pt x="2605" y="1729"/>
                </a:lnTo>
                <a:lnTo>
                  <a:pt x="2657" y="1691"/>
                </a:lnTo>
                <a:lnTo>
                  <a:pt x="2705" y="1650"/>
                </a:lnTo>
                <a:lnTo>
                  <a:pt x="2749" y="1604"/>
                </a:lnTo>
                <a:lnTo>
                  <a:pt x="2789" y="1555"/>
                </a:lnTo>
                <a:lnTo>
                  <a:pt x="2825" y="1502"/>
                </a:lnTo>
                <a:lnTo>
                  <a:pt x="2856" y="1446"/>
                </a:lnTo>
                <a:lnTo>
                  <a:pt x="2882" y="1387"/>
                </a:lnTo>
                <a:lnTo>
                  <a:pt x="2902" y="1325"/>
                </a:lnTo>
                <a:lnTo>
                  <a:pt x="2916" y="1270"/>
                </a:lnTo>
                <a:lnTo>
                  <a:pt x="2924" y="1217"/>
                </a:lnTo>
                <a:lnTo>
                  <a:pt x="2926" y="1167"/>
                </a:lnTo>
                <a:lnTo>
                  <a:pt x="2924" y="1119"/>
                </a:lnTo>
                <a:lnTo>
                  <a:pt x="2917" y="1074"/>
                </a:lnTo>
                <a:lnTo>
                  <a:pt x="2905" y="1032"/>
                </a:lnTo>
                <a:lnTo>
                  <a:pt x="2889" y="992"/>
                </a:lnTo>
                <a:lnTo>
                  <a:pt x="2868" y="956"/>
                </a:lnTo>
                <a:lnTo>
                  <a:pt x="2841" y="923"/>
                </a:lnTo>
                <a:lnTo>
                  <a:pt x="2811" y="893"/>
                </a:lnTo>
                <a:lnTo>
                  <a:pt x="2776" y="867"/>
                </a:lnTo>
                <a:lnTo>
                  <a:pt x="2739" y="844"/>
                </a:lnTo>
                <a:lnTo>
                  <a:pt x="2696" y="825"/>
                </a:lnTo>
                <a:lnTo>
                  <a:pt x="2648" y="811"/>
                </a:lnTo>
                <a:lnTo>
                  <a:pt x="2598" y="799"/>
                </a:lnTo>
                <a:lnTo>
                  <a:pt x="2545" y="793"/>
                </a:lnTo>
                <a:lnTo>
                  <a:pt x="2487" y="791"/>
                </a:lnTo>
                <a:lnTo>
                  <a:pt x="2028" y="791"/>
                </a:lnTo>
                <a:close/>
                <a:moveTo>
                  <a:pt x="827" y="791"/>
                </a:moveTo>
                <a:lnTo>
                  <a:pt x="521" y="1860"/>
                </a:lnTo>
                <a:lnTo>
                  <a:pt x="794" y="1860"/>
                </a:lnTo>
                <a:lnTo>
                  <a:pt x="912" y="1445"/>
                </a:lnTo>
                <a:lnTo>
                  <a:pt x="1355" y="1445"/>
                </a:lnTo>
                <a:lnTo>
                  <a:pt x="1236" y="1860"/>
                </a:lnTo>
                <a:lnTo>
                  <a:pt x="1508" y="1860"/>
                </a:lnTo>
                <a:lnTo>
                  <a:pt x="1814" y="791"/>
                </a:lnTo>
                <a:lnTo>
                  <a:pt x="1541" y="791"/>
                </a:lnTo>
                <a:lnTo>
                  <a:pt x="1417" y="1231"/>
                </a:lnTo>
                <a:lnTo>
                  <a:pt x="973" y="1231"/>
                </a:lnTo>
                <a:lnTo>
                  <a:pt x="1099" y="791"/>
                </a:lnTo>
                <a:lnTo>
                  <a:pt x="827" y="791"/>
                </a:lnTo>
                <a:close/>
                <a:moveTo>
                  <a:pt x="137" y="0"/>
                </a:moveTo>
                <a:lnTo>
                  <a:pt x="3311" y="0"/>
                </a:lnTo>
                <a:lnTo>
                  <a:pt x="3339" y="3"/>
                </a:lnTo>
                <a:lnTo>
                  <a:pt x="3365" y="12"/>
                </a:lnTo>
                <a:lnTo>
                  <a:pt x="3388" y="24"/>
                </a:lnTo>
                <a:lnTo>
                  <a:pt x="3409" y="41"/>
                </a:lnTo>
                <a:lnTo>
                  <a:pt x="3425" y="61"/>
                </a:lnTo>
                <a:lnTo>
                  <a:pt x="3438" y="84"/>
                </a:lnTo>
                <a:lnTo>
                  <a:pt x="3445" y="110"/>
                </a:lnTo>
                <a:lnTo>
                  <a:pt x="3448" y="138"/>
                </a:lnTo>
                <a:lnTo>
                  <a:pt x="3448" y="2513"/>
                </a:lnTo>
                <a:lnTo>
                  <a:pt x="3445" y="2540"/>
                </a:lnTo>
                <a:lnTo>
                  <a:pt x="3438" y="2566"/>
                </a:lnTo>
                <a:lnTo>
                  <a:pt x="3425" y="2590"/>
                </a:lnTo>
                <a:lnTo>
                  <a:pt x="3409" y="2609"/>
                </a:lnTo>
                <a:lnTo>
                  <a:pt x="3388" y="2626"/>
                </a:lnTo>
                <a:lnTo>
                  <a:pt x="3365" y="2639"/>
                </a:lnTo>
                <a:lnTo>
                  <a:pt x="3339" y="2647"/>
                </a:lnTo>
                <a:lnTo>
                  <a:pt x="3311" y="2650"/>
                </a:lnTo>
                <a:lnTo>
                  <a:pt x="137" y="2650"/>
                </a:lnTo>
                <a:lnTo>
                  <a:pt x="109" y="2647"/>
                </a:lnTo>
                <a:lnTo>
                  <a:pt x="84" y="2639"/>
                </a:lnTo>
                <a:lnTo>
                  <a:pt x="61" y="2626"/>
                </a:lnTo>
                <a:lnTo>
                  <a:pt x="40" y="2609"/>
                </a:lnTo>
                <a:lnTo>
                  <a:pt x="23" y="2590"/>
                </a:lnTo>
                <a:lnTo>
                  <a:pt x="10" y="2566"/>
                </a:lnTo>
                <a:lnTo>
                  <a:pt x="3" y="2540"/>
                </a:lnTo>
                <a:lnTo>
                  <a:pt x="0" y="2513"/>
                </a:lnTo>
                <a:lnTo>
                  <a:pt x="0" y="138"/>
                </a:lnTo>
                <a:lnTo>
                  <a:pt x="3" y="110"/>
                </a:lnTo>
                <a:lnTo>
                  <a:pt x="10" y="84"/>
                </a:lnTo>
                <a:lnTo>
                  <a:pt x="23" y="61"/>
                </a:lnTo>
                <a:lnTo>
                  <a:pt x="40" y="41"/>
                </a:lnTo>
                <a:lnTo>
                  <a:pt x="61" y="24"/>
                </a:lnTo>
                <a:lnTo>
                  <a:pt x="84" y="12"/>
                </a:lnTo>
                <a:lnTo>
                  <a:pt x="109" y="3"/>
                </a:lnTo>
                <a:lnTo>
                  <a:pt x="137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A8E244AB-8A0A-4B03-A571-0830D9FA1B4D}"/>
              </a:ext>
            </a:extLst>
          </p:cNvPr>
          <p:cNvGrpSpPr/>
          <p:nvPr/>
        </p:nvGrpSpPr>
        <p:grpSpPr>
          <a:xfrm>
            <a:off x="11118290" y="4154720"/>
            <a:ext cx="456075" cy="364172"/>
            <a:chOff x="10910540" y="4181887"/>
            <a:chExt cx="509912" cy="407160"/>
          </a:xfrm>
        </p:grpSpPr>
        <p:sp>
          <p:nvSpPr>
            <p:cNvPr id="98" name="Rectangle: Rounded Corners 97">
              <a:extLst>
                <a:ext uri="{FF2B5EF4-FFF2-40B4-BE49-F238E27FC236}">
                  <a16:creationId xmlns:a16="http://schemas.microsoft.com/office/drawing/2014/main" id="{16FAE552-C41A-471A-8D2B-F07FE786E526}"/>
                </a:ext>
              </a:extLst>
            </p:cNvPr>
            <p:cNvSpPr/>
            <p:nvPr/>
          </p:nvSpPr>
          <p:spPr>
            <a:xfrm>
              <a:off x="10910540" y="4181887"/>
              <a:ext cx="509912" cy="407160"/>
            </a:xfrm>
            <a:prstGeom prst="roundRect">
              <a:avLst>
                <a:gd name="adj" fmla="val 614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3F0C0594-C158-4C11-BC99-7575231E124E}"/>
                </a:ext>
              </a:extLst>
            </p:cNvPr>
            <p:cNvSpPr/>
            <p:nvPr/>
          </p:nvSpPr>
          <p:spPr>
            <a:xfrm>
              <a:off x="10949553" y="4222548"/>
              <a:ext cx="427300" cy="1857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00" name="AutoShape 40">
              <a:extLst>
                <a:ext uri="{FF2B5EF4-FFF2-40B4-BE49-F238E27FC236}">
                  <a16:creationId xmlns:a16="http://schemas.microsoft.com/office/drawing/2014/main" id="{9F96345B-769B-4687-9D6D-0A5F6FC4EDE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910540" y="4181887"/>
              <a:ext cx="509912" cy="407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Freeform 43">
              <a:extLst>
                <a:ext uri="{FF2B5EF4-FFF2-40B4-BE49-F238E27FC236}">
                  <a16:creationId xmlns:a16="http://schemas.microsoft.com/office/drawing/2014/main" id="{0AAA3308-B086-463F-A5E6-DADE161BC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0540" y="4181887"/>
              <a:ext cx="509912" cy="407160"/>
            </a:xfrm>
            <a:custGeom>
              <a:avLst/>
              <a:gdLst>
                <a:gd name="T0" fmla="*/ 1782 w 1856"/>
                <a:gd name="T1" fmla="*/ 0 h 1482"/>
                <a:gd name="T2" fmla="*/ 74 w 1856"/>
                <a:gd name="T3" fmla="*/ 0 h 1482"/>
                <a:gd name="T4" fmla="*/ 74 w 1856"/>
                <a:gd name="T5" fmla="*/ 0 h 1482"/>
                <a:gd name="T6" fmla="*/ 58 w 1856"/>
                <a:gd name="T7" fmla="*/ 2 h 1482"/>
                <a:gd name="T8" fmla="*/ 46 w 1856"/>
                <a:gd name="T9" fmla="*/ 6 h 1482"/>
                <a:gd name="T10" fmla="*/ 32 w 1856"/>
                <a:gd name="T11" fmla="*/ 12 h 1482"/>
                <a:gd name="T12" fmla="*/ 22 w 1856"/>
                <a:gd name="T13" fmla="*/ 22 h 1482"/>
                <a:gd name="T14" fmla="*/ 12 w 1856"/>
                <a:gd name="T15" fmla="*/ 32 h 1482"/>
                <a:gd name="T16" fmla="*/ 6 w 1856"/>
                <a:gd name="T17" fmla="*/ 46 h 1482"/>
                <a:gd name="T18" fmla="*/ 2 w 1856"/>
                <a:gd name="T19" fmla="*/ 58 h 1482"/>
                <a:gd name="T20" fmla="*/ 0 w 1856"/>
                <a:gd name="T21" fmla="*/ 74 h 1482"/>
                <a:gd name="T22" fmla="*/ 0 w 1856"/>
                <a:gd name="T23" fmla="*/ 1410 h 1482"/>
                <a:gd name="T24" fmla="*/ 0 w 1856"/>
                <a:gd name="T25" fmla="*/ 1410 h 1482"/>
                <a:gd name="T26" fmla="*/ 2 w 1856"/>
                <a:gd name="T27" fmla="*/ 1424 h 1482"/>
                <a:gd name="T28" fmla="*/ 6 w 1856"/>
                <a:gd name="T29" fmla="*/ 1438 h 1482"/>
                <a:gd name="T30" fmla="*/ 12 w 1856"/>
                <a:gd name="T31" fmla="*/ 1450 h 1482"/>
                <a:gd name="T32" fmla="*/ 22 w 1856"/>
                <a:gd name="T33" fmla="*/ 1462 h 1482"/>
                <a:gd name="T34" fmla="*/ 32 w 1856"/>
                <a:gd name="T35" fmla="*/ 1470 h 1482"/>
                <a:gd name="T36" fmla="*/ 46 w 1856"/>
                <a:gd name="T37" fmla="*/ 1476 h 1482"/>
                <a:gd name="T38" fmla="*/ 58 w 1856"/>
                <a:gd name="T39" fmla="*/ 1482 h 1482"/>
                <a:gd name="T40" fmla="*/ 74 w 1856"/>
                <a:gd name="T41" fmla="*/ 1482 h 1482"/>
                <a:gd name="T42" fmla="*/ 1782 w 1856"/>
                <a:gd name="T43" fmla="*/ 1482 h 1482"/>
                <a:gd name="T44" fmla="*/ 1782 w 1856"/>
                <a:gd name="T45" fmla="*/ 1482 h 1482"/>
                <a:gd name="T46" fmla="*/ 1796 w 1856"/>
                <a:gd name="T47" fmla="*/ 1482 h 1482"/>
                <a:gd name="T48" fmla="*/ 1810 w 1856"/>
                <a:gd name="T49" fmla="*/ 1476 h 1482"/>
                <a:gd name="T50" fmla="*/ 1824 w 1856"/>
                <a:gd name="T51" fmla="*/ 1470 h 1482"/>
                <a:gd name="T52" fmla="*/ 1834 w 1856"/>
                <a:gd name="T53" fmla="*/ 1462 h 1482"/>
                <a:gd name="T54" fmla="*/ 1844 w 1856"/>
                <a:gd name="T55" fmla="*/ 1450 h 1482"/>
                <a:gd name="T56" fmla="*/ 1850 w 1856"/>
                <a:gd name="T57" fmla="*/ 1438 h 1482"/>
                <a:gd name="T58" fmla="*/ 1854 w 1856"/>
                <a:gd name="T59" fmla="*/ 1424 h 1482"/>
                <a:gd name="T60" fmla="*/ 1856 w 1856"/>
                <a:gd name="T61" fmla="*/ 1410 h 1482"/>
                <a:gd name="T62" fmla="*/ 1856 w 1856"/>
                <a:gd name="T63" fmla="*/ 74 h 1482"/>
                <a:gd name="T64" fmla="*/ 1856 w 1856"/>
                <a:gd name="T65" fmla="*/ 74 h 1482"/>
                <a:gd name="T66" fmla="*/ 1854 w 1856"/>
                <a:gd name="T67" fmla="*/ 58 h 1482"/>
                <a:gd name="T68" fmla="*/ 1850 w 1856"/>
                <a:gd name="T69" fmla="*/ 46 h 1482"/>
                <a:gd name="T70" fmla="*/ 1844 w 1856"/>
                <a:gd name="T71" fmla="*/ 32 h 1482"/>
                <a:gd name="T72" fmla="*/ 1834 w 1856"/>
                <a:gd name="T73" fmla="*/ 22 h 1482"/>
                <a:gd name="T74" fmla="*/ 1824 w 1856"/>
                <a:gd name="T75" fmla="*/ 12 h 1482"/>
                <a:gd name="T76" fmla="*/ 1810 w 1856"/>
                <a:gd name="T77" fmla="*/ 6 h 1482"/>
                <a:gd name="T78" fmla="*/ 1796 w 1856"/>
                <a:gd name="T79" fmla="*/ 2 h 1482"/>
                <a:gd name="T80" fmla="*/ 1782 w 1856"/>
                <a:gd name="T81" fmla="*/ 0 h 1482"/>
                <a:gd name="T82" fmla="*/ 1782 w 1856"/>
                <a:gd name="T83" fmla="*/ 0 h 1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56" h="1482">
                  <a:moveTo>
                    <a:pt x="1782" y="0"/>
                  </a:moveTo>
                  <a:lnTo>
                    <a:pt x="74" y="0"/>
                  </a:lnTo>
                  <a:lnTo>
                    <a:pt x="74" y="0"/>
                  </a:lnTo>
                  <a:lnTo>
                    <a:pt x="58" y="2"/>
                  </a:lnTo>
                  <a:lnTo>
                    <a:pt x="46" y="6"/>
                  </a:lnTo>
                  <a:lnTo>
                    <a:pt x="32" y="12"/>
                  </a:lnTo>
                  <a:lnTo>
                    <a:pt x="22" y="22"/>
                  </a:lnTo>
                  <a:lnTo>
                    <a:pt x="12" y="32"/>
                  </a:lnTo>
                  <a:lnTo>
                    <a:pt x="6" y="46"/>
                  </a:lnTo>
                  <a:lnTo>
                    <a:pt x="2" y="58"/>
                  </a:lnTo>
                  <a:lnTo>
                    <a:pt x="0" y="74"/>
                  </a:lnTo>
                  <a:lnTo>
                    <a:pt x="0" y="1410"/>
                  </a:lnTo>
                  <a:lnTo>
                    <a:pt x="0" y="1410"/>
                  </a:lnTo>
                  <a:lnTo>
                    <a:pt x="2" y="1424"/>
                  </a:lnTo>
                  <a:lnTo>
                    <a:pt x="6" y="1438"/>
                  </a:lnTo>
                  <a:lnTo>
                    <a:pt x="12" y="1450"/>
                  </a:lnTo>
                  <a:lnTo>
                    <a:pt x="22" y="1462"/>
                  </a:lnTo>
                  <a:lnTo>
                    <a:pt x="32" y="1470"/>
                  </a:lnTo>
                  <a:lnTo>
                    <a:pt x="46" y="1476"/>
                  </a:lnTo>
                  <a:lnTo>
                    <a:pt x="58" y="1482"/>
                  </a:lnTo>
                  <a:lnTo>
                    <a:pt x="74" y="1482"/>
                  </a:lnTo>
                  <a:lnTo>
                    <a:pt x="1782" y="1482"/>
                  </a:lnTo>
                  <a:lnTo>
                    <a:pt x="1782" y="1482"/>
                  </a:lnTo>
                  <a:lnTo>
                    <a:pt x="1796" y="1482"/>
                  </a:lnTo>
                  <a:lnTo>
                    <a:pt x="1810" y="1476"/>
                  </a:lnTo>
                  <a:lnTo>
                    <a:pt x="1824" y="1470"/>
                  </a:lnTo>
                  <a:lnTo>
                    <a:pt x="1834" y="1462"/>
                  </a:lnTo>
                  <a:lnTo>
                    <a:pt x="1844" y="1450"/>
                  </a:lnTo>
                  <a:lnTo>
                    <a:pt x="1850" y="1438"/>
                  </a:lnTo>
                  <a:lnTo>
                    <a:pt x="1854" y="1424"/>
                  </a:lnTo>
                  <a:lnTo>
                    <a:pt x="1856" y="1410"/>
                  </a:lnTo>
                  <a:lnTo>
                    <a:pt x="1856" y="74"/>
                  </a:lnTo>
                  <a:lnTo>
                    <a:pt x="1856" y="74"/>
                  </a:lnTo>
                  <a:lnTo>
                    <a:pt x="1854" y="58"/>
                  </a:lnTo>
                  <a:lnTo>
                    <a:pt x="1850" y="46"/>
                  </a:lnTo>
                  <a:lnTo>
                    <a:pt x="1844" y="32"/>
                  </a:lnTo>
                  <a:lnTo>
                    <a:pt x="1834" y="22"/>
                  </a:lnTo>
                  <a:lnTo>
                    <a:pt x="1824" y="12"/>
                  </a:lnTo>
                  <a:lnTo>
                    <a:pt x="1810" y="6"/>
                  </a:lnTo>
                  <a:lnTo>
                    <a:pt x="1796" y="2"/>
                  </a:lnTo>
                  <a:lnTo>
                    <a:pt x="1782" y="0"/>
                  </a:lnTo>
                  <a:lnTo>
                    <a:pt x="178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Rectangle 46">
              <a:extLst>
                <a:ext uri="{FF2B5EF4-FFF2-40B4-BE49-F238E27FC236}">
                  <a16:creationId xmlns:a16="http://schemas.microsoft.com/office/drawing/2014/main" id="{6CE55283-00F0-4F0C-9707-13FE43AACF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51201" y="4222548"/>
              <a:ext cx="428590" cy="185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3" name="Freeform 48">
              <a:extLst>
                <a:ext uri="{FF2B5EF4-FFF2-40B4-BE49-F238E27FC236}">
                  <a16:creationId xmlns:a16="http://schemas.microsoft.com/office/drawing/2014/main" id="{E518E81C-F3CA-4013-B862-8954EE87CA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30325" y="4239582"/>
              <a:ext cx="120610" cy="142863"/>
            </a:xfrm>
            <a:custGeom>
              <a:avLst/>
              <a:gdLst>
                <a:gd name="T0" fmla="*/ 247 w 439"/>
                <a:gd name="T1" fmla="*/ 520 h 520"/>
                <a:gd name="T2" fmla="*/ 369 w 439"/>
                <a:gd name="T3" fmla="*/ 520 h 520"/>
                <a:gd name="T4" fmla="*/ 369 w 439"/>
                <a:gd name="T5" fmla="*/ 406 h 520"/>
                <a:gd name="T6" fmla="*/ 439 w 439"/>
                <a:gd name="T7" fmla="*/ 406 h 520"/>
                <a:gd name="T8" fmla="*/ 439 w 439"/>
                <a:gd name="T9" fmla="*/ 306 h 520"/>
                <a:gd name="T10" fmla="*/ 369 w 439"/>
                <a:gd name="T11" fmla="*/ 306 h 520"/>
                <a:gd name="T12" fmla="*/ 369 w 439"/>
                <a:gd name="T13" fmla="*/ 194 h 520"/>
                <a:gd name="T14" fmla="*/ 247 w 439"/>
                <a:gd name="T15" fmla="*/ 194 h 520"/>
                <a:gd name="T16" fmla="*/ 247 w 439"/>
                <a:gd name="T17" fmla="*/ 306 h 520"/>
                <a:gd name="T18" fmla="*/ 137 w 439"/>
                <a:gd name="T19" fmla="*/ 306 h 520"/>
                <a:gd name="T20" fmla="*/ 291 w 439"/>
                <a:gd name="T21" fmla="*/ 0 h 520"/>
                <a:gd name="T22" fmla="*/ 163 w 439"/>
                <a:gd name="T23" fmla="*/ 0 h 520"/>
                <a:gd name="T24" fmla="*/ 0 w 439"/>
                <a:gd name="T25" fmla="*/ 318 h 520"/>
                <a:gd name="T26" fmla="*/ 0 w 439"/>
                <a:gd name="T27" fmla="*/ 406 h 520"/>
                <a:gd name="T28" fmla="*/ 247 w 439"/>
                <a:gd name="T29" fmla="*/ 406 h 520"/>
                <a:gd name="T30" fmla="*/ 247 w 439"/>
                <a:gd name="T31" fmla="*/ 520 h 520"/>
                <a:gd name="T32" fmla="*/ 247 w 439"/>
                <a:gd name="T33" fmla="*/ 520 h 520"/>
                <a:gd name="T34" fmla="*/ 247 w 439"/>
                <a:gd name="T35" fmla="*/ 520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9" h="520">
                  <a:moveTo>
                    <a:pt x="247" y="520"/>
                  </a:moveTo>
                  <a:lnTo>
                    <a:pt x="369" y="520"/>
                  </a:lnTo>
                  <a:lnTo>
                    <a:pt x="369" y="406"/>
                  </a:lnTo>
                  <a:lnTo>
                    <a:pt x="439" y="406"/>
                  </a:lnTo>
                  <a:lnTo>
                    <a:pt x="439" y="306"/>
                  </a:lnTo>
                  <a:lnTo>
                    <a:pt x="369" y="306"/>
                  </a:lnTo>
                  <a:lnTo>
                    <a:pt x="369" y="194"/>
                  </a:lnTo>
                  <a:lnTo>
                    <a:pt x="247" y="194"/>
                  </a:lnTo>
                  <a:lnTo>
                    <a:pt x="247" y="306"/>
                  </a:lnTo>
                  <a:lnTo>
                    <a:pt x="137" y="306"/>
                  </a:lnTo>
                  <a:lnTo>
                    <a:pt x="291" y="0"/>
                  </a:lnTo>
                  <a:lnTo>
                    <a:pt x="163" y="0"/>
                  </a:lnTo>
                  <a:lnTo>
                    <a:pt x="0" y="318"/>
                  </a:lnTo>
                  <a:lnTo>
                    <a:pt x="0" y="406"/>
                  </a:lnTo>
                  <a:lnTo>
                    <a:pt x="247" y="406"/>
                  </a:lnTo>
                  <a:lnTo>
                    <a:pt x="247" y="520"/>
                  </a:lnTo>
                  <a:close/>
                  <a:moveTo>
                    <a:pt x="247" y="520"/>
                  </a:moveTo>
                  <a:lnTo>
                    <a:pt x="247" y="52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4" name="Freeform 49">
              <a:extLst>
                <a:ext uri="{FF2B5EF4-FFF2-40B4-BE49-F238E27FC236}">
                  <a16:creationId xmlns:a16="http://schemas.microsoft.com/office/drawing/2014/main" id="{05BAFC3D-CBC0-4FCA-A9DA-787BFA63D77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30325" y="4239582"/>
              <a:ext cx="120610" cy="142863"/>
            </a:xfrm>
            <a:custGeom>
              <a:avLst/>
              <a:gdLst>
                <a:gd name="T0" fmla="*/ 247 w 439"/>
                <a:gd name="T1" fmla="*/ 520 h 520"/>
                <a:gd name="T2" fmla="*/ 369 w 439"/>
                <a:gd name="T3" fmla="*/ 520 h 520"/>
                <a:gd name="T4" fmla="*/ 369 w 439"/>
                <a:gd name="T5" fmla="*/ 406 h 520"/>
                <a:gd name="T6" fmla="*/ 439 w 439"/>
                <a:gd name="T7" fmla="*/ 406 h 520"/>
                <a:gd name="T8" fmla="*/ 439 w 439"/>
                <a:gd name="T9" fmla="*/ 306 h 520"/>
                <a:gd name="T10" fmla="*/ 369 w 439"/>
                <a:gd name="T11" fmla="*/ 306 h 520"/>
                <a:gd name="T12" fmla="*/ 369 w 439"/>
                <a:gd name="T13" fmla="*/ 194 h 520"/>
                <a:gd name="T14" fmla="*/ 247 w 439"/>
                <a:gd name="T15" fmla="*/ 194 h 520"/>
                <a:gd name="T16" fmla="*/ 247 w 439"/>
                <a:gd name="T17" fmla="*/ 306 h 520"/>
                <a:gd name="T18" fmla="*/ 137 w 439"/>
                <a:gd name="T19" fmla="*/ 306 h 520"/>
                <a:gd name="T20" fmla="*/ 291 w 439"/>
                <a:gd name="T21" fmla="*/ 0 h 520"/>
                <a:gd name="T22" fmla="*/ 163 w 439"/>
                <a:gd name="T23" fmla="*/ 0 h 520"/>
                <a:gd name="T24" fmla="*/ 0 w 439"/>
                <a:gd name="T25" fmla="*/ 318 h 520"/>
                <a:gd name="T26" fmla="*/ 0 w 439"/>
                <a:gd name="T27" fmla="*/ 406 h 520"/>
                <a:gd name="T28" fmla="*/ 247 w 439"/>
                <a:gd name="T29" fmla="*/ 406 h 520"/>
                <a:gd name="T30" fmla="*/ 247 w 439"/>
                <a:gd name="T31" fmla="*/ 520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9" h="520">
                  <a:moveTo>
                    <a:pt x="247" y="520"/>
                  </a:moveTo>
                  <a:lnTo>
                    <a:pt x="369" y="520"/>
                  </a:lnTo>
                  <a:lnTo>
                    <a:pt x="369" y="406"/>
                  </a:lnTo>
                  <a:lnTo>
                    <a:pt x="439" y="406"/>
                  </a:lnTo>
                  <a:lnTo>
                    <a:pt x="439" y="306"/>
                  </a:lnTo>
                  <a:lnTo>
                    <a:pt x="369" y="306"/>
                  </a:lnTo>
                  <a:lnTo>
                    <a:pt x="369" y="194"/>
                  </a:lnTo>
                  <a:lnTo>
                    <a:pt x="247" y="194"/>
                  </a:lnTo>
                  <a:lnTo>
                    <a:pt x="247" y="306"/>
                  </a:lnTo>
                  <a:lnTo>
                    <a:pt x="137" y="306"/>
                  </a:lnTo>
                  <a:lnTo>
                    <a:pt x="291" y="0"/>
                  </a:lnTo>
                  <a:lnTo>
                    <a:pt x="163" y="0"/>
                  </a:lnTo>
                  <a:lnTo>
                    <a:pt x="0" y="318"/>
                  </a:lnTo>
                  <a:lnTo>
                    <a:pt x="0" y="406"/>
                  </a:lnTo>
                  <a:lnTo>
                    <a:pt x="247" y="406"/>
                  </a:lnTo>
                  <a:lnTo>
                    <a:pt x="247" y="52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5" name="Line 50">
              <a:extLst>
                <a:ext uri="{FF2B5EF4-FFF2-40B4-BE49-F238E27FC236}">
                  <a16:creationId xmlns:a16="http://schemas.microsoft.com/office/drawing/2014/main" id="{5BDF1900-0720-47B9-8884-55D7B4E7A9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98185" y="4382445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51">
              <a:extLst>
                <a:ext uri="{FF2B5EF4-FFF2-40B4-BE49-F238E27FC236}">
                  <a16:creationId xmlns:a16="http://schemas.microsoft.com/office/drawing/2014/main" id="{269DEB3A-9E93-4EC8-8E79-C187AE7A03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67969" y="4239582"/>
              <a:ext cx="135995" cy="142863"/>
            </a:xfrm>
            <a:custGeom>
              <a:avLst/>
              <a:gdLst>
                <a:gd name="T0" fmla="*/ 132 w 495"/>
                <a:gd name="T1" fmla="*/ 392 h 520"/>
                <a:gd name="T2" fmla="*/ 202 w 495"/>
                <a:gd name="T3" fmla="*/ 316 h 520"/>
                <a:gd name="T4" fmla="*/ 338 w 495"/>
                <a:gd name="T5" fmla="*/ 520 h 520"/>
                <a:gd name="T6" fmla="*/ 495 w 495"/>
                <a:gd name="T7" fmla="*/ 520 h 520"/>
                <a:gd name="T8" fmla="*/ 292 w 495"/>
                <a:gd name="T9" fmla="*/ 216 h 520"/>
                <a:gd name="T10" fmla="*/ 483 w 495"/>
                <a:gd name="T11" fmla="*/ 0 h 520"/>
                <a:gd name="T12" fmla="*/ 332 w 495"/>
                <a:gd name="T13" fmla="*/ 0 h 520"/>
                <a:gd name="T14" fmla="*/ 132 w 495"/>
                <a:gd name="T15" fmla="*/ 226 h 520"/>
                <a:gd name="T16" fmla="*/ 132 w 495"/>
                <a:gd name="T17" fmla="*/ 0 h 520"/>
                <a:gd name="T18" fmla="*/ 0 w 495"/>
                <a:gd name="T19" fmla="*/ 0 h 520"/>
                <a:gd name="T20" fmla="*/ 0 w 495"/>
                <a:gd name="T21" fmla="*/ 520 h 520"/>
                <a:gd name="T22" fmla="*/ 132 w 495"/>
                <a:gd name="T23" fmla="*/ 520 h 520"/>
                <a:gd name="T24" fmla="*/ 132 w 495"/>
                <a:gd name="T25" fmla="*/ 392 h 520"/>
                <a:gd name="T26" fmla="*/ 132 w 495"/>
                <a:gd name="T27" fmla="*/ 392 h 520"/>
                <a:gd name="T28" fmla="*/ 132 w 495"/>
                <a:gd name="T29" fmla="*/ 392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5" h="520">
                  <a:moveTo>
                    <a:pt x="132" y="392"/>
                  </a:moveTo>
                  <a:lnTo>
                    <a:pt x="202" y="316"/>
                  </a:lnTo>
                  <a:lnTo>
                    <a:pt x="338" y="520"/>
                  </a:lnTo>
                  <a:lnTo>
                    <a:pt x="495" y="520"/>
                  </a:lnTo>
                  <a:lnTo>
                    <a:pt x="292" y="216"/>
                  </a:lnTo>
                  <a:lnTo>
                    <a:pt x="483" y="0"/>
                  </a:lnTo>
                  <a:lnTo>
                    <a:pt x="332" y="0"/>
                  </a:lnTo>
                  <a:lnTo>
                    <a:pt x="132" y="226"/>
                  </a:lnTo>
                  <a:lnTo>
                    <a:pt x="132" y="0"/>
                  </a:lnTo>
                  <a:lnTo>
                    <a:pt x="0" y="0"/>
                  </a:lnTo>
                  <a:lnTo>
                    <a:pt x="0" y="520"/>
                  </a:lnTo>
                  <a:lnTo>
                    <a:pt x="132" y="520"/>
                  </a:lnTo>
                  <a:lnTo>
                    <a:pt x="132" y="392"/>
                  </a:lnTo>
                  <a:close/>
                  <a:moveTo>
                    <a:pt x="132" y="392"/>
                  </a:moveTo>
                  <a:lnTo>
                    <a:pt x="132" y="39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Freeform 52">
              <a:extLst>
                <a:ext uri="{FF2B5EF4-FFF2-40B4-BE49-F238E27FC236}">
                  <a16:creationId xmlns:a16="http://schemas.microsoft.com/office/drawing/2014/main" id="{B419FB7B-1ED6-45DE-8FBC-EE356D950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7969" y="4239582"/>
              <a:ext cx="135995" cy="142863"/>
            </a:xfrm>
            <a:custGeom>
              <a:avLst/>
              <a:gdLst>
                <a:gd name="T0" fmla="*/ 132 w 495"/>
                <a:gd name="T1" fmla="*/ 392 h 520"/>
                <a:gd name="T2" fmla="*/ 202 w 495"/>
                <a:gd name="T3" fmla="*/ 316 h 520"/>
                <a:gd name="T4" fmla="*/ 338 w 495"/>
                <a:gd name="T5" fmla="*/ 520 h 520"/>
                <a:gd name="T6" fmla="*/ 495 w 495"/>
                <a:gd name="T7" fmla="*/ 520 h 520"/>
                <a:gd name="T8" fmla="*/ 292 w 495"/>
                <a:gd name="T9" fmla="*/ 216 h 520"/>
                <a:gd name="T10" fmla="*/ 483 w 495"/>
                <a:gd name="T11" fmla="*/ 0 h 520"/>
                <a:gd name="T12" fmla="*/ 332 w 495"/>
                <a:gd name="T13" fmla="*/ 0 h 520"/>
                <a:gd name="T14" fmla="*/ 132 w 495"/>
                <a:gd name="T15" fmla="*/ 226 h 520"/>
                <a:gd name="T16" fmla="*/ 132 w 495"/>
                <a:gd name="T17" fmla="*/ 0 h 520"/>
                <a:gd name="T18" fmla="*/ 0 w 495"/>
                <a:gd name="T19" fmla="*/ 0 h 520"/>
                <a:gd name="T20" fmla="*/ 0 w 495"/>
                <a:gd name="T21" fmla="*/ 520 h 520"/>
                <a:gd name="T22" fmla="*/ 132 w 495"/>
                <a:gd name="T23" fmla="*/ 520 h 520"/>
                <a:gd name="T24" fmla="*/ 132 w 495"/>
                <a:gd name="T25" fmla="*/ 392 h 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5" h="520">
                  <a:moveTo>
                    <a:pt x="132" y="392"/>
                  </a:moveTo>
                  <a:lnTo>
                    <a:pt x="202" y="316"/>
                  </a:lnTo>
                  <a:lnTo>
                    <a:pt x="338" y="520"/>
                  </a:lnTo>
                  <a:lnTo>
                    <a:pt x="495" y="520"/>
                  </a:lnTo>
                  <a:lnTo>
                    <a:pt x="292" y="216"/>
                  </a:lnTo>
                  <a:lnTo>
                    <a:pt x="483" y="0"/>
                  </a:lnTo>
                  <a:lnTo>
                    <a:pt x="332" y="0"/>
                  </a:lnTo>
                  <a:lnTo>
                    <a:pt x="132" y="226"/>
                  </a:lnTo>
                  <a:lnTo>
                    <a:pt x="132" y="0"/>
                  </a:lnTo>
                  <a:lnTo>
                    <a:pt x="0" y="0"/>
                  </a:lnTo>
                  <a:lnTo>
                    <a:pt x="0" y="520"/>
                  </a:lnTo>
                  <a:lnTo>
                    <a:pt x="132" y="520"/>
                  </a:lnTo>
                  <a:lnTo>
                    <a:pt x="132" y="39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Line 53">
              <a:extLst>
                <a:ext uri="{FF2B5EF4-FFF2-40B4-BE49-F238E27FC236}">
                  <a16:creationId xmlns:a16="http://schemas.microsoft.com/office/drawing/2014/main" id="{4A595105-9BD9-4278-AFFD-80A13BBD95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204234" y="4347279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Freeform 44">
              <a:extLst>
                <a:ext uri="{FF2B5EF4-FFF2-40B4-BE49-F238E27FC236}">
                  <a16:creationId xmlns:a16="http://schemas.microsoft.com/office/drawing/2014/main" id="{1CF749C9-3D0A-42EF-B4E3-7F13965D3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25879" y="4445192"/>
              <a:ext cx="64363" cy="69851"/>
            </a:xfrm>
            <a:custGeom>
              <a:avLst/>
              <a:gdLst>
                <a:gd name="T0" fmla="*/ 258 w 258"/>
                <a:gd name="T1" fmla="*/ 280 h 280"/>
                <a:gd name="T2" fmla="*/ 186 w 258"/>
                <a:gd name="T3" fmla="*/ 280 h 280"/>
                <a:gd name="T4" fmla="*/ 186 w 258"/>
                <a:gd name="T5" fmla="*/ 172 h 280"/>
                <a:gd name="T6" fmla="*/ 70 w 258"/>
                <a:gd name="T7" fmla="*/ 172 h 280"/>
                <a:gd name="T8" fmla="*/ 70 w 258"/>
                <a:gd name="T9" fmla="*/ 280 h 280"/>
                <a:gd name="T10" fmla="*/ 0 w 258"/>
                <a:gd name="T11" fmla="*/ 280 h 280"/>
                <a:gd name="T12" fmla="*/ 0 w 258"/>
                <a:gd name="T13" fmla="*/ 0 h 280"/>
                <a:gd name="T14" fmla="*/ 70 w 258"/>
                <a:gd name="T15" fmla="*/ 0 h 280"/>
                <a:gd name="T16" fmla="*/ 70 w 258"/>
                <a:gd name="T17" fmla="*/ 116 h 280"/>
                <a:gd name="T18" fmla="*/ 186 w 258"/>
                <a:gd name="T19" fmla="*/ 116 h 280"/>
                <a:gd name="T20" fmla="*/ 186 w 258"/>
                <a:gd name="T21" fmla="*/ 0 h 280"/>
                <a:gd name="T22" fmla="*/ 258 w 258"/>
                <a:gd name="T23" fmla="*/ 0 h 280"/>
                <a:gd name="T24" fmla="*/ 258 w 258"/>
                <a:gd name="T25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8" h="280">
                  <a:moveTo>
                    <a:pt x="258" y="280"/>
                  </a:moveTo>
                  <a:lnTo>
                    <a:pt x="186" y="280"/>
                  </a:lnTo>
                  <a:lnTo>
                    <a:pt x="186" y="172"/>
                  </a:lnTo>
                  <a:lnTo>
                    <a:pt x="70" y="172"/>
                  </a:lnTo>
                  <a:lnTo>
                    <a:pt x="70" y="280"/>
                  </a:lnTo>
                  <a:lnTo>
                    <a:pt x="0" y="280"/>
                  </a:lnTo>
                  <a:lnTo>
                    <a:pt x="0" y="0"/>
                  </a:lnTo>
                  <a:lnTo>
                    <a:pt x="70" y="0"/>
                  </a:lnTo>
                  <a:lnTo>
                    <a:pt x="70" y="116"/>
                  </a:lnTo>
                  <a:lnTo>
                    <a:pt x="186" y="116"/>
                  </a:lnTo>
                  <a:lnTo>
                    <a:pt x="186" y="0"/>
                  </a:lnTo>
                  <a:lnTo>
                    <a:pt x="258" y="0"/>
                  </a:lnTo>
                  <a:lnTo>
                    <a:pt x="258" y="280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Freeform 45">
              <a:extLst>
                <a:ext uri="{FF2B5EF4-FFF2-40B4-BE49-F238E27FC236}">
                  <a16:creationId xmlns:a16="http://schemas.microsoft.com/office/drawing/2014/main" id="{510D6B15-C9BE-4483-AF43-7E6270EE1D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3964" y="4445192"/>
              <a:ext cx="67357" cy="69851"/>
            </a:xfrm>
            <a:custGeom>
              <a:avLst/>
              <a:gdLst>
                <a:gd name="T0" fmla="*/ 118 w 270"/>
                <a:gd name="T1" fmla="*/ 280 h 280"/>
                <a:gd name="T2" fmla="*/ 0 w 270"/>
                <a:gd name="T3" fmla="*/ 280 h 280"/>
                <a:gd name="T4" fmla="*/ 0 w 270"/>
                <a:gd name="T5" fmla="*/ 118 h 280"/>
                <a:gd name="T6" fmla="*/ 72 w 270"/>
                <a:gd name="T7" fmla="*/ 118 h 280"/>
                <a:gd name="T8" fmla="*/ 72 w 270"/>
                <a:gd name="T9" fmla="*/ 224 h 280"/>
                <a:gd name="T10" fmla="*/ 122 w 270"/>
                <a:gd name="T11" fmla="*/ 224 h 280"/>
                <a:gd name="T12" fmla="*/ 122 w 270"/>
                <a:gd name="T13" fmla="*/ 224 h 280"/>
                <a:gd name="T14" fmla="*/ 138 w 270"/>
                <a:gd name="T15" fmla="*/ 222 h 280"/>
                <a:gd name="T16" fmla="*/ 152 w 270"/>
                <a:gd name="T17" fmla="*/ 218 h 280"/>
                <a:gd name="T18" fmla="*/ 164 w 270"/>
                <a:gd name="T19" fmla="*/ 210 h 280"/>
                <a:gd name="T20" fmla="*/ 176 w 270"/>
                <a:gd name="T21" fmla="*/ 200 h 280"/>
                <a:gd name="T22" fmla="*/ 184 w 270"/>
                <a:gd name="T23" fmla="*/ 188 h 280"/>
                <a:gd name="T24" fmla="*/ 192 w 270"/>
                <a:gd name="T25" fmla="*/ 174 h 280"/>
                <a:gd name="T26" fmla="*/ 196 w 270"/>
                <a:gd name="T27" fmla="*/ 158 h 280"/>
                <a:gd name="T28" fmla="*/ 196 w 270"/>
                <a:gd name="T29" fmla="*/ 140 h 280"/>
                <a:gd name="T30" fmla="*/ 196 w 270"/>
                <a:gd name="T31" fmla="*/ 140 h 280"/>
                <a:gd name="T32" fmla="*/ 196 w 270"/>
                <a:gd name="T33" fmla="*/ 122 h 280"/>
                <a:gd name="T34" fmla="*/ 192 w 270"/>
                <a:gd name="T35" fmla="*/ 106 h 280"/>
                <a:gd name="T36" fmla="*/ 184 w 270"/>
                <a:gd name="T37" fmla="*/ 92 h 280"/>
                <a:gd name="T38" fmla="*/ 174 w 270"/>
                <a:gd name="T39" fmla="*/ 80 h 280"/>
                <a:gd name="T40" fmla="*/ 164 w 270"/>
                <a:gd name="T41" fmla="*/ 70 h 280"/>
                <a:gd name="T42" fmla="*/ 150 w 270"/>
                <a:gd name="T43" fmla="*/ 62 h 280"/>
                <a:gd name="T44" fmla="*/ 136 w 270"/>
                <a:gd name="T45" fmla="*/ 58 h 280"/>
                <a:gd name="T46" fmla="*/ 118 w 270"/>
                <a:gd name="T47" fmla="*/ 56 h 280"/>
                <a:gd name="T48" fmla="*/ 0 w 270"/>
                <a:gd name="T49" fmla="*/ 56 h 280"/>
                <a:gd name="T50" fmla="*/ 0 w 270"/>
                <a:gd name="T51" fmla="*/ 0 h 280"/>
                <a:gd name="T52" fmla="*/ 120 w 270"/>
                <a:gd name="T53" fmla="*/ 0 h 280"/>
                <a:gd name="T54" fmla="*/ 120 w 270"/>
                <a:gd name="T55" fmla="*/ 0 h 280"/>
                <a:gd name="T56" fmla="*/ 136 w 270"/>
                <a:gd name="T57" fmla="*/ 0 h 280"/>
                <a:gd name="T58" fmla="*/ 152 w 270"/>
                <a:gd name="T59" fmla="*/ 2 h 280"/>
                <a:gd name="T60" fmla="*/ 166 w 270"/>
                <a:gd name="T61" fmla="*/ 6 h 280"/>
                <a:gd name="T62" fmla="*/ 180 w 270"/>
                <a:gd name="T63" fmla="*/ 10 h 280"/>
                <a:gd name="T64" fmla="*/ 194 w 270"/>
                <a:gd name="T65" fmla="*/ 16 h 280"/>
                <a:gd name="T66" fmla="*/ 206 w 270"/>
                <a:gd name="T67" fmla="*/ 22 h 280"/>
                <a:gd name="T68" fmla="*/ 218 w 270"/>
                <a:gd name="T69" fmla="*/ 30 h 280"/>
                <a:gd name="T70" fmla="*/ 228 w 270"/>
                <a:gd name="T71" fmla="*/ 38 h 280"/>
                <a:gd name="T72" fmla="*/ 238 w 270"/>
                <a:gd name="T73" fmla="*/ 48 h 280"/>
                <a:gd name="T74" fmla="*/ 246 w 270"/>
                <a:gd name="T75" fmla="*/ 60 h 280"/>
                <a:gd name="T76" fmla="*/ 252 w 270"/>
                <a:gd name="T77" fmla="*/ 70 h 280"/>
                <a:gd name="T78" fmla="*/ 258 w 270"/>
                <a:gd name="T79" fmla="*/ 82 h 280"/>
                <a:gd name="T80" fmla="*/ 264 w 270"/>
                <a:gd name="T81" fmla="*/ 96 h 280"/>
                <a:gd name="T82" fmla="*/ 266 w 270"/>
                <a:gd name="T83" fmla="*/ 110 h 280"/>
                <a:gd name="T84" fmla="*/ 268 w 270"/>
                <a:gd name="T85" fmla="*/ 124 h 280"/>
                <a:gd name="T86" fmla="*/ 270 w 270"/>
                <a:gd name="T87" fmla="*/ 140 h 280"/>
                <a:gd name="T88" fmla="*/ 270 w 270"/>
                <a:gd name="T89" fmla="*/ 140 h 280"/>
                <a:gd name="T90" fmla="*/ 268 w 270"/>
                <a:gd name="T91" fmla="*/ 156 h 280"/>
                <a:gd name="T92" fmla="*/ 266 w 270"/>
                <a:gd name="T93" fmla="*/ 170 h 280"/>
                <a:gd name="T94" fmla="*/ 262 w 270"/>
                <a:gd name="T95" fmla="*/ 184 h 280"/>
                <a:gd name="T96" fmla="*/ 258 w 270"/>
                <a:gd name="T97" fmla="*/ 196 h 280"/>
                <a:gd name="T98" fmla="*/ 252 w 270"/>
                <a:gd name="T99" fmla="*/ 210 h 280"/>
                <a:gd name="T100" fmla="*/ 246 w 270"/>
                <a:gd name="T101" fmla="*/ 220 h 280"/>
                <a:gd name="T102" fmla="*/ 236 w 270"/>
                <a:gd name="T103" fmla="*/ 232 h 280"/>
                <a:gd name="T104" fmla="*/ 228 w 270"/>
                <a:gd name="T105" fmla="*/ 240 h 280"/>
                <a:gd name="T106" fmla="*/ 216 w 270"/>
                <a:gd name="T107" fmla="*/ 250 h 280"/>
                <a:gd name="T108" fmla="*/ 206 w 270"/>
                <a:gd name="T109" fmla="*/ 258 h 280"/>
                <a:gd name="T110" fmla="*/ 192 w 270"/>
                <a:gd name="T111" fmla="*/ 264 h 280"/>
                <a:gd name="T112" fmla="*/ 180 w 270"/>
                <a:gd name="T113" fmla="*/ 270 h 280"/>
                <a:gd name="T114" fmla="*/ 166 w 270"/>
                <a:gd name="T115" fmla="*/ 274 h 280"/>
                <a:gd name="T116" fmla="*/ 150 w 270"/>
                <a:gd name="T117" fmla="*/ 278 h 280"/>
                <a:gd name="T118" fmla="*/ 134 w 270"/>
                <a:gd name="T119" fmla="*/ 280 h 280"/>
                <a:gd name="T120" fmla="*/ 118 w 270"/>
                <a:gd name="T121" fmla="*/ 280 h 280"/>
                <a:gd name="T122" fmla="*/ 118 w 270"/>
                <a:gd name="T123" fmla="*/ 28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0" h="280">
                  <a:moveTo>
                    <a:pt x="118" y="280"/>
                  </a:moveTo>
                  <a:lnTo>
                    <a:pt x="0" y="280"/>
                  </a:lnTo>
                  <a:lnTo>
                    <a:pt x="0" y="118"/>
                  </a:lnTo>
                  <a:lnTo>
                    <a:pt x="72" y="118"/>
                  </a:lnTo>
                  <a:lnTo>
                    <a:pt x="72" y="224"/>
                  </a:lnTo>
                  <a:lnTo>
                    <a:pt x="122" y="224"/>
                  </a:lnTo>
                  <a:lnTo>
                    <a:pt x="122" y="224"/>
                  </a:lnTo>
                  <a:lnTo>
                    <a:pt x="138" y="222"/>
                  </a:lnTo>
                  <a:lnTo>
                    <a:pt x="152" y="218"/>
                  </a:lnTo>
                  <a:lnTo>
                    <a:pt x="164" y="210"/>
                  </a:lnTo>
                  <a:lnTo>
                    <a:pt x="176" y="200"/>
                  </a:lnTo>
                  <a:lnTo>
                    <a:pt x="184" y="188"/>
                  </a:lnTo>
                  <a:lnTo>
                    <a:pt x="192" y="174"/>
                  </a:lnTo>
                  <a:lnTo>
                    <a:pt x="196" y="158"/>
                  </a:lnTo>
                  <a:lnTo>
                    <a:pt x="196" y="140"/>
                  </a:lnTo>
                  <a:lnTo>
                    <a:pt x="196" y="140"/>
                  </a:lnTo>
                  <a:lnTo>
                    <a:pt x="196" y="122"/>
                  </a:lnTo>
                  <a:lnTo>
                    <a:pt x="192" y="106"/>
                  </a:lnTo>
                  <a:lnTo>
                    <a:pt x="184" y="92"/>
                  </a:lnTo>
                  <a:lnTo>
                    <a:pt x="174" y="80"/>
                  </a:lnTo>
                  <a:lnTo>
                    <a:pt x="164" y="70"/>
                  </a:lnTo>
                  <a:lnTo>
                    <a:pt x="150" y="62"/>
                  </a:lnTo>
                  <a:lnTo>
                    <a:pt x="136" y="58"/>
                  </a:lnTo>
                  <a:lnTo>
                    <a:pt x="118" y="56"/>
                  </a:lnTo>
                  <a:lnTo>
                    <a:pt x="0" y="56"/>
                  </a:lnTo>
                  <a:lnTo>
                    <a:pt x="0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36" y="0"/>
                  </a:lnTo>
                  <a:lnTo>
                    <a:pt x="152" y="2"/>
                  </a:lnTo>
                  <a:lnTo>
                    <a:pt x="166" y="6"/>
                  </a:lnTo>
                  <a:lnTo>
                    <a:pt x="180" y="10"/>
                  </a:lnTo>
                  <a:lnTo>
                    <a:pt x="194" y="16"/>
                  </a:lnTo>
                  <a:lnTo>
                    <a:pt x="206" y="22"/>
                  </a:lnTo>
                  <a:lnTo>
                    <a:pt x="218" y="30"/>
                  </a:lnTo>
                  <a:lnTo>
                    <a:pt x="228" y="38"/>
                  </a:lnTo>
                  <a:lnTo>
                    <a:pt x="238" y="48"/>
                  </a:lnTo>
                  <a:lnTo>
                    <a:pt x="246" y="60"/>
                  </a:lnTo>
                  <a:lnTo>
                    <a:pt x="252" y="70"/>
                  </a:lnTo>
                  <a:lnTo>
                    <a:pt x="258" y="82"/>
                  </a:lnTo>
                  <a:lnTo>
                    <a:pt x="264" y="96"/>
                  </a:lnTo>
                  <a:lnTo>
                    <a:pt x="266" y="110"/>
                  </a:lnTo>
                  <a:lnTo>
                    <a:pt x="268" y="124"/>
                  </a:lnTo>
                  <a:lnTo>
                    <a:pt x="270" y="140"/>
                  </a:lnTo>
                  <a:lnTo>
                    <a:pt x="270" y="140"/>
                  </a:lnTo>
                  <a:lnTo>
                    <a:pt x="268" y="156"/>
                  </a:lnTo>
                  <a:lnTo>
                    <a:pt x="266" y="170"/>
                  </a:lnTo>
                  <a:lnTo>
                    <a:pt x="262" y="184"/>
                  </a:lnTo>
                  <a:lnTo>
                    <a:pt x="258" y="196"/>
                  </a:lnTo>
                  <a:lnTo>
                    <a:pt x="252" y="210"/>
                  </a:lnTo>
                  <a:lnTo>
                    <a:pt x="246" y="220"/>
                  </a:lnTo>
                  <a:lnTo>
                    <a:pt x="236" y="232"/>
                  </a:lnTo>
                  <a:lnTo>
                    <a:pt x="228" y="240"/>
                  </a:lnTo>
                  <a:lnTo>
                    <a:pt x="216" y="250"/>
                  </a:lnTo>
                  <a:lnTo>
                    <a:pt x="206" y="258"/>
                  </a:lnTo>
                  <a:lnTo>
                    <a:pt x="192" y="264"/>
                  </a:lnTo>
                  <a:lnTo>
                    <a:pt x="180" y="270"/>
                  </a:lnTo>
                  <a:lnTo>
                    <a:pt x="166" y="274"/>
                  </a:lnTo>
                  <a:lnTo>
                    <a:pt x="150" y="278"/>
                  </a:lnTo>
                  <a:lnTo>
                    <a:pt x="134" y="280"/>
                  </a:lnTo>
                  <a:lnTo>
                    <a:pt x="118" y="280"/>
                  </a:lnTo>
                  <a:lnTo>
                    <a:pt x="118" y="280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Line 47">
              <a:extLst>
                <a:ext uri="{FF2B5EF4-FFF2-40B4-BE49-F238E27FC236}">
                  <a16:creationId xmlns:a16="http://schemas.microsoft.com/office/drawing/2014/main" id="{49D1FA47-8CFC-4E44-A812-867BC2AD96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345125" y="4408270"/>
              <a:ext cx="0" cy="0"/>
            </a:xfrm>
            <a:prstGeom prst="lin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Freeform 54">
              <a:extLst>
                <a:ext uri="{FF2B5EF4-FFF2-40B4-BE49-F238E27FC236}">
                  <a16:creationId xmlns:a16="http://schemas.microsoft.com/office/drawing/2014/main" id="{275235CC-95FD-4C55-B81E-ED784A4F1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54454" y="4446190"/>
              <a:ext cx="46401" cy="69851"/>
            </a:xfrm>
            <a:custGeom>
              <a:avLst/>
              <a:gdLst>
                <a:gd name="T0" fmla="*/ 34 w 186"/>
                <a:gd name="T1" fmla="*/ 0 h 280"/>
                <a:gd name="T2" fmla="*/ 34 w 186"/>
                <a:gd name="T3" fmla="*/ 162 h 280"/>
                <a:gd name="T4" fmla="*/ 34 w 186"/>
                <a:gd name="T5" fmla="*/ 162 h 280"/>
                <a:gd name="T6" fmla="*/ 34 w 186"/>
                <a:gd name="T7" fmla="*/ 184 h 280"/>
                <a:gd name="T8" fmla="*/ 38 w 186"/>
                <a:gd name="T9" fmla="*/ 202 h 280"/>
                <a:gd name="T10" fmla="*/ 44 w 186"/>
                <a:gd name="T11" fmla="*/ 218 h 280"/>
                <a:gd name="T12" fmla="*/ 50 w 186"/>
                <a:gd name="T13" fmla="*/ 230 h 280"/>
                <a:gd name="T14" fmla="*/ 58 w 186"/>
                <a:gd name="T15" fmla="*/ 238 h 280"/>
                <a:gd name="T16" fmla="*/ 68 w 186"/>
                <a:gd name="T17" fmla="*/ 246 h 280"/>
                <a:gd name="T18" fmla="*/ 80 w 186"/>
                <a:gd name="T19" fmla="*/ 250 h 280"/>
                <a:gd name="T20" fmla="*/ 92 w 186"/>
                <a:gd name="T21" fmla="*/ 250 h 280"/>
                <a:gd name="T22" fmla="*/ 92 w 186"/>
                <a:gd name="T23" fmla="*/ 250 h 280"/>
                <a:gd name="T24" fmla="*/ 106 w 186"/>
                <a:gd name="T25" fmla="*/ 250 h 280"/>
                <a:gd name="T26" fmla="*/ 118 w 186"/>
                <a:gd name="T27" fmla="*/ 246 h 280"/>
                <a:gd name="T28" fmla="*/ 128 w 186"/>
                <a:gd name="T29" fmla="*/ 238 h 280"/>
                <a:gd name="T30" fmla="*/ 136 w 186"/>
                <a:gd name="T31" fmla="*/ 230 h 280"/>
                <a:gd name="T32" fmla="*/ 144 w 186"/>
                <a:gd name="T33" fmla="*/ 218 h 280"/>
                <a:gd name="T34" fmla="*/ 148 w 186"/>
                <a:gd name="T35" fmla="*/ 202 h 280"/>
                <a:gd name="T36" fmla="*/ 152 w 186"/>
                <a:gd name="T37" fmla="*/ 184 h 280"/>
                <a:gd name="T38" fmla="*/ 152 w 186"/>
                <a:gd name="T39" fmla="*/ 162 h 280"/>
                <a:gd name="T40" fmla="*/ 152 w 186"/>
                <a:gd name="T41" fmla="*/ 0 h 280"/>
                <a:gd name="T42" fmla="*/ 186 w 186"/>
                <a:gd name="T43" fmla="*/ 0 h 280"/>
                <a:gd name="T44" fmla="*/ 186 w 186"/>
                <a:gd name="T45" fmla="*/ 160 h 280"/>
                <a:gd name="T46" fmla="*/ 186 w 186"/>
                <a:gd name="T47" fmla="*/ 160 h 280"/>
                <a:gd name="T48" fmla="*/ 184 w 186"/>
                <a:gd name="T49" fmla="*/ 190 h 280"/>
                <a:gd name="T50" fmla="*/ 178 w 186"/>
                <a:gd name="T51" fmla="*/ 214 h 280"/>
                <a:gd name="T52" fmla="*/ 170 w 186"/>
                <a:gd name="T53" fmla="*/ 234 h 280"/>
                <a:gd name="T54" fmla="*/ 158 w 186"/>
                <a:gd name="T55" fmla="*/ 252 h 280"/>
                <a:gd name="T56" fmla="*/ 144 w 186"/>
                <a:gd name="T57" fmla="*/ 264 h 280"/>
                <a:gd name="T58" fmla="*/ 128 w 186"/>
                <a:gd name="T59" fmla="*/ 272 h 280"/>
                <a:gd name="T60" fmla="*/ 110 w 186"/>
                <a:gd name="T61" fmla="*/ 278 h 280"/>
                <a:gd name="T62" fmla="*/ 90 w 186"/>
                <a:gd name="T63" fmla="*/ 280 h 280"/>
                <a:gd name="T64" fmla="*/ 90 w 186"/>
                <a:gd name="T65" fmla="*/ 280 h 280"/>
                <a:gd name="T66" fmla="*/ 72 w 186"/>
                <a:gd name="T67" fmla="*/ 278 h 280"/>
                <a:gd name="T68" fmla="*/ 56 w 186"/>
                <a:gd name="T69" fmla="*/ 274 h 280"/>
                <a:gd name="T70" fmla="*/ 40 w 186"/>
                <a:gd name="T71" fmla="*/ 264 h 280"/>
                <a:gd name="T72" fmla="*/ 26 w 186"/>
                <a:gd name="T73" fmla="*/ 252 h 280"/>
                <a:gd name="T74" fmla="*/ 16 w 186"/>
                <a:gd name="T75" fmla="*/ 236 h 280"/>
                <a:gd name="T76" fmla="*/ 8 w 186"/>
                <a:gd name="T77" fmla="*/ 216 h 280"/>
                <a:gd name="T78" fmla="*/ 2 w 186"/>
                <a:gd name="T79" fmla="*/ 192 h 280"/>
                <a:gd name="T80" fmla="*/ 0 w 186"/>
                <a:gd name="T81" fmla="*/ 162 h 280"/>
                <a:gd name="T82" fmla="*/ 0 w 186"/>
                <a:gd name="T83" fmla="*/ 0 h 280"/>
                <a:gd name="T84" fmla="*/ 34 w 186"/>
                <a:gd name="T85" fmla="*/ 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6" h="280">
                  <a:moveTo>
                    <a:pt x="34" y="0"/>
                  </a:moveTo>
                  <a:lnTo>
                    <a:pt x="34" y="162"/>
                  </a:lnTo>
                  <a:lnTo>
                    <a:pt x="34" y="162"/>
                  </a:lnTo>
                  <a:lnTo>
                    <a:pt x="34" y="184"/>
                  </a:lnTo>
                  <a:lnTo>
                    <a:pt x="38" y="202"/>
                  </a:lnTo>
                  <a:lnTo>
                    <a:pt x="44" y="218"/>
                  </a:lnTo>
                  <a:lnTo>
                    <a:pt x="50" y="230"/>
                  </a:lnTo>
                  <a:lnTo>
                    <a:pt x="58" y="238"/>
                  </a:lnTo>
                  <a:lnTo>
                    <a:pt x="68" y="246"/>
                  </a:lnTo>
                  <a:lnTo>
                    <a:pt x="80" y="250"/>
                  </a:lnTo>
                  <a:lnTo>
                    <a:pt x="92" y="250"/>
                  </a:lnTo>
                  <a:lnTo>
                    <a:pt x="92" y="250"/>
                  </a:lnTo>
                  <a:lnTo>
                    <a:pt x="106" y="250"/>
                  </a:lnTo>
                  <a:lnTo>
                    <a:pt x="118" y="246"/>
                  </a:lnTo>
                  <a:lnTo>
                    <a:pt x="128" y="238"/>
                  </a:lnTo>
                  <a:lnTo>
                    <a:pt x="136" y="230"/>
                  </a:lnTo>
                  <a:lnTo>
                    <a:pt x="144" y="218"/>
                  </a:lnTo>
                  <a:lnTo>
                    <a:pt x="148" y="202"/>
                  </a:lnTo>
                  <a:lnTo>
                    <a:pt x="152" y="184"/>
                  </a:lnTo>
                  <a:lnTo>
                    <a:pt x="152" y="162"/>
                  </a:lnTo>
                  <a:lnTo>
                    <a:pt x="152" y="0"/>
                  </a:lnTo>
                  <a:lnTo>
                    <a:pt x="186" y="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4" y="190"/>
                  </a:lnTo>
                  <a:lnTo>
                    <a:pt x="178" y="214"/>
                  </a:lnTo>
                  <a:lnTo>
                    <a:pt x="170" y="234"/>
                  </a:lnTo>
                  <a:lnTo>
                    <a:pt x="158" y="252"/>
                  </a:lnTo>
                  <a:lnTo>
                    <a:pt x="144" y="264"/>
                  </a:lnTo>
                  <a:lnTo>
                    <a:pt x="128" y="272"/>
                  </a:lnTo>
                  <a:lnTo>
                    <a:pt x="110" y="278"/>
                  </a:lnTo>
                  <a:lnTo>
                    <a:pt x="90" y="280"/>
                  </a:lnTo>
                  <a:lnTo>
                    <a:pt x="90" y="280"/>
                  </a:lnTo>
                  <a:lnTo>
                    <a:pt x="72" y="278"/>
                  </a:lnTo>
                  <a:lnTo>
                    <a:pt x="56" y="274"/>
                  </a:lnTo>
                  <a:lnTo>
                    <a:pt x="40" y="264"/>
                  </a:lnTo>
                  <a:lnTo>
                    <a:pt x="26" y="252"/>
                  </a:lnTo>
                  <a:lnTo>
                    <a:pt x="16" y="236"/>
                  </a:lnTo>
                  <a:lnTo>
                    <a:pt x="8" y="216"/>
                  </a:lnTo>
                  <a:lnTo>
                    <a:pt x="2" y="192"/>
                  </a:lnTo>
                  <a:lnTo>
                    <a:pt x="0" y="162"/>
                  </a:lnTo>
                  <a:lnTo>
                    <a:pt x="0" y="0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Freeform 55">
              <a:extLst>
                <a:ext uri="{FF2B5EF4-FFF2-40B4-BE49-F238E27FC236}">
                  <a16:creationId xmlns:a16="http://schemas.microsoft.com/office/drawing/2014/main" id="{08A9F9F4-D1C1-424F-901E-B7488119D9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4826" y="4446190"/>
              <a:ext cx="34676" cy="68355"/>
            </a:xfrm>
            <a:custGeom>
              <a:avLst/>
              <a:gdLst>
                <a:gd name="T0" fmla="*/ 0 w 139"/>
                <a:gd name="T1" fmla="*/ 0 h 274"/>
                <a:gd name="T2" fmla="*/ 32 w 139"/>
                <a:gd name="T3" fmla="*/ 0 h 274"/>
                <a:gd name="T4" fmla="*/ 32 w 139"/>
                <a:gd name="T5" fmla="*/ 246 h 274"/>
                <a:gd name="T6" fmla="*/ 139 w 139"/>
                <a:gd name="T7" fmla="*/ 246 h 274"/>
                <a:gd name="T8" fmla="*/ 139 w 139"/>
                <a:gd name="T9" fmla="*/ 274 h 274"/>
                <a:gd name="T10" fmla="*/ 0 w 139"/>
                <a:gd name="T11" fmla="*/ 274 h 274"/>
                <a:gd name="T12" fmla="*/ 0 w 139"/>
                <a:gd name="T13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274">
                  <a:moveTo>
                    <a:pt x="0" y="0"/>
                  </a:moveTo>
                  <a:lnTo>
                    <a:pt x="32" y="0"/>
                  </a:lnTo>
                  <a:lnTo>
                    <a:pt x="32" y="246"/>
                  </a:lnTo>
                  <a:lnTo>
                    <a:pt x="139" y="246"/>
                  </a:lnTo>
                  <a:lnTo>
                    <a:pt x="139" y="274"/>
                  </a:lnTo>
                  <a:lnTo>
                    <a:pt x="0" y="2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Freeform 56">
              <a:extLst>
                <a:ext uri="{FF2B5EF4-FFF2-40B4-BE49-F238E27FC236}">
                  <a16:creationId xmlns:a16="http://schemas.microsoft.com/office/drawing/2014/main" id="{EBC84928-1BCB-49AC-8E4D-668BDCCD1C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3016" y="4446190"/>
              <a:ext cx="46401" cy="68355"/>
            </a:xfrm>
            <a:custGeom>
              <a:avLst/>
              <a:gdLst>
                <a:gd name="T0" fmla="*/ 76 w 186"/>
                <a:gd name="T1" fmla="*/ 30 h 274"/>
                <a:gd name="T2" fmla="*/ 0 w 186"/>
                <a:gd name="T3" fmla="*/ 30 h 274"/>
                <a:gd name="T4" fmla="*/ 0 w 186"/>
                <a:gd name="T5" fmla="*/ 0 h 274"/>
                <a:gd name="T6" fmla="*/ 186 w 186"/>
                <a:gd name="T7" fmla="*/ 0 h 274"/>
                <a:gd name="T8" fmla="*/ 186 w 186"/>
                <a:gd name="T9" fmla="*/ 30 h 274"/>
                <a:gd name="T10" fmla="*/ 108 w 186"/>
                <a:gd name="T11" fmla="*/ 30 h 274"/>
                <a:gd name="T12" fmla="*/ 108 w 186"/>
                <a:gd name="T13" fmla="*/ 274 h 274"/>
                <a:gd name="T14" fmla="*/ 76 w 186"/>
                <a:gd name="T15" fmla="*/ 274 h 274"/>
                <a:gd name="T16" fmla="*/ 76 w 186"/>
                <a:gd name="T17" fmla="*/ 3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6" h="274">
                  <a:moveTo>
                    <a:pt x="76" y="30"/>
                  </a:moveTo>
                  <a:lnTo>
                    <a:pt x="0" y="30"/>
                  </a:lnTo>
                  <a:lnTo>
                    <a:pt x="0" y="0"/>
                  </a:lnTo>
                  <a:lnTo>
                    <a:pt x="186" y="0"/>
                  </a:lnTo>
                  <a:lnTo>
                    <a:pt x="186" y="30"/>
                  </a:lnTo>
                  <a:lnTo>
                    <a:pt x="108" y="30"/>
                  </a:lnTo>
                  <a:lnTo>
                    <a:pt x="108" y="274"/>
                  </a:lnTo>
                  <a:lnTo>
                    <a:pt x="76" y="274"/>
                  </a:lnTo>
                  <a:lnTo>
                    <a:pt x="76" y="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Freeform 57">
              <a:extLst>
                <a:ext uri="{FF2B5EF4-FFF2-40B4-BE49-F238E27FC236}">
                  <a16:creationId xmlns:a16="http://schemas.microsoft.com/office/drawing/2014/main" id="{5518E959-7A04-4E13-9460-9C4EF59880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96902" y="4446190"/>
              <a:ext cx="40414" cy="68854"/>
            </a:xfrm>
            <a:custGeom>
              <a:avLst/>
              <a:gdLst>
                <a:gd name="T0" fmla="*/ 0 w 162"/>
                <a:gd name="T1" fmla="*/ 4 h 276"/>
                <a:gd name="T2" fmla="*/ 62 w 162"/>
                <a:gd name="T3" fmla="*/ 0 h 276"/>
                <a:gd name="T4" fmla="*/ 86 w 162"/>
                <a:gd name="T5" fmla="*/ 0 h 276"/>
                <a:gd name="T6" fmla="*/ 122 w 162"/>
                <a:gd name="T7" fmla="*/ 12 h 276"/>
                <a:gd name="T8" fmla="*/ 134 w 162"/>
                <a:gd name="T9" fmla="*/ 22 h 276"/>
                <a:gd name="T10" fmla="*/ 148 w 162"/>
                <a:gd name="T11" fmla="*/ 44 h 276"/>
                <a:gd name="T12" fmla="*/ 154 w 162"/>
                <a:gd name="T13" fmla="*/ 74 h 276"/>
                <a:gd name="T14" fmla="*/ 152 w 162"/>
                <a:gd name="T15" fmla="*/ 88 h 276"/>
                <a:gd name="T16" fmla="*/ 146 w 162"/>
                <a:gd name="T17" fmla="*/ 110 h 276"/>
                <a:gd name="T18" fmla="*/ 134 w 162"/>
                <a:gd name="T19" fmla="*/ 128 h 276"/>
                <a:gd name="T20" fmla="*/ 116 w 162"/>
                <a:gd name="T21" fmla="*/ 140 h 276"/>
                <a:gd name="T22" fmla="*/ 106 w 162"/>
                <a:gd name="T23" fmla="*/ 146 h 276"/>
                <a:gd name="T24" fmla="*/ 114 w 162"/>
                <a:gd name="T25" fmla="*/ 148 h 276"/>
                <a:gd name="T26" fmla="*/ 130 w 162"/>
                <a:gd name="T27" fmla="*/ 166 h 276"/>
                <a:gd name="T28" fmla="*/ 144 w 162"/>
                <a:gd name="T29" fmla="*/ 202 h 276"/>
                <a:gd name="T30" fmla="*/ 154 w 162"/>
                <a:gd name="T31" fmla="*/ 250 h 276"/>
                <a:gd name="T32" fmla="*/ 162 w 162"/>
                <a:gd name="T33" fmla="*/ 276 h 276"/>
                <a:gd name="T34" fmla="*/ 130 w 162"/>
                <a:gd name="T35" fmla="*/ 276 h 276"/>
                <a:gd name="T36" fmla="*/ 112 w 162"/>
                <a:gd name="T37" fmla="*/ 212 h 276"/>
                <a:gd name="T38" fmla="*/ 110 w 162"/>
                <a:gd name="T39" fmla="*/ 198 h 276"/>
                <a:gd name="T40" fmla="*/ 102 w 162"/>
                <a:gd name="T41" fmla="*/ 178 h 276"/>
                <a:gd name="T42" fmla="*/ 90 w 162"/>
                <a:gd name="T43" fmla="*/ 164 h 276"/>
                <a:gd name="T44" fmla="*/ 72 w 162"/>
                <a:gd name="T45" fmla="*/ 158 h 276"/>
                <a:gd name="T46" fmla="*/ 32 w 162"/>
                <a:gd name="T47" fmla="*/ 158 h 276"/>
                <a:gd name="T48" fmla="*/ 0 w 162"/>
                <a:gd name="T49" fmla="*/ 276 h 276"/>
                <a:gd name="T50" fmla="*/ 32 w 162"/>
                <a:gd name="T51" fmla="*/ 130 h 276"/>
                <a:gd name="T52" fmla="*/ 64 w 162"/>
                <a:gd name="T53" fmla="*/ 130 h 276"/>
                <a:gd name="T54" fmla="*/ 88 w 162"/>
                <a:gd name="T55" fmla="*/ 126 h 276"/>
                <a:gd name="T56" fmla="*/ 106 w 162"/>
                <a:gd name="T57" fmla="*/ 116 h 276"/>
                <a:gd name="T58" fmla="*/ 118 w 162"/>
                <a:gd name="T59" fmla="*/ 100 h 276"/>
                <a:gd name="T60" fmla="*/ 122 w 162"/>
                <a:gd name="T61" fmla="*/ 78 h 276"/>
                <a:gd name="T62" fmla="*/ 120 w 162"/>
                <a:gd name="T63" fmla="*/ 66 h 276"/>
                <a:gd name="T64" fmla="*/ 112 w 162"/>
                <a:gd name="T65" fmla="*/ 46 h 276"/>
                <a:gd name="T66" fmla="*/ 98 w 162"/>
                <a:gd name="T67" fmla="*/ 34 h 276"/>
                <a:gd name="T68" fmla="*/ 76 w 162"/>
                <a:gd name="T69" fmla="*/ 28 h 276"/>
                <a:gd name="T70" fmla="*/ 64 w 162"/>
                <a:gd name="T71" fmla="*/ 26 h 276"/>
                <a:gd name="T72" fmla="*/ 32 w 162"/>
                <a:gd name="T73" fmla="*/ 3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2" h="276">
                  <a:moveTo>
                    <a:pt x="0" y="4"/>
                  </a:moveTo>
                  <a:lnTo>
                    <a:pt x="0" y="4"/>
                  </a:lnTo>
                  <a:lnTo>
                    <a:pt x="28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86" y="0"/>
                  </a:lnTo>
                  <a:lnTo>
                    <a:pt x="104" y="4"/>
                  </a:lnTo>
                  <a:lnTo>
                    <a:pt x="122" y="12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42" y="32"/>
                  </a:lnTo>
                  <a:lnTo>
                    <a:pt x="148" y="44"/>
                  </a:lnTo>
                  <a:lnTo>
                    <a:pt x="152" y="58"/>
                  </a:lnTo>
                  <a:lnTo>
                    <a:pt x="154" y="74"/>
                  </a:lnTo>
                  <a:lnTo>
                    <a:pt x="154" y="74"/>
                  </a:lnTo>
                  <a:lnTo>
                    <a:pt x="152" y="88"/>
                  </a:lnTo>
                  <a:lnTo>
                    <a:pt x="150" y="100"/>
                  </a:lnTo>
                  <a:lnTo>
                    <a:pt x="146" y="110"/>
                  </a:lnTo>
                  <a:lnTo>
                    <a:pt x="140" y="120"/>
                  </a:lnTo>
                  <a:lnTo>
                    <a:pt x="134" y="128"/>
                  </a:lnTo>
                  <a:lnTo>
                    <a:pt x="126" y="134"/>
                  </a:lnTo>
                  <a:lnTo>
                    <a:pt x="116" y="140"/>
                  </a:lnTo>
                  <a:lnTo>
                    <a:pt x="106" y="144"/>
                  </a:lnTo>
                  <a:lnTo>
                    <a:pt x="106" y="146"/>
                  </a:lnTo>
                  <a:lnTo>
                    <a:pt x="106" y="146"/>
                  </a:lnTo>
                  <a:lnTo>
                    <a:pt x="114" y="148"/>
                  </a:lnTo>
                  <a:lnTo>
                    <a:pt x="120" y="154"/>
                  </a:lnTo>
                  <a:lnTo>
                    <a:pt x="130" y="166"/>
                  </a:lnTo>
                  <a:lnTo>
                    <a:pt x="138" y="182"/>
                  </a:lnTo>
                  <a:lnTo>
                    <a:pt x="144" y="202"/>
                  </a:lnTo>
                  <a:lnTo>
                    <a:pt x="144" y="202"/>
                  </a:lnTo>
                  <a:lnTo>
                    <a:pt x="154" y="250"/>
                  </a:lnTo>
                  <a:lnTo>
                    <a:pt x="158" y="266"/>
                  </a:lnTo>
                  <a:lnTo>
                    <a:pt x="162" y="276"/>
                  </a:lnTo>
                  <a:lnTo>
                    <a:pt x="130" y="276"/>
                  </a:lnTo>
                  <a:lnTo>
                    <a:pt x="130" y="276"/>
                  </a:lnTo>
                  <a:lnTo>
                    <a:pt x="122" y="254"/>
                  </a:lnTo>
                  <a:lnTo>
                    <a:pt x="112" y="212"/>
                  </a:lnTo>
                  <a:lnTo>
                    <a:pt x="112" y="212"/>
                  </a:lnTo>
                  <a:lnTo>
                    <a:pt x="110" y="198"/>
                  </a:lnTo>
                  <a:lnTo>
                    <a:pt x="106" y="186"/>
                  </a:lnTo>
                  <a:lnTo>
                    <a:pt x="102" y="178"/>
                  </a:lnTo>
                  <a:lnTo>
                    <a:pt x="96" y="170"/>
                  </a:lnTo>
                  <a:lnTo>
                    <a:pt x="90" y="164"/>
                  </a:lnTo>
                  <a:lnTo>
                    <a:pt x="82" y="162"/>
                  </a:lnTo>
                  <a:lnTo>
                    <a:pt x="72" y="158"/>
                  </a:lnTo>
                  <a:lnTo>
                    <a:pt x="62" y="158"/>
                  </a:lnTo>
                  <a:lnTo>
                    <a:pt x="32" y="158"/>
                  </a:lnTo>
                  <a:lnTo>
                    <a:pt x="32" y="276"/>
                  </a:lnTo>
                  <a:lnTo>
                    <a:pt x="0" y="276"/>
                  </a:lnTo>
                  <a:lnTo>
                    <a:pt x="0" y="4"/>
                  </a:lnTo>
                  <a:close/>
                  <a:moveTo>
                    <a:pt x="32" y="130"/>
                  </a:moveTo>
                  <a:lnTo>
                    <a:pt x="64" y="130"/>
                  </a:lnTo>
                  <a:lnTo>
                    <a:pt x="64" y="130"/>
                  </a:lnTo>
                  <a:lnTo>
                    <a:pt x="78" y="130"/>
                  </a:lnTo>
                  <a:lnTo>
                    <a:pt x="88" y="126"/>
                  </a:lnTo>
                  <a:lnTo>
                    <a:pt x="98" y="122"/>
                  </a:lnTo>
                  <a:lnTo>
                    <a:pt x="106" y="116"/>
                  </a:lnTo>
                  <a:lnTo>
                    <a:pt x="112" y="108"/>
                  </a:lnTo>
                  <a:lnTo>
                    <a:pt x="118" y="100"/>
                  </a:lnTo>
                  <a:lnTo>
                    <a:pt x="120" y="90"/>
                  </a:lnTo>
                  <a:lnTo>
                    <a:pt x="122" y="78"/>
                  </a:lnTo>
                  <a:lnTo>
                    <a:pt x="122" y="78"/>
                  </a:lnTo>
                  <a:lnTo>
                    <a:pt x="120" y="66"/>
                  </a:lnTo>
                  <a:lnTo>
                    <a:pt x="118" y="56"/>
                  </a:lnTo>
                  <a:lnTo>
                    <a:pt x="112" y="46"/>
                  </a:lnTo>
                  <a:lnTo>
                    <a:pt x="106" y="40"/>
                  </a:lnTo>
                  <a:lnTo>
                    <a:pt x="98" y="34"/>
                  </a:lnTo>
                  <a:lnTo>
                    <a:pt x="88" y="30"/>
                  </a:lnTo>
                  <a:lnTo>
                    <a:pt x="76" y="28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44" y="28"/>
                  </a:lnTo>
                  <a:lnTo>
                    <a:pt x="32" y="30"/>
                  </a:lnTo>
                  <a:lnTo>
                    <a:pt x="32" y="13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Freeform 58">
              <a:extLst>
                <a:ext uri="{FF2B5EF4-FFF2-40B4-BE49-F238E27FC236}">
                  <a16:creationId xmlns:a16="http://schemas.microsoft.com/office/drawing/2014/main" id="{4DBECD11-B4AA-44E5-BF10-5258925421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41806" y="4446190"/>
              <a:ext cx="52389" cy="68355"/>
            </a:xfrm>
            <a:custGeom>
              <a:avLst/>
              <a:gdLst>
                <a:gd name="T0" fmla="*/ 60 w 210"/>
                <a:gd name="T1" fmla="*/ 188 h 274"/>
                <a:gd name="T2" fmla="*/ 34 w 210"/>
                <a:gd name="T3" fmla="*/ 274 h 274"/>
                <a:gd name="T4" fmla="*/ 0 w 210"/>
                <a:gd name="T5" fmla="*/ 274 h 274"/>
                <a:gd name="T6" fmla="*/ 86 w 210"/>
                <a:gd name="T7" fmla="*/ 0 h 274"/>
                <a:gd name="T8" fmla="*/ 124 w 210"/>
                <a:gd name="T9" fmla="*/ 0 h 274"/>
                <a:gd name="T10" fmla="*/ 210 w 210"/>
                <a:gd name="T11" fmla="*/ 274 h 274"/>
                <a:gd name="T12" fmla="*/ 176 w 210"/>
                <a:gd name="T13" fmla="*/ 274 h 274"/>
                <a:gd name="T14" fmla="*/ 148 w 210"/>
                <a:gd name="T15" fmla="*/ 188 h 274"/>
                <a:gd name="T16" fmla="*/ 60 w 210"/>
                <a:gd name="T17" fmla="*/ 188 h 274"/>
                <a:gd name="T18" fmla="*/ 142 w 210"/>
                <a:gd name="T19" fmla="*/ 160 h 274"/>
                <a:gd name="T20" fmla="*/ 118 w 210"/>
                <a:gd name="T21" fmla="*/ 82 h 274"/>
                <a:gd name="T22" fmla="*/ 118 w 210"/>
                <a:gd name="T23" fmla="*/ 82 h 274"/>
                <a:gd name="T24" fmla="*/ 110 w 210"/>
                <a:gd name="T25" fmla="*/ 56 h 274"/>
                <a:gd name="T26" fmla="*/ 104 w 210"/>
                <a:gd name="T27" fmla="*/ 30 h 274"/>
                <a:gd name="T28" fmla="*/ 104 w 210"/>
                <a:gd name="T29" fmla="*/ 30 h 274"/>
                <a:gd name="T30" fmla="*/ 104 w 210"/>
                <a:gd name="T31" fmla="*/ 30 h 274"/>
                <a:gd name="T32" fmla="*/ 92 w 210"/>
                <a:gd name="T33" fmla="*/ 80 h 274"/>
                <a:gd name="T34" fmla="*/ 66 w 210"/>
                <a:gd name="T35" fmla="*/ 160 h 274"/>
                <a:gd name="T36" fmla="*/ 142 w 210"/>
                <a:gd name="T37" fmla="*/ 16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0" h="274">
                  <a:moveTo>
                    <a:pt x="60" y="188"/>
                  </a:moveTo>
                  <a:lnTo>
                    <a:pt x="34" y="274"/>
                  </a:lnTo>
                  <a:lnTo>
                    <a:pt x="0" y="274"/>
                  </a:lnTo>
                  <a:lnTo>
                    <a:pt x="86" y="0"/>
                  </a:lnTo>
                  <a:lnTo>
                    <a:pt x="124" y="0"/>
                  </a:lnTo>
                  <a:lnTo>
                    <a:pt x="210" y="274"/>
                  </a:lnTo>
                  <a:lnTo>
                    <a:pt x="176" y="274"/>
                  </a:lnTo>
                  <a:lnTo>
                    <a:pt x="148" y="188"/>
                  </a:lnTo>
                  <a:lnTo>
                    <a:pt x="60" y="188"/>
                  </a:lnTo>
                  <a:close/>
                  <a:moveTo>
                    <a:pt x="142" y="160"/>
                  </a:moveTo>
                  <a:lnTo>
                    <a:pt x="118" y="82"/>
                  </a:lnTo>
                  <a:lnTo>
                    <a:pt x="118" y="82"/>
                  </a:lnTo>
                  <a:lnTo>
                    <a:pt x="110" y="56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92" y="80"/>
                  </a:lnTo>
                  <a:lnTo>
                    <a:pt x="66" y="160"/>
                  </a:lnTo>
                  <a:lnTo>
                    <a:pt x="142" y="1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17" name="Rectangle 116">
            <a:extLst>
              <a:ext uri="{FF2B5EF4-FFF2-40B4-BE49-F238E27FC236}">
                <a16:creationId xmlns:a16="http://schemas.microsoft.com/office/drawing/2014/main" id="{A4C0FEB9-4C5A-4033-83ED-CA82609020F0}"/>
              </a:ext>
            </a:extLst>
          </p:cNvPr>
          <p:cNvSpPr/>
          <p:nvPr/>
        </p:nvSpPr>
        <p:spPr>
          <a:xfrm>
            <a:off x="10838056" y="3547540"/>
            <a:ext cx="1016542" cy="5924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>
                <a:solidFill>
                  <a:schemeClr val="tx2"/>
                </a:solidFill>
              </a:rPr>
              <a:t>20</a:t>
            </a:r>
            <a:r>
              <a:rPr kumimoji="0" lang="ru-RU" sz="1200" b="1" i="0" u="none" strike="noStrike" cap="none" normalizeH="0" baseline="0" noProof="0">
                <a:ln>
                  <a:noFill/>
                </a:ln>
                <a:solidFill>
                  <a:schemeClr val="tx2"/>
                </a:solidFill>
                <a:uLnTx/>
                <a:uFillTx/>
              </a:rPr>
              <a:t>%</a:t>
            </a:r>
            <a:br>
              <a:rPr lang="ru-RU" sz="1200">
                <a:solidFill>
                  <a:schemeClr val="tx2"/>
                </a:solidFill>
              </a:rPr>
            </a:br>
            <a:r>
              <a:rPr kumimoji="0" lang="ru-RU" sz="1200" b="0" i="0" u="none" strike="noStrike" cap="none" normalizeH="0" baseline="0" noProof="0">
                <a:ln>
                  <a:noFill/>
                </a:ln>
                <a:solidFill>
                  <a:schemeClr val="tx2"/>
                </a:solidFill>
                <a:uLnTx/>
                <a:uFillTx/>
              </a:rPr>
              <a:t>КАНАЛОВ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BA35F47-3863-42E6-931F-37BD36AAA4C6}"/>
              </a:ext>
            </a:extLst>
          </p:cNvPr>
          <p:cNvGrpSpPr/>
          <p:nvPr/>
        </p:nvGrpSpPr>
        <p:grpSpPr>
          <a:xfrm>
            <a:off x="6193484" y="2892506"/>
            <a:ext cx="5574141" cy="1939018"/>
            <a:chOff x="4759308" y="2892506"/>
            <a:chExt cx="7008317" cy="1939018"/>
          </a:xfrm>
        </p:grpSpPr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1F02B798-71A9-40B3-81DB-91C7125C6595}"/>
                </a:ext>
              </a:extLst>
            </p:cNvPr>
            <p:cNvCxnSpPr/>
            <p:nvPr/>
          </p:nvCxnSpPr>
          <p:spPr>
            <a:xfrm>
              <a:off x="4759308" y="2892506"/>
              <a:ext cx="7008317" cy="0"/>
            </a:xfrm>
            <a:prstGeom prst="line">
              <a:avLst/>
            </a:prstGeom>
            <a:ln w="3175">
              <a:solidFill>
                <a:schemeClr val="bg2"/>
              </a:solidFill>
              <a:prstDash val="soli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B2ED4E3-1786-4046-B008-78FDDC37CC75}"/>
                </a:ext>
              </a:extLst>
            </p:cNvPr>
            <p:cNvCxnSpPr/>
            <p:nvPr/>
          </p:nvCxnSpPr>
          <p:spPr>
            <a:xfrm>
              <a:off x="4759308" y="4831524"/>
              <a:ext cx="7008317" cy="0"/>
            </a:xfrm>
            <a:prstGeom prst="line">
              <a:avLst/>
            </a:prstGeom>
            <a:ln w="3175">
              <a:solidFill>
                <a:schemeClr val="bg2"/>
              </a:solidFill>
              <a:prstDash val="soli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76657193-F5F7-4A0D-B361-3F9B46A9FE77}"/>
              </a:ext>
            </a:extLst>
          </p:cNvPr>
          <p:cNvSpPr/>
          <p:nvPr/>
        </p:nvSpPr>
        <p:spPr>
          <a:xfrm>
            <a:off x="6096000" y="3232797"/>
            <a:ext cx="1579205" cy="1101273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 w="57150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prstClr val="black">
                <a:alpha val="2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00"/>
              </a:lnSpc>
            </a:pPr>
            <a:endParaRPr lang="en-US" sz="1050"/>
          </a:p>
        </p:txBody>
      </p:sp>
      <p:sp>
        <p:nvSpPr>
          <p:cNvPr id="91" name="Content Placeholder 5">
            <a:extLst>
              <a:ext uri="{FF2B5EF4-FFF2-40B4-BE49-F238E27FC236}">
                <a16:creationId xmlns:a16="http://schemas.microsoft.com/office/drawing/2014/main" id="{A89FC7F1-59CA-4E16-A451-72903693D1EA}"/>
              </a:ext>
            </a:extLst>
          </p:cNvPr>
          <p:cNvSpPr txBox="1">
            <a:spLocks/>
          </p:cNvSpPr>
          <p:nvPr/>
        </p:nvSpPr>
        <p:spPr>
          <a:xfrm>
            <a:off x="6227191" y="3331625"/>
            <a:ext cx="1367514" cy="739093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SzPct val="140000"/>
              <a:buFontTx/>
              <a:buBlip>
                <a:blip r:embed="rId4"/>
              </a:buBlip>
              <a:defRPr sz="2000" b="1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627063" indent="-285750" algn="l" defTabSz="457200" rtl="0" eaLnBrk="1" latinLnBrk="0" hangingPunct="1">
              <a:spcBef>
                <a:spcPct val="20000"/>
              </a:spcBef>
              <a:buClr>
                <a:srgbClr val="003C78"/>
              </a:buClr>
              <a:buSzPct val="80000"/>
              <a:buFont typeface="Wingdings" panose="05000000000000000000" pitchFamily="2" charset="2"/>
              <a:buChar char="è"/>
              <a:defRPr sz="1800" b="1" kern="1200">
                <a:solidFill>
                  <a:srgbClr val="7F7F7F"/>
                </a:solidFill>
                <a:latin typeface="Verdana"/>
                <a:ea typeface="+mn-ea"/>
                <a:cs typeface="Verdana"/>
              </a:defRPr>
            </a:lvl2pPr>
            <a:lvl3pPr marL="855663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à"/>
              <a:tabLst/>
              <a:defRPr sz="1600" b="1" kern="1200">
                <a:solidFill>
                  <a:schemeClr val="accent2"/>
                </a:solidFill>
                <a:latin typeface="Verdana"/>
                <a:ea typeface="+mn-ea"/>
                <a:cs typeface="Verdana"/>
              </a:defRPr>
            </a:lvl3pPr>
            <a:lvl4pPr marL="1485900" indent="-114300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4pPr>
            <a:lvl5pPr marL="1943100" indent="-114300" algn="l" defTabSz="4572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457200" rtl="0" eaLnBrk="1" fontAlgn="auto" latinLnBrk="0" hangingPunct="1">
              <a:lnSpc>
                <a:spcPts val="1400"/>
              </a:lnSpc>
              <a:spcBef>
                <a:spcPts val="2400"/>
              </a:spcBef>
              <a:spcAft>
                <a:spcPts val="1800"/>
              </a:spcAft>
              <a:buClrTx/>
              <a:buSzPct val="140000"/>
              <a:buFontTx/>
              <a:buNone/>
              <a:tabLst/>
              <a:defRPr/>
            </a:pPr>
            <a:r>
              <a:rPr kumimoji="0" lang="ru-RU" sz="1200" b="1" i="0" u="none" strike="noStrike" cap="none" normalizeH="0" baseline="0" noProof="0" dirty="0">
                <a:ln>
                  <a:noFill/>
                </a:ln>
                <a:solidFill>
                  <a:schemeClr val="bg2"/>
                </a:solidFill>
                <a:uLnTx/>
                <a:uFillTx/>
                <a:latin typeface="Verdana"/>
                <a:ea typeface="+mn-ea"/>
                <a:cs typeface="Verdana"/>
              </a:rPr>
              <a:t>ПОЛОСА ПРОПУСКАНИЯ ДЛЯ НОВЫХ ФОРМАТОВ ИЗОБРАЖЕНИЯ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F0F0237-C212-4940-BF36-6C5556F15EEF}"/>
              </a:ext>
            </a:extLst>
          </p:cNvPr>
          <p:cNvSpPr/>
          <p:nvPr/>
        </p:nvSpPr>
        <p:spPr>
          <a:xfrm>
            <a:off x="6307691" y="5050330"/>
            <a:ext cx="1367514" cy="100656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10800000" scaled="1"/>
            <a:tileRect/>
          </a:gradFill>
          <a:ln w="57150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</a:ln>
          <a:effectLst>
            <a:outerShdw blurRad="63500" sx="102000" sy="102000" algn="ctr" rotWithShape="0">
              <a:prstClr val="black">
                <a:alpha val="2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00"/>
              </a:lnSpc>
            </a:pPr>
            <a:endParaRPr lang="en-US" sz="1050"/>
          </a:p>
        </p:txBody>
      </p:sp>
      <p:grpSp>
        <p:nvGrpSpPr>
          <p:cNvPr id="39" name="Graphic 37">
            <a:extLst>
              <a:ext uri="{FF2B5EF4-FFF2-40B4-BE49-F238E27FC236}">
                <a16:creationId xmlns:a16="http://schemas.microsoft.com/office/drawing/2014/main" id="{9CD3A158-82EC-4CCD-87FC-41633343F89D}"/>
              </a:ext>
            </a:extLst>
          </p:cNvPr>
          <p:cNvGrpSpPr/>
          <p:nvPr/>
        </p:nvGrpSpPr>
        <p:grpSpPr>
          <a:xfrm>
            <a:off x="6393758" y="5253167"/>
            <a:ext cx="619324" cy="704654"/>
            <a:chOff x="-4358163" y="1269638"/>
            <a:chExt cx="4286250" cy="4876799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45A64BDB-801F-40C2-A7B5-F6251EAEE085}"/>
                </a:ext>
              </a:extLst>
            </p:cNvPr>
            <p:cNvSpPr/>
            <p:nvPr/>
          </p:nvSpPr>
          <p:spPr>
            <a:xfrm>
              <a:off x="-3214744" y="1269638"/>
              <a:ext cx="1999412" cy="1295400"/>
            </a:xfrm>
            <a:custGeom>
              <a:avLst/>
              <a:gdLst>
                <a:gd name="connsiteX0" fmla="*/ 1601343 w 1999412"/>
                <a:gd name="connsiteY0" fmla="*/ 51064 h 1295400"/>
                <a:gd name="connsiteX1" fmla="*/ 1501721 w 1999412"/>
                <a:gd name="connsiteY1" fmla="*/ 4181 h 1295400"/>
                <a:gd name="connsiteX2" fmla="*/ 1398337 w 1999412"/>
                <a:gd name="connsiteY2" fmla="*/ 42129 h 1295400"/>
                <a:gd name="connsiteX3" fmla="*/ 1249738 w 1999412"/>
                <a:gd name="connsiteY3" fmla="*/ 179708 h 1295400"/>
                <a:gd name="connsiteX4" fmla="*/ 1096814 w 1999412"/>
                <a:gd name="connsiteY4" fmla="*/ 38090 h 1295400"/>
                <a:gd name="connsiteX5" fmla="*/ 999706 w 1999412"/>
                <a:gd name="connsiteY5" fmla="*/ 0 h 1295400"/>
                <a:gd name="connsiteX6" fmla="*/ 902599 w 1999412"/>
                <a:gd name="connsiteY6" fmla="*/ 38090 h 1295400"/>
                <a:gd name="connsiteX7" fmla="*/ 749675 w 1999412"/>
                <a:gd name="connsiteY7" fmla="*/ 179708 h 1295400"/>
                <a:gd name="connsiteX8" fmla="*/ 599828 w 1999412"/>
                <a:gd name="connsiteY8" fmla="*/ 41024 h 1295400"/>
                <a:gd name="connsiteX9" fmla="*/ 497139 w 1999412"/>
                <a:gd name="connsiteY9" fmla="*/ 3210 h 1295400"/>
                <a:gd name="connsiteX10" fmla="*/ 397793 w 1999412"/>
                <a:gd name="connsiteY10" fmla="*/ 49111 h 1295400"/>
                <a:gd name="connsiteX11" fmla="*/ 0 w 1999412"/>
                <a:gd name="connsiteY11" fmla="*/ 1009650 h 1295400"/>
                <a:gd name="connsiteX12" fmla="*/ 428206 w 1999412"/>
                <a:gd name="connsiteY12" fmla="*/ 1295400 h 1295400"/>
                <a:gd name="connsiteX13" fmla="*/ 999706 w 1999412"/>
                <a:gd name="connsiteY13" fmla="*/ 1295400 h 1295400"/>
                <a:gd name="connsiteX14" fmla="*/ 1573302 w 1999412"/>
                <a:gd name="connsiteY14" fmla="*/ 1295400 h 1295400"/>
                <a:gd name="connsiteX15" fmla="*/ 1999412 w 1999412"/>
                <a:gd name="connsiteY15" fmla="*/ 1009650 h 1295400"/>
                <a:gd name="connsiteX16" fmla="*/ 1601343 w 1999412"/>
                <a:gd name="connsiteY16" fmla="*/ 51064 h 129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999412" h="1295400">
                  <a:moveTo>
                    <a:pt x="1601343" y="51064"/>
                  </a:moveTo>
                  <a:cubicBezTo>
                    <a:pt x="1575673" y="22736"/>
                    <a:pt x="1539812" y="5858"/>
                    <a:pt x="1501721" y="4181"/>
                  </a:cubicBezTo>
                  <a:cubicBezTo>
                    <a:pt x="1463212" y="1248"/>
                    <a:pt x="1426512" y="16183"/>
                    <a:pt x="1398337" y="42129"/>
                  </a:cubicBezTo>
                  <a:lnTo>
                    <a:pt x="1249738" y="179708"/>
                  </a:lnTo>
                  <a:lnTo>
                    <a:pt x="1096814" y="38090"/>
                  </a:lnTo>
                  <a:cubicBezTo>
                    <a:pt x="1069334" y="12697"/>
                    <a:pt x="1034520" y="0"/>
                    <a:pt x="999706" y="0"/>
                  </a:cubicBezTo>
                  <a:cubicBezTo>
                    <a:pt x="964892" y="0"/>
                    <a:pt x="930079" y="12697"/>
                    <a:pt x="902599" y="38090"/>
                  </a:cubicBezTo>
                  <a:lnTo>
                    <a:pt x="749675" y="179708"/>
                  </a:lnTo>
                  <a:lnTo>
                    <a:pt x="599828" y="41024"/>
                  </a:lnTo>
                  <a:cubicBezTo>
                    <a:pt x="572062" y="15354"/>
                    <a:pt x="536201" y="1124"/>
                    <a:pt x="497139" y="3210"/>
                  </a:cubicBezTo>
                  <a:cubicBezTo>
                    <a:pt x="459191" y="4743"/>
                    <a:pt x="423472" y="21212"/>
                    <a:pt x="397793" y="49111"/>
                  </a:cubicBezTo>
                  <a:cubicBezTo>
                    <a:pt x="140923" y="327889"/>
                    <a:pt x="-276" y="631955"/>
                    <a:pt x="0" y="1009650"/>
                  </a:cubicBezTo>
                  <a:lnTo>
                    <a:pt x="428206" y="1295400"/>
                  </a:lnTo>
                  <a:lnTo>
                    <a:pt x="999706" y="1295400"/>
                  </a:lnTo>
                  <a:lnTo>
                    <a:pt x="1573302" y="1295400"/>
                  </a:lnTo>
                  <a:lnTo>
                    <a:pt x="1999412" y="1009650"/>
                  </a:lnTo>
                  <a:cubicBezTo>
                    <a:pt x="1999688" y="638375"/>
                    <a:pt x="1858347" y="334728"/>
                    <a:pt x="1601343" y="51064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DACF8037-C8C9-4958-B328-E606EAB0E6ED}"/>
                </a:ext>
              </a:extLst>
            </p:cNvPr>
            <p:cNvSpPr/>
            <p:nvPr/>
          </p:nvSpPr>
          <p:spPr>
            <a:xfrm>
              <a:off x="-3215163" y="2279288"/>
              <a:ext cx="2000250" cy="1571272"/>
            </a:xfrm>
            <a:custGeom>
              <a:avLst/>
              <a:gdLst>
                <a:gd name="connsiteX0" fmla="*/ 1999831 w 2000250"/>
                <a:gd name="connsiteY0" fmla="*/ 0 h 1571272"/>
                <a:gd name="connsiteX1" fmla="*/ 1287971 w 2000250"/>
                <a:gd name="connsiteY1" fmla="*/ 0 h 1571272"/>
                <a:gd name="connsiteX2" fmla="*/ 1001173 w 2000250"/>
                <a:gd name="connsiteY2" fmla="*/ 112357 h 1571272"/>
                <a:gd name="connsiteX3" fmla="*/ 1000125 w 2000250"/>
                <a:gd name="connsiteY3" fmla="*/ 111557 h 1571272"/>
                <a:gd name="connsiteX4" fmla="*/ 714375 w 2000250"/>
                <a:gd name="connsiteY4" fmla="*/ 10 h 1571272"/>
                <a:gd name="connsiteX5" fmla="*/ 419 w 2000250"/>
                <a:gd name="connsiteY5" fmla="*/ 10 h 1571272"/>
                <a:gd name="connsiteX6" fmla="*/ 0 w 2000250"/>
                <a:gd name="connsiteY6" fmla="*/ 1143000 h 1571272"/>
                <a:gd name="connsiteX7" fmla="*/ 100127 w 2000250"/>
                <a:gd name="connsiteY7" fmla="*/ 1571273 h 1571272"/>
                <a:gd name="connsiteX8" fmla="*/ 1000125 w 2000250"/>
                <a:gd name="connsiteY8" fmla="*/ 1571273 h 1571272"/>
                <a:gd name="connsiteX9" fmla="*/ 1900123 w 2000250"/>
                <a:gd name="connsiteY9" fmla="*/ 1571273 h 1571272"/>
                <a:gd name="connsiteX10" fmla="*/ 2000250 w 2000250"/>
                <a:gd name="connsiteY10" fmla="*/ 1143000 h 1571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00250" h="1571272">
                  <a:moveTo>
                    <a:pt x="1999831" y="0"/>
                  </a:moveTo>
                  <a:lnTo>
                    <a:pt x="1287971" y="0"/>
                  </a:lnTo>
                  <a:cubicBezTo>
                    <a:pt x="1177309" y="0"/>
                    <a:pt x="1077287" y="43272"/>
                    <a:pt x="1001173" y="112357"/>
                  </a:cubicBezTo>
                  <a:cubicBezTo>
                    <a:pt x="1000840" y="112062"/>
                    <a:pt x="1000458" y="111852"/>
                    <a:pt x="1000125" y="111557"/>
                  </a:cubicBezTo>
                  <a:cubicBezTo>
                    <a:pt x="924173" y="42977"/>
                    <a:pt x="824570" y="10"/>
                    <a:pt x="714375" y="10"/>
                  </a:cubicBezTo>
                  <a:lnTo>
                    <a:pt x="419" y="10"/>
                  </a:lnTo>
                  <a:lnTo>
                    <a:pt x="0" y="1143000"/>
                  </a:lnTo>
                  <a:cubicBezTo>
                    <a:pt x="0" y="1296829"/>
                    <a:pt x="37795" y="1440942"/>
                    <a:pt x="100127" y="1571273"/>
                  </a:cubicBezTo>
                  <a:lnTo>
                    <a:pt x="1000125" y="1571273"/>
                  </a:lnTo>
                  <a:lnTo>
                    <a:pt x="1900123" y="1571273"/>
                  </a:lnTo>
                  <a:cubicBezTo>
                    <a:pt x="1962455" y="1440942"/>
                    <a:pt x="2000250" y="1296829"/>
                    <a:pt x="2000250" y="1143000"/>
                  </a:cubicBezTo>
                  <a:close/>
                </a:path>
              </a:pathLst>
            </a:custGeom>
            <a:solidFill>
              <a:srgbClr val="FFDD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AE11F21-2086-4496-BF92-53CB1155429D}"/>
                </a:ext>
              </a:extLst>
            </p:cNvPr>
            <p:cNvSpPr/>
            <p:nvPr/>
          </p:nvSpPr>
          <p:spPr>
            <a:xfrm>
              <a:off x="-2215038" y="2279288"/>
              <a:ext cx="1000125" cy="1571281"/>
            </a:xfrm>
            <a:custGeom>
              <a:avLst/>
              <a:gdLst>
                <a:gd name="connsiteX0" fmla="*/ 1000125 w 1000125"/>
                <a:gd name="connsiteY0" fmla="*/ 1143000 h 1571281"/>
                <a:gd name="connsiteX1" fmla="*/ 999706 w 1000125"/>
                <a:gd name="connsiteY1" fmla="*/ 0 h 1571281"/>
                <a:gd name="connsiteX2" fmla="*/ 287846 w 1000125"/>
                <a:gd name="connsiteY2" fmla="*/ 0 h 1571281"/>
                <a:gd name="connsiteX3" fmla="*/ 1048 w 1000125"/>
                <a:gd name="connsiteY3" fmla="*/ 112357 h 1571281"/>
                <a:gd name="connsiteX4" fmla="*/ 0 w 1000125"/>
                <a:gd name="connsiteY4" fmla="*/ 111557 h 1571281"/>
                <a:gd name="connsiteX5" fmla="*/ 0 w 1000125"/>
                <a:gd name="connsiteY5" fmla="*/ 1571282 h 1571281"/>
                <a:gd name="connsiteX6" fmla="*/ 899998 w 1000125"/>
                <a:gd name="connsiteY6" fmla="*/ 1571282 h 1571281"/>
                <a:gd name="connsiteX7" fmla="*/ 1000125 w 1000125"/>
                <a:gd name="connsiteY7" fmla="*/ 1143000 h 1571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125" h="1571281">
                  <a:moveTo>
                    <a:pt x="1000125" y="1143000"/>
                  </a:moveTo>
                  <a:lnTo>
                    <a:pt x="999706" y="0"/>
                  </a:lnTo>
                  <a:lnTo>
                    <a:pt x="287846" y="0"/>
                  </a:lnTo>
                  <a:cubicBezTo>
                    <a:pt x="177184" y="0"/>
                    <a:pt x="77162" y="43272"/>
                    <a:pt x="1048" y="112357"/>
                  </a:cubicBezTo>
                  <a:cubicBezTo>
                    <a:pt x="714" y="112062"/>
                    <a:pt x="333" y="111852"/>
                    <a:pt x="0" y="111557"/>
                  </a:cubicBezTo>
                  <a:lnTo>
                    <a:pt x="0" y="1571282"/>
                  </a:lnTo>
                  <a:lnTo>
                    <a:pt x="899998" y="1571282"/>
                  </a:lnTo>
                  <a:cubicBezTo>
                    <a:pt x="962330" y="1440942"/>
                    <a:pt x="1000125" y="1296829"/>
                    <a:pt x="1000125" y="1143000"/>
                  </a:cubicBezTo>
                  <a:close/>
                </a:path>
              </a:pathLst>
            </a:custGeom>
            <a:solidFill>
              <a:srgbClr val="FFDD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650FD9F-09BC-468B-A5B4-95339518F59C}"/>
                </a:ext>
              </a:extLst>
            </p:cNvPr>
            <p:cNvSpPr/>
            <p:nvPr/>
          </p:nvSpPr>
          <p:spPr>
            <a:xfrm>
              <a:off x="-3018433" y="4545685"/>
              <a:ext cx="1606829" cy="1600752"/>
            </a:xfrm>
            <a:custGeom>
              <a:avLst/>
              <a:gdLst>
                <a:gd name="connsiteX0" fmla="*/ 1426454 w 1606829"/>
                <a:gd name="connsiteY0" fmla="*/ 0 h 1600752"/>
                <a:gd name="connsiteX1" fmla="*/ 803396 w 1606829"/>
                <a:gd name="connsiteY1" fmla="*/ 0 h 1600752"/>
                <a:gd name="connsiteX2" fmla="*/ 180337 w 1606829"/>
                <a:gd name="connsiteY2" fmla="*/ 0 h 1600752"/>
                <a:gd name="connsiteX3" fmla="*/ 0 w 1606829"/>
                <a:gd name="connsiteY3" fmla="*/ 93583 h 1600752"/>
                <a:gd name="connsiteX4" fmla="*/ 217989 w 1606829"/>
                <a:gd name="connsiteY4" fmla="*/ 1110625 h 1600752"/>
                <a:gd name="connsiteX5" fmla="*/ 748789 w 1606829"/>
                <a:gd name="connsiteY5" fmla="*/ 1600753 h 1600752"/>
                <a:gd name="connsiteX6" fmla="*/ 803396 w 1606829"/>
                <a:gd name="connsiteY6" fmla="*/ 1600753 h 1600752"/>
                <a:gd name="connsiteX7" fmla="*/ 857898 w 1606829"/>
                <a:gd name="connsiteY7" fmla="*/ 1600753 h 1600752"/>
                <a:gd name="connsiteX8" fmla="*/ 1426854 w 1606829"/>
                <a:gd name="connsiteY8" fmla="*/ 1034396 h 1600752"/>
                <a:gd name="connsiteX9" fmla="*/ 1606829 w 1606829"/>
                <a:gd name="connsiteY9" fmla="*/ 93459 h 1600752"/>
                <a:gd name="connsiteX10" fmla="*/ 1426454 w 1606829"/>
                <a:gd name="connsiteY10" fmla="*/ 0 h 1600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06829" h="1600752">
                  <a:moveTo>
                    <a:pt x="1426454" y="0"/>
                  </a:moveTo>
                  <a:lnTo>
                    <a:pt x="803396" y="0"/>
                  </a:lnTo>
                  <a:lnTo>
                    <a:pt x="180337" y="0"/>
                  </a:lnTo>
                  <a:cubicBezTo>
                    <a:pt x="129273" y="38386"/>
                    <a:pt x="66218" y="67742"/>
                    <a:pt x="0" y="93583"/>
                  </a:cubicBezTo>
                  <a:lnTo>
                    <a:pt x="217989" y="1110625"/>
                  </a:lnTo>
                  <a:lnTo>
                    <a:pt x="748789" y="1600753"/>
                  </a:lnTo>
                  <a:lnTo>
                    <a:pt x="803396" y="1600753"/>
                  </a:lnTo>
                  <a:lnTo>
                    <a:pt x="857898" y="1600753"/>
                  </a:lnTo>
                  <a:lnTo>
                    <a:pt x="1426854" y="1034396"/>
                  </a:lnTo>
                  <a:lnTo>
                    <a:pt x="1606829" y="93459"/>
                  </a:lnTo>
                  <a:cubicBezTo>
                    <a:pt x="1540373" y="67551"/>
                    <a:pt x="1477242" y="38157"/>
                    <a:pt x="1426454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25842C0-AA2F-45D6-9E73-70EC964AA965}"/>
                </a:ext>
              </a:extLst>
            </p:cNvPr>
            <p:cNvSpPr/>
            <p:nvPr/>
          </p:nvSpPr>
          <p:spPr>
            <a:xfrm>
              <a:off x="-2215038" y="4545676"/>
              <a:ext cx="803433" cy="1600761"/>
            </a:xfrm>
            <a:custGeom>
              <a:avLst/>
              <a:gdLst>
                <a:gd name="connsiteX0" fmla="*/ 623459 w 803433"/>
                <a:gd name="connsiteY0" fmla="*/ 1034405 h 1600761"/>
                <a:gd name="connsiteX1" fmla="*/ 803434 w 803433"/>
                <a:gd name="connsiteY1" fmla="*/ 93469 h 1600761"/>
                <a:gd name="connsiteX2" fmla="*/ 623059 w 803433"/>
                <a:gd name="connsiteY2" fmla="*/ 0 h 1600761"/>
                <a:gd name="connsiteX3" fmla="*/ 0 w 803433"/>
                <a:gd name="connsiteY3" fmla="*/ 0 h 1600761"/>
                <a:gd name="connsiteX4" fmla="*/ 0 w 803433"/>
                <a:gd name="connsiteY4" fmla="*/ 1600762 h 1600761"/>
                <a:gd name="connsiteX5" fmla="*/ 54502 w 803433"/>
                <a:gd name="connsiteY5" fmla="*/ 1600762 h 1600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3433" h="1600761">
                  <a:moveTo>
                    <a:pt x="623459" y="1034405"/>
                  </a:moveTo>
                  <a:lnTo>
                    <a:pt x="803434" y="93469"/>
                  </a:lnTo>
                  <a:cubicBezTo>
                    <a:pt x="736987" y="67551"/>
                    <a:pt x="673846" y="38167"/>
                    <a:pt x="623059" y="0"/>
                  </a:cubicBezTo>
                  <a:lnTo>
                    <a:pt x="0" y="0"/>
                  </a:lnTo>
                  <a:lnTo>
                    <a:pt x="0" y="1600762"/>
                  </a:lnTo>
                  <a:lnTo>
                    <a:pt x="54502" y="1600762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0CA428B-4575-419E-86C2-0466B036CD38}"/>
                </a:ext>
              </a:extLst>
            </p:cNvPr>
            <p:cNvSpPr/>
            <p:nvPr/>
          </p:nvSpPr>
          <p:spPr>
            <a:xfrm>
              <a:off x="-2838096" y="4200147"/>
              <a:ext cx="1246117" cy="508015"/>
            </a:xfrm>
            <a:custGeom>
              <a:avLst/>
              <a:gdLst>
                <a:gd name="connsiteX0" fmla="*/ 1051684 w 1246117"/>
                <a:gd name="connsiteY0" fmla="*/ 0 h 508015"/>
                <a:gd name="connsiteX1" fmla="*/ 623059 w 1246117"/>
                <a:gd name="connsiteY1" fmla="*/ 0 h 508015"/>
                <a:gd name="connsiteX2" fmla="*/ 194434 w 1246117"/>
                <a:gd name="connsiteY2" fmla="*/ 0 h 508015"/>
                <a:gd name="connsiteX3" fmla="*/ 0 w 1246117"/>
                <a:gd name="connsiteY3" fmla="*/ 345538 h 508015"/>
                <a:gd name="connsiteX4" fmla="*/ 623059 w 1246117"/>
                <a:gd name="connsiteY4" fmla="*/ 508016 h 508015"/>
                <a:gd name="connsiteX5" fmla="*/ 1246118 w 1246117"/>
                <a:gd name="connsiteY5" fmla="*/ 345538 h 508015"/>
                <a:gd name="connsiteX6" fmla="*/ 1051684 w 1246117"/>
                <a:gd name="connsiteY6" fmla="*/ 0 h 508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6117" h="508015">
                  <a:moveTo>
                    <a:pt x="1051684" y="0"/>
                  </a:moveTo>
                  <a:lnTo>
                    <a:pt x="623059" y="0"/>
                  </a:lnTo>
                  <a:lnTo>
                    <a:pt x="194434" y="0"/>
                  </a:lnTo>
                  <a:cubicBezTo>
                    <a:pt x="166230" y="166783"/>
                    <a:pt x="99403" y="270824"/>
                    <a:pt x="0" y="345538"/>
                  </a:cubicBezTo>
                  <a:cubicBezTo>
                    <a:pt x="187719" y="450027"/>
                    <a:pt x="400021" y="508016"/>
                    <a:pt x="623059" y="508016"/>
                  </a:cubicBezTo>
                  <a:cubicBezTo>
                    <a:pt x="846096" y="508016"/>
                    <a:pt x="1058399" y="450027"/>
                    <a:pt x="1246118" y="345538"/>
                  </a:cubicBezTo>
                  <a:cubicBezTo>
                    <a:pt x="1146715" y="270824"/>
                    <a:pt x="1079887" y="166783"/>
                    <a:pt x="1051684" y="0"/>
                  </a:cubicBezTo>
                  <a:close/>
                </a:path>
              </a:pathLst>
            </a:custGeom>
            <a:solidFill>
              <a:srgbClr val="FFCCB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8EB3827-5A7B-410D-B24E-ED593B4132EC}"/>
                </a:ext>
              </a:extLst>
            </p:cNvPr>
            <p:cNvSpPr/>
            <p:nvPr/>
          </p:nvSpPr>
          <p:spPr>
            <a:xfrm>
              <a:off x="-2215038" y="4200147"/>
              <a:ext cx="623058" cy="508015"/>
            </a:xfrm>
            <a:custGeom>
              <a:avLst/>
              <a:gdLst>
                <a:gd name="connsiteX0" fmla="*/ 428625 w 623058"/>
                <a:gd name="connsiteY0" fmla="*/ 0 h 508015"/>
                <a:gd name="connsiteX1" fmla="*/ 0 w 623058"/>
                <a:gd name="connsiteY1" fmla="*/ 0 h 508015"/>
                <a:gd name="connsiteX2" fmla="*/ 0 w 623058"/>
                <a:gd name="connsiteY2" fmla="*/ 508016 h 508015"/>
                <a:gd name="connsiteX3" fmla="*/ 623059 w 623058"/>
                <a:gd name="connsiteY3" fmla="*/ 345538 h 508015"/>
                <a:gd name="connsiteX4" fmla="*/ 428625 w 623058"/>
                <a:gd name="connsiteY4" fmla="*/ 0 h 508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058" h="508015">
                  <a:moveTo>
                    <a:pt x="428625" y="0"/>
                  </a:moveTo>
                  <a:lnTo>
                    <a:pt x="0" y="0"/>
                  </a:lnTo>
                  <a:lnTo>
                    <a:pt x="0" y="508016"/>
                  </a:lnTo>
                  <a:cubicBezTo>
                    <a:pt x="223037" y="508016"/>
                    <a:pt x="435340" y="450027"/>
                    <a:pt x="623059" y="345538"/>
                  </a:cubicBezTo>
                  <a:cubicBezTo>
                    <a:pt x="523656" y="270824"/>
                    <a:pt x="456829" y="166783"/>
                    <a:pt x="428625" y="0"/>
                  </a:cubicBezTo>
                  <a:close/>
                </a:path>
              </a:pathLst>
            </a:custGeom>
            <a:solidFill>
              <a:srgbClr val="FFBB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077E5FD-1F97-4587-928A-C770D19522A9}"/>
                </a:ext>
              </a:extLst>
            </p:cNvPr>
            <p:cNvSpPr/>
            <p:nvPr/>
          </p:nvSpPr>
          <p:spPr>
            <a:xfrm>
              <a:off x="-2160536" y="4639154"/>
              <a:ext cx="1374248" cy="1507283"/>
            </a:xfrm>
            <a:custGeom>
              <a:avLst/>
              <a:gdLst>
                <a:gd name="connsiteX0" fmla="*/ 1064086 w 1374248"/>
                <a:gd name="connsiteY0" fmla="*/ 94402 h 1507283"/>
                <a:gd name="connsiteX1" fmla="*/ 748932 w 1374248"/>
                <a:gd name="connsiteY1" fmla="*/ 0 h 1507283"/>
                <a:gd name="connsiteX2" fmla="*/ 0 w 1374248"/>
                <a:gd name="connsiteY2" fmla="*/ 1507284 h 1507283"/>
                <a:gd name="connsiteX3" fmla="*/ 1231373 w 1374248"/>
                <a:gd name="connsiteY3" fmla="*/ 1507284 h 1507283"/>
                <a:gd name="connsiteX4" fmla="*/ 1374248 w 1374248"/>
                <a:gd name="connsiteY4" fmla="*/ 1263206 h 1507283"/>
                <a:gd name="connsiteX5" fmla="*/ 1374248 w 1374248"/>
                <a:gd name="connsiteY5" fmla="*/ 539305 h 1507283"/>
                <a:gd name="connsiteX6" fmla="*/ 1231373 w 1374248"/>
                <a:gd name="connsiteY6" fmla="*/ 137379 h 1507283"/>
                <a:gd name="connsiteX7" fmla="*/ 1064086 w 1374248"/>
                <a:gd name="connsiteY7" fmla="*/ 94402 h 1507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74248" h="1507283">
                  <a:moveTo>
                    <a:pt x="1064086" y="94402"/>
                  </a:moveTo>
                  <a:cubicBezTo>
                    <a:pt x="962035" y="69256"/>
                    <a:pt x="850630" y="39653"/>
                    <a:pt x="748932" y="0"/>
                  </a:cubicBezTo>
                  <a:lnTo>
                    <a:pt x="0" y="1507284"/>
                  </a:lnTo>
                  <a:lnTo>
                    <a:pt x="1231373" y="1507284"/>
                  </a:lnTo>
                  <a:lnTo>
                    <a:pt x="1374248" y="1263206"/>
                  </a:lnTo>
                  <a:lnTo>
                    <a:pt x="1374248" y="539305"/>
                  </a:lnTo>
                  <a:lnTo>
                    <a:pt x="1231373" y="137379"/>
                  </a:lnTo>
                  <a:cubicBezTo>
                    <a:pt x="1174814" y="121729"/>
                    <a:pt x="1118616" y="107813"/>
                    <a:pt x="1064086" y="94402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CFECA890-C6EC-49D2-89FC-36B9A37E61DE}"/>
                </a:ext>
              </a:extLst>
            </p:cNvPr>
            <p:cNvSpPr/>
            <p:nvPr/>
          </p:nvSpPr>
          <p:spPr>
            <a:xfrm>
              <a:off x="-3643788" y="4639268"/>
              <a:ext cx="1374143" cy="1507169"/>
            </a:xfrm>
            <a:custGeom>
              <a:avLst/>
              <a:gdLst>
                <a:gd name="connsiteX0" fmla="*/ 625354 w 1374143"/>
                <a:gd name="connsiteY0" fmla="*/ 0 h 1507169"/>
                <a:gd name="connsiteX1" fmla="*/ 310163 w 1374143"/>
                <a:gd name="connsiteY1" fmla="*/ 94288 h 1507169"/>
                <a:gd name="connsiteX2" fmla="*/ 142875 w 1374143"/>
                <a:gd name="connsiteY2" fmla="*/ 137265 h 1507169"/>
                <a:gd name="connsiteX3" fmla="*/ 0 w 1374143"/>
                <a:gd name="connsiteY3" fmla="*/ 485613 h 1507169"/>
                <a:gd name="connsiteX4" fmla="*/ 0 w 1374143"/>
                <a:gd name="connsiteY4" fmla="*/ 1197607 h 1507169"/>
                <a:gd name="connsiteX5" fmla="*/ 142875 w 1374143"/>
                <a:gd name="connsiteY5" fmla="*/ 1507169 h 1507169"/>
                <a:gd name="connsiteX6" fmla="*/ 1374143 w 1374143"/>
                <a:gd name="connsiteY6" fmla="*/ 1507169 h 1507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4143" h="1507169">
                  <a:moveTo>
                    <a:pt x="625354" y="0"/>
                  </a:moveTo>
                  <a:cubicBezTo>
                    <a:pt x="523504" y="39748"/>
                    <a:pt x="412194" y="69132"/>
                    <a:pt x="310163" y="94288"/>
                  </a:cubicBezTo>
                  <a:cubicBezTo>
                    <a:pt x="255622" y="107699"/>
                    <a:pt x="199434" y="121615"/>
                    <a:pt x="142875" y="137265"/>
                  </a:cubicBezTo>
                  <a:lnTo>
                    <a:pt x="0" y="485613"/>
                  </a:lnTo>
                  <a:lnTo>
                    <a:pt x="0" y="1197607"/>
                  </a:lnTo>
                  <a:lnTo>
                    <a:pt x="142875" y="1507169"/>
                  </a:lnTo>
                  <a:lnTo>
                    <a:pt x="1374143" y="1507169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58F81DB3-CFAA-4BF1-9009-F673015EE34B}"/>
                </a:ext>
              </a:extLst>
            </p:cNvPr>
            <p:cNvSpPr/>
            <p:nvPr/>
          </p:nvSpPr>
          <p:spPr>
            <a:xfrm>
              <a:off x="-4358163" y="4776533"/>
              <a:ext cx="857250" cy="1369904"/>
            </a:xfrm>
            <a:custGeom>
              <a:avLst/>
              <a:gdLst>
                <a:gd name="connsiteX0" fmla="*/ 0 w 857250"/>
                <a:gd name="connsiteY0" fmla="*/ 1227030 h 1369904"/>
                <a:gd name="connsiteX1" fmla="*/ 142875 w 857250"/>
                <a:gd name="connsiteY1" fmla="*/ 1369905 h 1369904"/>
                <a:gd name="connsiteX2" fmla="*/ 857250 w 857250"/>
                <a:gd name="connsiteY2" fmla="*/ 1369905 h 1369904"/>
                <a:gd name="connsiteX3" fmla="*/ 857250 w 857250"/>
                <a:gd name="connsiteY3" fmla="*/ 0 h 1369904"/>
                <a:gd name="connsiteX4" fmla="*/ 0 w 857250"/>
                <a:gd name="connsiteY4" fmla="*/ 1227030 h 1369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7250" h="1369904">
                  <a:moveTo>
                    <a:pt x="0" y="1227030"/>
                  </a:moveTo>
                  <a:cubicBezTo>
                    <a:pt x="0" y="1306001"/>
                    <a:pt x="63903" y="1369905"/>
                    <a:pt x="142875" y="1369905"/>
                  </a:cubicBezTo>
                  <a:lnTo>
                    <a:pt x="857250" y="1369905"/>
                  </a:lnTo>
                  <a:lnTo>
                    <a:pt x="857250" y="0"/>
                  </a:lnTo>
                  <a:cubicBezTo>
                    <a:pt x="440341" y="115281"/>
                    <a:pt x="0" y="339271"/>
                    <a:pt x="0" y="122703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8F18FA1B-CAEA-476D-BE5C-30430E07C3B9}"/>
                </a:ext>
              </a:extLst>
            </p:cNvPr>
            <p:cNvSpPr/>
            <p:nvPr/>
          </p:nvSpPr>
          <p:spPr>
            <a:xfrm>
              <a:off x="-929163" y="4776533"/>
              <a:ext cx="857250" cy="1369904"/>
            </a:xfrm>
            <a:custGeom>
              <a:avLst/>
              <a:gdLst>
                <a:gd name="connsiteX0" fmla="*/ 0 w 857250"/>
                <a:gd name="connsiteY0" fmla="*/ 0 h 1369904"/>
                <a:gd name="connsiteX1" fmla="*/ 0 w 857250"/>
                <a:gd name="connsiteY1" fmla="*/ 1369905 h 1369904"/>
                <a:gd name="connsiteX2" fmla="*/ 714375 w 857250"/>
                <a:gd name="connsiteY2" fmla="*/ 1369905 h 1369904"/>
                <a:gd name="connsiteX3" fmla="*/ 857250 w 857250"/>
                <a:gd name="connsiteY3" fmla="*/ 1227030 h 1369904"/>
                <a:gd name="connsiteX4" fmla="*/ 0 w 857250"/>
                <a:gd name="connsiteY4" fmla="*/ 0 h 1369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7250" h="1369904">
                  <a:moveTo>
                    <a:pt x="0" y="0"/>
                  </a:moveTo>
                  <a:lnTo>
                    <a:pt x="0" y="1369905"/>
                  </a:lnTo>
                  <a:lnTo>
                    <a:pt x="714375" y="1369905"/>
                  </a:lnTo>
                  <a:cubicBezTo>
                    <a:pt x="793347" y="1369905"/>
                    <a:pt x="857250" y="1306001"/>
                    <a:pt x="857250" y="1227030"/>
                  </a:cubicBezTo>
                  <a:cubicBezTo>
                    <a:pt x="857250" y="339271"/>
                    <a:pt x="416909" y="115281"/>
                    <a:pt x="0" y="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0AE2FF7-ED90-42DB-9208-4A16B25C142B}"/>
                </a:ext>
              </a:extLst>
            </p:cNvPr>
            <p:cNvSpPr/>
            <p:nvPr/>
          </p:nvSpPr>
          <p:spPr>
            <a:xfrm>
              <a:off x="-3115036" y="3279413"/>
              <a:ext cx="1799996" cy="1143000"/>
            </a:xfrm>
            <a:custGeom>
              <a:avLst/>
              <a:gdLst>
                <a:gd name="connsiteX0" fmla="*/ 899998 w 1799996"/>
                <a:gd name="connsiteY0" fmla="*/ 0 h 1143000"/>
                <a:gd name="connsiteX1" fmla="*/ 0 w 1799996"/>
                <a:gd name="connsiteY1" fmla="*/ 571148 h 1143000"/>
                <a:gd name="connsiteX2" fmla="*/ 899998 w 1799996"/>
                <a:gd name="connsiteY2" fmla="*/ 1143000 h 1143000"/>
                <a:gd name="connsiteX3" fmla="*/ 1799997 w 1799996"/>
                <a:gd name="connsiteY3" fmla="*/ 571148 h 1143000"/>
                <a:gd name="connsiteX4" fmla="*/ 899998 w 1799996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9996" h="1143000">
                  <a:moveTo>
                    <a:pt x="899998" y="0"/>
                  </a:moveTo>
                  <a:cubicBezTo>
                    <a:pt x="501863" y="0"/>
                    <a:pt x="160944" y="234391"/>
                    <a:pt x="0" y="571148"/>
                  </a:cubicBezTo>
                  <a:cubicBezTo>
                    <a:pt x="153362" y="891778"/>
                    <a:pt x="495005" y="1143000"/>
                    <a:pt x="899998" y="1143000"/>
                  </a:cubicBezTo>
                  <a:cubicBezTo>
                    <a:pt x="1303544" y="1143000"/>
                    <a:pt x="1646520" y="892045"/>
                    <a:pt x="1799997" y="571148"/>
                  </a:cubicBezTo>
                  <a:cubicBezTo>
                    <a:pt x="1639053" y="234391"/>
                    <a:pt x="1298134" y="0"/>
                    <a:pt x="899998" y="0"/>
                  </a:cubicBezTo>
                  <a:close/>
                </a:path>
              </a:pathLst>
            </a:custGeom>
            <a:solidFill>
              <a:srgbClr val="FFDD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31" name="Graphic 35">
            <a:extLst>
              <a:ext uri="{FF2B5EF4-FFF2-40B4-BE49-F238E27FC236}">
                <a16:creationId xmlns:a16="http://schemas.microsoft.com/office/drawing/2014/main" id="{4440E648-BE47-4CA5-9C72-A0140A125EE3}"/>
              </a:ext>
            </a:extLst>
          </p:cNvPr>
          <p:cNvSpPr/>
          <p:nvPr/>
        </p:nvSpPr>
        <p:spPr>
          <a:xfrm>
            <a:off x="6923513" y="5213813"/>
            <a:ext cx="558006" cy="744008"/>
          </a:xfrm>
          <a:custGeom>
            <a:avLst/>
            <a:gdLst>
              <a:gd name="connsiteX0" fmla="*/ 3149603 w 3657600"/>
              <a:gd name="connsiteY0" fmla="*/ 0 h 4876800"/>
              <a:gd name="connsiteX1" fmla="*/ 507997 w 3657600"/>
              <a:gd name="connsiteY1" fmla="*/ 0 h 4876800"/>
              <a:gd name="connsiteX2" fmla="*/ 0 w 3657600"/>
              <a:gd name="connsiteY2" fmla="*/ 507997 h 4876800"/>
              <a:gd name="connsiteX3" fmla="*/ 0 w 3657600"/>
              <a:gd name="connsiteY3" fmla="*/ 4368794 h 4876800"/>
              <a:gd name="connsiteX4" fmla="*/ 507997 w 3657600"/>
              <a:gd name="connsiteY4" fmla="*/ 4876800 h 4876800"/>
              <a:gd name="connsiteX5" fmla="*/ 3149594 w 3657600"/>
              <a:gd name="connsiteY5" fmla="*/ 4876800 h 4876800"/>
              <a:gd name="connsiteX6" fmla="*/ 3657600 w 3657600"/>
              <a:gd name="connsiteY6" fmla="*/ 4368803 h 4876800"/>
              <a:gd name="connsiteX7" fmla="*/ 3657600 w 3657600"/>
              <a:gd name="connsiteY7" fmla="*/ 507997 h 4876800"/>
              <a:gd name="connsiteX8" fmla="*/ 3149603 w 3657600"/>
              <a:gd name="connsiteY8" fmla="*/ 0 h 4876800"/>
              <a:gd name="connsiteX9" fmla="*/ 1828800 w 3657600"/>
              <a:gd name="connsiteY9" fmla="*/ 4572000 h 4876800"/>
              <a:gd name="connsiteX10" fmla="*/ 1625603 w 3657600"/>
              <a:gd name="connsiteY10" fmla="*/ 4368803 h 4876800"/>
              <a:gd name="connsiteX11" fmla="*/ 1828800 w 3657600"/>
              <a:gd name="connsiteY11" fmla="*/ 4165607 h 4876800"/>
              <a:gd name="connsiteX12" fmla="*/ 2031997 w 3657600"/>
              <a:gd name="connsiteY12" fmla="*/ 4368803 h 4876800"/>
              <a:gd name="connsiteX13" fmla="*/ 1828800 w 3657600"/>
              <a:gd name="connsiteY13" fmla="*/ 4572000 h 4876800"/>
              <a:gd name="connsiteX14" fmla="*/ 3251197 w 3657600"/>
              <a:gd name="connsiteY14" fmla="*/ 3962400 h 4876800"/>
              <a:gd name="connsiteX15" fmla="*/ 3149594 w 3657600"/>
              <a:gd name="connsiteY15" fmla="*/ 4064003 h 4876800"/>
              <a:gd name="connsiteX16" fmla="*/ 507997 w 3657600"/>
              <a:gd name="connsiteY16" fmla="*/ 4064003 h 4876800"/>
              <a:gd name="connsiteX17" fmla="*/ 406394 w 3657600"/>
              <a:gd name="connsiteY17" fmla="*/ 3962400 h 4876800"/>
              <a:gd name="connsiteX18" fmla="*/ 406394 w 3657600"/>
              <a:gd name="connsiteY18" fmla="*/ 507997 h 4876800"/>
              <a:gd name="connsiteX19" fmla="*/ 507997 w 3657600"/>
              <a:gd name="connsiteY19" fmla="*/ 406394 h 4876800"/>
              <a:gd name="connsiteX20" fmla="*/ 3149594 w 3657600"/>
              <a:gd name="connsiteY20" fmla="*/ 406394 h 4876800"/>
              <a:gd name="connsiteX21" fmla="*/ 3251197 w 3657600"/>
              <a:gd name="connsiteY21" fmla="*/ 507997 h 4876800"/>
              <a:gd name="connsiteX22" fmla="*/ 3251197 w 3657600"/>
              <a:gd name="connsiteY22" fmla="*/ 396240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657600" h="4876800">
                <a:moveTo>
                  <a:pt x="3149603" y="0"/>
                </a:moveTo>
                <a:lnTo>
                  <a:pt x="507997" y="0"/>
                </a:lnTo>
                <a:cubicBezTo>
                  <a:pt x="227990" y="0"/>
                  <a:pt x="0" y="227990"/>
                  <a:pt x="0" y="507997"/>
                </a:cubicBezTo>
                <a:lnTo>
                  <a:pt x="0" y="4368794"/>
                </a:lnTo>
                <a:cubicBezTo>
                  <a:pt x="0" y="4648810"/>
                  <a:pt x="227990" y="4876800"/>
                  <a:pt x="507997" y="4876800"/>
                </a:cubicBezTo>
                <a:lnTo>
                  <a:pt x="3149594" y="4876800"/>
                </a:lnTo>
                <a:cubicBezTo>
                  <a:pt x="3429610" y="4876800"/>
                  <a:pt x="3657600" y="4648810"/>
                  <a:pt x="3657600" y="4368803"/>
                </a:cubicBezTo>
                <a:lnTo>
                  <a:pt x="3657600" y="507997"/>
                </a:lnTo>
                <a:cubicBezTo>
                  <a:pt x="3657600" y="227990"/>
                  <a:pt x="3429610" y="0"/>
                  <a:pt x="3149603" y="0"/>
                </a:cubicBezTo>
                <a:close/>
                <a:moveTo>
                  <a:pt x="1828800" y="4572000"/>
                </a:moveTo>
                <a:cubicBezTo>
                  <a:pt x="1716834" y="4572000"/>
                  <a:pt x="1625603" y="4480760"/>
                  <a:pt x="1625603" y="4368803"/>
                </a:cubicBezTo>
                <a:cubicBezTo>
                  <a:pt x="1625603" y="4256847"/>
                  <a:pt x="1716843" y="4165607"/>
                  <a:pt x="1828800" y="4165607"/>
                </a:cubicBezTo>
                <a:cubicBezTo>
                  <a:pt x="1940757" y="4165607"/>
                  <a:pt x="2031997" y="4256847"/>
                  <a:pt x="2031997" y="4368803"/>
                </a:cubicBezTo>
                <a:cubicBezTo>
                  <a:pt x="2031997" y="4480760"/>
                  <a:pt x="1940766" y="4572000"/>
                  <a:pt x="1828800" y="4572000"/>
                </a:cubicBezTo>
                <a:close/>
                <a:moveTo>
                  <a:pt x="3251197" y="3962400"/>
                </a:moveTo>
                <a:cubicBezTo>
                  <a:pt x="3251197" y="4018483"/>
                  <a:pt x="3205677" y="4064003"/>
                  <a:pt x="3149594" y="4064003"/>
                </a:cubicBezTo>
                <a:lnTo>
                  <a:pt x="507997" y="4064003"/>
                </a:lnTo>
                <a:cubicBezTo>
                  <a:pt x="451914" y="4064003"/>
                  <a:pt x="406394" y="4018483"/>
                  <a:pt x="406394" y="3962400"/>
                </a:cubicBezTo>
                <a:lnTo>
                  <a:pt x="406394" y="507997"/>
                </a:lnTo>
                <a:cubicBezTo>
                  <a:pt x="406394" y="451914"/>
                  <a:pt x="451914" y="406394"/>
                  <a:pt x="507997" y="406394"/>
                </a:cubicBezTo>
                <a:lnTo>
                  <a:pt x="3149594" y="406394"/>
                </a:lnTo>
                <a:cubicBezTo>
                  <a:pt x="3205677" y="406394"/>
                  <a:pt x="3251197" y="451914"/>
                  <a:pt x="3251197" y="507997"/>
                </a:cubicBezTo>
                <a:lnTo>
                  <a:pt x="3251197" y="396240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4D7A273E-E618-4282-8358-DB525EE4F6DF}"/>
              </a:ext>
            </a:extLst>
          </p:cNvPr>
          <p:cNvGrpSpPr/>
          <p:nvPr/>
        </p:nvGrpSpPr>
        <p:grpSpPr>
          <a:xfrm rot="2812614">
            <a:off x="6888927" y="5445904"/>
            <a:ext cx="503457" cy="209217"/>
            <a:chOff x="16586200" y="4430713"/>
            <a:chExt cx="836613" cy="347663"/>
          </a:xfrm>
          <a:solidFill>
            <a:schemeClr val="accent1"/>
          </a:solidFill>
        </p:grpSpPr>
        <p:sp>
          <p:nvSpPr>
            <p:cNvPr id="133" name="Freeform 77">
              <a:extLst>
                <a:ext uri="{FF2B5EF4-FFF2-40B4-BE49-F238E27FC236}">
                  <a16:creationId xmlns:a16="http://schemas.microsoft.com/office/drawing/2014/main" id="{6ABC0419-879A-41CF-A064-9D5303E83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29100" y="4624388"/>
              <a:ext cx="136525" cy="44450"/>
            </a:xfrm>
            <a:custGeom>
              <a:avLst/>
              <a:gdLst>
                <a:gd name="T0" fmla="*/ 43 w 86"/>
                <a:gd name="T1" fmla="*/ 28 h 28"/>
                <a:gd name="T2" fmla="*/ 43 w 86"/>
                <a:gd name="T3" fmla="*/ 28 h 28"/>
                <a:gd name="T4" fmla="*/ 31 w 86"/>
                <a:gd name="T5" fmla="*/ 27 h 28"/>
                <a:gd name="T6" fmla="*/ 20 w 86"/>
                <a:gd name="T7" fmla="*/ 23 h 28"/>
                <a:gd name="T8" fmla="*/ 11 w 86"/>
                <a:gd name="T9" fmla="*/ 18 h 28"/>
                <a:gd name="T10" fmla="*/ 1 w 86"/>
                <a:gd name="T11" fmla="*/ 10 h 28"/>
                <a:gd name="T12" fmla="*/ 1 w 86"/>
                <a:gd name="T13" fmla="*/ 10 h 28"/>
                <a:gd name="T14" fmla="*/ 0 w 86"/>
                <a:gd name="T15" fmla="*/ 8 h 28"/>
                <a:gd name="T16" fmla="*/ 0 w 86"/>
                <a:gd name="T17" fmla="*/ 6 h 28"/>
                <a:gd name="T18" fmla="*/ 0 w 86"/>
                <a:gd name="T19" fmla="*/ 4 h 28"/>
                <a:gd name="T20" fmla="*/ 1 w 86"/>
                <a:gd name="T21" fmla="*/ 2 h 28"/>
                <a:gd name="T22" fmla="*/ 1 w 86"/>
                <a:gd name="T23" fmla="*/ 2 h 28"/>
                <a:gd name="T24" fmla="*/ 3 w 86"/>
                <a:gd name="T25" fmla="*/ 0 h 28"/>
                <a:gd name="T26" fmla="*/ 5 w 86"/>
                <a:gd name="T27" fmla="*/ 0 h 28"/>
                <a:gd name="T28" fmla="*/ 9 w 86"/>
                <a:gd name="T29" fmla="*/ 0 h 28"/>
                <a:gd name="T30" fmla="*/ 11 w 86"/>
                <a:gd name="T31" fmla="*/ 2 h 28"/>
                <a:gd name="T32" fmla="*/ 11 w 86"/>
                <a:gd name="T33" fmla="*/ 2 h 28"/>
                <a:gd name="T34" fmla="*/ 17 w 86"/>
                <a:gd name="T35" fmla="*/ 7 h 28"/>
                <a:gd name="T36" fmla="*/ 26 w 86"/>
                <a:gd name="T37" fmla="*/ 12 h 28"/>
                <a:gd name="T38" fmla="*/ 34 w 86"/>
                <a:gd name="T39" fmla="*/ 14 h 28"/>
                <a:gd name="T40" fmla="*/ 43 w 86"/>
                <a:gd name="T41" fmla="*/ 15 h 28"/>
                <a:gd name="T42" fmla="*/ 51 w 86"/>
                <a:gd name="T43" fmla="*/ 15 h 28"/>
                <a:gd name="T44" fmla="*/ 60 w 86"/>
                <a:gd name="T45" fmla="*/ 12 h 28"/>
                <a:gd name="T46" fmla="*/ 68 w 86"/>
                <a:gd name="T47" fmla="*/ 7 h 28"/>
                <a:gd name="T48" fmla="*/ 75 w 86"/>
                <a:gd name="T49" fmla="*/ 2 h 28"/>
                <a:gd name="T50" fmla="*/ 75 w 86"/>
                <a:gd name="T51" fmla="*/ 2 h 28"/>
                <a:gd name="T52" fmla="*/ 77 w 86"/>
                <a:gd name="T53" fmla="*/ 1 h 28"/>
                <a:gd name="T54" fmla="*/ 79 w 86"/>
                <a:gd name="T55" fmla="*/ 0 h 28"/>
                <a:gd name="T56" fmla="*/ 81 w 86"/>
                <a:gd name="T57" fmla="*/ 1 h 28"/>
                <a:gd name="T58" fmla="*/ 84 w 86"/>
                <a:gd name="T59" fmla="*/ 2 h 28"/>
                <a:gd name="T60" fmla="*/ 84 w 86"/>
                <a:gd name="T61" fmla="*/ 2 h 28"/>
                <a:gd name="T62" fmla="*/ 85 w 86"/>
                <a:gd name="T63" fmla="*/ 4 h 28"/>
                <a:gd name="T64" fmla="*/ 86 w 86"/>
                <a:gd name="T65" fmla="*/ 6 h 28"/>
                <a:gd name="T66" fmla="*/ 85 w 86"/>
                <a:gd name="T67" fmla="*/ 8 h 28"/>
                <a:gd name="T68" fmla="*/ 84 w 86"/>
                <a:gd name="T69" fmla="*/ 10 h 28"/>
                <a:gd name="T70" fmla="*/ 84 w 86"/>
                <a:gd name="T71" fmla="*/ 10 h 28"/>
                <a:gd name="T72" fmla="*/ 75 w 86"/>
                <a:gd name="T73" fmla="*/ 18 h 28"/>
                <a:gd name="T74" fmla="*/ 64 w 86"/>
                <a:gd name="T75" fmla="*/ 23 h 28"/>
                <a:gd name="T76" fmla="*/ 54 w 86"/>
                <a:gd name="T77" fmla="*/ 27 h 28"/>
                <a:gd name="T78" fmla="*/ 43 w 86"/>
                <a:gd name="T7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6" h="28">
                  <a:moveTo>
                    <a:pt x="43" y="28"/>
                  </a:moveTo>
                  <a:lnTo>
                    <a:pt x="43" y="28"/>
                  </a:lnTo>
                  <a:lnTo>
                    <a:pt x="31" y="27"/>
                  </a:lnTo>
                  <a:lnTo>
                    <a:pt x="20" y="23"/>
                  </a:lnTo>
                  <a:lnTo>
                    <a:pt x="11" y="18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1" y="2"/>
                  </a:lnTo>
                  <a:lnTo>
                    <a:pt x="1" y="2"/>
                  </a:lnTo>
                  <a:lnTo>
                    <a:pt x="3" y="0"/>
                  </a:lnTo>
                  <a:lnTo>
                    <a:pt x="5" y="0"/>
                  </a:lnTo>
                  <a:lnTo>
                    <a:pt x="9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7" y="7"/>
                  </a:lnTo>
                  <a:lnTo>
                    <a:pt x="26" y="12"/>
                  </a:lnTo>
                  <a:lnTo>
                    <a:pt x="34" y="14"/>
                  </a:lnTo>
                  <a:lnTo>
                    <a:pt x="43" y="15"/>
                  </a:lnTo>
                  <a:lnTo>
                    <a:pt x="51" y="15"/>
                  </a:lnTo>
                  <a:lnTo>
                    <a:pt x="60" y="12"/>
                  </a:lnTo>
                  <a:lnTo>
                    <a:pt x="68" y="7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7" y="1"/>
                  </a:lnTo>
                  <a:lnTo>
                    <a:pt x="79" y="0"/>
                  </a:lnTo>
                  <a:lnTo>
                    <a:pt x="81" y="1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5" y="4"/>
                  </a:lnTo>
                  <a:lnTo>
                    <a:pt x="86" y="6"/>
                  </a:lnTo>
                  <a:lnTo>
                    <a:pt x="85" y="8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75" y="18"/>
                  </a:lnTo>
                  <a:lnTo>
                    <a:pt x="64" y="23"/>
                  </a:lnTo>
                  <a:lnTo>
                    <a:pt x="54" y="27"/>
                  </a:lnTo>
                  <a:lnTo>
                    <a:pt x="43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4" name="Freeform 78">
              <a:extLst>
                <a:ext uri="{FF2B5EF4-FFF2-40B4-BE49-F238E27FC236}">
                  <a16:creationId xmlns:a16="http://schemas.microsoft.com/office/drawing/2014/main" id="{AE02802B-C2A2-4A26-A0B1-B54742D0C6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29100" y="4624388"/>
              <a:ext cx="136525" cy="44450"/>
            </a:xfrm>
            <a:custGeom>
              <a:avLst/>
              <a:gdLst>
                <a:gd name="T0" fmla="*/ 43 w 86"/>
                <a:gd name="T1" fmla="*/ 28 h 28"/>
                <a:gd name="T2" fmla="*/ 43 w 86"/>
                <a:gd name="T3" fmla="*/ 28 h 28"/>
                <a:gd name="T4" fmla="*/ 31 w 86"/>
                <a:gd name="T5" fmla="*/ 27 h 28"/>
                <a:gd name="T6" fmla="*/ 20 w 86"/>
                <a:gd name="T7" fmla="*/ 23 h 28"/>
                <a:gd name="T8" fmla="*/ 11 w 86"/>
                <a:gd name="T9" fmla="*/ 18 h 28"/>
                <a:gd name="T10" fmla="*/ 1 w 86"/>
                <a:gd name="T11" fmla="*/ 10 h 28"/>
                <a:gd name="T12" fmla="*/ 1 w 86"/>
                <a:gd name="T13" fmla="*/ 10 h 28"/>
                <a:gd name="T14" fmla="*/ 0 w 86"/>
                <a:gd name="T15" fmla="*/ 8 h 28"/>
                <a:gd name="T16" fmla="*/ 0 w 86"/>
                <a:gd name="T17" fmla="*/ 6 h 28"/>
                <a:gd name="T18" fmla="*/ 0 w 86"/>
                <a:gd name="T19" fmla="*/ 4 h 28"/>
                <a:gd name="T20" fmla="*/ 1 w 86"/>
                <a:gd name="T21" fmla="*/ 2 h 28"/>
                <a:gd name="T22" fmla="*/ 1 w 86"/>
                <a:gd name="T23" fmla="*/ 2 h 28"/>
                <a:gd name="T24" fmla="*/ 3 w 86"/>
                <a:gd name="T25" fmla="*/ 0 h 28"/>
                <a:gd name="T26" fmla="*/ 5 w 86"/>
                <a:gd name="T27" fmla="*/ 0 h 28"/>
                <a:gd name="T28" fmla="*/ 9 w 86"/>
                <a:gd name="T29" fmla="*/ 0 h 28"/>
                <a:gd name="T30" fmla="*/ 11 w 86"/>
                <a:gd name="T31" fmla="*/ 2 h 28"/>
                <a:gd name="T32" fmla="*/ 11 w 86"/>
                <a:gd name="T33" fmla="*/ 2 h 28"/>
                <a:gd name="T34" fmla="*/ 17 w 86"/>
                <a:gd name="T35" fmla="*/ 7 h 28"/>
                <a:gd name="T36" fmla="*/ 26 w 86"/>
                <a:gd name="T37" fmla="*/ 12 h 28"/>
                <a:gd name="T38" fmla="*/ 34 w 86"/>
                <a:gd name="T39" fmla="*/ 14 h 28"/>
                <a:gd name="T40" fmla="*/ 43 w 86"/>
                <a:gd name="T41" fmla="*/ 15 h 28"/>
                <a:gd name="T42" fmla="*/ 51 w 86"/>
                <a:gd name="T43" fmla="*/ 15 h 28"/>
                <a:gd name="T44" fmla="*/ 60 w 86"/>
                <a:gd name="T45" fmla="*/ 12 h 28"/>
                <a:gd name="T46" fmla="*/ 68 w 86"/>
                <a:gd name="T47" fmla="*/ 7 h 28"/>
                <a:gd name="T48" fmla="*/ 75 w 86"/>
                <a:gd name="T49" fmla="*/ 2 h 28"/>
                <a:gd name="T50" fmla="*/ 75 w 86"/>
                <a:gd name="T51" fmla="*/ 2 h 28"/>
                <a:gd name="T52" fmla="*/ 77 w 86"/>
                <a:gd name="T53" fmla="*/ 1 h 28"/>
                <a:gd name="T54" fmla="*/ 79 w 86"/>
                <a:gd name="T55" fmla="*/ 0 h 28"/>
                <a:gd name="T56" fmla="*/ 81 w 86"/>
                <a:gd name="T57" fmla="*/ 1 h 28"/>
                <a:gd name="T58" fmla="*/ 84 w 86"/>
                <a:gd name="T59" fmla="*/ 2 h 28"/>
                <a:gd name="T60" fmla="*/ 84 w 86"/>
                <a:gd name="T61" fmla="*/ 2 h 28"/>
                <a:gd name="T62" fmla="*/ 85 w 86"/>
                <a:gd name="T63" fmla="*/ 4 h 28"/>
                <a:gd name="T64" fmla="*/ 86 w 86"/>
                <a:gd name="T65" fmla="*/ 6 h 28"/>
                <a:gd name="T66" fmla="*/ 85 w 86"/>
                <a:gd name="T67" fmla="*/ 8 h 28"/>
                <a:gd name="T68" fmla="*/ 84 w 86"/>
                <a:gd name="T69" fmla="*/ 10 h 28"/>
                <a:gd name="T70" fmla="*/ 84 w 86"/>
                <a:gd name="T71" fmla="*/ 10 h 28"/>
                <a:gd name="T72" fmla="*/ 75 w 86"/>
                <a:gd name="T73" fmla="*/ 18 h 28"/>
                <a:gd name="T74" fmla="*/ 64 w 86"/>
                <a:gd name="T75" fmla="*/ 23 h 28"/>
                <a:gd name="T76" fmla="*/ 54 w 86"/>
                <a:gd name="T77" fmla="*/ 27 h 28"/>
                <a:gd name="T78" fmla="*/ 43 w 86"/>
                <a:gd name="T7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6" h="28">
                  <a:moveTo>
                    <a:pt x="43" y="28"/>
                  </a:moveTo>
                  <a:lnTo>
                    <a:pt x="43" y="28"/>
                  </a:lnTo>
                  <a:lnTo>
                    <a:pt x="31" y="27"/>
                  </a:lnTo>
                  <a:lnTo>
                    <a:pt x="20" y="23"/>
                  </a:lnTo>
                  <a:lnTo>
                    <a:pt x="11" y="18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1" y="2"/>
                  </a:lnTo>
                  <a:lnTo>
                    <a:pt x="1" y="2"/>
                  </a:lnTo>
                  <a:lnTo>
                    <a:pt x="3" y="0"/>
                  </a:lnTo>
                  <a:lnTo>
                    <a:pt x="5" y="0"/>
                  </a:lnTo>
                  <a:lnTo>
                    <a:pt x="9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7" y="7"/>
                  </a:lnTo>
                  <a:lnTo>
                    <a:pt x="26" y="12"/>
                  </a:lnTo>
                  <a:lnTo>
                    <a:pt x="34" y="14"/>
                  </a:lnTo>
                  <a:lnTo>
                    <a:pt x="43" y="15"/>
                  </a:lnTo>
                  <a:lnTo>
                    <a:pt x="51" y="15"/>
                  </a:lnTo>
                  <a:lnTo>
                    <a:pt x="60" y="12"/>
                  </a:lnTo>
                  <a:lnTo>
                    <a:pt x="68" y="7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7" y="1"/>
                  </a:lnTo>
                  <a:lnTo>
                    <a:pt x="79" y="0"/>
                  </a:lnTo>
                  <a:lnTo>
                    <a:pt x="81" y="1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5" y="4"/>
                  </a:lnTo>
                  <a:lnTo>
                    <a:pt x="86" y="6"/>
                  </a:lnTo>
                  <a:lnTo>
                    <a:pt x="85" y="8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75" y="18"/>
                  </a:lnTo>
                  <a:lnTo>
                    <a:pt x="64" y="23"/>
                  </a:lnTo>
                  <a:lnTo>
                    <a:pt x="54" y="27"/>
                  </a:lnTo>
                  <a:lnTo>
                    <a:pt x="43" y="2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5" name="Freeform 79">
              <a:extLst>
                <a:ext uri="{FF2B5EF4-FFF2-40B4-BE49-F238E27FC236}">
                  <a16:creationId xmlns:a16="http://schemas.microsoft.com/office/drawing/2014/main" id="{FCDBB5F7-2C46-411C-BC7B-86D51FCD6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89413" y="4662488"/>
              <a:ext cx="214313" cy="60325"/>
            </a:xfrm>
            <a:custGeom>
              <a:avLst/>
              <a:gdLst>
                <a:gd name="T0" fmla="*/ 68 w 135"/>
                <a:gd name="T1" fmla="*/ 38 h 38"/>
                <a:gd name="T2" fmla="*/ 68 w 135"/>
                <a:gd name="T3" fmla="*/ 38 h 38"/>
                <a:gd name="T4" fmla="*/ 68 w 135"/>
                <a:gd name="T5" fmla="*/ 38 h 38"/>
                <a:gd name="T6" fmla="*/ 58 w 135"/>
                <a:gd name="T7" fmla="*/ 38 h 38"/>
                <a:gd name="T8" fmla="*/ 50 w 135"/>
                <a:gd name="T9" fmla="*/ 37 h 38"/>
                <a:gd name="T10" fmla="*/ 40 w 135"/>
                <a:gd name="T11" fmla="*/ 34 h 38"/>
                <a:gd name="T12" fmla="*/ 31 w 135"/>
                <a:gd name="T13" fmla="*/ 31 h 38"/>
                <a:gd name="T14" fmla="*/ 24 w 135"/>
                <a:gd name="T15" fmla="*/ 27 h 38"/>
                <a:gd name="T16" fmla="*/ 16 w 135"/>
                <a:gd name="T17" fmla="*/ 23 h 38"/>
                <a:gd name="T18" fmla="*/ 9 w 135"/>
                <a:gd name="T19" fmla="*/ 16 h 38"/>
                <a:gd name="T20" fmla="*/ 1 w 135"/>
                <a:gd name="T21" fmla="*/ 11 h 38"/>
                <a:gd name="T22" fmla="*/ 1 w 135"/>
                <a:gd name="T23" fmla="*/ 11 h 38"/>
                <a:gd name="T24" fmla="*/ 0 w 135"/>
                <a:gd name="T25" fmla="*/ 9 h 38"/>
                <a:gd name="T26" fmla="*/ 0 w 135"/>
                <a:gd name="T27" fmla="*/ 6 h 38"/>
                <a:gd name="T28" fmla="*/ 0 w 135"/>
                <a:gd name="T29" fmla="*/ 4 h 38"/>
                <a:gd name="T30" fmla="*/ 1 w 135"/>
                <a:gd name="T31" fmla="*/ 1 h 38"/>
                <a:gd name="T32" fmla="*/ 1 w 135"/>
                <a:gd name="T33" fmla="*/ 1 h 38"/>
                <a:gd name="T34" fmla="*/ 4 w 135"/>
                <a:gd name="T35" fmla="*/ 0 h 38"/>
                <a:gd name="T36" fmla="*/ 7 w 135"/>
                <a:gd name="T37" fmla="*/ 0 h 38"/>
                <a:gd name="T38" fmla="*/ 9 w 135"/>
                <a:gd name="T39" fmla="*/ 0 h 38"/>
                <a:gd name="T40" fmla="*/ 11 w 135"/>
                <a:gd name="T41" fmla="*/ 1 h 38"/>
                <a:gd name="T42" fmla="*/ 11 w 135"/>
                <a:gd name="T43" fmla="*/ 1 h 38"/>
                <a:gd name="T44" fmla="*/ 16 w 135"/>
                <a:gd name="T45" fmla="*/ 7 h 38"/>
                <a:gd name="T46" fmla="*/ 23 w 135"/>
                <a:gd name="T47" fmla="*/ 12 h 38"/>
                <a:gd name="T48" fmla="*/ 29 w 135"/>
                <a:gd name="T49" fmla="*/ 16 h 38"/>
                <a:gd name="T50" fmla="*/ 37 w 135"/>
                <a:gd name="T51" fmla="*/ 20 h 38"/>
                <a:gd name="T52" fmla="*/ 44 w 135"/>
                <a:gd name="T53" fmla="*/ 22 h 38"/>
                <a:gd name="T54" fmla="*/ 52 w 135"/>
                <a:gd name="T55" fmla="*/ 24 h 38"/>
                <a:gd name="T56" fmla="*/ 59 w 135"/>
                <a:gd name="T57" fmla="*/ 25 h 38"/>
                <a:gd name="T58" fmla="*/ 68 w 135"/>
                <a:gd name="T59" fmla="*/ 26 h 38"/>
                <a:gd name="T60" fmla="*/ 68 w 135"/>
                <a:gd name="T61" fmla="*/ 26 h 38"/>
                <a:gd name="T62" fmla="*/ 68 w 135"/>
                <a:gd name="T63" fmla="*/ 26 h 38"/>
                <a:gd name="T64" fmla="*/ 75 w 135"/>
                <a:gd name="T65" fmla="*/ 25 h 38"/>
                <a:gd name="T66" fmla="*/ 84 w 135"/>
                <a:gd name="T67" fmla="*/ 24 h 38"/>
                <a:gd name="T68" fmla="*/ 91 w 135"/>
                <a:gd name="T69" fmla="*/ 22 h 38"/>
                <a:gd name="T70" fmla="*/ 99 w 135"/>
                <a:gd name="T71" fmla="*/ 20 h 38"/>
                <a:gd name="T72" fmla="*/ 105 w 135"/>
                <a:gd name="T73" fmla="*/ 16 h 38"/>
                <a:gd name="T74" fmla="*/ 112 w 135"/>
                <a:gd name="T75" fmla="*/ 12 h 38"/>
                <a:gd name="T76" fmla="*/ 118 w 135"/>
                <a:gd name="T77" fmla="*/ 8 h 38"/>
                <a:gd name="T78" fmla="*/ 125 w 135"/>
                <a:gd name="T79" fmla="*/ 3 h 38"/>
                <a:gd name="T80" fmla="*/ 125 w 135"/>
                <a:gd name="T81" fmla="*/ 3 h 38"/>
                <a:gd name="T82" fmla="*/ 127 w 135"/>
                <a:gd name="T83" fmla="*/ 1 h 38"/>
                <a:gd name="T84" fmla="*/ 129 w 135"/>
                <a:gd name="T85" fmla="*/ 0 h 38"/>
                <a:gd name="T86" fmla="*/ 131 w 135"/>
                <a:gd name="T87" fmla="*/ 1 h 38"/>
                <a:gd name="T88" fmla="*/ 133 w 135"/>
                <a:gd name="T89" fmla="*/ 3 h 38"/>
                <a:gd name="T90" fmla="*/ 133 w 135"/>
                <a:gd name="T91" fmla="*/ 3 h 38"/>
                <a:gd name="T92" fmla="*/ 134 w 135"/>
                <a:gd name="T93" fmla="*/ 5 h 38"/>
                <a:gd name="T94" fmla="*/ 135 w 135"/>
                <a:gd name="T95" fmla="*/ 7 h 38"/>
                <a:gd name="T96" fmla="*/ 134 w 135"/>
                <a:gd name="T97" fmla="*/ 9 h 38"/>
                <a:gd name="T98" fmla="*/ 133 w 135"/>
                <a:gd name="T99" fmla="*/ 11 h 38"/>
                <a:gd name="T100" fmla="*/ 133 w 135"/>
                <a:gd name="T101" fmla="*/ 11 h 38"/>
                <a:gd name="T102" fmla="*/ 127 w 135"/>
                <a:gd name="T103" fmla="*/ 18 h 38"/>
                <a:gd name="T104" fmla="*/ 119 w 135"/>
                <a:gd name="T105" fmla="*/ 23 h 38"/>
                <a:gd name="T106" fmla="*/ 112 w 135"/>
                <a:gd name="T107" fmla="*/ 27 h 38"/>
                <a:gd name="T108" fmla="*/ 103 w 135"/>
                <a:gd name="T109" fmla="*/ 31 h 38"/>
                <a:gd name="T110" fmla="*/ 95 w 135"/>
                <a:gd name="T111" fmla="*/ 35 h 38"/>
                <a:gd name="T112" fmla="*/ 86 w 135"/>
                <a:gd name="T113" fmla="*/ 37 h 38"/>
                <a:gd name="T114" fmla="*/ 78 w 135"/>
                <a:gd name="T115" fmla="*/ 38 h 38"/>
                <a:gd name="T116" fmla="*/ 68 w 135"/>
                <a:gd name="T11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5" h="38">
                  <a:moveTo>
                    <a:pt x="68" y="38"/>
                  </a:moveTo>
                  <a:lnTo>
                    <a:pt x="68" y="38"/>
                  </a:lnTo>
                  <a:lnTo>
                    <a:pt x="68" y="38"/>
                  </a:lnTo>
                  <a:lnTo>
                    <a:pt x="58" y="38"/>
                  </a:lnTo>
                  <a:lnTo>
                    <a:pt x="50" y="37"/>
                  </a:lnTo>
                  <a:lnTo>
                    <a:pt x="40" y="34"/>
                  </a:lnTo>
                  <a:lnTo>
                    <a:pt x="31" y="31"/>
                  </a:lnTo>
                  <a:lnTo>
                    <a:pt x="24" y="27"/>
                  </a:lnTo>
                  <a:lnTo>
                    <a:pt x="16" y="23"/>
                  </a:lnTo>
                  <a:lnTo>
                    <a:pt x="9" y="16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4"/>
                  </a:lnTo>
                  <a:lnTo>
                    <a:pt x="1" y="1"/>
                  </a:lnTo>
                  <a:lnTo>
                    <a:pt x="1" y="1"/>
                  </a:lnTo>
                  <a:lnTo>
                    <a:pt x="4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6" y="7"/>
                  </a:lnTo>
                  <a:lnTo>
                    <a:pt x="23" y="12"/>
                  </a:lnTo>
                  <a:lnTo>
                    <a:pt x="29" y="16"/>
                  </a:lnTo>
                  <a:lnTo>
                    <a:pt x="37" y="20"/>
                  </a:lnTo>
                  <a:lnTo>
                    <a:pt x="44" y="22"/>
                  </a:lnTo>
                  <a:lnTo>
                    <a:pt x="52" y="24"/>
                  </a:lnTo>
                  <a:lnTo>
                    <a:pt x="59" y="25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75" y="25"/>
                  </a:lnTo>
                  <a:lnTo>
                    <a:pt x="84" y="24"/>
                  </a:lnTo>
                  <a:lnTo>
                    <a:pt x="91" y="22"/>
                  </a:lnTo>
                  <a:lnTo>
                    <a:pt x="99" y="20"/>
                  </a:lnTo>
                  <a:lnTo>
                    <a:pt x="105" y="16"/>
                  </a:lnTo>
                  <a:lnTo>
                    <a:pt x="112" y="12"/>
                  </a:lnTo>
                  <a:lnTo>
                    <a:pt x="118" y="8"/>
                  </a:lnTo>
                  <a:lnTo>
                    <a:pt x="125" y="3"/>
                  </a:lnTo>
                  <a:lnTo>
                    <a:pt x="125" y="3"/>
                  </a:lnTo>
                  <a:lnTo>
                    <a:pt x="127" y="1"/>
                  </a:lnTo>
                  <a:lnTo>
                    <a:pt x="129" y="0"/>
                  </a:lnTo>
                  <a:lnTo>
                    <a:pt x="131" y="1"/>
                  </a:lnTo>
                  <a:lnTo>
                    <a:pt x="133" y="3"/>
                  </a:lnTo>
                  <a:lnTo>
                    <a:pt x="133" y="3"/>
                  </a:lnTo>
                  <a:lnTo>
                    <a:pt x="134" y="5"/>
                  </a:lnTo>
                  <a:lnTo>
                    <a:pt x="135" y="7"/>
                  </a:lnTo>
                  <a:lnTo>
                    <a:pt x="134" y="9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27" y="18"/>
                  </a:lnTo>
                  <a:lnTo>
                    <a:pt x="119" y="23"/>
                  </a:lnTo>
                  <a:lnTo>
                    <a:pt x="112" y="27"/>
                  </a:lnTo>
                  <a:lnTo>
                    <a:pt x="103" y="31"/>
                  </a:lnTo>
                  <a:lnTo>
                    <a:pt x="95" y="35"/>
                  </a:lnTo>
                  <a:lnTo>
                    <a:pt x="86" y="37"/>
                  </a:lnTo>
                  <a:lnTo>
                    <a:pt x="78" y="38"/>
                  </a:lnTo>
                  <a:lnTo>
                    <a:pt x="68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6" name="Freeform 80">
              <a:extLst>
                <a:ext uri="{FF2B5EF4-FFF2-40B4-BE49-F238E27FC236}">
                  <a16:creationId xmlns:a16="http://schemas.microsoft.com/office/drawing/2014/main" id="{6DEE0B0E-DA71-433E-8655-9536245C1C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89413" y="4662488"/>
              <a:ext cx="214313" cy="60325"/>
            </a:xfrm>
            <a:custGeom>
              <a:avLst/>
              <a:gdLst>
                <a:gd name="T0" fmla="*/ 68 w 135"/>
                <a:gd name="T1" fmla="*/ 38 h 38"/>
                <a:gd name="T2" fmla="*/ 68 w 135"/>
                <a:gd name="T3" fmla="*/ 38 h 38"/>
                <a:gd name="T4" fmla="*/ 68 w 135"/>
                <a:gd name="T5" fmla="*/ 38 h 38"/>
                <a:gd name="T6" fmla="*/ 58 w 135"/>
                <a:gd name="T7" fmla="*/ 38 h 38"/>
                <a:gd name="T8" fmla="*/ 50 w 135"/>
                <a:gd name="T9" fmla="*/ 37 h 38"/>
                <a:gd name="T10" fmla="*/ 40 w 135"/>
                <a:gd name="T11" fmla="*/ 34 h 38"/>
                <a:gd name="T12" fmla="*/ 31 w 135"/>
                <a:gd name="T13" fmla="*/ 31 h 38"/>
                <a:gd name="T14" fmla="*/ 24 w 135"/>
                <a:gd name="T15" fmla="*/ 27 h 38"/>
                <a:gd name="T16" fmla="*/ 16 w 135"/>
                <a:gd name="T17" fmla="*/ 23 h 38"/>
                <a:gd name="T18" fmla="*/ 9 w 135"/>
                <a:gd name="T19" fmla="*/ 16 h 38"/>
                <a:gd name="T20" fmla="*/ 1 w 135"/>
                <a:gd name="T21" fmla="*/ 11 h 38"/>
                <a:gd name="T22" fmla="*/ 1 w 135"/>
                <a:gd name="T23" fmla="*/ 11 h 38"/>
                <a:gd name="T24" fmla="*/ 0 w 135"/>
                <a:gd name="T25" fmla="*/ 9 h 38"/>
                <a:gd name="T26" fmla="*/ 0 w 135"/>
                <a:gd name="T27" fmla="*/ 6 h 38"/>
                <a:gd name="T28" fmla="*/ 0 w 135"/>
                <a:gd name="T29" fmla="*/ 4 h 38"/>
                <a:gd name="T30" fmla="*/ 1 w 135"/>
                <a:gd name="T31" fmla="*/ 1 h 38"/>
                <a:gd name="T32" fmla="*/ 1 w 135"/>
                <a:gd name="T33" fmla="*/ 1 h 38"/>
                <a:gd name="T34" fmla="*/ 4 w 135"/>
                <a:gd name="T35" fmla="*/ 0 h 38"/>
                <a:gd name="T36" fmla="*/ 7 w 135"/>
                <a:gd name="T37" fmla="*/ 0 h 38"/>
                <a:gd name="T38" fmla="*/ 9 w 135"/>
                <a:gd name="T39" fmla="*/ 0 h 38"/>
                <a:gd name="T40" fmla="*/ 11 w 135"/>
                <a:gd name="T41" fmla="*/ 1 h 38"/>
                <a:gd name="T42" fmla="*/ 11 w 135"/>
                <a:gd name="T43" fmla="*/ 1 h 38"/>
                <a:gd name="T44" fmla="*/ 16 w 135"/>
                <a:gd name="T45" fmla="*/ 7 h 38"/>
                <a:gd name="T46" fmla="*/ 23 w 135"/>
                <a:gd name="T47" fmla="*/ 12 h 38"/>
                <a:gd name="T48" fmla="*/ 29 w 135"/>
                <a:gd name="T49" fmla="*/ 16 h 38"/>
                <a:gd name="T50" fmla="*/ 37 w 135"/>
                <a:gd name="T51" fmla="*/ 20 h 38"/>
                <a:gd name="T52" fmla="*/ 44 w 135"/>
                <a:gd name="T53" fmla="*/ 22 h 38"/>
                <a:gd name="T54" fmla="*/ 52 w 135"/>
                <a:gd name="T55" fmla="*/ 24 h 38"/>
                <a:gd name="T56" fmla="*/ 59 w 135"/>
                <a:gd name="T57" fmla="*/ 25 h 38"/>
                <a:gd name="T58" fmla="*/ 68 w 135"/>
                <a:gd name="T59" fmla="*/ 26 h 38"/>
                <a:gd name="T60" fmla="*/ 68 w 135"/>
                <a:gd name="T61" fmla="*/ 26 h 38"/>
                <a:gd name="T62" fmla="*/ 68 w 135"/>
                <a:gd name="T63" fmla="*/ 26 h 38"/>
                <a:gd name="T64" fmla="*/ 75 w 135"/>
                <a:gd name="T65" fmla="*/ 25 h 38"/>
                <a:gd name="T66" fmla="*/ 84 w 135"/>
                <a:gd name="T67" fmla="*/ 24 h 38"/>
                <a:gd name="T68" fmla="*/ 91 w 135"/>
                <a:gd name="T69" fmla="*/ 22 h 38"/>
                <a:gd name="T70" fmla="*/ 99 w 135"/>
                <a:gd name="T71" fmla="*/ 20 h 38"/>
                <a:gd name="T72" fmla="*/ 105 w 135"/>
                <a:gd name="T73" fmla="*/ 16 h 38"/>
                <a:gd name="T74" fmla="*/ 112 w 135"/>
                <a:gd name="T75" fmla="*/ 12 h 38"/>
                <a:gd name="T76" fmla="*/ 118 w 135"/>
                <a:gd name="T77" fmla="*/ 8 h 38"/>
                <a:gd name="T78" fmla="*/ 125 w 135"/>
                <a:gd name="T79" fmla="*/ 3 h 38"/>
                <a:gd name="T80" fmla="*/ 125 w 135"/>
                <a:gd name="T81" fmla="*/ 3 h 38"/>
                <a:gd name="T82" fmla="*/ 127 w 135"/>
                <a:gd name="T83" fmla="*/ 1 h 38"/>
                <a:gd name="T84" fmla="*/ 129 w 135"/>
                <a:gd name="T85" fmla="*/ 0 h 38"/>
                <a:gd name="T86" fmla="*/ 131 w 135"/>
                <a:gd name="T87" fmla="*/ 1 h 38"/>
                <a:gd name="T88" fmla="*/ 133 w 135"/>
                <a:gd name="T89" fmla="*/ 3 h 38"/>
                <a:gd name="T90" fmla="*/ 133 w 135"/>
                <a:gd name="T91" fmla="*/ 3 h 38"/>
                <a:gd name="T92" fmla="*/ 134 w 135"/>
                <a:gd name="T93" fmla="*/ 5 h 38"/>
                <a:gd name="T94" fmla="*/ 135 w 135"/>
                <a:gd name="T95" fmla="*/ 7 h 38"/>
                <a:gd name="T96" fmla="*/ 134 w 135"/>
                <a:gd name="T97" fmla="*/ 9 h 38"/>
                <a:gd name="T98" fmla="*/ 133 w 135"/>
                <a:gd name="T99" fmla="*/ 11 h 38"/>
                <a:gd name="T100" fmla="*/ 133 w 135"/>
                <a:gd name="T101" fmla="*/ 11 h 38"/>
                <a:gd name="T102" fmla="*/ 127 w 135"/>
                <a:gd name="T103" fmla="*/ 18 h 38"/>
                <a:gd name="T104" fmla="*/ 119 w 135"/>
                <a:gd name="T105" fmla="*/ 23 h 38"/>
                <a:gd name="T106" fmla="*/ 112 w 135"/>
                <a:gd name="T107" fmla="*/ 27 h 38"/>
                <a:gd name="T108" fmla="*/ 103 w 135"/>
                <a:gd name="T109" fmla="*/ 31 h 38"/>
                <a:gd name="T110" fmla="*/ 95 w 135"/>
                <a:gd name="T111" fmla="*/ 35 h 38"/>
                <a:gd name="T112" fmla="*/ 86 w 135"/>
                <a:gd name="T113" fmla="*/ 37 h 38"/>
                <a:gd name="T114" fmla="*/ 78 w 135"/>
                <a:gd name="T115" fmla="*/ 38 h 38"/>
                <a:gd name="T116" fmla="*/ 68 w 135"/>
                <a:gd name="T11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5" h="38">
                  <a:moveTo>
                    <a:pt x="68" y="38"/>
                  </a:moveTo>
                  <a:lnTo>
                    <a:pt x="68" y="38"/>
                  </a:lnTo>
                  <a:lnTo>
                    <a:pt x="68" y="38"/>
                  </a:lnTo>
                  <a:lnTo>
                    <a:pt x="58" y="38"/>
                  </a:lnTo>
                  <a:lnTo>
                    <a:pt x="50" y="37"/>
                  </a:lnTo>
                  <a:lnTo>
                    <a:pt x="40" y="34"/>
                  </a:lnTo>
                  <a:lnTo>
                    <a:pt x="31" y="31"/>
                  </a:lnTo>
                  <a:lnTo>
                    <a:pt x="24" y="27"/>
                  </a:lnTo>
                  <a:lnTo>
                    <a:pt x="16" y="23"/>
                  </a:lnTo>
                  <a:lnTo>
                    <a:pt x="9" y="16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4"/>
                  </a:lnTo>
                  <a:lnTo>
                    <a:pt x="1" y="1"/>
                  </a:lnTo>
                  <a:lnTo>
                    <a:pt x="1" y="1"/>
                  </a:lnTo>
                  <a:lnTo>
                    <a:pt x="4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6" y="7"/>
                  </a:lnTo>
                  <a:lnTo>
                    <a:pt x="23" y="12"/>
                  </a:lnTo>
                  <a:lnTo>
                    <a:pt x="29" y="16"/>
                  </a:lnTo>
                  <a:lnTo>
                    <a:pt x="37" y="20"/>
                  </a:lnTo>
                  <a:lnTo>
                    <a:pt x="44" y="22"/>
                  </a:lnTo>
                  <a:lnTo>
                    <a:pt x="52" y="24"/>
                  </a:lnTo>
                  <a:lnTo>
                    <a:pt x="59" y="25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75" y="25"/>
                  </a:lnTo>
                  <a:lnTo>
                    <a:pt x="84" y="24"/>
                  </a:lnTo>
                  <a:lnTo>
                    <a:pt x="91" y="22"/>
                  </a:lnTo>
                  <a:lnTo>
                    <a:pt x="99" y="20"/>
                  </a:lnTo>
                  <a:lnTo>
                    <a:pt x="105" y="16"/>
                  </a:lnTo>
                  <a:lnTo>
                    <a:pt x="112" y="12"/>
                  </a:lnTo>
                  <a:lnTo>
                    <a:pt x="118" y="8"/>
                  </a:lnTo>
                  <a:lnTo>
                    <a:pt x="125" y="3"/>
                  </a:lnTo>
                  <a:lnTo>
                    <a:pt x="125" y="3"/>
                  </a:lnTo>
                  <a:lnTo>
                    <a:pt x="127" y="1"/>
                  </a:lnTo>
                  <a:lnTo>
                    <a:pt x="129" y="0"/>
                  </a:lnTo>
                  <a:lnTo>
                    <a:pt x="131" y="1"/>
                  </a:lnTo>
                  <a:lnTo>
                    <a:pt x="133" y="3"/>
                  </a:lnTo>
                  <a:lnTo>
                    <a:pt x="133" y="3"/>
                  </a:lnTo>
                  <a:lnTo>
                    <a:pt x="134" y="5"/>
                  </a:lnTo>
                  <a:lnTo>
                    <a:pt x="135" y="7"/>
                  </a:lnTo>
                  <a:lnTo>
                    <a:pt x="134" y="9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27" y="18"/>
                  </a:lnTo>
                  <a:lnTo>
                    <a:pt x="119" y="23"/>
                  </a:lnTo>
                  <a:lnTo>
                    <a:pt x="112" y="27"/>
                  </a:lnTo>
                  <a:lnTo>
                    <a:pt x="103" y="31"/>
                  </a:lnTo>
                  <a:lnTo>
                    <a:pt x="95" y="35"/>
                  </a:lnTo>
                  <a:lnTo>
                    <a:pt x="86" y="37"/>
                  </a:lnTo>
                  <a:lnTo>
                    <a:pt x="78" y="38"/>
                  </a:lnTo>
                  <a:lnTo>
                    <a:pt x="68" y="3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7" name="Freeform 81">
              <a:extLst>
                <a:ext uri="{FF2B5EF4-FFF2-40B4-BE49-F238E27FC236}">
                  <a16:creationId xmlns:a16="http://schemas.microsoft.com/office/drawing/2014/main" id="{9D964AEC-27AE-4BC8-B6B8-BEECE0835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1313" y="4700588"/>
              <a:ext cx="292100" cy="77788"/>
            </a:xfrm>
            <a:custGeom>
              <a:avLst/>
              <a:gdLst>
                <a:gd name="T0" fmla="*/ 92 w 184"/>
                <a:gd name="T1" fmla="*/ 49 h 49"/>
                <a:gd name="T2" fmla="*/ 92 w 184"/>
                <a:gd name="T3" fmla="*/ 49 h 49"/>
                <a:gd name="T4" fmla="*/ 92 w 184"/>
                <a:gd name="T5" fmla="*/ 49 h 49"/>
                <a:gd name="T6" fmla="*/ 79 w 184"/>
                <a:gd name="T7" fmla="*/ 48 h 49"/>
                <a:gd name="T8" fmla="*/ 66 w 184"/>
                <a:gd name="T9" fmla="*/ 46 h 49"/>
                <a:gd name="T10" fmla="*/ 54 w 184"/>
                <a:gd name="T11" fmla="*/ 43 h 49"/>
                <a:gd name="T12" fmla="*/ 43 w 184"/>
                <a:gd name="T13" fmla="*/ 39 h 49"/>
                <a:gd name="T14" fmla="*/ 32 w 184"/>
                <a:gd name="T15" fmla="*/ 33 h 49"/>
                <a:gd name="T16" fmla="*/ 21 w 184"/>
                <a:gd name="T17" fmla="*/ 27 h 49"/>
                <a:gd name="T18" fmla="*/ 10 w 184"/>
                <a:gd name="T19" fmla="*/ 19 h 49"/>
                <a:gd name="T20" fmla="*/ 2 w 184"/>
                <a:gd name="T21" fmla="*/ 11 h 49"/>
                <a:gd name="T22" fmla="*/ 2 w 184"/>
                <a:gd name="T23" fmla="*/ 11 h 49"/>
                <a:gd name="T24" fmla="*/ 0 w 184"/>
                <a:gd name="T25" fmla="*/ 9 h 49"/>
                <a:gd name="T26" fmla="*/ 0 w 184"/>
                <a:gd name="T27" fmla="*/ 6 h 49"/>
                <a:gd name="T28" fmla="*/ 0 w 184"/>
                <a:gd name="T29" fmla="*/ 4 h 49"/>
                <a:gd name="T30" fmla="*/ 2 w 184"/>
                <a:gd name="T31" fmla="*/ 2 h 49"/>
                <a:gd name="T32" fmla="*/ 2 w 184"/>
                <a:gd name="T33" fmla="*/ 2 h 49"/>
                <a:gd name="T34" fmla="*/ 4 w 184"/>
                <a:gd name="T35" fmla="*/ 1 h 49"/>
                <a:gd name="T36" fmla="*/ 6 w 184"/>
                <a:gd name="T37" fmla="*/ 0 h 49"/>
                <a:gd name="T38" fmla="*/ 8 w 184"/>
                <a:gd name="T39" fmla="*/ 1 h 49"/>
                <a:gd name="T40" fmla="*/ 10 w 184"/>
                <a:gd name="T41" fmla="*/ 2 h 49"/>
                <a:gd name="T42" fmla="*/ 10 w 184"/>
                <a:gd name="T43" fmla="*/ 2 h 49"/>
                <a:gd name="T44" fmla="*/ 19 w 184"/>
                <a:gd name="T45" fmla="*/ 10 h 49"/>
                <a:gd name="T46" fmla="*/ 28 w 184"/>
                <a:gd name="T47" fmla="*/ 17 h 49"/>
                <a:gd name="T48" fmla="*/ 37 w 184"/>
                <a:gd name="T49" fmla="*/ 22 h 49"/>
                <a:gd name="T50" fmla="*/ 48 w 184"/>
                <a:gd name="T51" fmla="*/ 28 h 49"/>
                <a:gd name="T52" fmla="*/ 58 w 184"/>
                <a:gd name="T53" fmla="*/ 31 h 49"/>
                <a:gd name="T54" fmla="*/ 69 w 184"/>
                <a:gd name="T55" fmla="*/ 34 h 49"/>
                <a:gd name="T56" fmla="*/ 80 w 184"/>
                <a:gd name="T57" fmla="*/ 35 h 49"/>
                <a:gd name="T58" fmla="*/ 92 w 184"/>
                <a:gd name="T59" fmla="*/ 36 h 49"/>
                <a:gd name="T60" fmla="*/ 92 w 184"/>
                <a:gd name="T61" fmla="*/ 36 h 49"/>
                <a:gd name="T62" fmla="*/ 92 w 184"/>
                <a:gd name="T63" fmla="*/ 36 h 49"/>
                <a:gd name="T64" fmla="*/ 104 w 184"/>
                <a:gd name="T65" fmla="*/ 35 h 49"/>
                <a:gd name="T66" fmla="*/ 114 w 184"/>
                <a:gd name="T67" fmla="*/ 34 h 49"/>
                <a:gd name="T68" fmla="*/ 125 w 184"/>
                <a:gd name="T69" fmla="*/ 31 h 49"/>
                <a:gd name="T70" fmla="*/ 136 w 184"/>
                <a:gd name="T71" fmla="*/ 28 h 49"/>
                <a:gd name="T72" fmla="*/ 145 w 184"/>
                <a:gd name="T73" fmla="*/ 24 h 49"/>
                <a:gd name="T74" fmla="*/ 155 w 184"/>
                <a:gd name="T75" fmla="*/ 17 h 49"/>
                <a:gd name="T76" fmla="*/ 165 w 184"/>
                <a:gd name="T77" fmla="*/ 11 h 49"/>
                <a:gd name="T78" fmla="*/ 173 w 184"/>
                <a:gd name="T79" fmla="*/ 3 h 49"/>
                <a:gd name="T80" fmla="*/ 173 w 184"/>
                <a:gd name="T81" fmla="*/ 3 h 49"/>
                <a:gd name="T82" fmla="*/ 175 w 184"/>
                <a:gd name="T83" fmla="*/ 2 h 49"/>
                <a:gd name="T84" fmla="*/ 178 w 184"/>
                <a:gd name="T85" fmla="*/ 1 h 49"/>
                <a:gd name="T86" fmla="*/ 180 w 184"/>
                <a:gd name="T87" fmla="*/ 2 h 49"/>
                <a:gd name="T88" fmla="*/ 182 w 184"/>
                <a:gd name="T89" fmla="*/ 3 h 49"/>
                <a:gd name="T90" fmla="*/ 182 w 184"/>
                <a:gd name="T91" fmla="*/ 3 h 49"/>
                <a:gd name="T92" fmla="*/ 183 w 184"/>
                <a:gd name="T93" fmla="*/ 5 h 49"/>
                <a:gd name="T94" fmla="*/ 184 w 184"/>
                <a:gd name="T95" fmla="*/ 7 h 49"/>
                <a:gd name="T96" fmla="*/ 183 w 184"/>
                <a:gd name="T97" fmla="*/ 10 h 49"/>
                <a:gd name="T98" fmla="*/ 182 w 184"/>
                <a:gd name="T99" fmla="*/ 12 h 49"/>
                <a:gd name="T100" fmla="*/ 182 w 184"/>
                <a:gd name="T101" fmla="*/ 12 h 49"/>
                <a:gd name="T102" fmla="*/ 172 w 184"/>
                <a:gd name="T103" fmla="*/ 20 h 49"/>
                <a:gd name="T104" fmla="*/ 163 w 184"/>
                <a:gd name="T105" fmla="*/ 28 h 49"/>
                <a:gd name="T106" fmla="*/ 152 w 184"/>
                <a:gd name="T107" fmla="*/ 34 h 49"/>
                <a:gd name="T108" fmla="*/ 140 w 184"/>
                <a:gd name="T109" fmla="*/ 40 h 49"/>
                <a:gd name="T110" fmla="*/ 129 w 184"/>
                <a:gd name="T111" fmla="*/ 44 h 49"/>
                <a:gd name="T112" fmla="*/ 117 w 184"/>
                <a:gd name="T113" fmla="*/ 46 h 49"/>
                <a:gd name="T114" fmla="*/ 105 w 184"/>
                <a:gd name="T115" fmla="*/ 48 h 49"/>
                <a:gd name="T116" fmla="*/ 92 w 184"/>
                <a:gd name="T11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4" h="49">
                  <a:moveTo>
                    <a:pt x="92" y="49"/>
                  </a:moveTo>
                  <a:lnTo>
                    <a:pt x="92" y="49"/>
                  </a:lnTo>
                  <a:lnTo>
                    <a:pt x="92" y="49"/>
                  </a:lnTo>
                  <a:lnTo>
                    <a:pt x="79" y="48"/>
                  </a:lnTo>
                  <a:lnTo>
                    <a:pt x="66" y="46"/>
                  </a:lnTo>
                  <a:lnTo>
                    <a:pt x="54" y="43"/>
                  </a:lnTo>
                  <a:lnTo>
                    <a:pt x="43" y="39"/>
                  </a:lnTo>
                  <a:lnTo>
                    <a:pt x="32" y="33"/>
                  </a:lnTo>
                  <a:lnTo>
                    <a:pt x="21" y="27"/>
                  </a:lnTo>
                  <a:lnTo>
                    <a:pt x="10" y="19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8" y="1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9" y="10"/>
                  </a:lnTo>
                  <a:lnTo>
                    <a:pt x="28" y="17"/>
                  </a:lnTo>
                  <a:lnTo>
                    <a:pt x="37" y="22"/>
                  </a:lnTo>
                  <a:lnTo>
                    <a:pt x="48" y="28"/>
                  </a:lnTo>
                  <a:lnTo>
                    <a:pt x="58" y="31"/>
                  </a:lnTo>
                  <a:lnTo>
                    <a:pt x="69" y="34"/>
                  </a:lnTo>
                  <a:lnTo>
                    <a:pt x="80" y="35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104" y="35"/>
                  </a:lnTo>
                  <a:lnTo>
                    <a:pt x="114" y="34"/>
                  </a:lnTo>
                  <a:lnTo>
                    <a:pt x="125" y="31"/>
                  </a:lnTo>
                  <a:lnTo>
                    <a:pt x="136" y="28"/>
                  </a:lnTo>
                  <a:lnTo>
                    <a:pt x="145" y="24"/>
                  </a:lnTo>
                  <a:lnTo>
                    <a:pt x="155" y="17"/>
                  </a:lnTo>
                  <a:lnTo>
                    <a:pt x="165" y="11"/>
                  </a:lnTo>
                  <a:lnTo>
                    <a:pt x="173" y="3"/>
                  </a:lnTo>
                  <a:lnTo>
                    <a:pt x="173" y="3"/>
                  </a:lnTo>
                  <a:lnTo>
                    <a:pt x="175" y="2"/>
                  </a:lnTo>
                  <a:lnTo>
                    <a:pt x="178" y="1"/>
                  </a:lnTo>
                  <a:lnTo>
                    <a:pt x="180" y="2"/>
                  </a:lnTo>
                  <a:lnTo>
                    <a:pt x="182" y="3"/>
                  </a:lnTo>
                  <a:lnTo>
                    <a:pt x="182" y="3"/>
                  </a:lnTo>
                  <a:lnTo>
                    <a:pt x="183" y="5"/>
                  </a:lnTo>
                  <a:lnTo>
                    <a:pt x="184" y="7"/>
                  </a:lnTo>
                  <a:lnTo>
                    <a:pt x="183" y="10"/>
                  </a:lnTo>
                  <a:lnTo>
                    <a:pt x="182" y="12"/>
                  </a:lnTo>
                  <a:lnTo>
                    <a:pt x="182" y="12"/>
                  </a:lnTo>
                  <a:lnTo>
                    <a:pt x="172" y="20"/>
                  </a:lnTo>
                  <a:lnTo>
                    <a:pt x="163" y="28"/>
                  </a:lnTo>
                  <a:lnTo>
                    <a:pt x="152" y="34"/>
                  </a:lnTo>
                  <a:lnTo>
                    <a:pt x="140" y="40"/>
                  </a:lnTo>
                  <a:lnTo>
                    <a:pt x="129" y="44"/>
                  </a:lnTo>
                  <a:lnTo>
                    <a:pt x="117" y="46"/>
                  </a:lnTo>
                  <a:lnTo>
                    <a:pt x="105" y="48"/>
                  </a:lnTo>
                  <a:lnTo>
                    <a:pt x="92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8" name="Freeform 82">
              <a:extLst>
                <a:ext uri="{FF2B5EF4-FFF2-40B4-BE49-F238E27FC236}">
                  <a16:creationId xmlns:a16="http://schemas.microsoft.com/office/drawing/2014/main" id="{7FE5A7E4-60F8-4933-AC3F-3EC99C442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51313" y="4700588"/>
              <a:ext cx="292100" cy="77788"/>
            </a:xfrm>
            <a:custGeom>
              <a:avLst/>
              <a:gdLst>
                <a:gd name="T0" fmla="*/ 92 w 184"/>
                <a:gd name="T1" fmla="*/ 49 h 49"/>
                <a:gd name="T2" fmla="*/ 92 w 184"/>
                <a:gd name="T3" fmla="*/ 49 h 49"/>
                <a:gd name="T4" fmla="*/ 92 w 184"/>
                <a:gd name="T5" fmla="*/ 49 h 49"/>
                <a:gd name="T6" fmla="*/ 79 w 184"/>
                <a:gd name="T7" fmla="*/ 48 h 49"/>
                <a:gd name="T8" fmla="*/ 66 w 184"/>
                <a:gd name="T9" fmla="*/ 46 h 49"/>
                <a:gd name="T10" fmla="*/ 54 w 184"/>
                <a:gd name="T11" fmla="*/ 43 h 49"/>
                <a:gd name="T12" fmla="*/ 43 w 184"/>
                <a:gd name="T13" fmla="*/ 39 h 49"/>
                <a:gd name="T14" fmla="*/ 32 w 184"/>
                <a:gd name="T15" fmla="*/ 33 h 49"/>
                <a:gd name="T16" fmla="*/ 21 w 184"/>
                <a:gd name="T17" fmla="*/ 27 h 49"/>
                <a:gd name="T18" fmla="*/ 10 w 184"/>
                <a:gd name="T19" fmla="*/ 19 h 49"/>
                <a:gd name="T20" fmla="*/ 2 w 184"/>
                <a:gd name="T21" fmla="*/ 11 h 49"/>
                <a:gd name="T22" fmla="*/ 2 w 184"/>
                <a:gd name="T23" fmla="*/ 11 h 49"/>
                <a:gd name="T24" fmla="*/ 0 w 184"/>
                <a:gd name="T25" fmla="*/ 9 h 49"/>
                <a:gd name="T26" fmla="*/ 0 w 184"/>
                <a:gd name="T27" fmla="*/ 6 h 49"/>
                <a:gd name="T28" fmla="*/ 0 w 184"/>
                <a:gd name="T29" fmla="*/ 4 h 49"/>
                <a:gd name="T30" fmla="*/ 2 w 184"/>
                <a:gd name="T31" fmla="*/ 2 h 49"/>
                <a:gd name="T32" fmla="*/ 2 w 184"/>
                <a:gd name="T33" fmla="*/ 2 h 49"/>
                <a:gd name="T34" fmla="*/ 4 w 184"/>
                <a:gd name="T35" fmla="*/ 1 h 49"/>
                <a:gd name="T36" fmla="*/ 6 w 184"/>
                <a:gd name="T37" fmla="*/ 0 h 49"/>
                <a:gd name="T38" fmla="*/ 8 w 184"/>
                <a:gd name="T39" fmla="*/ 1 h 49"/>
                <a:gd name="T40" fmla="*/ 10 w 184"/>
                <a:gd name="T41" fmla="*/ 2 h 49"/>
                <a:gd name="T42" fmla="*/ 10 w 184"/>
                <a:gd name="T43" fmla="*/ 2 h 49"/>
                <a:gd name="T44" fmla="*/ 19 w 184"/>
                <a:gd name="T45" fmla="*/ 10 h 49"/>
                <a:gd name="T46" fmla="*/ 28 w 184"/>
                <a:gd name="T47" fmla="*/ 17 h 49"/>
                <a:gd name="T48" fmla="*/ 37 w 184"/>
                <a:gd name="T49" fmla="*/ 22 h 49"/>
                <a:gd name="T50" fmla="*/ 48 w 184"/>
                <a:gd name="T51" fmla="*/ 28 h 49"/>
                <a:gd name="T52" fmla="*/ 58 w 184"/>
                <a:gd name="T53" fmla="*/ 31 h 49"/>
                <a:gd name="T54" fmla="*/ 69 w 184"/>
                <a:gd name="T55" fmla="*/ 34 h 49"/>
                <a:gd name="T56" fmla="*/ 80 w 184"/>
                <a:gd name="T57" fmla="*/ 35 h 49"/>
                <a:gd name="T58" fmla="*/ 92 w 184"/>
                <a:gd name="T59" fmla="*/ 36 h 49"/>
                <a:gd name="T60" fmla="*/ 92 w 184"/>
                <a:gd name="T61" fmla="*/ 36 h 49"/>
                <a:gd name="T62" fmla="*/ 92 w 184"/>
                <a:gd name="T63" fmla="*/ 36 h 49"/>
                <a:gd name="T64" fmla="*/ 104 w 184"/>
                <a:gd name="T65" fmla="*/ 35 h 49"/>
                <a:gd name="T66" fmla="*/ 114 w 184"/>
                <a:gd name="T67" fmla="*/ 34 h 49"/>
                <a:gd name="T68" fmla="*/ 125 w 184"/>
                <a:gd name="T69" fmla="*/ 31 h 49"/>
                <a:gd name="T70" fmla="*/ 136 w 184"/>
                <a:gd name="T71" fmla="*/ 28 h 49"/>
                <a:gd name="T72" fmla="*/ 145 w 184"/>
                <a:gd name="T73" fmla="*/ 24 h 49"/>
                <a:gd name="T74" fmla="*/ 155 w 184"/>
                <a:gd name="T75" fmla="*/ 17 h 49"/>
                <a:gd name="T76" fmla="*/ 165 w 184"/>
                <a:gd name="T77" fmla="*/ 11 h 49"/>
                <a:gd name="T78" fmla="*/ 173 w 184"/>
                <a:gd name="T79" fmla="*/ 3 h 49"/>
                <a:gd name="T80" fmla="*/ 173 w 184"/>
                <a:gd name="T81" fmla="*/ 3 h 49"/>
                <a:gd name="T82" fmla="*/ 175 w 184"/>
                <a:gd name="T83" fmla="*/ 2 h 49"/>
                <a:gd name="T84" fmla="*/ 178 w 184"/>
                <a:gd name="T85" fmla="*/ 1 h 49"/>
                <a:gd name="T86" fmla="*/ 180 w 184"/>
                <a:gd name="T87" fmla="*/ 2 h 49"/>
                <a:gd name="T88" fmla="*/ 182 w 184"/>
                <a:gd name="T89" fmla="*/ 3 h 49"/>
                <a:gd name="T90" fmla="*/ 182 w 184"/>
                <a:gd name="T91" fmla="*/ 3 h 49"/>
                <a:gd name="T92" fmla="*/ 183 w 184"/>
                <a:gd name="T93" fmla="*/ 5 h 49"/>
                <a:gd name="T94" fmla="*/ 184 w 184"/>
                <a:gd name="T95" fmla="*/ 7 h 49"/>
                <a:gd name="T96" fmla="*/ 183 w 184"/>
                <a:gd name="T97" fmla="*/ 10 h 49"/>
                <a:gd name="T98" fmla="*/ 182 w 184"/>
                <a:gd name="T99" fmla="*/ 12 h 49"/>
                <a:gd name="T100" fmla="*/ 182 w 184"/>
                <a:gd name="T101" fmla="*/ 12 h 49"/>
                <a:gd name="T102" fmla="*/ 172 w 184"/>
                <a:gd name="T103" fmla="*/ 20 h 49"/>
                <a:gd name="T104" fmla="*/ 163 w 184"/>
                <a:gd name="T105" fmla="*/ 28 h 49"/>
                <a:gd name="T106" fmla="*/ 152 w 184"/>
                <a:gd name="T107" fmla="*/ 34 h 49"/>
                <a:gd name="T108" fmla="*/ 140 w 184"/>
                <a:gd name="T109" fmla="*/ 40 h 49"/>
                <a:gd name="T110" fmla="*/ 129 w 184"/>
                <a:gd name="T111" fmla="*/ 44 h 49"/>
                <a:gd name="T112" fmla="*/ 117 w 184"/>
                <a:gd name="T113" fmla="*/ 46 h 49"/>
                <a:gd name="T114" fmla="*/ 105 w 184"/>
                <a:gd name="T115" fmla="*/ 48 h 49"/>
                <a:gd name="T116" fmla="*/ 92 w 184"/>
                <a:gd name="T11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4" h="49">
                  <a:moveTo>
                    <a:pt x="92" y="49"/>
                  </a:moveTo>
                  <a:lnTo>
                    <a:pt x="92" y="49"/>
                  </a:lnTo>
                  <a:lnTo>
                    <a:pt x="92" y="49"/>
                  </a:lnTo>
                  <a:lnTo>
                    <a:pt x="79" y="48"/>
                  </a:lnTo>
                  <a:lnTo>
                    <a:pt x="66" y="46"/>
                  </a:lnTo>
                  <a:lnTo>
                    <a:pt x="54" y="43"/>
                  </a:lnTo>
                  <a:lnTo>
                    <a:pt x="43" y="39"/>
                  </a:lnTo>
                  <a:lnTo>
                    <a:pt x="32" y="33"/>
                  </a:lnTo>
                  <a:lnTo>
                    <a:pt x="21" y="27"/>
                  </a:lnTo>
                  <a:lnTo>
                    <a:pt x="10" y="19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8" y="1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9" y="10"/>
                  </a:lnTo>
                  <a:lnTo>
                    <a:pt x="28" y="17"/>
                  </a:lnTo>
                  <a:lnTo>
                    <a:pt x="37" y="22"/>
                  </a:lnTo>
                  <a:lnTo>
                    <a:pt x="48" y="28"/>
                  </a:lnTo>
                  <a:lnTo>
                    <a:pt x="58" y="31"/>
                  </a:lnTo>
                  <a:lnTo>
                    <a:pt x="69" y="34"/>
                  </a:lnTo>
                  <a:lnTo>
                    <a:pt x="80" y="35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104" y="35"/>
                  </a:lnTo>
                  <a:lnTo>
                    <a:pt x="114" y="34"/>
                  </a:lnTo>
                  <a:lnTo>
                    <a:pt x="125" y="31"/>
                  </a:lnTo>
                  <a:lnTo>
                    <a:pt x="136" y="28"/>
                  </a:lnTo>
                  <a:lnTo>
                    <a:pt x="145" y="24"/>
                  </a:lnTo>
                  <a:lnTo>
                    <a:pt x="155" y="17"/>
                  </a:lnTo>
                  <a:lnTo>
                    <a:pt x="165" y="11"/>
                  </a:lnTo>
                  <a:lnTo>
                    <a:pt x="173" y="3"/>
                  </a:lnTo>
                  <a:lnTo>
                    <a:pt x="173" y="3"/>
                  </a:lnTo>
                  <a:lnTo>
                    <a:pt x="175" y="2"/>
                  </a:lnTo>
                  <a:lnTo>
                    <a:pt x="178" y="1"/>
                  </a:lnTo>
                  <a:lnTo>
                    <a:pt x="180" y="2"/>
                  </a:lnTo>
                  <a:lnTo>
                    <a:pt x="182" y="3"/>
                  </a:lnTo>
                  <a:lnTo>
                    <a:pt x="182" y="3"/>
                  </a:lnTo>
                  <a:lnTo>
                    <a:pt x="183" y="5"/>
                  </a:lnTo>
                  <a:lnTo>
                    <a:pt x="184" y="7"/>
                  </a:lnTo>
                  <a:lnTo>
                    <a:pt x="183" y="10"/>
                  </a:lnTo>
                  <a:lnTo>
                    <a:pt x="182" y="12"/>
                  </a:lnTo>
                  <a:lnTo>
                    <a:pt x="182" y="12"/>
                  </a:lnTo>
                  <a:lnTo>
                    <a:pt x="172" y="20"/>
                  </a:lnTo>
                  <a:lnTo>
                    <a:pt x="163" y="28"/>
                  </a:lnTo>
                  <a:lnTo>
                    <a:pt x="152" y="34"/>
                  </a:lnTo>
                  <a:lnTo>
                    <a:pt x="140" y="40"/>
                  </a:lnTo>
                  <a:lnTo>
                    <a:pt x="129" y="44"/>
                  </a:lnTo>
                  <a:lnTo>
                    <a:pt x="117" y="46"/>
                  </a:lnTo>
                  <a:lnTo>
                    <a:pt x="105" y="48"/>
                  </a:lnTo>
                  <a:lnTo>
                    <a:pt x="92" y="49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9" name="Freeform 83">
              <a:extLst>
                <a:ext uri="{FF2B5EF4-FFF2-40B4-BE49-F238E27FC236}">
                  <a16:creationId xmlns:a16="http://schemas.microsoft.com/office/drawing/2014/main" id="{80C81D26-3B60-4B2C-B0FF-7F38A4DCD1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51325" y="4440238"/>
              <a:ext cx="106363" cy="107950"/>
            </a:xfrm>
            <a:custGeom>
              <a:avLst/>
              <a:gdLst>
                <a:gd name="T0" fmla="*/ 33 w 67"/>
                <a:gd name="T1" fmla="*/ 13 h 68"/>
                <a:gd name="T2" fmla="*/ 26 w 67"/>
                <a:gd name="T3" fmla="*/ 14 h 68"/>
                <a:gd name="T4" fmla="*/ 18 w 67"/>
                <a:gd name="T5" fmla="*/ 19 h 68"/>
                <a:gd name="T6" fmla="*/ 14 w 67"/>
                <a:gd name="T7" fmla="*/ 26 h 68"/>
                <a:gd name="T8" fmla="*/ 12 w 67"/>
                <a:gd name="T9" fmla="*/ 34 h 68"/>
                <a:gd name="T10" fmla="*/ 13 w 67"/>
                <a:gd name="T11" fmla="*/ 39 h 68"/>
                <a:gd name="T12" fmla="*/ 16 w 67"/>
                <a:gd name="T13" fmla="*/ 46 h 68"/>
                <a:gd name="T14" fmla="*/ 21 w 67"/>
                <a:gd name="T15" fmla="*/ 51 h 68"/>
                <a:gd name="T16" fmla="*/ 29 w 67"/>
                <a:gd name="T17" fmla="*/ 55 h 68"/>
                <a:gd name="T18" fmla="*/ 33 w 67"/>
                <a:gd name="T19" fmla="*/ 56 h 68"/>
                <a:gd name="T20" fmla="*/ 42 w 67"/>
                <a:gd name="T21" fmla="*/ 54 h 68"/>
                <a:gd name="T22" fmla="*/ 48 w 67"/>
                <a:gd name="T23" fmla="*/ 49 h 68"/>
                <a:gd name="T24" fmla="*/ 54 w 67"/>
                <a:gd name="T25" fmla="*/ 43 h 68"/>
                <a:gd name="T26" fmla="*/ 55 w 67"/>
                <a:gd name="T27" fmla="*/ 34 h 68"/>
                <a:gd name="T28" fmla="*/ 55 w 67"/>
                <a:gd name="T29" fmla="*/ 30 h 68"/>
                <a:gd name="T30" fmla="*/ 51 w 67"/>
                <a:gd name="T31" fmla="*/ 23 h 68"/>
                <a:gd name="T32" fmla="*/ 45 w 67"/>
                <a:gd name="T33" fmla="*/ 16 h 68"/>
                <a:gd name="T34" fmla="*/ 37 w 67"/>
                <a:gd name="T35" fmla="*/ 13 h 68"/>
                <a:gd name="T36" fmla="*/ 33 w 67"/>
                <a:gd name="T37" fmla="*/ 68 h 68"/>
                <a:gd name="T38" fmla="*/ 27 w 67"/>
                <a:gd name="T39" fmla="*/ 68 h 68"/>
                <a:gd name="T40" fmla="*/ 15 w 67"/>
                <a:gd name="T41" fmla="*/ 62 h 68"/>
                <a:gd name="T42" fmla="*/ 5 w 67"/>
                <a:gd name="T43" fmla="*/ 53 h 68"/>
                <a:gd name="T44" fmla="*/ 0 w 67"/>
                <a:gd name="T45" fmla="*/ 41 h 68"/>
                <a:gd name="T46" fmla="*/ 0 w 67"/>
                <a:gd name="T47" fmla="*/ 34 h 68"/>
                <a:gd name="T48" fmla="*/ 2 w 67"/>
                <a:gd name="T49" fmla="*/ 20 h 68"/>
                <a:gd name="T50" fmla="*/ 10 w 67"/>
                <a:gd name="T51" fmla="*/ 10 h 68"/>
                <a:gd name="T52" fmla="*/ 20 w 67"/>
                <a:gd name="T53" fmla="*/ 3 h 68"/>
                <a:gd name="T54" fmla="*/ 33 w 67"/>
                <a:gd name="T55" fmla="*/ 0 h 68"/>
                <a:gd name="T56" fmla="*/ 41 w 67"/>
                <a:gd name="T57" fmla="*/ 1 h 68"/>
                <a:gd name="T58" fmla="*/ 52 w 67"/>
                <a:gd name="T59" fmla="*/ 6 h 68"/>
                <a:gd name="T60" fmla="*/ 62 w 67"/>
                <a:gd name="T61" fmla="*/ 15 h 68"/>
                <a:gd name="T62" fmla="*/ 66 w 67"/>
                <a:gd name="T63" fmla="*/ 27 h 68"/>
                <a:gd name="T64" fmla="*/ 67 w 67"/>
                <a:gd name="T65" fmla="*/ 34 h 68"/>
                <a:gd name="T66" fmla="*/ 64 w 67"/>
                <a:gd name="T67" fmla="*/ 47 h 68"/>
                <a:gd name="T68" fmla="*/ 58 w 67"/>
                <a:gd name="T69" fmla="*/ 58 h 68"/>
                <a:gd name="T70" fmla="*/ 47 w 67"/>
                <a:gd name="T71" fmla="*/ 65 h 68"/>
                <a:gd name="T72" fmla="*/ 33 w 67"/>
                <a:gd name="T7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7" h="68">
                  <a:moveTo>
                    <a:pt x="33" y="13"/>
                  </a:moveTo>
                  <a:lnTo>
                    <a:pt x="33" y="13"/>
                  </a:lnTo>
                  <a:lnTo>
                    <a:pt x="29" y="13"/>
                  </a:lnTo>
                  <a:lnTo>
                    <a:pt x="26" y="14"/>
                  </a:lnTo>
                  <a:lnTo>
                    <a:pt x="21" y="16"/>
                  </a:lnTo>
                  <a:lnTo>
                    <a:pt x="18" y="19"/>
                  </a:lnTo>
                  <a:lnTo>
                    <a:pt x="16" y="23"/>
                  </a:lnTo>
                  <a:lnTo>
                    <a:pt x="14" y="26"/>
                  </a:lnTo>
                  <a:lnTo>
                    <a:pt x="13" y="30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3" y="39"/>
                  </a:lnTo>
                  <a:lnTo>
                    <a:pt x="14" y="43"/>
                  </a:lnTo>
                  <a:lnTo>
                    <a:pt x="16" y="46"/>
                  </a:lnTo>
                  <a:lnTo>
                    <a:pt x="18" y="49"/>
                  </a:lnTo>
                  <a:lnTo>
                    <a:pt x="21" y="51"/>
                  </a:lnTo>
                  <a:lnTo>
                    <a:pt x="26" y="54"/>
                  </a:lnTo>
                  <a:lnTo>
                    <a:pt x="29" y="55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7" y="55"/>
                  </a:lnTo>
                  <a:lnTo>
                    <a:pt x="42" y="54"/>
                  </a:lnTo>
                  <a:lnTo>
                    <a:pt x="45" y="51"/>
                  </a:lnTo>
                  <a:lnTo>
                    <a:pt x="48" y="49"/>
                  </a:lnTo>
                  <a:lnTo>
                    <a:pt x="51" y="46"/>
                  </a:lnTo>
                  <a:lnTo>
                    <a:pt x="54" y="43"/>
                  </a:lnTo>
                  <a:lnTo>
                    <a:pt x="55" y="39"/>
                  </a:lnTo>
                  <a:lnTo>
                    <a:pt x="55" y="34"/>
                  </a:lnTo>
                  <a:lnTo>
                    <a:pt x="55" y="34"/>
                  </a:lnTo>
                  <a:lnTo>
                    <a:pt x="55" y="30"/>
                  </a:lnTo>
                  <a:lnTo>
                    <a:pt x="54" y="26"/>
                  </a:lnTo>
                  <a:lnTo>
                    <a:pt x="51" y="23"/>
                  </a:lnTo>
                  <a:lnTo>
                    <a:pt x="48" y="19"/>
                  </a:lnTo>
                  <a:lnTo>
                    <a:pt x="45" y="16"/>
                  </a:lnTo>
                  <a:lnTo>
                    <a:pt x="42" y="14"/>
                  </a:lnTo>
                  <a:lnTo>
                    <a:pt x="37" y="13"/>
                  </a:lnTo>
                  <a:lnTo>
                    <a:pt x="33" y="13"/>
                  </a:lnTo>
                  <a:close/>
                  <a:moveTo>
                    <a:pt x="33" y="68"/>
                  </a:moveTo>
                  <a:lnTo>
                    <a:pt x="33" y="68"/>
                  </a:lnTo>
                  <a:lnTo>
                    <a:pt x="27" y="68"/>
                  </a:lnTo>
                  <a:lnTo>
                    <a:pt x="20" y="65"/>
                  </a:lnTo>
                  <a:lnTo>
                    <a:pt x="15" y="62"/>
                  </a:lnTo>
                  <a:lnTo>
                    <a:pt x="10" y="58"/>
                  </a:lnTo>
                  <a:lnTo>
                    <a:pt x="5" y="53"/>
                  </a:lnTo>
                  <a:lnTo>
                    <a:pt x="2" y="47"/>
                  </a:lnTo>
                  <a:lnTo>
                    <a:pt x="0" y="41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27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10" y="10"/>
                  </a:lnTo>
                  <a:lnTo>
                    <a:pt x="15" y="6"/>
                  </a:lnTo>
                  <a:lnTo>
                    <a:pt x="20" y="3"/>
                  </a:lnTo>
                  <a:lnTo>
                    <a:pt x="27" y="1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1" y="1"/>
                  </a:lnTo>
                  <a:lnTo>
                    <a:pt x="47" y="3"/>
                  </a:lnTo>
                  <a:lnTo>
                    <a:pt x="52" y="6"/>
                  </a:lnTo>
                  <a:lnTo>
                    <a:pt x="58" y="10"/>
                  </a:lnTo>
                  <a:lnTo>
                    <a:pt x="62" y="15"/>
                  </a:lnTo>
                  <a:lnTo>
                    <a:pt x="64" y="20"/>
                  </a:lnTo>
                  <a:lnTo>
                    <a:pt x="66" y="27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6" y="41"/>
                  </a:lnTo>
                  <a:lnTo>
                    <a:pt x="64" y="47"/>
                  </a:lnTo>
                  <a:lnTo>
                    <a:pt x="62" y="53"/>
                  </a:lnTo>
                  <a:lnTo>
                    <a:pt x="58" y="58"/>
                  </a:lnTo>
                  <a:lnTo>
                    <a:pt x="52" y="62"/>
                  </a:lnTo>
                  <a:lnTo>
                    <a:pt x="47" y="65"/>
                  </a:lnTo>
                  <a:lnTo>
                    <a:pt x="41" y="68"/>
                  </a:lnTo>
                  <a:lnTo>
                    <a:pt x="33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0" name="Freeform 86">
              <a:extLst>
                <a:ext uri="{FF2B5EF4-FFF2-40B4-BE49-F238E27FC236}">
                  <a16:creationId xmlns:a16="http://schemas.microsoft.com/office/drawing/2014/main" id="{DDAE01D9-E6E3-4D5C-A83A-25E7902DC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8963" y="4430713"/>
              <a:ext cx="323850" cy="127000"/>
            </a:xfrm>
            <a:custGeom>
              <a:avLst/>
              <a:gdLst>
                <a:gd name="T0" fmla="*/ 23 w 204"/>
                <a:gd name="T1" fmla="*/ 12 h 80"/>
                <a:gd name="T2" fmla="*/ 15 w 204"/>
                <a:gd name="T3" fmla="*/ 16 h 80"/>
                <a:gd name="T4" fmla="*/ 13 w 204"/>
                <a:gd name="T5" fmla="*/ 22 h 80"/>
                <a:gd name="T6" fmla="*/ 13 w 204"/>
                <a:gd name="T7" fmla="*/ 59 h 80"/>
                <a:gd name="T8" fmla="*/ 15 w 204"/>
                <a:gd name="T9" fmla="*/ 65 h 80"/>
                <a:gd name="T10" fmla="*/ 23 w 204"/>
                <a:gd name="T11" fmla="*/ 68 h 80"/>
                <a:gd name="T12" fmla="*/ 181 w 204"/>
                <a:gd name="T13" fmla="*/ 68 h 80"/>
                <a:gd name="T14" fmla="*/ 189 w 204"/>
                <a:gd name="T15" fmla="*/ 65 h 80"/>
                <a:gd name="T16" fmla="*/ 191 w 204"/>
                <a:gd name="T17" fmla="*/ 59 h 80"/>
                <a:gd name="T18" fmla="*/ 191 w 204"/>
                <a:gd name="T19" fmla="*/ 22 h 80"/>
                <a:gd name="T20" fmla="*/ 189 w 204"/>
                <a:gd name="T21" fmla="*/ 16 h 80"/>
                <a:gd name="T22" fmla="*/ 181 w 204"/>
                <a:gd name="T23" fmla="*/ 12 h 80"/>
                <a:gd name="T24" fmla="*/ 181 w 204"/>
                <a:gd name="T25" fmla="*/ 80 h 80"/>
                <a:gd name="T26" fmla="*/ 23 w 204"/>
                <a:gd name="T27" fmla="*/ 80 h 80"/>
                <a:gd name="T28" fmla="*/ 14 w 204"/>
                <a:gd name="T29" fmla="*/ 79 h 80"/>
                <a:gd name="T30" fmla="*/ 7 w 204"/>
                <a:gd name="T31" fmla="*/ 74 h 80"/>
                <a:gd name="T32" fmla="*/ 2 w 204"/>
                <a:gd name="T33" fmla="*/ 67 h 80"/>
                <a:gd name="T34" fmla="*/ 0 w 204"/>
                <a:gd name="T35" fmla="*/ 59 h 80"/>
                <a:gd name="T36" fmla="*/ 0 w 204"/>
                <a:gd name="T37" fmla="*/ 22 h 80"/>
                <a:gd name="T38" fmla="*/ 2 w 204"/>
                <a:gd name="T39" fmla="*/ 14 h 80"/>
                <a:gd name="T40" fmla="*/ 7 w 204"/>
                <a:gd name="T41" fmla="*/ 6 h 80"/>
                <a:gd name="T42" fmla="*/ 14 w 204"/>
                <a:gd name="T43" fmla="*/ 2 h 80"/>
                <a:gd name="T44" fmla="*/ 23 w 204"/>
                <a:gd name="T45" fmla="*/ 0 h 80"/>
                <a:gd name="T46" fmla="*/ 181 w 204"/>
                <a:gd name="T47" fmla="*/ 0 h 80"/>
                <a:gd name="T48" fmla="*/ 191 w 204"/>
                <a:gd name="T49" fmla="*/ 2 h 80"/>
                <a:gd name="T50" fmla="*/ 197 w 204"/>
                <a:gd name="T51" fmla="*/ 6 h 80"/>
                <a:gd name="T52" fmla="*/ 203 w 204"/>
                <a:gd name="T53" fmla="*/ 14 h 80"/>
                <a:gd name="T54" fmla="*/ 204 w 204"/>
                <a:gd name="T55" fmla="*/ 22 h 80"/>
                <a:gd name="T56" fmla="*/ 204 w 204"/>
                <a:gd name="T57" fmla="*/ 59 h 80"/>
                <a:gd name="T58" fmla="*/ 203 w 204"/>
                <a:gd name="T59" fmla="*/ 67 h 80"/>
                <a:gd name="T60" fmla="*/ 197 w 204"/>
                <a:gd name="T61" fmla="*/ 74 h 80"/>
                <a:gd name="T62" fmla="*/ 191 w 204"/>
                <a:gd name="T63" fmla="*/ 79 h 80"/>
                <a:gd name="T64" fmla="*/ 181 w 204"/>
                <a:gd name="T6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4" h="80">
                  <a:moveTo>
                    <a:pt x="23" y="12"/>
                  </a:moveTo>
                  <a:lnTo>
                    <a:pt x="23" y="12"/>
                  </a:lnTo>
                  <a:lnTo>
                    <a:pt x="18" y="14"/>
                  </a:lnTo>
                  <a:lnTo>
                    <a:pt x="15" y="16"/>
                  </a:lnTo>
                  <a:lnTo>
                    <a:pt x="14" y="18"/>
                  </a:lnTo>
                  <a:lnTo>
                    <a:pt x="13" y="22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4" y="62"/>
                  </a:lnTo>
                  <a:lnTo>
                    <a:pt x="15" y="65"/>
                  </a:lnTo>
                  <a:lnTo>
                    <a:pt x="18" y="67"/>
                  </a:lnTo>
                  <a:lnTo>
                    <a:pt x="23" y="68"/>
                  </a:lnTo>
                  <a:lnTo>
                    <a:pt x="181" y="68"/>
                  </a:lnTo>
                  <a:lnTo>
                    <a:pt x="181" y="68"/>
                  </a:lnTo>
                  <a:lnTo>
                    <a:pt x="186" y="67"/>
                  </a:lnTo>
                  <a:lnTo>
                    <a:pt x="189" y="65"/>
                  </a:lnTo>
                  <a:lnTo>
                    <a:pt x="191" y="62"/>
                  </a:lnTo>
                  <a:lnTo>
                    <a:pt x="191" y="59"/>
                  </a:lnTo>
                  <a:lnTo>
                    <a:pt x="191" y="22"/>
                  </a:lnTo>
                  <a:lnTo>
                    <a:pt x="191" y="22"/>
                  </a:lnTo>
                  <a:lnTo>
                    <a:pt x="191" y="18"/>
                  </a:lnTo>
                  <a:lnTo>
                    <a:pt x="189" y="16"/>
                  </a:lnTo>
                  <a:lnTo>
                    <a:pt x="186" y="14"/>
                  </a:lnTo>
                  <a:lnTo>
                    <a:pt x="181" y="12"/>
                  </a:lnTo>
                  <a:lnTo>
                    <a:pt x="23" y="12"/>
                  </a:lnTo>
                  <a:close/>
                  <a:moveTo>
                    <a:pt x="181" y="80"/>
                  </a:moveTo>
                  <a:lnTo>
                    <a:pt x="23" y="80"/>
                  </a:lnTo>
                  <a:lnTo>
                    <a:pt x="23" y="80"/>
                  </a:lnTo>
                  <a:lnTo>
                    <a:pt x="18" y="80"/>
                  </a:lnTo>
                  <a:lnTo>
                    <a:pt x="14" y="79"/>
                  </a:lnTo>
                  <a:lnTo>
                    <a:pt x="10" y="77"/>
                  </a:lnTo>
                  <a:lnTo>
                    <a:pt x="7" y="74"/>
                  </a:lnTo>
                  <a:lnTo>
                    <a:pt x="4" y="70"/>
                  </a:lnTo>
                  <a:lnTo>
                    <a:pt x="2" y="67"/>
                  </a:lnTo>
                  <a:lnTo>
                    <a:pt x="1" y="63"/>
                  </a:lnTo>
                  <a:lnTo>
                    <a:pt x="0" y="59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1" y="18"/>
                  </a:lnTo>
                  <a:lnTo>
                    <a:pt x="2" y="14"/>
                  </a:lnTo>
                  <a:lnTo>
                    <a:pt x="4" y="9"/>
                  </a:lnTo>
                  <a:lnTo>
                    <a:pt x="7" y="6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8" y="1"/>
                  </a:lnTo>
                  <a:lnTo>
                    <a:pt x="23" y="0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87" y="1"/>
                  </a:lnTo>
                  <a:lnTo>
                    <a:pt x="191" y="2"/>
                  </a:lnTo>
                  <a:lnTo>
                    <a:pt x="194" y="4"/>
                  </a:lnTo>
                  <a:lnTo>
                    <a:pt x="197" y="6"/>
                  </a:lnTo>
                  <a:lnTo>
                    <a:pt x="201" y="9"/>
                  </a:lnTo>
                  <a:lnTo>
                    <a:pt x="203" y="14"/>
                  </a:lnTo>
                  <a:lnTo>
                    <a:pt x="204" y="18"/>
                  </a:lnTo>
                  <a:lnTo>
                    <a:pt x="204" y="22"/>
                  </a:lnTo>
                  <a:lnTo>
                    <a:pt x="204" y="59"/>
                  </a:lnTo>
                  <a:lnTo>
                    <a:pt x="204" y="59"/>
                  </a:lnTo>
                  <a:lnTo>
                    <a:pt x="204" y="63"/>
                  </a:lnTo>
                  <a:lnTo>
                    <a:pt x="203" y="67"/>
                  </a:lnTo>
                  <a:lnTo>
                    <a:pt x="201" y="70"/>
                  </a:lnTo>
                  <a:lnTo>
                    <a:pt x="197" y="74"/>
                  </a:lnTo>
                  <a:lnTo>
                    <a:pt x="194" y="77"/>
                  </a:lnTo>
                  <a:lnTo>
                    <a:pt x="191" y="79"/>
                  </a:lnTo>
                  <a:lnTo>
                    <a:pt x="187" y="80"/>
                  </a:lnTo>
                  <a:lnTo>
                    <a:pt x="181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1" name="Freeform 89">
              <a:extLst>
                <a:ext uri="{FF2B5EF4-FFF2-40B4-BE49-F238E27FC236}">
                  <a16:creationId xmlns:a16="http://schemas.microsoft.com/office/drawing/2014/main" id="{A6E1CDBD-0782-48F7-8551-43042038AA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48163" y="4457701"/>
              <a:ext cx="65088" cy="39688"/>
            </a:xfrm>
            <a:custGeom>
              <a:avLst/>
              <a:gdLst>
                <a:gd name="T0" fmla="*/ 4 w 41"/>
                <a:gd name="T1" fmla="*/ 25 h 25"/>
                <a:gd name="T2" fmla="*/ 0 w 41"/>
                <a:gd name="T3" fmla="*/ 14 h 25"/>
                <a:gd name="T4" fmla="*/ 36 w 41"/>
                <a:gd name="T5" fmla="*/ 0 h 25"/>
                <a:gd name="T6" fmla="*/ 41 w 41"/>
                <a:gd name="T7" fmla="*/ 12 h 25"/>
                <a:gd name="T8" fmla="*/ 4 w 41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5">
                  <a:moveTo>
                    <a:pt x="4" y="25"/>
                  </a:moveTo>
                  <a:lnTo>
                    <a:pt x="0" y="14"/>
                  </a:lnTo>
                  <a:lnTo>
                    <a:pt x="36" y="0"/>
                  </a:lnTo>
                  <a:lnTo>
                    <a:pt x="41" y="12"/>
                  </a:lnTo>
                  <a:lnTo>
                    <a:pt x="4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2" name="Freeform 90">
              <a:extLst>
                <a:ext uri="{FF2B5EF4-FFF2-40B4-BE49-F238E27FC236}">
                  <a16:creationId xmlns:a16="http://schemas.microsoft.com/office/drawing/2014/main" id="{52BA3101-5EC2-429A-8B63-71A981C0FA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48163" y="4491038"/>
              <a:ext cx="65088" cy="41275"/>
            </a:xfrm>
            <a:custGeom>
              <a:avLst/>
              <a:gdLst>
                <a:gd name="T0" fmla="*/ 36 w 41"/>
                <a:gd name="T1" fmla="*/ 26 h 26"/>
                <a:gd name="T2" fmla="*/ 0 w 41"/>
                <a:gd name="T3" fmla="*/ 12 h 26"/>
                <a:gd name="T4" fmla="*/ 4 w 41"/>
                <a:gd name="T5" fmla="*/ 0 h 26"/>
                <a:gd name="T6" fmla="*/ 41 w 41"/>
                <a:gd name="T7" fmla="*/ 14 h 26"/>
                <a:gd name="T8" fmla="*/ 36 w 41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6">
                  <a:moveTo>
                    <a:pt x="36" y="26"/>
                  </a:moveTo>
                  <a:lnTo>
                    <a:pt x="0" y="12"/>
                  </a:lnTo>
                  <a:lnTo>
                    <a:pt x="4" y="0"/>
                  </a:lnTo>
                  <a:lnTo>
                    <a:pt x="41" y="14"/>
                  </a:lnTo>
                  <a:lnTo>
                    <a:pt x="36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3" name="Freeform 91">
              <a:extLst>
                <a:ext uri="{FF2B5EF4-FFF2-40B4-BE49-F238E27FC236}">
                  <a16:creationId xmlns:a16="http://schemas.microsoft.com/office/drawing/2014/main" id="{C4AE7D81-B9FF-4E18-8CFE-77C8C39684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51325" y="4440238"/>
              <a:ext cx="106363" cy="107950"/>
            </a:xfrm>
            <a:custGeom>
              <a:avLst/>
              <a:gdLst>
                <a:gd name="T0" fmla="*/ 33 w 67"/>
                <a:gd name="T1" fmla="*/ 13 h 68"/>
                <a:gd name="T2" fmla="*/ 26 w 67"/>
                <a:gd name="T3" fmla="*/ 14 h 68"/>
                <a:gd name="T4" fmla="*/ 18 w 67"/>
                <a:gd name="T5" fmla="*/ 19 h 68"/>
                <a:gd name="T6" fmla="*/ 14 w 67"/>
                <a:gd name="T7" fmla="*/ 26 h 68"/>
                <a:gd name="T8" fmla="*/ 12 w 67"/>
                <a:gd name="T9" fmla="*/ 34 h 68"/>
                <a:gd name="T10" fmla="*/ 13 w 67"/>
                <a:gd name="T11" fmla="*/ 39 h 68"/>
                <a:gd name="T12" fmla="*/ 16 w 67"/>
                <a:gd name="T13" fmla="*/ 46 h 68"/>
                <a:gd name="T14" fmla="*/ 21 w 67"/>
                <a:gd name="T15" fmla="*/ 51 h 68"/>
                <a:gd name="T16" fmla="*/ 29 w 67"/>
                <a:gd name="T17" fmla="*/ 55 h 68"/>
                <a:gd name="T18" fmla="*/ 33 w 67"/>
                <a:gd name="T19" fmla="*/ 56 h 68"/>
                <a:gd name="T20" fmla="*/ 42 w 67"/>
                <a:gd name="T21" fmla="*/ 54 h 68"/>
                <a:gd name="T22" fmla="*/ 48 w 67"/>
                <a:gd name="T23" fmla="*/ 49 h 68"/>
                <a:gd name="T24" fmla="*/ 54 w 67"/>
                <a:gd name="T25" fmla="*/ 43 h 68"/>
                <a:gd name="T26" fmla="*/ 55 w 67"/>
                <a:gd name="T27" fmla="*/ 34 h 68"/>
                <a:gd name="T28" fmla="*/ 55 w 67"/>
                <a:gd name="T29" fmla="*/ 30 h 68"/>
                <a:gd name="T30" fmla="*/ 51 w 67"/>
                <a:gd name="T31" fmla="*/ 23 h 68"/>
                <a:gd name="T32" fmla="*/ 45 w 67"/>
                <a:gd name="T33" fmla="*/ 16 h 68"/>
                <a:gd name="T34" fmla="*/ 37 w 67"/>
                <a:gd name="T35" fmla="*/ 13 h 68"/>
                <a:gd name="T36" fmla="*/ 33 w 67"/>
                <a:gd name="T37" fmla="*/ 68 h 68"/>
                <a:gd name="T38" fmla="*/ 27 w 67"/>
                <a:gd name="T39" fmla="*/ 68 h 68"/>
                <a:gd name="T40" fmla="*/ 15 w 67"/>
                <a:gd name="T41" fmla="*/ 62 h 68"/>
                <a:gd name="T42" fmla="*/ 5 w 67"/>
                <a:gd name="T43" fmla="*/ 53 h 68"/>
                <a:gd name="T44" fmla="*/ 0 w 67"/>
                <a:gd name="T45" fmla="*/ 41 h 68"/>
                <a:gd name="T46" fmla="*/ 0 w 67"/>
                <a:gd name="T47" fmla="*/ 34 h 68"/>
                <a:gd name="T48" fmla="*/ 2 w 67"/>
                <a:gd name="T49" fmla="*/ 20 h 68"/>
                <a:gd name="T50" fmla="*/ 10 w 67"/>
                <a:gd name="T51" fmla="*/ 10 h 68"/>
                <a:gd name="T52" fmla="*/ 20 w 67"/>
                <a:gd name="T53" fmla="*/ 3 h 68"/>
                <a:gd name="T54" fmla="*/ 33 w 67"/>
                <a:gd name="T55" fmla="*/ 0 h 68"/>
                <a:gd name="T56" fmla="*/ 41 w 67"/>
                <a:gd name="T57" fmla="*/ 1 h 68"/>
                <a:gd name="T58" fmla="*/ 52 w 67"/>
                <a:gd name="T59" fmla="*/ 6 h 68"/>
                <a:gd name="T60" fmla="*/ 62 w 67"/>
                <a:gd name="T61" fmla="*/ 15 h 68"/>
                <a:gd name="T62" fmla="*/ 66 w 67"/>
                <a:gd name="T63" fmla="*/ 27 h 68"/>
                <a:gd name="T64" fmla="*/ 67 w 67"/>
                <a:gd name="T65" fmla="*/ 34 h 68"/>
                <a:gd name="T66" fmla="*/ 64 w 67"/>
                <a:gd name="T67" fmla="*/ 47 h 68"/>
                <a:gd name="T68" fmla="*/ 58 w 67"/>
                <a:gd name="T69" fmla="*/ 58 h 68"/>
                <a:gd name="T70" fmla="*/ 47 w 67"/>
                <a:gd name="T71" fmla="*/ 65 h 68"/>
                <a:gd name="T72" fmla="*/ 33 w 67"/>
                <a:gd name="T7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7" h="68">
                  <a:moveTo>
                    <a:pt x="33" y="13"/>
                  </a:moveTo>
                  <a:lnTo>
                    <a:pt x="33" y="13"/>
                  </a:lnTo>
                  <a:lnTo>
                    <a:pt x="29" y="13"/>
                  </a:lnTo>
                  <a:lnTo>
                    <a:pt x="26" y="14"/>
                  </a:lnTo>
                  <a:lnTo>
                    <a:pt x="21" y="16"/>
                  </a:lnTo>
                  <a:lnTo>
                    <a:pt x="18" y="19"/>
                  </a:lnTo>
                  <a:lnTo>
                    <a:pt x="16" y="23"/>
                  </a:lnTo>
                  <a:lnTo>
                    <a:pt x="14" y="26"/>
                  </a:lnTo>
                  <a:lnTo>
                    <a:pt x="13" y="30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3" y="39"/>
                  </a:lnTo>
                  <a:lnTo>
                    <a:pt x="14" y="43"/>
                  </a:lnTo>
                  <a:lnTo>
                    <a:pt x="16" y="46"/>
                  </a:lnTo>
                  <a:lnTo>
                    <a:pt x="18" y="49"/>
                  </a:lnTo>
                  <a:lnTo>
                    <a:pt x="21" y="51"/>
                  </a:lnTo>
                  <a:lnTo>
                    <a:pt x="26" y="54"/>
                  </a:lnTo>
                  <a:lnTo>
                    <a:pt x="29" y="55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7" y="55"/>
                  </a:lnTo>
                  <a:lnTo>
                    <a:pt x="42" y="54"/>
                  </a:lnTo>
                  <a:lnTo>
                    <a:pt x="45" y="51"/>
                  </a:lnTo>
                  <a:lnTo>
                    <a:pt x="48" y="49"/>
                  </a:lnTo>
                  <a:lnTo>
                    <a:pt x="51" y="46"/>
                  </a:lnTo>
                  <a:lnTo>
                    <a:pt x="54" y="43"/>
                  </a:lnTo>
                  <a:lnTo>
                    <a:pt x="55" y="39"/>
                  </a:lnTo>
                  <a:lnTo>
                    <a:pt x="55" y="34"/>
                  </a:lnTo>
                  <a:lnTo>
                    <a:pt x="55" y="34"/>
                  </a:lnTo>
                  <a:lnTo>
                    <a:pt x="55" y="30"/>
                  </a:lnTo>
                  <a:lnTo>
                    <a:pt x="54" y="26"/>
                  </a:lnTo>
                  <a:lnTo>
                    <a:pt x="51" y="23"/>
                  </a:lnTo>
                  <a:lnTo>
                    <a:pt x="48" y="19"/>
                  </a:lnTo>
                  <a:lnTo>
                    <a:pt x="45" y="16"/>
                  </a:lnTo>
                  <a:lnTo>
                    <a:pt x="42" y="14"/>
                  </a:lnTo>
                  <a:lnTo>
                    <a:pt x="37" y="13"/>
                  </a:lnTo>
                  <a:lnTo>
                    <a:pt x="33" y="13"/>
                  </a:lnTo>
                  <a:close/>
                  <a:moveTo>
                    <a:pt x="33" y="68"/>
                  </a:moveTo>
                  <a:lnTo>
                    <a:pt x="33" y="68"/>
                  </a:lnTo>
                  <a:lnTo>
                    <a:pt x="27" y="68"/>
                  </a:lnTo>
                  <a:lnTo>
                    <a:pt x="20" y="65"/>
                  </a:lnTo>
                  <a:lnTo>
                    <a:pt x="15" y="62"/>
                  </a:lnTo>
                  <a:lnTo>
                    <a:pt x="10" y="58"/>
                  </a:lnTo>
                  <a:lnTo>
                    <a:pt x="5" y="53"/>
                  </a:lnTo>
                  <a:lnTo>
                    <a:pt x="2" y="47"/>
                  </a:lnTo>
                  <a:lnTo>
                    <a:pt x="0" y="41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27"/>
                  </a:lnTo>
                  <a:lnTo>
                    <a:pt x="2" y="20"/>
                  </a:lnTo>
                  <a:lnTo>
                    <a:pt x="5" y="15"/>
                  </a:lnTo>
                  <a:lnTo>
                    <a:pt x="10" y="10"/>
                  </a:lnTo>
                  <a:lnTo>
                    <a:pt x="15" y="6"/>
                  </a:lnTo>
                  <a:lnTo>
                    <a:pt x="20" y="3"/>
                  </a:lnTo>
                  <a:lnTo>
                    <a:pt x="27" y="1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1" y="1"/>
                  </a:lnTo>
                  <a:lnTo>
                    <a:pt x="47" y="3"/>
                  </a:lnTo>
                  <a:lnTo>
                    <a:pt x="52" y="6"/>
                  </a:lnTo>
                  <a:lnTo>
                    <a:pt x="58" y="10"/>
                  </a:lnTo>
                  <a:lnTo>
                    <a:pt x="62" y="15"/>
                  </a:lnTo>
                  <a:lnTo>
                    <a:pt x="64" y="20"/>
                  </a:lnTo>
                  <a:lnTo>
                    <a:pt x="66" y="27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6" y="41"/>
                  </a:lnTo>
                  <a:lnTo>
                    <a:pt x="64" y="47"/>
                  </a:lnTo>
                  <a:lnTo>
                    <a:pt x="62" y="53"/>
                  </a:lnTo>
                  <a:lnTo>
                    <a:pt x="58" y="58"/>
                  </a:lnTo>
                  <a:lnTo>
                    <a:pt x="52" y="62"/>
                  </a:lnTo>
                  <a:lnTo>
                    <a:pt x="47" y="65"/>
                  </a:lnTo>
                  <a:lnTo>
                    <a:pt x="41" y="68"/>
                  </a:lnTo>
                  <a:lnTo>
                    <a:pt x="33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4" name="Freeform 94">
              <a:extLst>
                <a:ext uri="{FF2B5EF4-FFF2-40B4-BE49-F238E27FC236}">
                  <a16:creationId xmlns:a16="http://schemas.microsoft.com/office/drawing/2014/main" id="{D39CAB1C-9908-4B56-B392-A6D993A9F4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86200" y="4430713"/>
              <a:ext cx="322263" cy="127000"/>
            </a:xfrm>
            <a:custGeom>
              <a:avLst/>
              <a:gdLst>
                <a:gd name="T0" fmla="*/ 22 w 203"/>
                <a:gd name="T1" fmla="*/ 12 h 80"/>
                <a:gd name="T2" fmla="*/ 16 w 203"/>
                <a:gd name="T3" fmla="*/ 16 h 80"/>
                <a:gd name="T4" fmla="*/ 12 w 203"/>
                <a:gd name="T5" fmla="*/ 22 h 80"/>
                <a:gd name="T6" fmla="*/ 12 w 203"/>
                <a:gd name="T7" fmla="*/ 59 h 80"/>
                <a:gd name="T8" fmla="*/ 16 w 203"/>
                <a:gd name="T9" fmla="*/ 65 h 80"/>
                <a:gd name="T10" fmla="*/ 22 w 203"/>
                <a:gd name="T11" fmla="*/ 68 h 80"/>
                <a:gd name="T12" fmla="*/ 182 w 203"/>
                <a:gd name="T13" fmla="*/ 68 h 80"/>
                <a:gd name="T14" fmla="*/ 188 w 203"/>
                <a:gd name="T15" fmla="*/ 65 h 80"/>
                <a:gd name="T16" fmla="*/ 191 w 203"/>
                <a:gd name="T17" fmla="*/ 59 h 80"/>
                <a:gd name="T18" fmla="*/ 191 w 203"/>
                <a:gd name="T19" fmla="*/ 22 h 80"/>
                <a:gd name="T20" fmla="*/ 188 w 203"/>
                <a:gd name="T21" fmla="*/ 16 h 80"/>
                <a:gd name="T22" fmla="*/ 182 w 203"/>
                <a:gd name="T23" fmla="*/ 12 h 80"/>
                <a:gd name="T24" fmla="*/ 182 w 203"/>
                <a:gd name="T25" fmla="*/ 80 h 80"/>
                <a:gd name="T26" fmla="*/ 22 w 203"/>
                <a:gd name="T27" fmla="*/ 80 h 80"/>
                <a:gd name="T28" fmla="*/ 14 w 203"/>
                <a:gd name="T29" fmla="*/ 79 h 80"/>
                <a:gd name="T30" fmla="*/ 6 w 203"/>
                <a:gd name="T31" fmla="*/ 74 h 80"/>
                <a:gd name="T32" fmla="*/ 2 w 203"/>
                <a:gd name="T33" fmla="*/ 67 h 80"/>
                <a:gd name="T34" fmla="*/ 0 w 203"/>
                <a:gd name="T35" fmla="*/ 59 h 80"/>
                <a:gd name="T36" fmla="*/ 0 w 203"/>
                <a:gd name="T37" fmla="*/ 22 h 80"/>
                <a:gd name="T38" fmla="*/ 2 w 203"/>
                <a:gd name="T39" fmla="*/ 14 h 80"/>
                <a:gd name="T40" fmla="*/ 6 w 203"/>
                <a:gd name="T41" fmla="*/ 6 h 80"/>
                <a:gd name="T42" fmla="*/ 14 w 203"/>
                <a:gd name="T43" fmla="*/ 2 h 80"/>
                <a:gd name="T44" fmla="*/ 22 w 203"/>
                <a:gd name="T45" fmla="*/ 0 h 80"/>
                <a:gd name="T46" fmla="*/ 182 w 203"/>
                <a:gd name="T47" fmla="*/ 0 h 80"/>
                <a:gd name="T48" fmla="*/ 190 w 203"/>
                <a:gd name="T49" fmla="*/ 2 h 80"/>
                <a:gd name="T50" fmla="*/ 197 w 203"/>
                <a:gd name="T51" fmla="*/ 6 h 80"/>
                <a:gd name="T52" fmla="*/ 202 w 203"/>
                <a:gd name="T53" fmla="*/ 14 h 80"/>
                <a:gd name="T54" fmla="*/ 203 w 203"/>
                <a:gd name="T55" fmla="*/ 22 h 80"/>
                <a:gd name="T56" fmla="*/ 203 w 203"/>
                <a:gd name="T57" fmla="*/ 59 h 80"/>
                <a:gd name="T58" fmla="*/ 202 w 203"/>
                <a:gd name="T59" fmla="*/ 67 h 80"/>
                <a:gd name="T60" fmla="*/ 197 w 203"/>
                <a:gd name="T61" fmla="*/ 74 h 80"/>
                <a:gd name="T62" fmla="*/ 190 w 203"/>
                <a:gd name="T63" fmla="*/ 79 h 80"/>
                <a:gd name="T64" fmla="*/ 182 w 203"/>
                <a:gd name="T6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3" h="80">
                  <a:moveTo>
                    <a:pt x="22" y="12"/>
                  </a:moveTo>
                  <a:lnTo>
                    <a:pt x="22" y="12"/>
                  </a:lnTo>
                  <a:lnTo>
                    <a:pt x="19" y="14"/>
                  </a:lnTo>
                  <a:lnTo>
                    <a:pt x="16" y="16"/>
                  </a:lnTo>
                  <a:lnTo>
                    <a:pt x="14" y="18"/>
                  </a:lnTo>
                  <a:lnTo>
                    <a:pt x="12" y="22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4" y="62"/>
                  </a:lnTo>
                  <a:lnTo>
                    <a:pt x="16" y="65"/>
                  </a:lnTo>
                  <a:lnTo>
                    <a:pt x="19" y="67"/>
                  </a:lnTo>
                  <a:lnTo>
                    <a:pt x="22" y="68"/>
                  </a:lnTo>
                  <a:lnTo>
                    <a:pt x="182" y="68"/>
                  </a:lnTo>
                  <a:lnTo>
                    <a:pt x="182" y="68"/>
                  </a:lnTo>
                  <a:lnTo>
                    <a:pt x="185" y="67"/>
                  </a:lnTo>
                  <a:lnTo>
                    <a:pt x="188" y="65"/>
                  </a:lnTo>
                  <a:lnTo>
                    <a:pt x="190" y="62"/>
                  </a:lnTo>
                  <a:lnTo>
                    <a:pt x="191" y="59"/>
                  </a:lnTo>
                  <a:lnTo>
                    <a:pt x="191" y="22"/>
                  </a:lnTo>
                  <a:lnTo>
                    <a:pt x="191" y="22"/>
                  </a:lnTo>
                  <a:lnTo>
                    <a:pt x="190" y="18"/>
                  </a:lnTo>
                  <a:lnTo>
                    <a:pt x="188" y="16"/>
                  </a:lnTo>
                  <a:lnTo>
                    <a:pt x="185" y="14"/>
                  </a:lnTo>
                  <a:lnTo>
                    <a:pt x="182" y="12"/>
                  </a:lnTo>
                  <a:lnTo>
                    <a:pt x="22" y="12"/>
                  </a:lnTo>
                  <a:close/>
                  <a:moveTo>
                    <a:pt x="182" y="80"/>
                  </a:moveTo>
                  <a:lnTo>
                    <a:pt x="22" y="80"/>
                  </a:lnTo>
                  <a:lnTo>
                    <a:pt x="22" y="80"/>
                  </a:lnTo>
                  <a:lnTo>
                    <a:pt x="18" y="80"/>
                  </a:lnTo>
                  <a:lnTo>
                    <a:pt x="14" y="79"/>
                  </a:lnTo>
                  <a:lnTo>
                    <a:pt x="10" y="77"/>
                  </a:lnTo>
                  <a:lnTo>
                    <a:pt x="6" y="74"/>
                  </a:lnTo>
                  <a:lnTo>
                    <a:pt x="4" y="70"/>
                  </a:lnTo>
                  <a:lnTo>
                    <a:pt x="2" y="67"/>
                  </a:lnTo>
                  <a:lnTo>
                    <a:pt x="1" y="63"/>
                  </a:lnTo>
                  <a:lnTo>
                    <a:pt x="0" y="59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1" y="18"/>
                  </a:lnTo>
                  <a:lnTo>
                    <a:pt x="2" y="14"/>
                  </a:lnTo>
                  <a:lnTo>
                    <a:pt x="4" y="9"/>
                  </a:lnTo>
                  <a:lnTo>
                    <a:pt x="6" y="6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8" y="1"/>
                  </a:lnTo>
                  <a:lnTo>
                    <a:pt x="22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6" y="1"/>
                  </a:lnTo>
                  <a:lnTo>
                    <a:pt x="190" y="2"/>
                  </a:lnTo>
                  <a:lnTo>
                    <a:pt x="194" y="4"/>
                  </a:lnTo>
                  <a:lnTo>
                    <a:pt x="197" y="6"/>
                  </a:lnTo>
                  <a:lnTo>
                    <a:pt x="200" y="9"/>
                  </a:lnTo>
                  <a:lnTo>
                    <a:pt x="202" y="14"/>
                  </a:lnTo>
                  <a:lnTo>
                    <a:pt x="203" y="18"/>
                  </a:lnTo>
                  <a:lnTo>
                    <a:pt x="203" y="22"/>
                  </a:lnTo>
                  <a:lnTo>
                    <a:pt x="203" y="59"/>
                  </a:lnTo>
                  <a:lnTo>
                    <a:pt x="203" y="59"/>
                  </a:lnTo>
                  <a:lnTo>
                    <a:pt x="203" y="63"/>
                  </a:lnTo>
                  <a:lnTo>
                    <a:pt x="202" y="67"/>
                  </a:lnTo>
                  <a:lnTo>
                    <a:pt x="200" y="70"/>
                  </a:lnTo>
                  <a:lnTo>
                    <a:pt x="197" y="74"/>
                  </a:lnTo>
                  <a:lnTo>
                    <a:pt x="194" y="77"/>
                  </a:lnTo>
                  <a:lnTo>
                    <a:pt x="190" y="79"/>
                  </a:lnTo>
                  <a:lnTo>
                    <a:pt x="186" y="80"/>
                  </a:lnTo>
                  <a:lnTo>
                    <a:pt x="182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5" name="Freeform 97">
              <a:extLst>
                <a:ext uri="{FF2B5EF4-FFF2-40B4-BE49-F238E27FC236}">
                  <a16:creationId xmlns:a16="http://schemas.microsoft.com/office/drawing/2014/main" id="{032F08CC-78A1-4BB4-BAFE-59DAC4B72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95763" y="4489451"/>
              <a:ext cx="65088" cy="42863"/>
            </a:xfrm>
            <a:custGeom>
              <a:avLst/>
              <a:gdLst>
                <a:gd name="T0" fmla="*/ 5 w 41"/>
                <a:gd name="T1" fmla="*/ 27 h 27"/>
                <a:gd name="T2" fmla="*/ 0 w 41"/>
                <a:gd name="T3" fmla="*/ 15 h 27"/>
                <a:gd name="T4" fmla="*/ 36 w 41"/>
                <a:gd name="T5" fmla="*/ 0 h 27"/>
                <a:gd name="T6" fmla="*/ 41 w 41"/>
                <a:gd name="T7" fmla="*/ 12 h 27"/>
                <a:gd name="T8" fmla="*/ 5 w 41"/>
                <a:gd name="T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7">
                  <a:moveTo>
                    <a:pt x="5" y="27"/>
                  </a:moveTo>
                  <a:lnTo>
                    <a:pt x="0" y="15"/>
                  </a:lnTo>
                  <a:lnTo>
                    <a:pt x="36" y="0"/>
                  </a:lnTo>
                  <a:lnTo>
                    <a:pt x="41" y="12"/>
                  </a:lnTo>
                  <a:lnTo>
                    <a:pt x="5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6" name="Freeform 98">
              <a:extLst>
                <a:ext uri="{FF2B5EF4-FFF2-40B4-BE49-F238E27FC236}">
                  <a16:creationId xmlns:a16="http://schemas.microsoft.com/office/drawing/2014/main" id="{A019EF35-CD47-4B02-B036-BA21F6D368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95763" y="4456113"/>
              <a:ext cx="65088" cy="39688"/>
            </a:xfrm>
            <a:custGeom>
              <a:avLst/>
              <a:gdLst>
                <a:gd name="T0" fmla="*/ 36 w 41"/>
                <a:gd name="T1" fmla="*/ 25 h 25"/>
                <a:gd name="T2" fmla="*/ 0 w 41"/>
                <a:gd name="T3" fmla="*/ 11 h 25"/>
                <a:gd name="T4" fmla="*/ 5 w 41"/>
                <a:gd name="T5" fmla="*/ 0 h 25"/>
                <a:gd name="T6" fmla="*/ 41 w 41"/>
                <a:gd name="T7" fmla="*/ 14 h 25"/>
                <a:gd name="T8" fmla="*/ 36 w 41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5">
                  <a:moveTo>
                    <a:pt x="36" y="25"/>
                  </a:moveTo>
                  <a:lnTo>
                    <a:pt x="0" y="11"/>
                  </a:lnTo>
                  <a:lnTo>
                    <a:pt x="5" y="0"/>
                  </a:lnTo>
                  <a:lnTo>
                    <a:pt x="41" y="14"/>
                  </a:lnTo>
                  <a:lnTo>
                    <a:pt x="36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887546862"/>
      </p:ext>
    </p:extLst>
  </p:cSld>
  <p:clrMapOvr>
    <a:masterClrMapping/>
  </p:clrMapOvr>
  <p:transition spd="med">
    <p:push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Group 64">
            <a:extLst>
              <a:ext uri="{FF2B5EF4-FFF2-40B4-BE49-F238E27FC236}">
                <a16:creationId xmlns:a16="http://schemas.microsoft.com/office/drawing/2014/main" id="{03FF6735-ACCE-4081-BC21-0510A01FB029}"/>
              </a:ext>
            </a:extLst>
          </p:cNvPr>
          <p:cNvGrpSpPr/>
          <p:nvPr/>
        </p:nvGrpSpPr>
        <p:grpSpPr>
          <a:xfrm>
            <a:off x="2082348" y="1989949"/>
            <a:ext cx="8209698" cy="3864744"/>
            <a:chOff x="189284" y="1160700"/>
            <a:chExt cx="11457865" cy="5393829"/>
          </a:xfrm>
          <a:solidFill>
            <a:schemeClr val="bg1">
              <a:lumMod val="75000"/>
            </a:schemeClr>
          </a:solidFill>
        </p:grpSpPr>
        <p:sp>
          <p:nvSpPr>
            <p:cNvPr id="66" name="Freeform 432">
              <a:extLst>
                <a:ext uri="{FF2B5EF4-FFF2-40B4-BE49-F238E27FC236}">
                  <a16:creationId xmlns:a16="http://schemas.microsoft.com/office/drawing/2014/main" id="{61AFDCE8-99EE-489C-AC6B-6DE0182C0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5048" y="1160700"/>
              <a:ext cx="4962101" cy="2338909"/>
            </a:xfrm>
            <a:custGeom>
              <a:avLst/>
              <a:gdLst>
                <a:gd name="connsiteX0" fmla="*/ 1026517 w 3792537"/>
                <a:gd name="connsiteY0" fmla="*/ 125413 h 2030413"/>
                <a:gd name="connsiteX1" fmla="*/ 1073291 w 3792537"/>
                <a:gd name="connsiteY1" fmla="*/ 133243 h 2030413"/>
                <a:gd name="connsiteX2" fmla="*/ 1081087 w 3792537"/>
                <a:gd name="connsiteY2" fmla="*/ 164561 h 2030413"/>
                <a:gd name="connsiteX3" fmla="*/ 1026517 w 3792537"/>
                <a:gd name="connsiteY3" fmla="*/ 219369 h 2030413"/>
                <a:gd name="connsiteX4" fmla="*/ 971947 w 3792537"/>
                <a:gd name="connsiteY4" fmla="*/ 250688 h 2030413"/>
                <a:gd name="connsiteX5" fmla="*/ 932968 w 3792537"/>
                <a:gd name="connsiteY5" fmla="*/ 274177 h 2030413"/>
                <a:gd name="connsiteX6" fmla="*/ 893989 w 3792537"/>
                <a:gd name="connsiteY6" fmla="*/ 321155 h 2030413"/>
                <a:gd name="connsiteX7" fmla="*/ 831623 w 3792537"/>
                <a:gd name="connsiteY7" fmla="*/ 360303 h 2030413"/>
                <a:gd name="connsiteX8" fmla="*/ 769257 w 3792537"/>
                <a:gd name="connsiteY8" fmla="*/ 493408 h 2030413"/>
                <a:gd name="connsiteX9" fmla="*/ 745870 w 3792537"/>
                <a:gd name="connsiteY9" fmla="*/ 549521 h 2030413"/>
                <a:gd name="connsiteX10" fmla="*/ 769257 w 3792537"/>
                <a:gd name="connsiteY10" fmla="*/ 643477 h 2030413"/>
                <a:gd name="connsiteX11" fmla="*/ 800440 w 3792537"/>
                <a:gd name="connsiteY11" fmla="*/ 682625 h 2030413"/>
                <a:gd name="connsiteX12" fmla="*/ 738074 w 3792537"/>
                <a:gd name="connsiteY12" fmla="*/ 674795 h 2030413"/>
                <a:gd name="connsiteX13" fmla="*/ 714687 w 3792537"/>
                <a:gd name="connsiteY13" fmla="*/ 666966 h 2030413"/>
                <a:gd name="connsiteX14" fmla="*/ 706891 w 3792537"/>
                <a:gd name="connsiteY14" fmla="*/ 651306 h 2030413"/>
                <a:gd name="connsiteX15" fmla="*/ 667912 w 3792537"/>
                <a:gd name="connsiteY15" fmla="*/ 635647 h 2030413"/>
                <a:gd name="connsiteX16" fmla="*/ 644525 w 3792537"/>
                <a:gd name="connsiteY16" fmla="*/ 580839 h 2030413"/>
                <a:gd name="connsiteX17" fmla="*/ 667912 w 3792537"/>
                <a:gd name="connsiteY17" fmla="*/ 549521 h 2030413"/>
                <a:gd name="connsiteX18" fmla="*/ 660117 w 3792537"/>
                <a:gd name="connsiteY18" fmla="*/ 510372 h 2030413"/>
                <a:gd name="connsiteX19" fmla="*/ 683504 w 3792537"/>
                <a:gd name="connsiteY19" fmla="*/ 477749 h 2030413"/>
                <a:gd name="connsiteX20" fmla="*/ 699095 w 3792537"/>
                <a:gd name="connsiteY20" fmla="*/ 438600 h 2030413"/>
                <a:gd name="connsiteX21" fmla="*/ 699095 w 3792537"/>
                <a:gd name="connsiteY21" fmla="*/ 407281 h 2030413"/>
                <a:gd name="connsiteX22" fmla="*/ 730278 w 3792537"/>
                <a:gd name="connsiteY22" fmla="*/ 368133 h 2030413"/>
                <a:gd name="connsiteX23" fmla="*/ 753666 w 3792537"/>
                <a:gd name="connsiteY23" fmla="*/ 344644 h 2030413"/>
                <a:gd name="connsiteX24" fmla="*/ 761461 w 3792537"/>
                <a:gd name="connsiteY24" fmla="*/ 305496 h 2030413"/>
                <a:gd name="connsiteX25" fmla="*/ 792644 w 3792537"/>
                <a:gd name="connsiteY25" fmla="*/ 289836 h 2030413"/>
                <a:gd name="connsiteX26" fmla="*/ 855010 w 3792537"/>
                <a:gd name="connsiteY26" fmla="*/ 227199 h 2030413"/>
                <a:gd name="connsiteX27" fmla="*/ 870602 w 3792537"/>
                <a:gd name="connsiteY27" fmla="*/ 203710 h 2030413"/>
                <a:gd name="connsiteX28" fmla="*/ 886193 w 3792537"/>
                <a:gd name="connsiteY28" fmla="*/ 188050 h 2030413"/>
                <a:gd name="connsiteX29" fmla="*/ 932968 w 3792537"/>
                <a:gd name="connsiteY29" fmla="*/ 188050 h 2030413"/>
                <a:gd name="connsiteX30" fmla="*/ 971947 w 3792537"/>
                <a:gd name="connsiteY30" fmla="*/ 180221 h 2030413"/>
                <a:gd name="connsiteX31" fmla="*/ 995334 w 3792537"/>
                <a:gd name="connsiteY31" fmla="*/ 156732 h 2030413"/>
                <a:gd name="connsiteX32" fmla="*/ 1892343 w 3792537"/>
                <a:gd name="connsiteY32" fmla="*/ 0 h 2030413"/>
                <a:gd name="connsiteX33" fmla="*/ 1955159 w 3792537"/>
                <a:gd name="connsiteY33" fmla="*/ 7809 h 2030413"/>
                <a:gd name="connsiteX34" fmla="*/ 1994419 w 3792537"/>
                <a:gd name="connsiteY34" fmla="*/ 62474 h 2030413"/>
                <a:gd name="connsiteX35" fmla="*/ 1994419 w 3792537"/>
                <a:gd name="connsiteY35" fmla="*/ 85902 h 2030413"/>
                <a:gd name="connsiteX36" fmla="*/ 2041531 w 3792537"/>
                <a:gd name="connsiteY36" fmla="*/ 93711 h 2030413"/>
                <a:gd name="connsiteX37" fmla="*/ 2104348 w 3792537"/>
                <a:gd name="connsiteY37" fmla="*/ 148376 h 2030413"/>
                <a:gd name="connsiteX38" fmla="*/ 2120052 w 3792537"/>
                <a:gd name="connsiteY38" fmla="*/ 226469 h 2030413"/>
                <a:gd name="connsiteX39" fmla="*/ 2088644 w 3792537"/>
                <a:gd name="connsiteY39" fmla="*/ 273325 h 2030413"/>
                <a:gd name="connsiteX40" fmla="*/ 2057236 w 3792537"/>
                <a:gd name="connsiteY40" fmla="*/ 304562 h 2030413"/>
                <a:gd name="connsiteX41" fmla="*/ 2002271 w 3792537"/>
                <a:gd name="connsiteY41" fmla="*/ 374846 h 2030413"/>
                <a:gd name="connsiteX42" fmla="*/ 1970863 w 3792537"/>
                <a:gd name="connsiteY42" fmla="*/ 398273 h 2030413"/>
                <a:gd name="connsiteX43" fmla="*/ 1939455 w 3792537"/>
                <a:gd name="connsiteY43" fmla="*/ 445129 h 2030413"/>
                <a:gd name="connsiteX44" fmla="*/ 1986567 w 3792537"/>
                <a:gd name="connsiteY44" fmla="*/ 406083 h 2030413"/>
                <a:gd name="connsiteX45" fmla="*/ 2033679 w 3792537"/>
                <a:gd name="connsiteY45" fmla="*/ 382655 h 2030413"/>
                <a:gd name="connsiteX46" fmla="*/ 2072940 w 3792537"/>
                <a:gd name="connsiteY46" fmla="*/ 343608 h 2030413"/>
                <a:gd name="connsiteX47" fmla="*/ 2104348 w 3792537"/>
                <a:gd name="connsiteY47" fmla="*/ 351418 h 2030413"/>
                <a:gd name="connsiteX48" fmla="*/ 2127904 w 3792537"/>
                <a:gd name="connsiteY48" fmla="*/ 382655 h 2030413"/>
                <a:gd name="connsiteX49" fmla="*/ 2135756 w 3792537"/>
                <a:gd name="connsiteY49" fmla="*/ 406083 h 2030413"/>
                <a:gd name="connsiteX50" fmla="*/ 2175016 w 3792537"/>
                <a:gd name="connsiteY50" fmla="*/ 382655 h 2030413"/>
                <a:gd name="connsiteX51" fmla="*/ 2245685 w 3792537"/>
                <a:gd name="connsiteY51" fmla="*/ 382655 h 2030413"/>
                <a:gd name="connsiteX52" fmla="*/ 2253537 w 3792537"/>
                <a:gd name="connsiteY52" fmla="*/ 413892 h 2030413"/>
                <a:gd name="connsiteX53" fmla="*/ 2292797 w 3792537"/>
                <a:gd name="connsiteY53" fmla="*/ 429511 h 2030413"/>
                <a:gd name="connsiteX54" fmla="*/ 2363465 w 3792537"/>
                <a:gd name="connsiteY54" fmla="*/ 429511 h 2030413"/>
                <a:gd name="connsiteX55" fmla="*/ 2379169 w 3792537"/>
                <a:gd name="connsiteY55" fmla="*/ 390464 h 2030413"/>
                <a:gd name="connsiteX56" fmla="*/ 2402725 w 3792537"/>
                <a:gd name="connsiteY56" fmla="*/ 359227 h 2030413"/>
                <a:gd name="connsiteX57" fmla="*/ 2434134 w 3792537"/>
                <a:gd name="connsiteY57" fmla="*/ 382655 h 2030413"/>
                <a:gd name="connsiteX58" fmla="*/ 2449838 w 3792537"/>
                <a:gd name="connsiteY58" fmla="*/ 398273 h 2030413"/>
                <a:gd name="connsiteX59" fmla="*/ 2481246 w 3792537"/>
                <a:gd name="connsiteY59" fmla="*/ 398273 h 2030413"/>
                <a:gd name="connsiteX60" fmla="*/ 2512654 w 3792537"/>
                <a:gd name="connsiteY60" fmla="*/ 406083 h 2030413"/>
                <a:gd name="connsiteX61" fmla="*/ 2536210 w 3792537"/>
                <a:gd name="connsiteY61" fmla="*/ 445129 h 2030413"/>
                <a:gd name="connsiteX62" fmla="*/ 2536210 w 3792537"/>
                <a:gd name="connsiteY62" fmla="*/ 468557 h 2030413"/>
                <a:gd name="connsiteX63" fmla="*/ 2512654 w 3792537"/>
                <a:gd name="connsiteY63" fmla="*/ 523222 h 2030413"/>
                <a:gd name="connsiteX64" fmla="*/ 2536210 w 3792537"/>
                <a:gd name="connsiteY64" fmla="*/ 570078 h 2030413"/>
                <a:gd name="connsiteX65" fmla="*/ 2575470 w 3792537"/>
                <a:gd name="connsiteY65" fmla="*/ 609124 h 2030413"/>
                <a:gd name="connsiteX66" fmla="*/ 2599027 w 3792537"/>
                <a:gd name="connsiteY66" fmla="*/ 577887 h 2030413"/>
                <a:gd name="connsiteX67" fmla="*/ 2606879 w 3792537"/>
                <a:gd name="connsiteY67" fmla="*/ 531031 h 2030413"/>
                <a:gd name="connsiteX68" fmla="*/ 2638287 w 3792537"/>
                <a:gd name="connsiteY68" fmla="*/ 554459 h 2030413"/>
                <a:gd name="connsiteX69" fmla="*/ 2669695 w 3792537"/>
                <a:gd name="connsiteY69" fmla="*/ 562268 h 2030413"/>
                <a:gd name="connsiteX70" fmla="*/ 2685399 w 3792537"/>
                <a:gd name="connsiteY70" fmla="*/ 546650 h 2030413"/>
                <a:gd name="connsiteX71" fmla="*/ 2724659 w 3792537"/>
                <a:gd name="connsiteY71" fmla="*/ 562268 h 2030413"/>
                <a:gd name="connsiteX72" fmla="*/ 2756067 w 3792537"/>
                <a:gd name="connsiteY72" fmla="*/ 570078 h 2030413"/>
                <a:gd name="connsiteX73" fmla="*/ 2803180 w 3792537"/>
                <a:gd name="connsiteY73" fmla="*/ 554459 h 2030413"/>
                <a:gd name="connsiteX74" fmla="*/ 2795328 w 3792537"/>
                <a:gd name="connsiteY74" fmla="*/ 507603 h 2030413"/>
                <a:gd name="connsiteX75" fmla="*/ 2834588 w 3792537"/>
                <a:gd name="connsiteY75" fmla="*/ 476366 h 2030413"/>
                <a:gd name="connsiteX76" fmla="*/ 2842440 w 3792537"/>
                <a:gd name="connsiteY76" fmla="*/ 460748 h 2030413"/>
                <a:gd name="connsiteX77" fmla="*/ 3030889 w 3792537"/>
                <a:gd name="connsiteY77" fmla="*/ 499794 h 2030413"/>
                <a:gd name="connsiteX78" fmla="*/ 3030889 w 3792537"/>
                <a:gd name="connsiteY78" fmla="*/ 538840 h 2030413"/>
                <a:gd name="connsiteX79" fmla="*/ 3078001 w 3792537"/>
                <a:gd name="connsiteY79" fmla="*/ 562268 h 2030413"/>
                <a:gd name="connsiteX80" fmla="*/ 3085853 w 3792537"/>
                <a:gd name="connsiteY80" fmla="*/ 585696 h 2030413"/>
                <a:gd name="connsiteX81" fmla="*/ 3093705 w 3792537"/>
                <a:gd name="connsiteY81" fmla="*/ 601315 h 2030413"/>
                <a:gd name="connsiteX82" fmla="*/ 3164374 w 3792537"/>
                <a:gd name="connsiteY82" fmla="*/ 601315 h 2030413"/>
                <a:gd name="connsiteX83" fmla="*/ 3242894 w 3792537"/>
                <a:gd name="connsiteY83" fmla="*/ 601315 h 2030413"/>
                <a:gd name="connsiteX84" fmla="*/ 3290006 w 3792537"/>
                <a:gd name="connsiteY84" fmla="*/ 624743 h 2030413"/>
                <a:gd name="connsiteX85" fmla="*/ 3290006 w 3792537"/>
                <a:gd name="connsiteY85" fmla="*/ 679408 h 2030413"/>
                <a:gd name="connsiteX86" fmla="*/ 3321415 w 3792537"/>
                <a:gd name="connsiteY86" fmla="*/ 702835 h 2030413"/>
                <a:gd name="connsiteX87" fmla="*/ 3344971 w 3792537"/>
                <a:gd name="connsiteY87" fmla="*/ 695026 h 2030413"/>
                <a:gd name="connsiteX88" fmla="*/ 3384231 w 3792537"/>
                <a:gd name="connsiteY88" fmla="*/ 695026 h 2030413"/>
                <a:gd name="connsiteX89" fmla="*/ 3431343 w 3792537"/>
                <a:gd name="connsiteY89" fmla="*/ 702835 h 2030413"/>
                <a:gd name="connsiteX90" fmla="*/ 3454899 w 3792537"/>
                <a:gd name="connsiteY90" fmla="*/ 695026 h 2030413"/>
                <a:gd name="connsiteX91" fmla="*/ 3494159 w 3792537"/>
                <a:gd name="connsiteY91" fmla="*/ 695026 h 2030413"/>
                <a:gd name="connsiteX92" fmla="*/ 3494159 w 3792537"/>
                <a:gd name="connsiteY92" fmla="*/ 710645 h 2030413"/>
                <a:gd name="connsiteX93" fmla="*/ 3517715 w 3792537"/>
                <a:gd name="connsiteY93" fmla="*/ 734073 h 2030413"/>
                <a:gd name="connsiteX94" fmla="*/ 3541271 w 3792537"/>
                <a:gd name="connsiteY94" fmla="*/ 757500 h 2030413"/>
                <a:gd name="connsiteX95" fmla="*/ 3572680 w 3792537"/>
                <a:gd name="connsiteY95" fmla="*/ 741882 h 2030413"/>
                <a:gd name="connsiteX96" fmla="*/ 3564828 w 3792537"/>
                <a:gd name="connsiteY96" fmla="*/ 679408 h 2030413"/>
                <a:gd name="connsiteX97" fmla="*/ 3580532 w 3792537"/>
                <a:gd name="connsiteY97" fmla="*/ 679408 h 2030413"/>
                <a:gd name="connsiteX98" fmla="*/ 3604088 w 3792537"/>
                <a:gd name="connsiteY98" fmla="*/ 679408 h 2030413"/>
                <a:gd name="connsiteX99" fmla="*/ 3635496 w 3792537"/>
                <a:gd name="connsiteY99" fmla="*/ 687217 h 2030413"/>
                <a:gd name="connsiteX100" fmla="*/ 3690461 w 3792537"/>
                <a:gd name="connsiteY100" fmla="*/ 695026 h 2030413"/>
                <a:gd name="connsiteX101" fmla="*/ 3721869 w 3792537"/>
                <a:gd name="connsiteY101" fmla="*/ 702835 h 2030413"/>
                <a:gd name="connsiteX102" fmla="*/ 3753277 w 3792537"/>
                <a:gd name="connsiteY102" fmla="*/ 734073 h 2030413"/>
                <a:gd name="connsiteX103" fmla="*/ 3768981 w 3792537"/>
                <a:gd name="connsiteY103" fmla="*/ 741882 h 2030413"/>
                <a:gd name="connsiteX104" fmla="*/ 3792537 w 3792537"/>
                <a:gd name="connsiteY104" fmla="*/ 749691 h 2030413"/>
                <a:gd name="connsiteX105" fmla="*/ 3784685 w 3792537"/>
                <a:gd name="connsiteY105" fmla="*/ 991779 h 2030413"/>
                <a:gd name="connsiteX106" fmla="*/ 3745425 w 3792537"/>
                <a:gd name="connsiteY106" fmla="*/ 1007397 h 2030413"/>
                <a:gd name="connsiteX107" fmla="*/ 3721869 w 3792537"/>
                <a:gd name="connsiteY107" fmla="*/ 1023016 h 2030413"/>
                <a:gd name="connsiteX108" fmla="*/ 3753277 w 3792537"/>
                <a:gd name="connsiteY108" fmla="*/ 1054253 h 2030413"/>
                <a:gd name="connsiteX109" fmla="*/ 3761129 w 3792537"/>
                <a:gd name="connsiteY109" fmla="*/ 1093299 h 2030413"/>
                <a:gd name="connsiteX110" fmla="*/ 3768981 w 3792537"/>
                <a:gd name="connsiteY110" fmla="*/ 1124537 h 2030413"/>
                <a:gd name="connsiteX111" fmla="*/ 3768981 w 3792537"/>
                <a:gd name="connsiteY111" fmla="*/ 1140155 h 2030413"/>
                <a:gd name="connsiteX112" fmla="*/ 3737573 w 3792537"/>
                <a:gd name="connsiteY112" fmla="*/ 1132346 h 2030413"/>
                <a:gd name="connsiteX113" fmla="*/ 3706165 w 3792537"/>
                <a:gd name="connsiteY113" fmla="*/ 1132346 h 2030413"/>
                <a:gd name="connsiteX114" fmla="*/ 3643348 w 3792537"/>
                <a:gd name="connsiteY114" fmla="*/ 1163583 h 2030413"/>
                <a:gd name="connsiteX115" fmla="*/ 3588384 w 3792537"/>
                <a:gd name="connsiteY115" fmla="*/ 1218248 h 2030413"/>
                <a:gd name="connsiteX116" fmla="*/ 3564828 w 3792537"/>
                <a:gd name="connsiteY116" fmla="*/ 1226057 h 2030413"/>
                <a:gd name="connsiteX117" fmla="*/ 3549124 w 3792537"/>
                <a:gd name="connsiteY117" fmla="*/ 1265104 h 2030413"/>
                <a:gd name="connsiteX118" fmla="*/ 3502011 w 3792537"/>
                <a:gd name="connsiteY118" fmla="*/ 1226057 h 2030413"/>
                <a:gd name="connsiteX119" fmla="*/ 3447047 w 3792537"/>
                <a:gd name="connsiteY119" fmla="*/ 1265104 h 2030413"/>
                <a:gd name="connsiteX120" fmla="*/ 3439195 w 3792537"/>
                <a:gd name="connsiteY120" fmla="*/ 1249485 h 2030413"/>
                <a:gd name="connsiteX121" fmla="*/ 3415639 w 3792537"/>
                <a:gd name="connsiteY121" fmla="*/ 1257294 h 2030413"/>
                <a:gd name="connsiteX122" fmla="*/ 3392083 w 3792537"/>
                <a:gd name="connsiteY122" fmla="*/ 1265104 h 2030413"/>
                <a:gd name="connsiteX123" fmla="*/ 3376379 w 3792537"/>
                <a:gd name="connsiteY123" fmla="*/ 1288532 h 2030413"/>
                <a:gd name="connsiteX124" fmla="*/ 3344971 w 3792537"/>
                <a:gd name="connsiteY124" fmla="*/ 1358815 h 2030413"/>
                <a:gd name="connsiteX125" fmla="*/ 3368527 w 3792537"/>
                <a:gd name="connsiteY125" fmla="*/ 1366624 h 2030413"/>
                <a:gd name="connsiteX126" fmla="*/ 3368527 w 3792537"/>
                <a:gd name="connsiteY126" fmla="*/ 1382243 h 2030413"/>
                <a:gd name="connsiteX127" fmla="*/ 3352823 w 3792537"/>
                <a:gd name="connsiteY127" fmla="*/ 1436908 h 2030413"/>
                <a:gd name="connsiteX128" fmla="*/ 3344971 w 3792537"/>
                <a:gd name="connsiteY128" fmla="*/ 1452526 h 2030413"/>
                <a:gd name="connsiteX129" fmla="*/ 3344971 w 3792537"/>
                <a:gd name="connsiteY129" fmla="*/ 1491573 h 2030413"/>
                <a:gd name="connsiteX130" fmla="*/ 3313562 w 3792537"/>
                <a:gd name="connsiteY130" fmla="*/ 1507191 h 2030413"/>
                <a:gd name="connsiteX131" fmla="*/ 3297858 w 3792537"/>
                <a:gd name="connsiteY131" fmla="*/ 1530619 h 2030413"/>
                <a:gd name="connsiteX132" fmla="*/ 3282154 w 3792537"/>
                <a:gd name="connsiteY132" fmla="*/ 1569666 h 2030413"/>
                <a:gd name="connsiteX133" fmla="*/ 3266450 w 3792537"/>
                <a:gd name="connsiteY133" fmla="*/ 1577475 h 2030413"/>
                <a:gd name="connsiteX134" fmla="*/ 3219338 w 3792537"/>
                <a:gd name="connsiteY134" fmla="*/ 1639949 h 2030413"/>
                <a:gd name="connsiteX135" fmla="*/ 3180078 w 3792537"/>
                <a:gd name="connsiteY135" fmla="*/ 1452526 h 2030413"/>
                <a:gd name="connsiteX136" fmla="*/ 3211486 w 3792537"/>
                <a:gd name="connsiteY136" fmla="*/ 1366624 h 2030413"/>
                <a:gd name="connsiteX137" fmla="*/ 3227190 w 3792537"/>
                <a:gd name="connsiteY137" fmla="*/ 1358815 h 2030413"/>
                <a:gd name="connsiteX138" fmla="*/ 3266450 w 3792537"/>
                <a:gd name="connsiteY138" fmla="*/ 1335387 h 2030413"/>
                <a:gd name="connsiteX139" fmla="*/ 3290006 w 3792537"/>
                <a:gd name="connsiteY139" fmla="*/ 1296341 h 2030413"/>
                <a:gd name="connsiteX140" fmla="*/ 3321415 w 3792537"/>
                <a:gd name="connsiteY140" fmla="*/ 1249485 h 2030413"/>
                <a:gd name="connsiteX141" fmla="*/ 3352823 w 3792537"/>
                <a:gd name="connsiteY141" fmla="*/ 1233867 h 2030413"/>
                <a:gd name="connsiteX142" fmla="*/ 3399935 w 3792537"/>
                <a:gd name="connsiteY142" fmla="*/ 1187011 h 2030413"/>
                <a:gd name="connsiteX143" fmla="*/ 3399935 w 3792537"/>
                <a:gd name="connsiteY143" fmla="*/ 1124537 h 2030413"/>
                <a:gd name="connsiteX144" fmla="*/ 3344971 w 3792537"/>
                <a:gd name="connsiteY144" fmla="*/ 1179202 h 2030413"/>
                <a:gd name="connsiteX145" fmla="*/ 3305710 w 3792537"/>
                <a:gd name="connsiteY145" fmla="*/ 1210439 h 2030413"/>
                <a:gd name="connsiteX146" fmla="*/ 3290006 w 3792537"/>
                <a:gd name="connsiteY146" fmla="*/ 1171392 h 2030413"/>
                <a:gd name="connsiteX147" fmla="*/ 3227190 w 3792537"/>
                <a:gd name="connsiteY147" fmla="*/ 1163583 h 2030413"/>
                <a:gd name="connsiteX148" fmla="*/ 3187930 w 3792537"/>
                <a:gd name="connsiteY148" fmla="*/ 1194820 h 2030413"/>
                <a:gd name="connsiteX149" fmla="*/ 3164374 w 3792537"/>
                <a:gd name="connsiteY149" fmla="*/ 1241676 h 2030413"/>
                <a:gd name="connsiteX150" fmla="*/ 3156522 w 3792537"/>
                <a:gd name="connsiteY150" fmla="*/ 1280722 h 2030413"/>
                <a:gd name="connsiteX151" fmla="*/ 3164374 w 3792537"/>
                <a:gd name="connsiteY151" fmla="*/ 1296341 h 2030413"/>
                <a:gd name="connsiteX152" fmla="*/ 3148670 w 3792537"/>
                <a:gd name="connsiteY152" fmla="*/ 1296341 h 2030413"/>
                <a:gd name="connsiteX153" fmla="*/ 3078001 w 3792537"/>
                <a:gd name="connsiteY153" fmla="*/ 1311959 h 2030413"/>
                <a:gd name="connsiteX154" fmla="*/ 3078001 w 3792537"/>
                <a:gd name="connsiteY154" fmla="*/ 1288532 h 2030413"/>
                <a:gd name="connsiteX155" fmla="*/ 3030889 w 3792537"/>
                <a:gd name="connsiteY155" fmla="*/ 1272913 h 2030413"/>
                <a:gd name="connsiteX156" fmla="*/ 2991629 w 3792537"/>
                <a:gd name="connsiteY156" fmla="*/ 1280722 h 2030413"/>
                <a:gd name="connsiteX157" fmla="*/ 2913108 w 3792537"/>
                <a:gd name="connsiteY157" fmla="*/ 1280722 h 2030413"/>
                <a:gd name="connsiteX158" fmla="*/ 2881700 w 3792537"/>
                <a:gd name="connsiteY158" fmla="*/ 1288532 h 2030413"/>
                <a:gd name="connsiteX159" fmla="*/ 2779624 w 3792537"/>
                <a:gd name="connsiteY159" fmla="*/ 1390052 h 2030413"/>
                <a:gd name="connsiteX160" fmla="*/ 2771771 w 3792537"/>
                <a:gd name="connsiteY160" fmla="*/ 1405671 h 2030413"/>
                <a:gd name="connsiteX161" fmla="*/ 2740363 w 3792537"/>
                <a:gd name="connsiteY161" fmla="*/ 1444717 h 2030413"/>
                <a:gd name="connsiteX162" fmla="*/ 2701103 w 3792537"/>
                <a:gd name="connsiteY162" fmla="*/ 1483764 h 2030413"/>
                <a:gd name="connsiteX163" fmla="*/ 2677547 w 3792537"/>
                <a:gd name="connsiteY163" fmla="*/ 1499382 h 2030413"/>
                <a:gd name="connsiteX164" fmla="*/ 2701103 w 3792537"/>
                <a:gd name="connsiteY164" fmla="*/ 1499382 h 2030413"/>
                <a:gd name="connsiteX165" fmla="*/ 2716807 w 3792537"/>
                <a:gd name="connsiteY165" fmla="*/ 1530619 h 2030413"/>
                <a:gd name="connsiteX166" fmla="*/ 2740363 w 3792537"/>
                <a:gd name="connsiteY166" fmla="*/ 1546238 h 2030413"/>
                <a:gd name="connsiteX167" fmla="*/ 2787476 w 3792537"/>
                <a:gd name="connsiteY167" fmla="*/ 1515001 h 2030413"/>
                <a:gd name="connsiteX168" fmla="*/ 2826736 w 3792537"/>
                <a:gd name="connsiteY168" fmla="*/ 1554047 h 2030413"/>
                <a:gd name="connsiteX169" fmla="*/ 2826736 w 3792537"/>
                <a:gd name="connsiteY169" fmla="*/ 1585284 h 2030413"/>
                <a:gd name="connsiteX170" fmla="*/ 2811032 w 3792537"/>
                <a:gd name="connsiteY170" fmla="*/ 1671186 h 2030413"/>
                <a:gd name="connsiteX171" fmla="*/ 2803180 w 3792537"/>
                <a:gd name="connsiteY171" fmla="*/ 1741470 h 2030413"/>
                <a:gd name="connsiteX172" fmla="*/ 2771771 w 3792537"/>
                <a:gd name="connsiteY172" fmla="*/ 1796135 h 2030413"/>
                <a:gd name="connsiteX173" fmla="*/ 2708955 w 3792537"/>
                <a:gd name="connsiteY173" fmla="*/ 1882037 h 2030413"/>
                <a:gd name="connsiteX174" fmla="*/ 2685399 w 3792537"/>
                <a:gd name="connsiteY174" fmla="*/ 1913274 h 2030413"/>
                <a:gd name="connsiteX175" fmla="*/ 2630435 w 3792537"/>
                <a:gd name="connsiteY175" fmla="*/ 1952320 h 2030413"/>
                <a:gd name="connsiteX176" fmla="*/ 2606879 w 3792537"/>
                <a:gd name="connsiteY176" fmla="*/ 1944511 h 2030413"/>
                <a:gd name="connsiteX177" fmla="*/ 2599027 w 3792537"/>
                <a:gd name="connsiteY177" fmla="*/ 1944511 h 2030413"/>
                <a:gd name="connsiteX178" fmla="*/ 2583322 w 3792537"/>
                <a:gd name="connsiteY178" fmla="*/ 1952320 h 2030413"/>
                <a:gd name="connsiteX179" fmla="*/ 2567618 w 3792537"/>
                <a:gd name="connsiteY179" fmla="*/ 1952320 h 2030413"/>
                <a:gd name="connsiteX180" fmla="*/ 2559766 w 3792537"/>
                <a:gd name="connsiteY180" fmla="*/ 1952320 h 2030413"/>
                <a:gd name="connsiteX181" fmla="*/ 2583322 w 3792537"/>
                <a:gd name="connsiteY181" fmla="*/ 1866418 h 2030413"/>
                <a:gd name="connsiteX182" fmla="*/ 2622583 w 3792537"/>
                <a:gd name="connsiteY182" fmla="*/ 1858609 h 2030413"/>
                <a:gd name="connsiteX183" fmla="*/ 2661843 w 3792537"/>
                <a:gd name="connsiteY183" fmla="*/ 1741470 h 2030413"/>
                <a:gd name="connsiteX184" fmla="*/ 2567618 w 3792537"/>
                <a:gd name="connsiteY184" fmla="*/ 1749279 h 2030413"/>
                <a:gd name="connsiteX185" fmla="*/ 2551914 w 3792537"/>
                <a:gd name="connsiteY185" fmla="*/ 1718042 h 2030413"/>
                <a:gd name="connsiteX186" fmla="*/ 2489098 w 3792537"/>
                <a:gd name="connsiteY186" fmla="*/ 1702423 h 2030413"/>
                <a:gd name="connsiteX187" fmla="*/ 2410577 w 3792537"/>
                <a:gd name="connsiteY187" fmla="*/ 1561856 h 2030413"/>
                <a:gd name="connsiteX188" fmla="*/ 2339909 w 3792537"/>
                <a:gd name="connsiteY188" fmla="*/ 1561856 h 2030413"/>
                <a:gd name="connsiteX189" fmla="*/ 2316353 w 3792537"/>
                <a:gd name="connsiteY189" fmla="*/ 1600903 h 2030413"/>
                <a:gd name="connsiteX190" fmla="*/ 2269241 w 3792537"/>
                <a:gd name="connsiteY190" fmla="*/ 1686805 h 2030413"/>
                <a:gd name="connsiteX191" fmla="*/ 2222128 w 3792537"/>
                <a:gd name="connsiteY191" fmla="*/ 1686805 h 2030413"/>
                <a:gd name="connsiteX192" fmla="*/ 2214276 w 3792537"/>
                <a:gd name="connsiteY192" fmla="*/ 1702423 h 2030413"/>
                <a:gd name="connsiteX193" fmla="*/ 2159312 w 3792537"/>
                <a:gd name="connsiteY193" fmla="*/ 1686805 h 2030413"/>
                <a:gd name="connsiteX194" fmla="*/ 2033679 w 3792537"/>
                <a:gd name="connsiteY194" fmla="*/ 1718042 h 2030413"/>
                <a:gd name="connsiteX195" fmla="*/ 1986567 w 3792537"/>
                <a:gd name="connsiteY195" fmla="*/ 1678996 h 2030413"/>
                <a:gd name="connsiteX196" fmla="*/ 1908047 w 3792537"/>
                <a:gd name="connsiteY196" fmla="*/ 1678996 h 2030413"/>
                <a:gd name="connsiteX197" fmla="*/ 1884491 w 3792537"/>
                <a:gd name="connsiteY197" fmla="*/ 1647758 h 2030413"/>
                <a:gd name="connsiteX198" fmla="*/ 1790266 w 3792537"/>
                <a:gd name="connsiteY198" fmla="*/ 1608712 h 2030413"/>
                <a:gd name="connsiteX199" fmla="*/ 1758858 w 3792537"/>
                <a:gd name="connsiteY199" fmla="*/ 1647758 h 2030413"/>
                <a:gd name="connsiteX200" fmla="*/ 1727450 w 3792537"/>
                <a:gd name="connsiteY200" fmla="*/ 1694614 h 2030413"/>
                <a:gd name="connsiteX201" fmla="*/ 1664633 w 3792537"/>
                <a:gd name="connsiteY201" fmla="*/ 1663377 h 2030413"/>
                <a:gd name="connsiteX202" fmla="*/ 1578261 w 3792537"/>
                <a:gd name="connsiteY202" fmla="*/ 1671186 h 2030413"/>
                <a:gd name="connsiteX203" fmla="*/ 1523297 w 3792537"/>
                <a:gd name="connsiteY203" fmla="*/ 1710233 h 2030413"/>
                <a:gd name="connsiteX204" fmla="*/ 1507593 w 3792537"/>
                <a:gd name="connsiteY204" fmla="*/ 1741470 h 2030413"/>
                <a:gd name="connsiteX205" fmla="*/ 1499740 w 3792537"/>
                <a:gd name="connsiteY205" fmla="*/ 1733661 h 2030413"/>
                <a:gd name="connsiteX206" fmla="*/ 1484036 w 3792537"/>
                <a:gd name="connsiteY206" fmla="*/ 1741470 h 2030413"/>
                <a:gd name="connsiteX207" fmla="*/ 1484036 w 3792537"/>
                <a:gd name="connsiteY207" fmla="*/ 1694614 h 2030413"/>
                <a:gd name="connsiteX208" fmla="*/ 1429072 w 3792537"/>
                <a:gd name="connsiteY208" fmla="*/ 1686805 h 2030413"/>
                <a:gd name="connsiteX209" fmla="*/ 1366256 w 3792537"/>
                <a:gd name="connsiteY209" fmla="*/ 1655568 h 2030413"/>
                <a:gd name="connsiteX210" fmla="*/ 1287735 w 3792537"/>
                <a:gd name="connsiteY210" fmla="*/ 1655568 h 2030413"/>
                <a:gd name="connsiteX211" fmla="*/ 1256327 w 3792537"/>
                <a:gd name="connsiteY211" fmla="*/ 1585284 h 2030413"/>
                <a:gd name="connsiteX212" fmla="*/ 1224919 w 3792537"/>
                <a:gd name="connsiteY212" fmla="*/ 1515001 h 2030413"/>
                <a:gd name="connsiteX213" fmla="*/ 1185659 w 3792537"/>
                <a:gd name="connsiteY213" fmla="*/ 1522810 h 2030413"/>
                <a:gd name="connsiteX214" fmla="*/ 1114990 w 3792537"/>
                <a:gd name="connsiteY214" fmla="*/ 1546238 h 2030413"/>
                <a:gd name="connsiteX215" fmla="*/ 1052174 w 3792537"/>
                <a:gd name="connsiteY215" fmla="*/ 1475954 h 2030413"/>
                <a:gd name="connsiteX216" fmla="*/ 957950 w 3792537"/>
                <a:gd name="connsiteY216" fmla="*/ 1491573 h 2030413"/>
                <a:gd name="connsiteX217" fmla="*/ 855873 w 3792537"/>
                <a:gd name="connsiteY217" fmla="*/ 1530619 h 2030413"/>
                <a:gd name="connsiteX218" fmla="*/ 824465 w 3792537"/>
                <a:gd name="connsiteY218" fmla="*/ 1600903 h 2030413"/>
                <a:gd name="connsiteX219" fmla="*/ 840169 w 3792537"/>
                <a:gd name="connsiteY219" fmla="*/ 1647758 h 2030413"/>
                <a:gd name="connsiteX220" fmla="*/ 785205 w 3792537"/>
                <a:gd name="connsiteY220" fmla="*/ 1663377 h 2030413"/>
                <a:gd name="connsiteX221" fmla="*/ 730240 w 3792537"/>
                <a:gd name="connsiteY221" fmla="*/ 1647758 h 2030413"/>
                <a:gd name="connsiteX222" fmla="*/ 683128 w 3792537"/>
                <a:gd name="connsiteY222" fmla="*/ 1655568 h 2030413"/>
                <a:gd name="connsiteX223" fmla="*/ 643868 w 3792537"/>
                <a:gd name="connsiteY223" fmla="*/ 1632140 h 2030413"/>
                <a:gd name="connsiteX224" fmla="*/ 573199 w 3792537"/>
                <a:gd name="connsiteY224" fmla="*/ 1639949 h 2030413"/>
                <a:gd name="connsiteX225" fmla="*/ 494679 w 3792537"/>
                <a:gd name="connsiteY225" fmla="*/ 1671186 h 2030413"/>
                <a:gd name="connsiteX226" fmla="*/ 471123 w 3792537"/>
                <a:gd name="connsiteY226" fmla="*/ 1733661 h 2030413"/>
                <a:gd name="connsiteX227" fmla="*/ 494679 w 3792537"/>
                <a:gd name="connsiteY227" fmla="*/ 1749279 h 2030413"/>
                <a:gd name="connsiteX228" fmla="*/ 502531 w 3792537"/>
                <a:gd name="connsiteY228" fmla="*/ 1764898 h 2030413"/>
                <a:gd name="connsiteX229" fmla="*/ 494679 w 3792537"/>
                <a:gd name="connsiteY229" fmla="*/ 1757088 h 2030413"/>
                <a:gd name="connsiteX230" fmla="*/ 494679 w 3792537"/>
                <a:gd name="connsiteY230" fmla="*/ 1764898 h 2030413"/>
                <a:gd name="connsiteX231" fmla="*/ 463271 w 3792537"/>
                <a:gd name="connsiteY231" fmla="*/ 1788325 h 2030413"/>
                <a:gd name="connsiteX232" fmla="*/ 439715 w 3792537"/>
                <a:gd name="connsiteY232" fmla="*/ 1835181 h 2030413"/>
                <a:gd name="connsiteX233" fmla="*/ 494679 w 3792537"/>
                <a:gd name="connsiteY233" fmla="*/ 1905465 h 2030413"/>
                <a:gd name="connsiteX234" fmla="*/ 526087 w 3792537"/>
                <a:gd name="connsiteY234" fmla="*/ 1975748 h 2030413"/>
                <a:gd name="connsiteX235" fmla="*/ 502531 w 3792537"/>
                <a:gd name="connsiteY235" fmla="*/ 2006985 h 2030413"/>
                <a:gd name="connsiteX236" fmla="*/ 486827 w 3792537"/>
                <a:gd name="connsiteY236" fmla="*/ 2030413 h 2030413"/>
                <a:gd name="connsiteX237" fmla="*/ 478975 w 3792537"/>
                <a:gd name="connsiteY237" fmla="*/ 2030413 h 2030413"/>
                <a:gd name="connsiteX238" fmla="*/ 478975 w 3792537"/>
                <a:gd name="connsiteY238" fmla="*/ 2014795 h 2030413"/>
                <a:gd name="connsiteX239" fmla="*/ 463271 w 3792537"/>
                <a:gd name="connsiteY239" fmla="*/ 1999176 h 2030413"/>
                <a:gd name="connsiteX240" fmla="*/ 439715 w 3792537"/>
                <a:gd name="connsiteY240" fmla="*/ 2022604 h 2030413"/>
                <a:gd name="connsiteX241" fmla="*/ 408306 w 3792537"/>
                <a:gd name="connsiteY241" fmla="*/ 2022604 h 2030413"/>
                <a:gd name="connsiteX242" fmla="*/ 384750 w 3792537"/>
                <a:gd name="connsiteY242" fmla="*/ 1999176 h 2030413"/>
                <a:gd name="connsiteX243" fmla="*/ 392602 w 3792537"/>
                <a:gd name="connsiteY243" fmla="*/ 1991367 h 2030413"/>
                <a:gd name="connsiteX244" fmla="*/ 369046 w 3792537"/>
                <a:gd name="connsiteY244" fmla="*/ 1952320 h 2030413"/>
                <a:gd name="connsiteX245" fmla="*/ 353342 w 3792537"/>
                <a:gd name="connsiteY245" fmla="*/ 1936702 h 2030413"/>
                <a:gd name="connsiteX246" fmla="*/ 329786 w 3792537"/>
                <a:gd name="connsiteY246" fmla="*/ 1936702 h 2030413"/>
                <a:gd name="connsiteX247" fmla="*/ 314082 w 3792537"/>
                <a:gd name="connsiteY247" fmla="*/ 1928893 h 2030413"/>
                <a:gd name="connsiteX248" fmla="*/ 314082 w 3792537"/>
                <a:gd name="connsiteY248" fmla="*/ 1905465 h 2030413"/>
                <a:gd name="connsiteX249" fmla="*/ 274822 w 3792537"/>
                <a:gd name="connsiteY249" fmla="*/ 1866418 h 2030413"/>
                <a:gd name="connsiteX250" fmla="*/ 227710 w 3792537"/>
                <a:gd name="connsiteY250" fmla="*/ 1842990 h 2030413"/>
                <a:gd name="connsiteX251" fmla="*/ 204153 w 3792537"/>
                <a:gd name="connsiteY251" fmla="*/ 1811753 h 2030413"/>
                <a:gd name="connsiteX252" fmla="*/ 227710 w 3792537"/>
                <a:gd name="connsiteY252" fmla="*/ 1780516 h 2030413"/>
                <a:gd name="connsiteX253" fmla="*/ 243414 w 3792537"/>
                <a:gd name="connsiteY253" fmla="*/ 1749279 h 2030413"/>
                <a:gd name="connsiteX254" fmla="*/ 219857 w 3792537"/>
                <a:gd name="connsiteY254" fmla="*/ 1757088 h 2030413"/>
                <a:gd name="connsiteX255" fmla="*/ 235562 w 3792537"/>
                <a:gd name="connsiteY255" fmla="*/ 1741470 h 2030413"/>
                <a:gd name="connsiteX256" fmla="*/ 251266 w 3792537"/>
                <a:gd name="connsiteY256" fmla="*/ 1718042 h 2030413"/>
                <a:gd name="connsiteX257" fmla="*/ 266970 w 3792537"/>
                <a:gd name="connsiteY257" fmla="*/ 1710233 h 2030413"/>
                <a:gd name="connsiteX258" fmla="*/ 274822 w 3792537"/>
                <a:gd name="connsiteY258" fmla="*/ 1671186 h 2030413"/>
                <a:gd name="connsiteX259" fmla="*/ 266970 w 3792537"/>
                <a:gd name="connsiteY259" fmla="*/ 1671186 h 2030413"/>
                <a:gd name="connsiteX260" fmla="*/ 172745 w 3792537"/>
                <a:gd name="connsiteY260" fmla="*/ 1632140 h 2030413"/>
                <a:gd name="connsiteX261" fmla="*/ 164893 w 3792537"/>
                <a:gd name="connsiteY261" fmla="*/ 1624331 h 2030413"/>
                <a:gd name="connsiteX262" fmla="*/ 141337 w 3792537"/>
                <a:gd name="connsiteY262" fmla="*/ 1600903 h 2030413"/>
                <a:gd name="connsiteX263" fmla="*/ 117781 w 3792537"/>
                <a:gd name="connsiteY263" fmla="*/ 1600903 h 2030413"/>
                <a:gd name="connsiteX264" fmla="*/ 102077 w 3792537"/>
                <a:gd name="connsiteY264" fmla="*/ 1593093 h 2030413"/>
                <a:gd name="connsiteX265" fmla="*/ 94225 w 3792537"/>
                <a:gd name="connsiteY265" fmla="*/ 1569666 h 2030413"/>
                <a:gd name="connsiteX266" fmla="*/ 117781 w 3792537"/>
                <a:gd name="connsiteY266" fmla="*/ 1554047 h 2030413"/>
                <a:gd name="connsiteX267" fmla="*/ 125633 w 3792537"/>
                <a:gd name="connsiteY267" fmla="*/ 1538428 h 2030413"/>
                <a:gd name="connsiteX268" fmla="*/ 102077 w 3792537"/>
                <a:gd name="connsiteY268" fmla="*/ 1522810 h 2030413"/>
                <a:gd name="connsiteX269" fmla="*/ 70669 w 3792537"/>
                <a:gd name="connsiteY269" fmla="*/ 1452526 h 2030413"/>
                <a:gd name="connsiteX270" fmla="*/ 47113 w 3792537"/>
                <a:gd name="connsiteY270" fmla="*/ 1444717 h 2030413"/>
                <a:gd name="connsiteX271" fmla="*/ 15704 w 3792537"/>
                <a:gd name="connsiteY271" fmla="*/ 1429099 h 2030413"/>
                <a:gd name="connsiteX272" fmla="*/ 0 w 3792537"/>
                <a:gd name="connsiteY272" fmla="*/ 1390052 h 2030413"/>
                <a:gd name="connsiteX273" fmla="*/ 7852 w 3792537"/>
                <a:gd name="connsiteY273" fmla="*/ 1335387 h 2030413"/>
                <a:gd name="connsiteX274" fmla="*/ 7852 w 3792537"/>
                <a:gd name="connsiteY274" fmla="*/ 1311959 h 2030413"/>
                <a:gd name="connsiteX275" fmla="*/ 15704 w 3792537"/>
                <a:gd name="connsiteY275" fmla="*/ 1280722 h 2030413"/>
                <a:gd name="connsiteX276" fmla="*/ 7852 w 3792537"/>
                <a:gd name="connsiteY276" fmla="*/ 1272913 h 2030413"/>
                <a:gd name="connsiteX277" fmla="*/ 31408 w 3792537"/>
                <a:gd name="connsiteY277" fmla="*/ 1272913 h 2030413"/>
                <a:gd name="connsiteX278" fmla="*/ 31408 w 3792537"/>
                <a:gd name="connsiteY278" fmla="*/ 1233867 h 2030413"/>
                <a:gd name="connsiteX279" fmla="*/ 15704 w 3792537"/>
                <a:gd name="connsiteY279" fmla="*/ 1226057 h 2030413"/>
                <a:gd name="connsiteX280" fmla="*/ 0 w 3792537"/>
                <a:gd name="connsiteY280" fmla="*/ 1226057 h 2030413"/>
                <a:gd name="connsiteX281" fmla="*/ 86373 w 3792537"/>
                <a:gd name="connsiteY281" fmla="*/ 1116727 h 2030413"/>
                <a:gd name="connsiteX282" fmla="*/ 94225 w 3792537"/>
                <a:gd name="connsiteY282" fmla="*/ 1101109 h 2030413"/>
                <a:gd name="connsiteX283" fmla="*/ 78521 w 3792537"/>
                <a:gd name="connsiteY283" fmla="*/ 1093299 h 2030413"/>
                <a:gd name="connsiteX284" fmla="*/ 62817 w 3792537"/>
                <a:gd name="connsiteY284" fmla="*/ 1069872 h 2030413"/>
                <a:gd name="connsiteX285" fmla="*/ 70669 w 3792537"/>
                <a:gd name="connsiteY285" fmla="*/ 1038634 h 2030413"/>
                <a:gd name="connsiteX286" fmla="*/ 54965 w 3792537"/>
                <a:gd name="connsiteY286" fmla="*/ 1023016 h 2030413"/>
                <a:gd name="connsiteX287" fmla="*/ 62817 w 3792537"/>
                <a:gd name="connsiteY287" fmla="*/ 1007397 h 2030413"/>
                <a:gd name="connsiteX288" fmla="*/ 47113 w 3792537"/>
                <a:gd name="connsiteY288" fmla="*/ 991779 h 2030413"/>
                <a:gd name="connsiteX289" fmla="*/ 54965 w 3792537"/>
                <a:gd name="connsiteY289" fmla="*/ 983970 h 2030413"/>
                <a:gd name="connsiteX290" fmla="*/ 47113 w 3792537"/>
                <a:gd name="connsiteY290" fmla="*/ 968351 h 2030413"/>
                <a:gd name="connsiteX291" fmla="*/ 62817 w 3792537"/>
                <a:gd name="connsiteY291" fmla="*/ 952732 h 2030413"/>
                <a:gd name="connsiteX292" fmla="*/ 31408 w 3792537"/>
                <a:gd name="connsiteY292" fmla="*/ 874640 h 2030413"/>
                <a:gd name="connsiteX293" fmla="*/ 62817 w 3792537"/>
                <a:gd name="connsiteY293" fmla="*/ 835593 h 2030413"/>
                <a:gd name="connsiteX294" fmla="*/ 47113 w 3792537"/>
                <a:gd name="connsiteY294" fmla="*/ 796547 h 2030413"/>
                <a:gd name="connsiteX295" fmla="*/ 23556 w 3792537"/>
                <a:gd name="connsiteY295" fmla="*/ 780928 h 2030413"/>
                <a:gd name="connsiteX296" fmla="*/ 15704 w 3792537"/>
                <a:gd name="connsiteY296" fmla="*/ 773119 h 2030413"/>
                <a:gd name="connsiteX297" fmla="*/ 23556 w 3792537"/>
                <a:gd name="connsiteY297" fmla="*/ 749691 h 2030413"/>
                <a:gd name="connsiteX298" fmla="*/ 23556 w 3792537"/>
                <a:gd name="connsiteY298" fmla="*/ 741882 h 2030413"/>
                <a:gd name="connsiteX299" fmla="*/ 31408 w 3792537"/>
                <a:gd name="connsiteY299" fmla="*/ 734073 h 2030413"/>
                <a:gd name="connsiteX300" fmla="*/ 31408 w 3792537"/>
                <a:gd name="connsiteY300" fmla="*/ 726263 h 2030413"/>
                <a:gd name="connsiteX301" fmla="*/ 62817 w 3792537"/>
                <a:gd name="connsiteY301" fmla="*/ 695026 h 2030413"/>
                <a:gd name="connsiteX302" fmla="*/ 70669 w 3792537"/>
                <a:gd name="connsiteY302" fmla="*/ 679408 h 2030413"/>
                <a:gd name="connsiteX303" fmla="*/ 78521 w 3792537"/>
                <a:gd name="connsiteY303" fmla="*/ 679408 h 2030413"/>
                <a:gd name="connsiteX304" fmla="*/ 102077 w 3792537"/>
                <a:gd name="connsiteY304" fmla="*/ 679408 h 2030413"/>
                <a:gd name="connsiteX305" fmla="*/ 133485 w 3792537"/>
                <a:gd name="connsiteY305" fmla="*/ 679408 h 2030413"/>
                <a:gd name="connsiteX306" fmla="*/ 133485 w 3792537"/>
                <a:gd name="connsiteY306" fmla="*/ 702835 h 2030413"/>
                <a:gd name="connsiteX307" fmla="*/ 157041 w 3792537"/>
                <a:gd name="connsiteY307" fmla="*/ 710645 h 2030413"/>
                <a:gd name="connsiteX308" fmla="*/ 204153 w 3792537"/>
                <a:gd name="connsiteY308" fmla="*/ 726263 h 2030413"/>
                <a:gd name="connsiteX309" fmla="*/ 235562 w 3792537"/>
                <a:gd name="connsiteY309" fmla="*/ 757500 h 2030413"/>
                <a:gd name="connsiteX310" fmla="*/ 282674 w 3792537"/>
                <a:gd name="connsiteY310" fmla="*/ 788738 h 2030413"/>
                <a:gd name="connsiteX311" fmla="*/ 337638 w 3792537"/>
                <a:gd name="connsiteY311" fmla="*/ 851212 h 2030413"/>
                <a:gd name="connsiteX312" fmla="*/ 329786 w 3792537"/>
                <a:gd name="connsiteY312" fmla="*/ 890258 h 2030413"/>
                <a:gd name="connsiteX313" fmla="*/ 298378 w 3792537"/>
                <a:gd name="connsiteY313" fmla="*/ 913686 h 2030413"/>
                <a:gd name="connsiteX314" fmla="*/ 243414 w 3792537"/>
                <a:gd name="connsiteY314" fmla="*/ 921495 h 2030413"/>
                <a:gd name="connsiteX315" fmla="*/ 188449 w 3792537"/>
                <a:gd name="connsiteY315" fmla="*/ 905877 h 2030413"/>
                <a:gd name="connsiteX316" fmla="*/ 172745 w 3792537"/>
                <a:gd name="connsiteY316" fmla="*/ 882449 h 2030413"/>
                <a:gd name="connsiteX317" fmla="*/ 141337 w 3792537"/>
                <a:gd name="connsiteY317" fmla="*/ 874640 h 2030413"/>
                <a:gd name="connsiteX318" fmla="*/ 125633 w 3792537"/>
                <a:gd name="connsiteY318" fmla="*/ 866830 h 2030413"/>
                <a:gd name="connsiteX319" fmla="*/ 109929 w 3792537"/>
                <a:gd name="connsiteY319" fmla="*/ 866830 h 2030413"/>
                <a:gd name="connsiteX320" fmla="*/ 117781 w 3792537"/>
                <a:gd name="connsiteY320" fmla="*/ 882449 h 2030413"/>
                <a:gd name="connsiteX321" fmla="*/ 149189 w 3792537"/>
                <a:gd name="connsiteY321" fmla="*/ 905877 h 2030413"/>
                <a:gd name="connsiteX322" fmla="*/ 180597 w 3792537"/>
                <a:gd name="connsiteY322" fmla="*/ 921495 h 2030413"/>
                <a:gd name="connsiteX323" fmla="*/ 180597 w 3792537"/>
                <a:gd name="connsiteY323" fmla="*/ 944923 h 2030413"/>
                <a:gd name="connsiteX324" fmla="*/ 164893 w 3792537"/>
                <a:gd name="connsiteY324" fmla="*/ 960542 h 2030413"/>
                <a:gd name="connsiteX325" fmla="*/ 180597 w 3792537"/>
                <a:gd name="connsiteY325" fmla="*/ 999588 h 2030413"/>
                <a:gd name="connsiteX326" fmla="*/ 180597 w 3792537"/>
                <a:gd name="connsiteY326" fmla="*/ 1015207 h 2030413"/>
                <a:gd name="connsiteX327" fmla="*/ 204153 w 3792537"/>
                <a:gd name="connsiteY327" fmla="*/ 1038634 h 2030413"/>
                <a:gd name="connsiteX328" fmla="*/ 243414 w 3792537"/>
                <a:gd name="connsiteY328" fmla="*/ 1062062 h 2030413"/>
                <a:gd name="connsiteX329" fmla="*/ 259118 w 3792537"/>
                <a:gd name="connsiteY329" fmla="*/ 1054253 h 2030413"/>
                <a:gd name="connsiteX330" fmla="*/ 251266 w 3792537"/>
                <a:gd name="connsiteY330" fmla="*/ 1030825 h 2030413"/>
                <a:gd name="connsiteX331" fmla="*/ 235562 w 3792537"/>
                <a:gd name="connsiteY331" fmla="*/ 1007397 h 2030413"/>
                <a:gd name="connsiteX332" fmla="*/ 235562 w 3792537"/>
                <a:gd name="connsiteY332" fmla="*/ 991779 h 2030413"/>
                <a:gd name="connsiteX333" fmla="*/ 259118 w 3792537"/>
                <a:gd name="connsiteY333" fmla="*/ 999588 h 2030413"/>
                <a:gd name="connsiteX334" fmla="*/ 306230 w 3792537"/>
                <a:gd name="connsiteY334" fmla="*/ 1007397 h 2030413"/>
                <a:gd name="connsiteX335" fmla="*/ 321934 w 3792537"/>
                <a:gd name="connsiteY335" fmla="*/ 1015207 h 2030413"/>
                <a:gd name="connsiteX336" fmla="*/ 298378 w 3792537"/>
                <a:gd name="connsiteY336" fmla="*/ 960542 h 2030413"/>
                <a:gd name="connsiteX337" fmla="*/ 314082 w 3792537"/>
                <a:gd name="connsiteY337" fmla="*/ 944923 h 2030413"/>
                <a:gd name="connsiteX338" fmla="*/ 337638 w 3792537"/>
                <a:gd name="connsiteY338" fmla="*/ 921495 h 2030413"/>
                <a:gd name="connsiteX339" fmla="*/ 361194 w 3792537"/>
                <a:gd name="connsiteY339" fmla="*/ 905877 h 2030413"/>
                <a:gd name="connsiteX340" fmla="*/ 384750 w 3792537"/>
                <a:gd name="connsiteY340" fmla="*/ 905877 h 2030413"/>
                <a:gd name="connsiteX341" fmla="*/ 408306 w 3792537"/>
                <a:gd name="connsiteY341" fmla="*/ 921495 h 2030413"/>
                <a:gd name="connsiteX342" fmla="*/ 424011 w 3792537"/>
                <a:gd name="connsiteY342" fmla="*/ 874640 h 2030413"/>
                <a:gd name="connsiteX343" fmla="*/ 408306 w 3792537"/>
                <a:gd name="connsiteY343" fmla="*/ 851212 h 2030413"/>
                <a:gd name="connsiteX344" fmla="*/ 408306 w 3792537"/>
                <a:gd name="connsiteY344" fmla="*/ 796547 h 2030413"/>
                <a:gd name="connsiteX345" fmla="*/ 392602 w 3792537"/>
                <a:gd name="connsiteY345" fmla="*/ 765310 h 2030413"/>
                <a:gd name="connsiteX346" fmla="*/ 416159 w 3792537"/>
                <a:gd name="connsiteY346" fmla="*/ 773119 h 2030413"/>
                <a:gd name="connsiteX347" fmla="*/ 431863 w 3792537"/>
                <a:gd name="connsiteY347" fmla="*/ 773119 h 2030413"/>
                <a:gd name="connsiteX348" fmla="*/ 463271 w 3792537"/>
                <a:gd name="connsiteY348" fmla="*/ 780928 h 2030413"/>
                <a:gd name="connsiteX349" fmla="*/ 471123 w 3792537"/>
                <a:gd name="connsiteY349" fmla="*/ 812165 h 2030413"/>
                <a:gd name="connsiteX350" fmla="*/ 447567 w 3792537"/>
                <a:gd name="connsiteY350" fmla="*/ 827784 h 2030413"/>
                <a:gd name="connsiteX351" fmla="*/ 439715 w 3792537"/>
                <a:gd name="connsiteY351" fmla="*/ 851212 h 2030413"/>
                <a:gd name="connsiteX352" fmla="*/ 463271 w 3792537"/>
                <a:gd name="connsiteY352" fmla="*/ 874640 h 2030413"/>
                <a:gd name="connsiteX353" fmla="*/ 486827 w 3792537"/>
                <a:gd name="connsiteY353" fmla="*/ 874640 h 2030413"/>
                <a:gd name="connsiteX354" fmla="*/ 502531 w 3792537"/>
                <a:gd name="connsiteY354" fmla="*/ 835593 h 2030413"/>
                <a:gd name="connsiteX355" fmla="*/ 518235 w 3792537"/>
                <a:gd name="connsiteY355" fmla="*/ 827784 h 2030413"/>
                <a:gd name="connsiteX356" fmla="*/ 573199 w 3792537"/>
                <a:gd name="connsiteY356" fmla="*/ 796547 h 2030413"/>
                <a:gd name="connsiteX357" fmla="*/ 620312 w 3792537"/>
                <a:gd name="connsiteY357" fmla="*/ 765310 h 2030413"/>
                <a:gd name="connsiteX358" fmla="*/ 651720 w 3792537"/>
                <a:gd name="connsiteY358" fmla="*/ 757500 h 2030413"/>
                <a:gd name="connsiteX359" fmla="*/ 667424 w 3792537"/>
                <a:gd name="connsiteY359" fmla="*/ 773119 h 2030413"/>
                <a:gd name="connsiteX360" fmla="*/ 698832 w 3792537"/>
                <a:gd name="connsiteY360" fmla="*/ 765310 h 2030413"/>
                <a:gd name="connsiteX361" fmla="*/ 730240 w 3792537"/>
                <a:gd name="connsiteY361" fmla="*/ 757500 h 2030413"/>
                <a:gd name="connsiteX362" fmla="*/ 769500 w 3792537"/>
                <a:gd name="connsiteY362" fmla="*/ 741882 h 2030413"/>
                <a:gd name="connsiteX363" fmla="*/ 800909 w 3792537"/>
                <a:gd name="connsiteY363" fmla="*/ 749691 h 2030413"/>
                <a:gd name="connsiteX364" fmla="*/ 816613 w 3792537"/>
                <a:gd name="connsiteY364" fmla="*/ 741882 h 2030413"/>
                <a:gd name="connsiteX365" fmla="*/ 808761 w 3792537"/>
                <a:gd name="connsiteY365" fmla="*/ 687217 h 2030413"/>
                <a:gd name="connsiteX366" fmla="*/ 848021 w 3792537"/>
                <a:gd name="connsiteY366" fmla="*/ 687217 h 2030413"/>
                <a:gd name="connsiteX367" fmla="*/ 887281 w 3792537"/>
                <a:gd name="connsiteY367" fmla="*/ 687217 h 2030413"/>
                <a:gd name="connsiteX368" fmla="*/ 950097 w 3792537"/>
                <a:gd name="connsiteY368" fmla="*/ 734073 h 2030413"/>
                <a:gd name="connsiteX369" fmla="*/ 1005062 w 3792537"/>
                <a:gd name="connsiteY369" fmla="*/ 788738 h 2030413"/>
                <a:gd name="connsiteX370" fmla="*/ 1036470 w 3792537"/>
                <a:gd name="connsiteY370" fmla="*/ 734073 h 2030413"/>
                <a:gd name="connsiteX371" fmla="*/ 989358 w 3792537"/>
                <a:gd name="connsiteY371" fmla="*/ 687217 h 2030413"/>
                <a:gd name="connsiteX372" fmla="*/ 981506 w 3792537"/>
                <a:gd name="connsiteY372" fmla="*/ 671598 h 2030413"/>
                <a:gd name="connsiteX373" fmla="*/ 989358 w 3792537"/>
                <a:gd name="connsiteY373" fmla="*/ 632552 h 2030413"/>
                <a:gd name="connsiteX374" fmla="*/ 965802 w 3792537"/>
                <a:gd name="connsiteY374" fmla="*/ 593505 h 2030413"/>
                <a:gd name="connsiteX375" fmla="*/ 981506 w 3792537"/>
                <a:gd name="connsiteY375" fmla="*/ 570078 h 2030413"/>
                <a:gd name="connsiteX376" fmla="*/ 1005062 w 3792537"/>
                <a:gd name="connsiteY376" fmla="*/ 546650 h 2030413"/>
                <a:gd name="connsiteX377" fmla="*/ 1028618 w 3792537"/>
                <a:gd name="connsiteY377" fmla="*/ 437320 h 2030413"/>
                <a:gd name="connsiteX378" fmla="*/ 1075730 w 3792537"/>
                <a:gd name="connsiteY378" fmla="*/ 437320 h 2030413"/>
                <a:gd name="connsiteX379" fmla="*/ 1122842 w 3792537"/>
                <a:gd name="connsiteY379" fmla="*/ 452938 h 2030413"/>
                <a:gd name="connsiteX380" fmla="*/ 1130694 w 3792537"/>
                <a:gd name="connsiteY380" fmla="*/ 491985 h 2030413"/>
                <a:gd name="connsiteX381" fmla="*/ 1138546 w 3792537"/>
                <a:gd name="connsiteY381" fmla="*/ 531031 h 2030413"/>
                <a:gd name="connsiteX382" fmla="*/ 1122842 w 3792537"/>
                <a:gd name="connsiteY382" fmla="*/ 593505 h 2030413"/>
                <a:gd name="connsiteX383" fmla="*/ 1138546 w 3792537"/>
                <a:gd name="connsiteY383" fmla="*/ 624743 h 2030413"/>
                <a:gd name="connsiteX384" fmla="*/ 1162103 w 3792537"/>
                <a:gd name="connsiteY384" fmla="*/ 616933 h 2030413"/>
                <a:gd name="connsiteX385" fmla="*/ 1162103 w 3792537"/>
                <a:gd name="connsiteY385" fmla="*/ 546650 h 2030413"/>
                <a:gd name="connsiteX386" fmla="*/ 1162103 w 3792537"/>
                <a:gd name="connsiteY386" fmla="*/ 507603 h 2030413"/>
                <a:gd name="connsiteX387" fmla="*/ 1177807 w 3792537"/>
                <a:gd name="connsiteY387" fmla="*/ 460748 h 2030413"/>
                <a:gd name="connsiteX388" fmla="*/ 1193511 w 3792537"/>
                <a:gd name="connsiteY388" fmla="*/ 460748 h 2030413"/>
                <a:gd name="connsiteX389" fmla="*/ 1217067 w 3792537"/>
                <a:gd name="connsiteY389" fmla="*/ 484175 h 2030413"/>
                <a:gd name="connsiteX390" fmla="*/ 1240623 w 3792537"/>
                <a:gd name="connsiteY390" fmla="*/ 515413 h 2030413"/>
                <a:gd name="connsiteX391" fmla="*/ 1272031 w 3792537"/>
                <a:gd name="connsiteY391" fmla="*/ 476366 h 2030413"/>
                <a:gd name="connsiteX392" fmla="*/ 1311291 w 3792537"/>
                <a:gd name="connsiteY392" fmla="*/ 491985 h 2030413"/>
                <a:gd name="connsiteX393" fmla="*/ 1334848 w 3792537"/>
                <a:gd name="connsiteY393" fmla="*/ 499794 h 2030413"/>
                <a:gd name="connsiteX394" fmla="*/ 1326996 w 3792537"/>
                <a:gd name="connsiteY394" fmla="*/ 421701 h 2030413"/>
                <a:gd name="connsiteX395" fmla="*/ 1350552 w 3792537"/>
                <a:gd name="connsiteY395" fmla="*/ 390464 h 2030413"/>
                <a:gd name="connsiteX396" fmla="*/ 1476184 w 3792537"/>
                <a:gd name="connsiteY396" fmla="*/ 359227 h 2030413"/>
                <a:gd name="connsiteX397" fmla="*/ 1491888 w 3792537"/>
                <a:gd name="connsiteY397" fmla="*/ 273325 h 2030413"/>
                <a:gd name="connsiteX398" fmla="*/ 1531149 w 3792537"/>
                <a:gd name="connsiteY398" fmla="*/ 226469 h 2030413"/>
                <a:gd name="connsiteX399" fmla="*/ 1617521 w 3792537"/>
                <a:gd name="connsiteY399" fmla="*/ 179614 h 2030413"/>
                <a:gd name="connsiteX400" fmla="*/ 1696042 w 3792537"/>
                <a:gd name="connsiteY400" fmla="*/ 148376 h 2030413"/>
                <a:gd name="connsiteX401" fmla="*/ 1743154 w 3792537"/>
                <a:gd name="connsiteY401" fmla="*/ 171804 h 2030413"/>
                <a:gd name="connsiteX402" fmla="*/ 1813822 w 3792537"/>
                <a:gd name="connsiteY402" fmla="*/ 124949 h 2030413"/>
                <a:gd name="connsiteX403" fmla="*/ 1829526 w 3792537"/>
                <a:gd name="connsiteY403" fmla="*/ 70284 h 2030413"/>
                <a:gd name="connsiteX404" fmla="*/ 1892343 w 3792537"/>
                <a:gd name="connsiteY404" fmla="*/ 0 h 2030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</a:cxnLst>
              <a:rect l="l" t="t" r="r" b="b"/>
              <a:pathLst>
                <a:path w="3792537" h="2030413">
                  <a:moveTo>
                    <a:pt x="1026517" y="125413"/>
                  </a:moveTo>
                  <a:lnTo>
                    <a:pt x="1073291" y="133243"/>
                  </a:lnTo>
                  <a:lnTo>
                    <a:pt x="1081087" y="164561"/>
                  </a:lnTo>
                  <a:lnTo>
                    <a:pt x="1026517" y="219369"/>
                  </a:lnTo>
                  <a:lnTo>
                    <a:pt x="971947" y="250688"/>
                  </a:lnTo>
                  <a:lnTo>
                    <a:pt x="932968" y="274177"/>
                  </a:lnTo>
                  <a:lnTo>
                    <a:pt x="893989" y="321155"/>
                  </a:lnTo>
                  <a:lnTo>
                    <a:pt x="831623" y="360303"/>
                  </a:lnTo>
                  <a:lnTo>
                    <a:pt x="769257" y="493408"/>
                  </a:lnTo>
                  <a:lnTo>
                    <a:pt x="745870" y="549521"/>
                  </a:lnTo>
                  <a:lnTo>
                    <a:pt x="769257" y="643477"/>
                  </a:lnTo>
                  <a:lnTo>
                    <a:pt x="800440" y="682625"/>
                  </a:lnTo>
                  <a:lnTo>
                    <a:pt x="738074" y="674795"/>
                  </a:lnTo>
                  <a:lnTo>
                    <a:pt x="714687" y="666966"/>
                  </a:lnTo>
                  <a:lnTo>
                    <a:pt x="706891" y="651306"/>
                  </a:lnTo>
                  <a:lnTo>
                    <a:pt x="667912" y="635647"/>
                  </a:lnTo>
                  <a:lnTo>
                    <a:pt x="644525" y="580839"/>
                  </a:lnTo>
                  <a:lnTo>
                    <a:pt x="667912" y="549521"/>
                  </a:lnTo>
                  <a:lnTo>
                    <a:pt x="660117" y="510372"/>
                  </a:lnTo>
                  <a:lnTo>
                    <a:pt x="683504" y="477749"/>
                  </a:lnTo>
                  <a:lnTo>
                    <a:pt x="699095" y="438600"/>
                  </a:lnTo>
                  <a:lnTo>
                    <a:pt x="699095" y="407281"/>
                  </a:lnTo>
                  <a:lnTo>
                    <a:pt x="730278" y="368133"/>
                  </a:lnTo>
                  <a:lnTo>
                    <a:pt x="753666" y="344644"/>
                  </a:lnTo>
                  <a:lnTo>
                    <a:pt x="761461" y="305496"/>
                  </a:lnTo>
                  <a:lnTo>
                    <a:pt x="792644" y="289836"/>
                  </a:lnTo>
                  <a:lnTo>
                    <a:pt x="855010" y="227199"/>
                  </a:lnTo>
                  <a:lnTo>
                    <a:pt x="870602" y="203710"/>
                  </a:lnTo>
                  <a:lnTo>
                    <a:pt x="886193" y="188050"/>
                  </a:lnTo>
                  <a:lnTo>
                    <a:pt x="932968" y="188050"/>
                  </a:lnTo>
                  <a:lnTo>
                    <a:pt x="971947" y="180221"/>
                  </a:lnTo>
                  <a:lnTo>
                    <a:pt x="995334" y="156732"/>
                  </a:lnTo>
                  <a:close/>
                  <a:moveTo>
                    <a:pt x="1892343" y="0"/>
                  </a:moveTo>
                  <a:cubicBezTo>
                    <a:pt x="1900195" y="0"/>
                    <a:pt x="1955159" y="7809"/>
                    <a:pt x="1955159" y="7809"/>
                  </a:cubicBezTo>
                  <a:cubicBezTo>
                    <a:pt x="1955159" y="7809"/>
                    <a:pt x="1955159" y="7809"/>
                    <a:pt x="1994419" y="62474"/>
                  </a:cubicBezTo>
                  <a:cubicBezTo>
                    <a:pt x="1994419" y="62474"/>
                    <a:pt x="1994419" y="62474"/>
                    <a:pt x="1994419" y="85902"/>
                  </a:cubicBezTo>
                  <a:cubicBezTo>
                    <a:pt x="1994419" y="85902"/>
                    <a:pt x="1994419" y="85902"/>
                    <a:pt x="2041531" y="93711"/>
                  </a:cubicBezTo>
                  <a:cubicBezTo>
                    <a:pt x="2041531" y="93711"/>
                    <a:pt x="2041531" y="93711"/>
                    <a:pt x="2104348" y="148376"/>
                  </a:cubicBezTo>
                  <a:cubicBezTo>
                    <a:pt x="2104348" y="148376"/>
                    <a:pt x="2104348" y="148376"/>
                    <a:pt x="2120052" y="226469"/>
                  </a:cubicBezTo>
                  <a:cubicBezTo>
                    <a:pt x="2120052" y="226469"/>
                    <a:pt x="2120052" y="226469"/>
                    <a:pt x="2088644" y="273325"/>
                  </a:cubicBezTo>
                  <a:cubicBezTo>
                    <a:pt x="2088644" y="273325"/>
                    <a:pt x="2088644" y="273325"/>
                    <a:pt x="2057236" y="304562"/>
                  </a:cubicBezTo>
                  <a:cubicBezTo>
                    <a:pt x="2057236" y="304562"/>
                    <a:pt x="2057236" y="304562"/>
                    <a:pt x="2002271" y="374846"/>
                  </a:cubicBezTo>
                  <a:cubicBezTo>
                    <a:pt x="2002271" y="374846"/>
                    <a:pt x="2002271" y="374846"/>
                    <a:pt x="1970863" y="398273"/>
                  </a:cubicBezTo>
                  <a:cubicBezTo>
                    <a:pt x="1970863" y="398273"/>
                    <a:pt x="1970863" y="398273"/>
                    <a:pt x="1939455" y="445129"/>
                  </a:cubicBezTo>
                  <a:cubicBezTo>
                    <a:pt x="1939455" y="445129"/>
                    <a:pt x="1939455" y="445129"/>
                    <a:pt x="1986567" y="406083"/>
                  </a:cubicBezTo>
                  <a:cubicBezTo>
                    <a:pt x="1986567" y="406083"/>
                    <a:pt x="1986567" y="406083"/>
                    <a:pt x="2033679" y="382655"/>
                  </a:cubicBezTo>
                  <a:cubicBezTo>
                    <a:pt x="2033679" y="382655"/>
                    <a:pt x="2033679" y="382655"/>
                    <a:pt x="2072940" y="343608"/>
                  </a:cubicBezTo>
                  <a:cubicBezTo>
                    <a:pt x="2072940" y="343608"/>
                    <a:pt x="2072940" y="343608"/>
                    <a:pt x="2104348" y="351418"/>
                  </a:cubicBezTo>
                  <a:cubicBezTo>
                    <a:pt x="2104348" y="351418"/>
                    <a:pt x="2104348" y="351418"/>
                    <a:pt x="2127904" y="382655"/>
                  </a:cubicBezTo>
                  <a:cubicBezTo>
                    <a:pt x="2127904" y="382655"/>
                    <a:pt x="2127904" y="382655"/>
                    <a:pt x="2135756" y="406083"/>
                  </a:cubicBezTo>
                  <a:cubicBezTo>
                    <a:pt x="2135756" y="406083"/>
                    <a:pt x="2135756" y="406083"/>
                    <a:pt x="2175016" y="382655"/>
                  </a:cubicBezTo>
                  <a:cubicBezTo>
                    <a:pt x="2175016" y="382655"/>
                    <a:pt x="2175016" y="382655"/>
                    <a:pt x="2245685" y="382655"/>
                  </a:cubicBezTo>
                  <a:cubicBezTo>
                    <a:pt x="2245685" y="382655"/>
                    <a:pt x="2245685" y="382655"/>
                    <a:pt x="2253537" y="413892"/>
                  </a:cubicBezTo>
                  <a:cubicBezTo>
                    <a:pt x="2253537" y="413892"/>
                    <a:pt x="2253537" y="413892"/>
                    <a:pt x="2292797" y="429511"/>
                  </a:cubicBezTo>
                  <a:cubicBezTo>
                    <a:pt x="2292797" y="429511"/>
                    <a:pt x="2292797" y="429511"/>
                    <a:pt x="2363465" y="429511"/>
                  </a:cubicBezTo>
                  <a:cubicBezTo>
                    <a:pt x="2363465" y="429511"/>
                    <a:pt x="2363465" y="429511"/>
                    <a:pt x="2379169" y="390464"/>
                  </a:cubicBezTo>
                  <a:cubicBezTo>
                    <a:pt x="2379169" y="390464"/>
                    <a:pt x="2379169" y="390464"/>
                    <a:pt x="2402725" y="359227"/>
                  </a:cubicBezTo>
                  <a:cubicBezTo>
                    <a:pt x="2402725" y="359227"/>
                    <a:pt x="2402725" y="359227"/>
                    <a:pt x="2434134" y="382655"/>
                  </a:cubicBezTo>
                  <a:cubicBezTo>
                    <a:pt x="2434134" y="382655"/>
                    <a:pt x="2434134" y="382655"/>
                    <a:pt x="2449838" y="398273"/>
                  </a:cubicBezTo>
                  <a:cubicBezTo>
                    <a:pt x="2449838" y="398273"/>
                    <a:pt x="2449838" y="398273"/>
                    <a:pt x="2481246" y="398273"/>
                  </a:cubicBezTo>
                  <a:cubicBezTo>
                    <a:pt x="2481246" y="398273"/>
                    <a:pt x="2481246" y="398273"/>
                    <a:pt x="2512654" y="406083"/>
                  </a:cubicBezTo>
                  <a:cubicBezTo>
                    <a:pt x="2512654" y="406083"/>
                    <a:pt x="2512654" y="406083"/>
                    <a:pt x="2536210" y="445129"/>
                  </a:cubicBezTo>
                  <a:cubicBezTo>
                    <a:pt x="2536210" y="445129"/>
                    <a:pt x="2536210" y="445129"/>
                    <a:pt x="2536210" y="468557"/>
                  </a:cubicBezTo>
                  <a:cubicBezTo>
                    <a:pt x="2536210" y="468557"/>
                    <a:pt x="2536210" y="468557"/>
                    <a:pt x="2512654" y="523222"/>
                  </a:cubicBezTo>
                  <a:cubicBezTo>
                    <a:pt x="2512654" y="523222"/>
                    <a:pt x="2512654" y="523222"/>
                    <a:pt x="2536210" y="570078"/>
                  </a:cubicBezTo>
                  <a:cubicBezTo>
                    <a:pt x="2536210" y="570078"/>
                    <a:pt x="2536210" y="570078"/>
                    <a:pt x="2575470" y="609124"/>
                  </a:cubicBezTo>
                  <a:cubicBezTo>
                    <a:pt x="2575470" y="609124"/>
                    <a:pt x="2575470" y="609124"/>
                    <a:pt x="2599027" y="577887"/>
                  </a:cubicBezTo>
                  <a:cubicBezTo>
                    <a:pt x="2599027" y="577887"/>
                    <a:pt x="2599027" y="577887"/>
                    <a:pt x="2606879" y="531031"/>
                  </a:cubicBezTo>
                  <a:cubicBezTo>
                    <a:pt x="2606879" y="531031"/>
                    <a:pt x="2606879" y="531031"/>
                    <a:pt x="2638287" y="554459"/>
                  </a:cubicBezTo>
                  <a:cubicBezTo>
                    <a:pt x="2638287" y="554459"/>
                    <a:pt x="2638287" y="554459"/>
                    <a:pt x="2669695" y="562268"/>
                  </a:cubicBezTo>
                  <a:cubicBezTo>
                    <a:pt x="2669695" y="562268"/>
                    <a:pt x="2669695" y="562268"/>
                    <a:pt x="2685399" y="546650"/>
                  </a:cubicBezTo>
                  <a:cubicBezTo>
                    <a:pt x="2685399" y="546650"/>
                    <a:pt x="2685399" y="546650"/>
                    <a:pt x="2724659" y="562268"/>
                  </a:cubicBezTo>
                  <a:cubicBezTo>
                    <a:pt x="2724659" y="562268"/>
                    <a:pt x="2724659" y="562268"/>
                    <a:pt x="2756067" y="570078"/>
                  </a:cubicBezTo>
                  <a:cubicBezTo>
                    <a:pt x="2756067" y="570078"/>
                    <a:pt x="2756067" y="570078"/>
                    <a:pt x="2803180" y="554459"/>
                  </a:cubicBezTo>
                  <a:cubicBezTo>
                    <a:pt x="2803180" y="554459"/>
                    <a:pt x="2803180" y="554459"/>
                    <a:pt x="2795328" y="507603"/>
                  </a:cubicBezTo>
                  <a:cubicBezTo>
                    <a:pt x="2795328" y="507603"/>
                    <a:pt x="2795328" y="507603"/>
                    <a:pt x="2834588" y="476366"/>
                  </a:cubicBezTo>
                  <a:cubicBezTo>
                    <a:pt x="2834588" y="476366"/>
                    <a:pt x="2834588" y="476366"/>
                    <a:pt x="2842440" y="460748"/>
                  </a:cubicBezTo>
                  <a:cubicBezTo>
                    <a:pt x="2842440" y="460748"/>
                    <a:pt x="2842440" y="460748"/>
                    <a:pt x="3030889" y="499794"/>
                  </a:cubicBezTo>
                  <a:cubicBezTo>
                    <a:pt x="3030889" y="499794"/>
                    <a:pt x="3030889" y="499794"/>
                    <a:pt x="3030889" y="538840"/>
                  </a:cubicBezTo>
                  <a:cubicBezTo>
                    <a:pt x="3030889" y="538840"/>
                    <a:pt x="3030889" y="538840"/>
                    <a:pt x="3078001" y="562268"/>
                  </a:cubicBezTo>
                  <a:cubicBezTo>
                    <a:pt x="3078001" y="562268"/>
                    <a:pt x="3078001" y="562268"/>
                    <a:pt x="3085853" y="585696"/>
                  </a:cubicBezTo>
                  <a:cubicBezTo>
                    <a:pt x="3085853" y="585696"/>
                    <a:pt x="3085853" y="585696"/>
                    <a:pt x="3093705" y="601315"/>
                  </a:cubicBezTo>
                  <a:cubicBezTo>
                    <a:pt x="3093705" y="601315"/>
                    <a:pt x="3093705" y="601315"/>
                    <a:pt x="3164374" y="601315"/>
                  </a:cubicBezTo>
                  <a:cubicBezTo>
                    <a:pt x="3164374" y="601315"/>
                    <a:pt x="3164374" y="601315"/>
                    <a:pt x="3242894" y="601315"/>
                  </a:cubicBezTo>
                  <a:cubicBezTo>
                    <a:pt x="3242894" y="601315"/>
                    <a:pt x="3242894" y="601315"/>
                    <a:pt x="3290006" y="624743"/>
                  </a:cubicBezTo>
                  <a:cubicBezTo>
                    <a:pt x="3290006" y="624743"/>
                    <a:pt x="3290006" y="624743"/>
                    <a:pt x="3290006" y="679408"/>
                  </a:cubicBezTo>
                  <a:cubicBezTo>
                    <a:pt x="3290006" y="679408"/>
                    <a:pt x="3290006" y="679408"/>
                    <a:pt x="3321415" y="702835"/>
                  </a:cubicBezTo>
                  <a:cubicBezTo>
                    <a:pt x="3321415" y="702835"/>
                    <a:pt x="3321415" y="702835"/>
                    <a:pt x="3344971" y="695026"/>
                  </a:cubicBezTo>
                  <a:cubicBezTo>
                    <a:pt x="3344971" y="695026"/>
                    <a:pt x="3344971" y="695026"/>
                    <a:pt x="3384231" y="695026"/>
                  </a:cubicBezTo>
                  <a:cubicBezTo>
                    <a:pt x="3384231" y="695026"/>
                    <a:pt x="3384231" y="695026"/>
                    <a:pt x="3431343" y="702835"/>
                  </a:cubicBezTo>
                  <a:cubicBezTo>
                    <a:pt x="3431343" y="702835"/>
                    <a:pt x="3431343" y="702835"/>
                    <a:pt x="3454899" y="695026"/>
                  </a:cubicBezTo>
                  <a:cubicBezTo>
                    <a:pt x="3454899" y="695026"/>
                    <a:pt x="3454899" y="695026"/>
                    <a:pt x="3494159" y="695026"/>
                  </a:cubicBezTo>
                  <a:cubicBezTo>
                    <a:pt x="3494159" y="695026"/>
                    <a:pt x="3494159" y="695026"/>
                    <a:pt x="3494159" y="710645"/>
                  </a:cubicBezTo>
                  <a:cubicBezTo>
                    <a:pt x="3494159" y="710645"/>
                    <a:pt x="3494159" y="710645"/>
                    <a:pt x="3517715" y="734073"/>
                  </a:cubicBezTo>
                  <a:cubicBezTo>
                    <a:pt x="3517715" y="734073"/>
                    <a:pt x="3533419" y="757500"/>
                    <a:pt x="3541271" y="757500"/>
                  </a:cubicBezTo>
                  <a:cubicBezTo>
                    <a:pt x="3541271" y="757500"/>
                    <a:pt x="3572680" y="741882"/>
                    <a:pt x="3572680" y="741882"/>
                  </a:cubicBezTo>
                  <a:cubicBezTo>
                    <a:pt x="3572680" y="741882"/>
                    <a:pt x="3572680" y="741882"/>
                    <a:pt x="3564828" y="679408"/>
                  </a:cubicBezTo>
                  <a:cubicBezTo>
                    <a:pt x="3564828" y="679408"/>
                    <a:pt x="3564828" y="679408"/>
                    <a:pt x="3580532" y="679408"/>
                  </a:cubicBezTo>
                  <a:cubicBezTo>
                    <a:pt x="3580532" y="679408"/>
                    <a:pt x="3580532" y="679408"/>
                    <a:pt x="3604088" y="679408"/>
                  </a:cubicBezTo>
                  <a:cubicBezTo>
                    <a:pt x="3604088" y="679408"/>
                    <a:pt x="3604088" y="679408"/>
                    <a:pt x="3635496" y="687217"/>
                  </a:cubicBezTo>
                  <a:cubicBezTo>
                    <a:pt x="3635496" y="687217"/>
                    <a:pt x="3635496" y="687217"/>
                    <a:pt x="3690461" y="695026"/>
                  </a:cubicBezTo>
                  <a:cubicBezTo>
                    <a:pt x="3690461" y="695026"/>
                    <a:pt x="3714017" y="695026"/>
                    <a:pt x="3721869" y="702835"/>
                  </a:cubicBezTo>
                  <a:cubicBezTo>
                    <a:pt x="3721869" y="702835"/>
                    <a:pt x="3753277" y="734073"/>
                    <a:pt x="3753277" y="734073"/>
                  </a:cubicBezTo>
                  <a:cubicBezTo>
                    <a:pt x="3753277" y="734073"/>
                    <a:pt x="3753277" y="734073"/>
                    <a:pt x="3768981" y="741882"/>
                  </a:cubicBezTo>
                  <a:cubicBezTo>
                    <a:pt x="3768981" y="741882"/>
                    <a:pt x="3768981" y="741882"/>
                    <a:pt x="3792537" y="749691"/>
                  </a:cubicBezTo>
                  <a:cubicBezTo>
                    <a:pt x="3792537" y="749691"/>
                    <a:pt x="3792537" y="749691"/>
                    <a:pt x="3784685" y="991779"/>
                  </a:cubicBezTo>
                  <a:lnTo>
                    <a:pt x="3745425" y="1007397"/>
                  </a:lnTo>
                  <a:cubicBezTo>
                    <a:pt x="3745425" y="1007397"/>
                    <a:pt x="3745425" y="1007397"/>
                    <a:pt x="3721869" y="1023016"/>
                  </a:cubicBezTo>
                  <a:cubicBezTo>
                    <a:pt x="3721869" y="1023016"/>
                    <a:pt x="3721869" y="1023016"/>
                    <a:pt x="3753277" y="1054253"/>
                  </a:cubicBezTo>
                  <a:cubicBezTo>
                    <a:pt x="3753277" y="1054253"/>
                    <a:pt x="3753277" y="1054253"/>
                    <a:pt x="3761129" y="1093299"/>
                  </a:cubicBezTo>
                  <a:cubicBezTo>
                    <a:pt x="3761129" y="1093299"/>
                    <a:pt x="3761129" y="1093299"/>
                    <a:pt x="3768981" y="1124537"/>
                  </a:cubicBezTo>
                  <a:cubicBezTo>
                    <a:pt x="3768981" y="1124537"/>
                    <a:pt x="3768981" y="1124537"/>
                    <a:pt x="3768981" y="1140155"/>
                  </a:cubicBezTo>
                  <a:cubicBezTo>
                    <a:pt x="3768981" y="1140155"/>
                    <a:pt x="3768981" y="1140155"/>
                    <a:pt x="3737573" y="1132346"/>
                  </a:cubicBezTo>
                  <a:cubicBezTo>
                    <a:pt x="3737573" y="1132346"/>
                    <a:pt x="3714017" y="1132346"/>
                    <a:pt x="3706165" y="1132346"/>
                  </a:cubicBezTo>
                  <a:cubicBezTo>
                    <a:pt x="3706165" y="1132346"/>
                    <a:pt x="3643348" y="1163583"/>
                    <a:pt x="3643348" y="1163583"/>
                  </a:cubicBezTo>
                  <a:cubicBezTo>
                    <a:pt x="3635496" y="1171392"/>
                    <a:pt x="3588384" y="1218248"/>
                    <a:pt x="3588384" y="1218248"/>
                  </a:cubicBezTo>
                  <a:cubicBezTo>
                    <a:pt x="3588384" y="1218248"/>
                    <a:pt x="3588384" y="1218248"/>
                    <a:pt x="3564828" y="1226057"/>
                  </a:cubicBezTo>
                  <a:cubicBezTo>
                    <a:pt x="3564828" y="1226057"/>
                    <a:pt x="3556976" y="1265104"/>
                    <a:pt x="3549124" y="1265104"/>
                  </a:cubicBezTo>
                  <a:cubicBezTo>
                    <a:pt x="3549124" y="1265104"/>
                    <a:pt x="3502011" y="1226057"/>
                    <a:pt x="3502011" y="1226057"/>
                  </a:cubicBezTo>
                  <a:cubicBezTo>
                    <a:pt x="3502011" y="1226057"/>
                    <a:pt x="3502011" y="1226057"/>
                    <a:pt x="3447047" y="1265104"/>
                  </a:cubicBezTo>
                  <a:cubicBezTo>
                    <a:pt x="3447047" y="1265104"/>
                    <a:pt x="3447047" y="1265104"/>
                    <a:pt x="3439195" y="1249485"/>
                  </a:cubicBezTo>
                  <a:cubicBezTo>
                    <a:pt x="3439195" y="1249485"/>
                    <a:pt x="3439195" y="1249485"/>
                    <a:pt x="3415639" y="1257294"/>
                  </a:cubicBezTo>
                  <a:cubicBezTo>
                    <a:pt x="3415639" y="1257294"/>
                    <a:pt x="3415639" y="1257294"/>
                    <a:pt x="3392083" y="1265104"/>
                  </a:cubicBezTo>
                  <a:cubicBezTo>
                    <a:pt x="3392083" y="1265104"/>
                    <a:pt x="3392083" y="1265104"/>
                    <a:pt x="3376379" y="1288532"/>
                  </a:cubicBezTo>
                  <a:cubicBezTo>
                    <a:pt x="3376379" y="1288532"/>
                    <a:pt x="3376379" y="1288532"/>
                    <a:pt x="3344971" y="1358815"/>
                  </a:cubicBezTo>
                  <a:cubicBezTo>
                    <a:pt x="3344971" y="1358815"/>
                    <a:pt x="3344971" y="1358815"/>
                    <a:pt x="3368527" y="1366624"/>
                  </a:cubicBezTo>
                  <a:cubicBezTo>
                    <a:pt x="3368527" y="1366624"/>
                    <a:pt x="3368527" y="1366624"/>
                    <a:pt x="3368527" y="1382243"/>
                  </a:cubicBezTo>
                  <a:cubicBezTo>
                    <a:pt x="3368527" y="1382243"/>
                    <a:pt x="3368527" y="1382243"/>
                    <a:pt x="3352823" y="1436908"/>
                  </a:cubicBezTo>
                  <a:cubicBezTo>
                    <a:pt x="3352823" y="1436908"/>
                    <a:pt x="3352823" y="1436908"/>
                    <a:pt x="3344971" y="1452526"/>
                  </a:cubicBezTo>
                  <a:cubicBezTo>
                    <a:pt x="3344971" y="1452526"/>
                    <a:pt x="3344971" y="1452526"/>
                    <a:pt x="3344971" y="1491573"/>
                  </a:cubicBezTo>
                  <a:cubicBezTo>
                    <a:pt x="3344971" y="1491573"/>
                    <a:pt x="3344971" y="1491573"/>
                    <a:pt x="3313562" y="1507191"/>
                  </a:cubicBezTo>
                  <a:cubicBezTo>
                    <a:pt x="3313562" y="1507191"/>
                    <a:pt x="3313562" y="1507191"/>
                    <a:pt x="3297858" y="1530619"/>
                  </a:cubicBezTo>
                  <a:cubicBezTo>
                    <a:pt x="3297858" y="1530619"/>
                    <a:pt x="3297858" y="1530619"/>
                    <a:pt x="3282154" y="1569666"/>
                  </a:cubicBezTo>
                  <a:cubicBezTo>
                    <a:pt x="3282154" y="1569666"/>
                    <a:pt x="3282154" y="1569666"/>
                    <a:pt x="3266450" y="1577475"/>
                  </a:cubicBezTo>
                  <a:cubicBezTo>
                    <a:pt x="3266450" y="1577475"/>
                    <a:pt x="3266450" y="1577475"/>
                    <a:pt x="3219338" y="1639949"/>
                  </a:cubicBezTo>
                  <a:cubicBezTo>
                    <a:pt x="3219338" y="1639949"/>
                    <a:pt x="3219338" y="1639949"/>
                    <a:pt x="3180078" y="1452526"/>
                  </a:cubicBezTo>
                  <a:cubicBezTo>
                    <a:pt x="3180078" y="1452526"/>
                    <a:pt x="3180078" y="1452526"/>
                    <a:pt x="3211486" y="1366624"/>
                  </a:cubicBezTo>
                  <a:cubicBezTo>
                    <a:pt x="3211486" y="1366624"/>
                    <a:pt x="3219338" y="1358815"/>
                    <a:pt x="3227190" y="1358815"/>
                  </a:cubicBezTo>
                  <a:cubicBezTo>
                    <a:pt x="3227190" y="1351006"/>
                    <a:pt x="3266450" y="1335387"/>
                    <a:pt x="3266450" y="1335387"/>
                  </a:cubicBezTo>
                  <a:cubicBezTo>
                    <a:pt x="3266450" y="1335387"/>
                    <a:pt x="3266450" y="1335387"/>
                    <a:pt x="3290006" y="1296341"/>
                  </a:cubicBezTo>
                  <a:cubicBezTo>
                    <a:pt x="3290006" y="1296341"/>
                    <a:pt x="3290006" y="1296341"/>
                    <a:pt x="3321415" y="1249485"/>
                  </a:cubicBezTo>
                  <a:cubicBezTo>
                    <a:pt x="3321415" y="1249485"/>
                    <a:pt x="3321415" y="1249485"/>
                    <a:pt x="3352823" y="1233867"/>
                  </a:cubicBezTo>
                  <a:cubicBezTo>
                    <a:pt x="3352823" y="1233867"/>
                    <a:pt x="3352823" y="1233867"/>
                    <a:pt x="3399935" y="1187011"/>
                  </a:cubicBezTo>
                  <a:cubicBezTo>
                    <a:pt x="3399935" y="1187011"/>
                    <a:pt x="3399935" y="1187011"/>
                    <a:pt x="3399935" y="1124537"/>
                  </a:cubicBezTo>
                  <a:cubicBezTo>
                    <a:pt x="3399935" y="1124537"/>
                    <a:pt x="3399935" y="1124537"/>
                    <a:pt x="3344971" y="1179202"/>
                  </a:cubicBezTo>
                  <a:cubicBezTo>
                    <a:pt x="3344971" y="1179202"/>
                    <a:pt x="3344971" y="1179202"/>
                    <a:pt x="3305710" y="1210439"/>
                  </a:cubicBezTo>
                  <a:cubicBezTo>
                    <a:pt x="3305710" y="1210439"/>
                    <a:pt x="3305710" y="1210439"/>
                    <a:pt x="3290006" y="1171392"/>
                  </a:cubicBezTo>
                  <a:cubicBezTo>
                    <a:pt x="3290006" y="1171392"/>
                    <a:pt x="3290006" y="1171392"/>
                    <a:pt x="3227190" y="1163583"/>
                  </a:cubicBezTo>
                  <a:cubicBezTo>
                    <a:pt x="3227190" y="1163583"/>
                    <a:pt x="3227190" y="1163583"/>
                    <a:pt x="3187930" y="1194820"/>
                  </a:cubicBezTo>
                  <a:cubicBezTo>
                    <a:pt x="3187930" y="1194820"/>
                    <a:pt x="3187930" y="1194820"/>
                    <a:pt x="3164374" y="1241676"/>
                  </a:cubicBezTo>
                  <a:cubicBezTo>
                    <a:pt x="3164374" y="1241676"/>
                    <a:pt x="3164374" y="1241676"/>
                    <a:pt x="3156522" y="1280722"/>
                  </a:cubicBezTo>
                  <a:cubicBezTo>
                    <a:pt x="3156522" y="1280722"/>
                    <a:pt x="3156522" y="1280722"/>
                    <a:pt x="3164374" y="1296341"/>
                  </a:cubicBezTo>
                  <a:cubicBezTo>
                    <a:pt x="3164374" y="1296341"/>
                    <a:pt x="3148670" y="1304150"/>
                    <a:pt x="3148670" y="1296341"/>
                  </a:cubicBezTo>
                  <a:cubicBezTo>
                    <a:pt x="3140818" y="1296341"/>
                    <a:pt x="3078001" y="1311959"/>
                    <a:pt x="3078001" y="1311959"/>
                  </a:cubicBezTo>
                  <a:cubicBezTo>
                    <a:pt x="3078001" y="1311959"/>
                    <a:pt x="3078001" y="1311959"/>
                    <a:pt x="3078001" y="1288532"/>
                  </a:cubicBezTo>
                  <a:cubicBezTo>
                    <a:pt x="3078001" y="1288532"/>
                    <a:pt x="3078001" y="1288532"/>
                    <a:pt x="3030889" y="1272913"/>
                  </a:cubicBezTo>
                  <a:cubicBezTo>
                    <a:pt x="3030889" y="1272913"/>
                    <a:pt x="3030889" y="1272913"/>
                    <a:pt x="2991629" y="1280722"/>
                  </a:cubicBezTo>
                  <a:cubicBezTo>
                    <a:pt x="2991629" y="1280722"/>
                    <a:pt x="2991629" y="1280722"/>
                    <a:pt x="2913108" y="1280722"/>
                  </a:cubicBezTo>
                  <a:cubicBezTo>
                    <a:pt x="2913108" y="1280722"/>
                    <a:pt x="2913108" y="1280722"/>
                    <a:pt x="2881700" y="1288532"/>
                  </a:cubicBezTo>
                  <a:cubicBezTo>
                    <a:pt x="2881700" y="1288532"/>
                    <a:pt x="2881700" y="1288532"/>
                    <a:pt x="2779624" y="1390052"/>
                  </a:cubicBezTo>
                  <a:cubicBezTo>
                    <a:pt x="2779624" y="1390052"/>
                    <a:pt x="2779624" y="1390052"/>
                    <a:pt x="2771771" y="1405671"/>
                  </a:cubicBezTo>
                  <a:cubicBezTo>
                    <a:pt x="2771771" y="1405671"/>
                    <a:pt x="2771771" y="1405671"/>
                    <a:pt x="2740363" y="1444717"/>
                  </a:cubicBezTo>
                  <a:cubicBezTo>
                    <a:pt x="2740363" y="1444717"/>
                    <a:pt x="2740363" y="1444717"/>
                    <a:pt x="2701103" y="1483764"/>
                  </a:cubicBezTo>
                  <a:cubicBezTo>
                    <a:pt x="2701103" y="1483764"/>
                    <a:pt x="2701103" y="1483764"/>
                    <a:pt x="2677547" y="1499382"/>
                  </a:cubicBezTo>
                  <a:cubicBezTo>
                    <a:pt x="2677547" y="1499382"/>
                    <a:pt x="2677547" y="1499382"/>
                    <a:pt x="2701103" y="1499382"/>
                  </a:cubicBezTo>
                  <a:cubicBezTo>
                    <a:pt x="2701103" y="1499382"/>
                    <a:pt x="2701103" y="1499382"/>
                    <a:pt x="2716807" y="1530619"/>
                  </a:cubicBezTo>
                  <a:cubicBezTo>
                    <a:pt x="2716807" y="1530619"/>
                    <a:pt x="2732511" y="1546238"/>
                    <a:pt x="2740363" y="1546238"/>
                  </a:cubicBezTo>
                  <a:cubicBezTo>
                    <a:pt x="2740363" y="1546238"/>
                    <a:pt x="2787476" y="1515001"/>
                    <a:pt x="2787476" y="1515001"/>
                  </a:cubicBezTo>
                  <a:cubicBezTo>
                    <a:pt x="2787476" y="1515001"/>
                    <a:pt x="2787476" y="1515001"/>
                    <a:pt x="2826736" y="1554047"/>
                  </a:cubicBezTo>
                  <a:cubicBezTo>
                    <a:pt x="2826736" y="1554047"/>
                    <a:pt x="2826736" y="1554047"/>
                    <a:pt x="2826736" y="1585284"/>
                  </a:cubicBezTo>
                  <a:cubicBezTo>
                    <a:pt x="2826736" y="1585284"/>
                    <a:pt x="2826736" y="1585284"/>
                    <a:pt x="2811032" y="1671186"/>
                  </a:cubicBezTo>
                  <a:cubicBezTo>
                    <a:pt x="2811032" y="1671186"/>
                    <a:pt x="2811032" y="1671186"/>
                    <a:pt x="2803180" y="1741470"/>
                  </a:cubicBezTo>
                  <a:cubicBezTo>
                    <a:pt x="2803180" y="1741470"/>
                    <a:pt x="2803180" y="1741470"/>
                    <a:pt x="2771771" y="1796135"/>
                  </a:cubicBezTo>
                  <a:cubicBezTo>
                    <a:pt x="2771771" y="1796135"/>
                    <a:pt x="2771771" y="1796135"/>
                    <a:pt x="2708955" y="1882037"/>
                  </a:cubicBezTo>
                  <a:cubicBezTo>
                    <a:pt x="2708955" y="1882037"/>
                    <a:pt x="2708955" y="1882037"/>
                    <a:pt x="2685399" y="1913274"/>
                  </a:cubicBezTo>
                  <a:cubicBezTo>
                    <a:pt x="2685399" y="1913274"/>
                    <a:pt x="2685399" y="1913274"/>
                    <a:pt x="2630435" y="1952320"/>
                  </a:cubicBezTo>
                  <a:cubicBezTo>
                    <a:pt x="2630435" y="1952320"/>
                    <a:pt x="2630435" y="1952320"/>
                    <a:pt x="2606879" y="1944511"/>
                  </a:cubicBezTo>
                  <a:cubicBezTo>
                    <a:pt x="2606879" y="1944511"/>
                    <a:pt x="2606879" y="1944511"/>
                    <a:pt x="2599027" y="1944511"/>
                  </a:cubicBezTo>
                  <a:cubicBezTo>
                    <a:pt x="2599027" y="1944511"/>
                    <a:pt x="2599027" y="1944511"/>
                    <a:pt x="2583322" y="1952320"/>
                  </a:cubicBezTo>
                  <a:cubicBezTo>
                    <a:pt x="2583322" y="1952320"/>
                    <a:pt x="2583322" y="1952320"/>
                    <a:pt x="2567618" y="1952320"/>
                  </a:cubicBezTo>
                  <a:cubicBezTo>
                    <a:pt x="2567618" y="1952320"/>
                    <a:pt x="2567618" y="1952320"/>
                    <a:pt x="2559766" y="1952320"/>
                  </a:cubicBezTo>
                  <a:cubicBezTo>
                    <a:pt x="2559766" y="1952320"/>
                    <a:pt x="2559766" y="1952320"/>
                    <a:pt x="2583322" y="1866418"/>
                  </a:cubicBezTo>
                  <a:cubicBezTo>
                    <a:pt x="2583322" y="1866418"/>
                    <a:pt x="2583322" y="1866418"/>
                    <a:pt x="2622583" y="1858609"/>
                  </a:cubicBezTo>
                  <a:cubicBezTo>
                    <a:pt x="2622583" y="1858609"/>
                    <a:pt x="2622583" y="1858609"/>
                    <a:pt x="2661843" y="1741470"/>
                  </a:cubicBezTo>
                  <a:cubicBezTo>
                    <a:pt x="2661843" y="1741470"/>
                    <a:pt x="2661843" y="1741470"/>
                    <a:pt x="2567618" y="1749279"/>
                  </a:cubicBezTo>
                  <a:cubicBezTo>
                    <a:pt x="2567618" y="1749279"/>
                    <a:pt x="2567618" y="1749279"/>
                    <a:pt x="2551914" y="1718042"/>
                  </a:cubicBezTo>
                  <a:cubicBezTo>
                    <a:pt x="2551914" y="1718042"/>
                    <a:pt x="2551914" y="1718042"/>
                    <a:pt x="2489098" y="1702423"/>
                  </a:cubicBezTo>
                  <a:cubicBezTo>
                    <a:pt x="2489098" y="1702423"/>
                    <a:pt x="2489098" y="1702423"/>
                    <a:pt x="2410577" y="1561856"/>
                  </a:cubicBezTo>
                  <a:cubicBezTo>
                    <a:pt x="2410577" y="1561856"/>
                    <a:pt x="2410577" y="1561856"/>
                    <a:pt x="2339909" y="1561856"/>
                  </a:cubicBezTo>
                  <a:cubicBezTo>
                    <a:pt x="2339909" y="1561856"/>
                    <a:pt x="2339909" y="1561856"/>
                    <a:pt x="2316353" y="1600903"/>
                  </a:cubicBezTo>
                  <a:cubicBezTo>
                    <a:pt x="2316353" y="1600903"/>
                    <a:pt x="2316353" y="1600903"/>
                    <a:pt x="2269241" y="1686805"/>
                  </a:cubicBezTo>
                  <a:cubicBezTo>
                    <a:pt x="2269241" y="1686805"/>
                    <a:pt x="2269241" y="1686805"/>
                    <a:pt x="2222128" y="1686805"/>
                  </a:cubicBezTo>
                  <a:cubicBezTo>
                    <a:pt x="2222128" y="1686805"/>
                    <a:pt x="2222128" y="1686805"/>
                    <a:pt x="2214276" y="1702423"/>
                  </a:cubicBezTo>
                  <a:cubicBezTo>
                    <a:pt x="2214276" y="1702423"/>
                    <a:pt x="2214276" y="1702423"/>
                    <a:pt x="2159312" y="1686805"/>
                  </a:cubicBezTo>
                  <a:cubicBezTo>
                    <a:pt x="2159312" y="1686805"/>
                    <a:pt x="2159312" y="1686805"/>
                    <a:pt x="2033679" y="1718042"/>
                  </a:cubicBezTo>
                  <a:cubicBezTo>
                    <a:pt x="2033679" y="1718042"/>
                    <a:pt x="2033679" y="1718042"/>
                    <a:pt x="1986567" y="1678996"/>
                  </a:cubicBezTo>
                  <a:cubicBezTo>
                    <a:pt x="1986567" y="1678996"/>
                    <a:pt x="1986567" y="1678996"/>
                    <a:pt x="1908047" y="1678996"/>
                  </a:cubicBezTo>
                  <a:cubicBezTo>
                    <a:pt x="1908047" y="1678996"/>
                    <a:pt x="1908047" y="1678996"/>
                    <a:pt x="1884491" y="1647758"/>
                  </a:cubicBezTo>
                  <a:cubicBezTo>
                    <a:pt x="1884491" y="1647758"/>
                    <a:pt x="1884491" y="1647758"/>
                    <a:pt x="1790266" y="1608712"/>
                  </a:cubicBezTo>
                  <a:cubicBezTo>
                    <a:pt x="1790266" y="1608712"/>
                    <a:pt x="1790266" y="1608712"/>
                    <a:pt x="1758858" y="1647758"/>
                  </a:cubicBezTo>
                  <a:cubicBezTo>
                    <a:pt x="1758858" y="1647758"/>
                    <a:pt x="1758858" y="1647758"/>
                    <a:pt x="1727450" y="1694614"/>
                  </a:cubicBezTo>
                  <a:cubicBezTo>
                    <a:pt x="1727450" y="1694614"/>
                    <a:pt x="1727450" y="1694614"/>
                    <a:pt x="1664633" y="1663377"/>
                  </a:cubicBezTo>
                  <a:cubicBezTo>
                    <a:pt x="1664633" y="1663377"/>
                    <a:pt x="1664633" y="1663377"/>
                    <a:pt x="1578261" y="1671186"/>
                  </a:cubicBezTo>
                  <a:cubicBezTo>
                    <a:pt x="1578261" y="1671186"/>
                    <a:pt x="1578261" y="1671186"/>
                    <a:pt x="1523297" y="1710233"/>
                  </a:cubicBezTo>
                  <a:cubicBezTo>
                    <a:pt x="1523297" y="1710233"/>
                    <a:pt x="1523297" y="1710233"/>
                    <a:pt x="1507593" y="1741470"/>
                  </a:cubicBezTo>
                  <a:cubicBezTo>
                    <a:pt x="1507593" y="1741470"/>
                    <a:pt x="1507593" y="1741470"/>
                    <a:pt x="1499740" y="1733661"/>
                  </a:cubicBezTo>
                  <a:cubicBezTo>
                    <a:pt x="1499740" y="1733661"/>
                    <a:pt x="1499740" y="1733661"/>
                    <a:pt x="1484036" y="1741470"/>
                  </a:cubicBezTo>
                  <a:cubicBezTo>
                    <a:pt x="1484036" y="1741470"/>
                    <a:pt x="1484036" y="1741470"/>
                    <a:pt x="1484036" y="1694614"/>
                  </a:cubicBezTo>
                  <a:cubicBezTo>
                    <a:pt x="1484036" y="1694614"/>
                    <a:pt x="1484036" y="1694614"/>
                    <a:pt x="1429072" y="1686805"/>
                  </a:cubicBezTo>
                  <a:cubicBezTo>
                    <a:pt x="1429072" y="1686805"/>
                    <a:pt x="1429072" y="1686805"/>
                    <a:pt x="1366256" y="1655568"/>
                  </a:cubicBezTo>
                  <a:cubicBezTo>
                    <a:pt x="1366256" y="1655568"/>
                    <a:pt x="1366256" y="1655568"/>
                    <a:pt x="1287735" y="1655568"/>
                  </a:cubicBezTo>
                  <a:cubicBezTo>
                    <a:pt x="1287735" y="1655568"/>
                    <a:pt x="1287735" y="1655568"/>
                    <a:pt x="1256327" y="1585284"/>
                  </a:cubicBezTo>
                  <a:cubicBezTo>
                    <a:pt x="1256327" y="1585284"/>
                    <a:pt x="1256327" y="1585284"/>
                    <a:pt x="1224919" y="1515001"/>
                  </a:cubicBezTo>
                  <a:cubicBezTo>
                    <a:pt x="1224919" y="1515001"/>
                    <a:pt x="1224919" y="1515001"/>
                    <a:pt x="1185659" y="1522810"/>
                  </a:cubicBezTo>
                  <a:cubicBezTo>
                    <a:pt x="1185659" y="1522810"/>
                    <a:pt x="1185659" y="1522810"/>
                    <a:pt x="1114990" y="1546238"/>
                  </a:cubicBezTo>
                  <a:cubicBezTo>
                    <a:pt x="1114990" y="1546238"/>
                    <a:pt x="1114990" y="1546238"/>
                    <a:pt x="1052174" y="1475954"/>
                  </a:cubicBezTo>
                  <a:cubicBezTo>
                    <a:pt x="1052174" y="1475954"/>
                    <a:pt x="1052174" y="1475954"/>
                    <a:pt x="957950" y="1491573"/>
                  </a:cubicBezTo>
                  <a:cubicBezTo>
                    <a:pt x="957950" y="1491573"/>
                    <a:pt x="957950" y="1491573"/>
                    <a:pt x="855873" y="1530619"/>
                  </a:cubicBezTo>
                  <a:cubicBezTo>
                    <a:pt x="855873" y="1530619"/>
                    <a:pt x="855873" y="1530619"/>
                    <a:pt x="824465" y="1600903"/>
                  </a:cubicBezTo>
                  <a:cubicBezTo>
                    <a:pt x="824465" y="1600903"/>
                    <a:pt x="824465" y="1600903"/>
                    <a:pt x="840169" y="1647758"/>
                  </a:cubicBezTo>
                  <a:cubicBezTo>
                    <a:pt x="840169" y="1647758"/>
                    <a:pt x="840169" y="1647758"/>
                    <a:pt x="785205" y="1663377"/>
                  </a:cubicBezTo>
                  <a:cubicBezTo>
                    <a:pt x="785205" y="1663377"/>
                    <a:pt x="785205" y="1663377"/>
                    <a:pt x="730240" y="1647758"/>
                  </a:cubicBezTo>
                  <a:cubicBezTo>
                    <a:pt x="730240" y="1647758"/>
                    <a:pt x="730240" y="1647758"/>
                    <a:pt x="683128" y="1655568"/>
                  </a:cubicBezTo>
                  <a:cubicBezTo>
                    <a:pt x="683128" y="1655568"/>
                    <a:pt x="683128" y="1655568"/>
                    <a:pt x="643868" y="1632140"/>
                  </a:cubicBezTo>
                  <a:cubicBezTo>
                    <a:pt x="643868" y="1632140"/>
                    <a:pt x="643868" y="1632140"/>
                    <a:pt x="573199" y="1639949"/>
                  </a:cubicBezTo>
                  <a:cubicBezTo>
                    <a:pt x="573199" y="1639949"/>
                    <a:pt x="573199" y="1639949"/>
                    <a:pt x="494679" y="1671186"/>
                  </a:cubicBezTo>
                  <a:cubicBezTo>
                    <a:pt x="494679" y="1671186"/>
                    <a:pt x="494679" y="1671186"/>
                    <a:pt x="471123" y="1733661"/>
                  </a:cubicBezTo>
                  <a:cubicBezTo>
                    <a:pt x="471123" y="1733661"/>
                    <a:pt x="471123" y="1733661"/>
                    <a:pt x="494679" y="1749279"/>
                  </a:cubicBezTo>
                  <a:cubicBezTo>
                    <a:pt x="494679" y="1749279"/>
                    <a:pt x="494679" y="1749279"/>
                    <a:pt x="502531" y="1764898"/>
                  </a:cubicBezTo>
                  <a:cubicBezTo>
                    <a:pt x="502531" y="1764898"/>
                    <a:pt x="502531" y="1764898"/>
                    <a:pt x="494679" y="1757088"/>
                  </a:cubicBezTo>
                  <a:cubicBezTo>
                    <a:pt x="494679" y="1757088"/>
                    <a:pt x="494679" y="1757088"/>
                    <a:pt x="494679" y="1764898"/>
                  </a:cubicBezTo>
                  <a:cubicBezTo>
                    <a:pt x="494679" y="1764898"/>
                    <a:pt x="494679" y="1764898"/>
                    <a:pt x="463271" y="1788325"/>
                  </a:cubicBezTo>
                  <a:cubicBezTo>
                    <a:pt x="463271" y="1788325"/>
                    <a:pt x="463271" y="1788325"/>
                    <a:pt x="439715" y="1835181"/>
                  </a:cubicBezTo>
                  <a:cubicBezTo>
                    <a:pt x="439715" y="1835181"/>
                    <a:pt x="486827" y="1897655"/>
                    <a:pt x="494679" y="1905465"/>
                  </a:cubicBezTo>
                  <a:cubicBezTo>
                    <a:pt x="502531" y="1905465"/>
                    <a:pt x="526087" y="1975748"/>
                    <a:pt x="526087" y="1975748"/>
                  </a:cubicBezTo>
                  <a:cubicBezTo>
                    <a:pt x="526087" y="1975748"/>
                    <a:pt x="526087" y="1975748"/>
                    <a:pt x="502531" y="2006985"/>
                  </a:cubicBezTo>
                  <a:cubicBezTo>
                    <a:pt x="502531" y="2006985"/>
                    <a:pt x="502531" y="2006985"/>
                    <a:pt x="486827" y="2030413"/>
                  </a:cubicBezTo>
                  <a:cubicBezTo>
                    <a:pt x="486827" y="2030413"/>
                    <a:pt x="486827" y="2030413"/>
                    <a:pt x="478975" y="2030413"/>
                  </a:cubicBezTo>
                  <a:cubicBezTo>
                    <a:pt x="478975" y="2030413"/>
                    <a:pt x="478975" y="2030413"/>
                    <a:pt x="478975" y="2014795"/>
                  </a:cubicBezTo>
                  <a:cubicBezTo>
                    <a:pt x="478975" y="2014795"/>
                    <a:pt x="478975" y="2014795"/>
                    <a:pt x="463271" y="1999176"/>
                  </a:cubicBezTo>
                  <a:cubicBezTo>
                    <a:pt x="463271" y="1999176"/>
                    <a:pt x="463271" y="1999176"/>
                    <a:pt x="439715" y="2022604"/>
                  </a:cubicBezTo>
                  <a:cubicBezTo>
                    <a:pt x="439715" y="2022604"/>
                    <a:pt x="439715" y="2022604"/>
                    <a:pt x="408306" y="2022604"/>
                  </a:cubicBezTo>
                  <a:cubicBezTo>
                    <a:pt x="408306" y="2022604"/>
                    <a:pt x="408306" y="2022604"/>
                    <a:pt x="384750" y="1999176"/>
                  </a:cubicBezTo>
                  <a:cubicBezTo>
                    <a:pt x="384750" y="1999176"/>
                    <a:pt x="384750" y="1999176"/>
                    <a:pt x="392602" y="1991367"/>
                  </a:cubicBezTo>
                  <a:cubicBezTo>
                    <a:pt x="392602" y="1991367"/>
                    <a:pt x="392602" y="1991367"/>
                    <a:pt x="369046" y="1952320"/>
                  </a:cubicBezTo>
                  <a:cubicBezTo>
                    <a:pt x="369046" y="1952320"/>
                    <a:pt x="369046" y="1952320"/>
                    <a:pt x="353342" y="1936702"/>
                  </a:cubicBezTo>
                  <a:cubicBezTo>
                    <a:pt x="353342" y="1936702"/>
                    <a:pt x="353342" y="1936702"/>
                    <a:pt x="329786" y="1936702"/>
                  </a:cubicBezTo>
                  <a:cubicBezTo>
                    <a:pt x="329786" y="1936702"/>
                    <a:pt x="329786" y="1936702"/>
                    <a:pt x="314082" y="1928893"/>
                  </a:cubicBezTo>
                  <a:cubicBezTo>
                    <a:pt x="314082" y="1928893"/>
                    <a:pt x="314082" y="1928893"/>
                    <a:pt x="314082" y="1905465"/>
                  </a:cubicBezTo>
                  <a:cubicBezTo>
                    <a:pt x="314082" y="1905465"/>
                    <a:pt x="314082" y="1905465"/>
                    <a:pt x="274822" y="1866418"/>
                  </a:cubicBezTo>
                  <a:cubicBezTo>
                    <a:pt x="274822" y="1866418"/>
                    <a:pt x="274822" y="1866418"/>
                    <a:pt x="227710" y="1842990"/>
                  </a:cubicBezTo>
                  <a:cubicBezTo>
                    <a:pt x="227710" y="1842990"/>
                    <a:pt x="227710" y="1842990"/>
                    <a:pt x="204153" y="1811753"/>
                  </a:cubicBezTo>
                  <a:cubicBezTo>
                    <a:pt x="204153" y="1811753"/>
                    <a:pt x="204153" y="1811753"/>
                    <a:pt x="227710" y="1780516"/>
                  </a:cubicBezTo>
                  <a:cubicBezTo>
                    <a:pt x="227710" y="1780516"/>
                    <a:pt x="227710" y="1780516"/>
                    <a:pt x="243414" y="1749279"/>
                  </a:cubicBezTo>
                  <a:cubicBezTo>
                    <a:pt x="243414" y="1749279"/>
                    <a:pt x="243414" y="1749279"/>
                    <a:pt x="219857" y="1757088"/>
                  </a:cubicBezTo>
                  <a:cubicBezTo>
                    <a:pt x="219857" y="1757088"/>
                    <a:pt x="219857" y="1757088"/>
                    <a:pt x="235562" y="1741470"/>
                  </a:cubicBezTo>
                  <a:cubicBezTo>
                    <a:pt x="235562" y="1741470"/>
                    <a:pt x="235562" y="1741470"/>
                    <a:pt x="251266" y="1718042"/>
                  </a:cubicBezTo>
                  <a:cubicBezTo>
                    <a:pt x="251266" y="1718042"/>
                    <a:pt x="251266" y="1718042"/>
                    <a:pt x="266970" y="1710233"/>
                  </a:cubicBezTo>
                  <a:cubicBezTo>
                    <a:pt x="266970" y="1710233"/>
                    <a:pt x="266970" y="1710233"/>
                    <a:pt x="274822" y="1671186"/>
                  </a:cubicBezTo>
                  <a:cubicBezTo>
                    <a:pt x="274822" y="1671186"/>
                    <a:pt x="274822" y="1671186"/>
                    <a:pt x="266970" y="1671186"/>
                  </a:cubicBezTo>
                  <a:cubicBezTo>
                    <a:pt x="266970" y="1671186"/>
                    <a:pt x="266970" y="1671186"/>
                    <a:pt x="172745" y="1632140"/>
                  </a:cubicBezTo>
                  <a:cubicBezTo>
                    <a:pt x="172745" y="1632140"/>
                    <a:pt x="172745" y="1632140"/>
                    <a:pt x="164893" y="1624331"/>
                  </a:cubicBezTo>
                  <a:cubicBezTo>
                    <a:pt x="164893" y="1624331"/>
                    <a:pt x="164893" y="1624331"/>
                    <a:pt x="141337" y="1600903"/>
                  </a:cubicBezTo>
                  <a:cubicBezTo>
                    <a:pt x="141337" y="1600903"/>
                    <a:pt x="141337" y="1600903"/>
                    <a:pt x="117781" y="1600903"/>
                  </a:cubicBezTo>
                  <a:cubicBezTo>
                    <a:pt x="117781" y="1600903"/>
                    <a:pt x="117781" y="1600903"/>
                    <a:pt x="102077" y="1593093"/>
                  </a:cubicBezTo>
                  <a:cubicBezTo>
                    <a:pt x="102077" y="1593093"/>
                    <a:pt x="102077" y="1593093"/>
                    <a:pt x="94225" y="1569666"/>
                  </a:cubicBezTo>
                  <a:cubicBezTo>
                    <a:pt x="94225" y="1569666"/>
                    <a:pt x="94225" y="1569666"/>
                    <a:pt x="117781" y="1554047"/>
                  </a:cubicBezTo>
                  <a:cubicBezTo>
                    <a:pt x="117781" y="1554047"/>
                    <a:pt x="117781" y="1554047"/>
                    <a:pt x="125633" y="1538428"/>
                  </a:cubicBezTo>
                  <a:cubicBezTo>
                    <a:pt x="125633" y="1538428"/>
                    <a:pt x="125633" y="1538428"/>
                    <a:pt x="102077" y="1522810"/>
                  </a:cubicBezTo>
                  <a:cubicBezTo>
                    <a:pt x="102077" y="1522810"/>
                    <a:pt x="102077" y="1522810"/>
                    <a:pt x="70669" y="1452526"/>
                  </a:cubicBezTo>
                  <a:cubicBezTo>
                    <a:pt x="70669" y="1452526"/>
                    <a:pt x="70669" y="1452526"/>
                    <a:pt x="47113" y="1444717"/>
                  </a:cubicBezTo>
                  <a:cubicBezTo>
                    <a:pt x="47113" y="1444717"/>
                    <a:pt x="47113" y="1444717"/>
                    <a:pt x="15704" y="1429099"/>
                  </a:cubicBezTo>
                  <a:cubicBezTo>
                    <a:pt x="15704" y="1429099"/>
                    <a:pt x="15704" y="1429099"/>
                    <a:pt x="0" y="1390052"/>
                  </a:cubicBezTo>
                  <a:cubicBezTo>
                    <a:pt x="0" y="1390052"/>
                    <a:pt x="0" y="1390052"/>
                    <a:pt x="7852" y="1335387"/>
                  </a:cubicBezTo>
                  <a:cubicBezTo>
                    <a:pt x="7852" y="1335387"/>
                    <a:pt x="7852" y="1335387"/>
                    <a:pt x="7852" y="1311959"/>
                  </a:cubicBezTo>
                  <a:cubicBezTo>
                    <a:pt x="7852" y="1311959"/>
                    <a:pt x="7852" y="1311959"/>
                    <a:pt x="15704" y="1280722"/>
                  </a:cubicBezTo>
                  <a:cubicBezTo>
                    <a:pt x="15704" y="1280722"/>
                    <a:pt x="15704" y="1280722"/>
                    <a:pt x="7852" y="1272913"/>
                  </a:cubicBezTo>
                  <a:cubicBezTo>
                    <a:pt x="7852" y="1272913"/>
                    <a:pt x="7852" y="1272913"/>
                    <a:pt x="31408" y="1272913"/>
                  </a:cubicBezTo>
                  <a:cubicBezTo>
                    <a:pt x="31408" y="1272913"/>
                    <a:pt x="31408" y="1272913"/>
                    <a:pt x="31408" y="1233867"/>
                  </a:cubicBezTo>
                  <a:cubicBezTo>
                    <a:pt x="31408" y="1233867"/>
                    <a:pt x="31408" y="1233867"/>
                    <a:pt x="15704" y="1226057"/>
                  </a:cubicBezTo>
                  <a:cubicBezTo>
                    <a:pt x="15704" y="1226057"/>
                    <a:pt x="15704" y="1226057"/>
                    <a:pt x="0" y="1226057"/>
                  </a:cubicBezTo>
                  <a:cubicBezTo>
                    <a:pt x="0" y="1226057"/>
                    <a:pt x="0" y="1226057"/>
                    <a:pt x="86373" y="1116727"/>
                  </a:cubicBezTo>
                  <a:cubicBezTo>
                    <a:pt x="86373" y="1116727"/>
                    <a:pt x="86373" y="1116727"/>
                    <a:pt x="94225" y="1101109"/>
                  </a:cubicBezTo>
                  <a:cubicBezTo>
                    <a:pt x="94225" y="1101109"/>
                    <a:pt x="94225" y="1101109"/>
                    <a:pt x="78521" y="1093299"/>
                  </a:cubicBezTo>
                  <a:cubicBezTo>
                    <a:pt x="78521" y="1093299"/>
                    <a:pt x="78521" y="1093299"/>
                    <a:pt x="62817" y="1069872"/>
                  </a:cubicBezTo>
                  <a:cubicBezTo>
                    <a:pt x="62817" y="1069872"/>
                    <a:pt x="62817" y="1069872"/>
                    <a:pt x="70669" y="1038634"/>
                  </a:cubicBezTo>
                  <a:cubicBezTo>
                    <a:pt x="70669" y="1038634"/>
                    <a:pt x="62817" y="1023016"/>
                    <a:pt x="54965" y="1023016"/>
                  </a:cubicBezTo>
                  <a:cubicBezTo>
                    <a:pt x="54965" y="1023016"/>
                    <a:pt x="62817" y="1007397"/>
                    <a:pt x="62817" y="1007397"/>
                  </a:cubicBezTo>
                  <a:cubicBezTo>
                    <a:pt x="62817" y="1007397"/>
                    <a:pt x="62817" y="1007397"/>
                    <a:pt x="47113" y="991779"/>
                  </a:cubicBezTo>
                  <a:cubicBezTo>
                    <a:pt x="47113" y="991779"/>
                    <a:pt x="47113" y="991779"/>
                    <a:pt x="54965" y="983970"/>
                  </a:cubicBezTo>
                  <a:cubicBezTo>
                    <a:pt x="54965" y="983970"/>
                    <a:pt x="54965" y="983970"/>
                    <a:pt x="47113" y="968351"/>
                  </a:cubicBezTo>
                  <a:cubicBezTo>
                    <a:pt x="47113" y="968351"/>
                    <a:pt x="47113" y="968351"/>
                    <a:pt x="62817" y="952732"/>
                  </a:cubicBezTo>
                  <a:cubicBezTo>
                    <a:pt x="62817" y="952732"/>
                    <a:pt x="62817" y="952732"/>
                    <a:pt x="31408" y="874640"/>
                  </a:cubicBezTo>
                  <a:cubicBezTo>
                    <a:pt x="31408" y="874640"/>
                    <a:pt x="31408" y="874640"/>
                    <a:pt x="62817" y="835593"/>
                  </a:cubicBezTo>
                  <a:cubicBezTo>
                    <a:pt x="62817" y="835593"/>
                    <a:pt x="62817" y="835593"/>
                    <a:pt x="47113" y="796547"/>
                  </a:cubicBezTo>
                  <a:cubicBezTo>
                    <a:pt x="47113" y="796547"/>
                    <a:pt x="47113" y="796547"/>
                    <a:pt x="23556" y="780928"/>
                  </a:cubicBezTo>
                  <a:cubicBezTo>
                    <a:pt x="23556" y="780928"/>
                    <a:pt x="23556" y="780928"/>
                    <a:pt x="15704" y="773119"/>
                  </a:cubicBezTo>
                  <a:cubicBezTo>
                    <a:pt x="15704" y="773119"/>
                    <a:pt x="15704" y="773119"/>
                    <a:pt x="23556" y="749691"/>
                  </a:cubicBezTo>
                  <a:cubicBezTo>
                    <a:pt x="23556" y="749691"/>
                    <a:pt x="23556" y="749691"/>
                    <a:pt x="23556" y="741882"/>
                  </a:cubicBezTo>
                  <a:cubicBezTo>
                    <a:pt x="23556" y="741882"/>
                    <a:pt x="23556" y="741882"/>
                    <a:pt x="31408" y="734073"/>
                  </a:cubicBezTo>
                  <a:cubicBezTo>
                    <a:pt x="31408" y="734073"/>
                    <a:pt x="31408" y="734073"/>
                    <a:pt x="31408" y="726263"/>
                  </a:cubicBezTo>
                  <a:cubicBezTo>
                    <a:pt x="31408" y="726263"/>
                    <a:pt x="31408" y="726263"/>
                    <a:pt x="62817" y="695026"/>
                  </a:cubicBezTo>
                  <a:cubicBezTo>
                    <a:pt x="62817" y="695026"/>
                    <a:pt x="62817" y="695026"/>
                    <a:pt x="70669" y="679408"/>
                  </a:cubicBezTo>
                  <a:cubicBezTo>
                    <a:pt x="70669" y="679408"/>
                    <a:pt x="70669" y="679408"/>
                    <a:pt x="78521" y="679408"/>
                  </a:cubicBezTo>
                  <a:cubicBezTo>
                    <a:pt x="78521" y="679408"/>
                    <a:pt x="78521" y="679408"/>
                    <a:pt x="102077" y="679408"/>
                  </a:cubicBezTo>
                  <a:cubicBezTo>
                    <a:pt x="102077" y="679408"/>
                    <a:pt x="102077" y="679408"/>
                    <a:pt x="133485" y="679408"/>
                  </a:cubicBezTo>
                  <a:cubicBezTo>
                    <a:pt x="133485" y="679408"/>
                    <a:pt x="133485" y="679408"/>
                    <a:pt x="133485" y="702835"/>
                  </a:cubicBezTo>
                  <a:cubicBezTo>
                    <a:pt x="133485" y="702835"/>
                    <a:pt x="133485" y="702835"/>
                    <a:pt x="157041" y="710645"/>
                  </a:cubicBezTo>
                  <a:cubicBezTo>
                    <a:pt x="157041" y="710645"/>
                    <a:pt x="157041" y="710645"/>
                    <a:pt x="204153" y="726263"/>
                  </a:cubicBezTo>
                  <a:cubicBezTo>
                    <a:pt x="204153" y="726263"/>
                    <a:pt x="204153" y="726263"/>
                    <a:pt x="235562" y="757500"/>
                  </a:cubicBezTo>
                  <a:cubicBezTo>
                    <a:pt x="235562" y="757500"/>
                    <a:pt x="235562" y="757500"/>
                    <a:pt x="282674" y="788738"/>
                  </a:cubicBezTo>
                  <a:cubicBezTo>
                    <a:pt x="282674" y="788738"/>
                    <a:pt x="282674" y="788738"/>
                    <a:pt x="337638" y="851212"/>
                  </a:cubicBezTo>
                  <a:cubicBezTo>
                    <a:pt x="337638" y="851212"/>
                    <a:pt x="337638" y="851212"/>
                    <a:pt x="329786" y="890258"/>
                  </a:cubicBezTo>
                  <a:cubicBezTo>
                    <a:pt x="329786" y="890258"/>
                    <a:pt x="329786" y="890258"/>
                    <a:pt x="298378" y="913686"/>
                  </a:cubicBezTo>
                  <a:cubicBezTo>
                    <a:pt x="298378" y="913686"/>
                    <a:pt x="298378" y="913686"/>
                    <a:pt x="243414" y="921495"/>
                  </a:cubicBezTo>
                  <a:cubicBezTo>
                    <a:pt x="243414" y="921495"/>
                    <a:pt x="243414" y="921495"/>
                    <a:pt x="188449" y="905877"/>
                  </a:cubicBezTo>
                  <a:cubicBezTo>
                    <a:pt x="188449" y="905877"/>
                    <a:pt x="180597" y="882449"/>
                    <a:pt x="172745" y="882449"/>
                  </a:cubicBezTo>
                  <a:cubicBezTo>
                    <a:pt x="172745" y="882449"/>
                    <a:pt x="141337" y="874640"/>
                    <a:pt x="141337" y="874640"/>
                  </a:cubicBezTo>
                  <a:cubicBezTo>
                    <a:pt x="141337" y="874640"/>
                    <a:pt x="141337" y="874640"/>
                    <a:pt x="125633" y="866830"/>
                  </a:cubicBezTo>
                  <a:cubicBezTo>
                    <a:pt x="125633" y="866830"/>
                    <a:pt x="125633" y="866830"/>
                    <a:pt x="109929" y="866830"/>
                  </a:cubicBezTo>
                  <a:cubicBezTo>
                    <a:pt x="109929" y="866830"/>
                    <a:pt x="109929" y="866830"/>
                    <a:pt x="117781" y="882449"/>
                  </a:cubicBezTo>
                  <a:cubicBezTo>
                    <a:pt x="117781" y="882449"/>
                    <a:pt x="117781" y="882449"/>
                    <a:pt x="149189" y="905877"/>
                  </a:cubicBezTo>
                  <a:cubicBezTo>
                    <a:pt x="149189" y="905877"/>
                    <a:pt x="149189" y="905877"/>
                    <a:pt x="180597" y="921495"/>
                  </a:cubicBezTo>
                  <a:cubicBezTo>
                    <a:pt x="180597" y="921495"/>
                    <a:pt x="180597" y="921495"/>
                    <a:pt x="180597" y="944923"/>
                  </a:cubicBezTo>
                  <a:cubicBezTo>
                    <a:pt x="180597" y="944923"/>
                    <a:pt x="180597" y="944923"/>
                    <a:pt x="164893" y="960542"/>
                  </a:cubicBezTo>
                  <a:cubicBezTo>
                    <a:pt x="164893" y="960542"/>
                    <a:pt x="164893" y="960542"/>
                    <a:pt x="180597" y="999588"/>
                  </a:cubicBezTo>
                  <a:cubicBezTo>
                    <a:pt x="180597" y="999588"/>
                    <a:pt x="180597" y="999588"/>
                    <a:pt x="180597" y="1015207"/>
                  </a:cubicBezTo>
                  <a:cubicBezTo>
                    <a:pt x="180597" y="1015207"/>
                    <a:pt x="180597" y="1015207"/>
                    <a:pt x="204153" y="1038634"/>
                  </a:cubicBezTo>
                  <a:cubicBezTo>
                    <a:pt x="204153" y="1038634"/>
                    <a:pt x="204153" y="1038634"/>
                    <a:pt x="243414" y="1062062"/>
                  </a:cubicBezTo>
                  <a:cubicBezTo>
                    <a:pt x="243414" y="1062062"/>
                    <a:pt x="243414" y="1062062"/>
                    <a:pt x="259118" y="1054253"/>
                  </a:cubicBezTo>
                  <a:cubicBezTo>
                    <a:pt x="259118" y="1054253"/>
                    <a:pt x="259118" y="1054253"/>
                    <a:pt x="251266" y="1030825"/>
                  </a:cubicBezTo>
                  <a:cubicBezTo>
                    <a:pt x="251266" y="1030825"/>
                    <a:pt x="251266" y="1030825"/>
                    <a:pt x="235562" y="1007397"/>
                  </a:cubicBezTo>
                  <a:cubicBezTo>
                    <a:pt x="235562" y="1007397"/>
                    <a:pt x="235562" y="1007397"/>
                    <a:pt x="235562" y="991779"/>
                  </a:cubicBezTo>
                  <a:cubicBezTo>
                    <a:pt x="235562" y="991779"/>
                    <a:pt x="235562" y="991779"/>
                    <a:pt x="259118" y="999588"/>
                  </a:cubicBezTo>
                  <a:cubicBezTo>
                    <a:pt x="259118" y="999588"/>
                    <a:pt x="298378" y="999588"/>
                    <a:pt x="306230" y="1007397"/>
                  </a:cubicBezTo>
                  <a:cubicBezTo>
                    <a:pt x="306230" y="1007397"/>
                    <a:pt x="321934" y="1015207"/>
                    <a:pt x="321934" y="1015207"/>
                  </a:cubicBezTo>
                  <a:cubicBezTo>
                    <a:pt x="321934" y="1015207"/>
                    <a:pt x="321934" y="1015207"/>
                    <a:pt x="298378" y="960542"/>
                  </a:cubicBezTo>
                  <a:cubicBezTo>
                    <a:pt x="298378" y="960542"/>
                    <a:pt x="298378" y="960542"/>
                    <a:pt x="314082" y="944923"/>
                  </a:cubicBezTo>
                  <a:cubicBezTo>
                    <a:pt x="314082" y="944923"/>
                    <a:pt x="314082" y="944923"/>
                    <a:pt x="337638" y="921495"/>
                  </a:cubicBezTo>
                  <a:cubicBezTo>
                    <a:pt x="337638" y="921495"/>
                    <a:pt x="337638" y="921495"/>
                    <a:pt x="361194" y="905877"/>
                  </a:cubicBezTo>
                  <a:cubicBezTo>
                    <a:pt x="361194" y="905877"/>
                    <a:pt x="361194" y="905877"/>
                    <a:pt x="384750" y="905877"/>
                  </a:cubicBezTo>
                  <a:cubicBezTo>
                    <a:pt x="384750" y="905877"/>
                    <a:pt x="384750" y="905877"/>
                    <a:pt x="408306" y="921495"/>
                  </a:cubicBezTo>
                  <a:cubicBezTo>
                    <a:pt x="408306" y="921495"/>
                    <a:pt x="408306" y="921495"/>
                    <a:pt x="424011" y="874640"/>
                  </a:cubicBezTo>
                  <a:cubicBezTo>
                    <a:pt x="424011" y="874640"/>
                    <a:pt x="424011" y="874640"/>
                    <a:pt x="408306" y="851212"/>
                  </a:cubicBezTo>
                  <a:cubicBezTo>
                    <a:pt x="408306" y="851212"/>
                    <a:pt x="408306" y="851212"/>
                    <a:pt x="408306" y="796547"/>
                  </a:cubicBezTo>
                  <a:cubicBezTo>
                    <a:pt x="408306" y="796547"/>
                    <a:pt x="408306" y="796547"/>
                    <a:pt x="392602" y="765310"/>
                  </a:cubicBezTo>
                  <a:cubicBezTo>
                    <a:pt x="392602" y="765310"/>
                    <a:pt x="392602" y="765310"/>
                    <a:pt x="416159" y="773119"/>
                  </a:cubicBezTo>
                  <a:cubicBezTo>
                    <a:pt x="416159" y="773119"/>
                    <a:pt x="416159" y="773119"/>
                    <a:pt x="431863" y="773119"/>
                  </a:cubicBezTo>
                  <a:cubicBezTo>
                    <a:pt x="431863" y="773119"/>
                    <a:pt x="431863" y="773119"/>
                    <a:pt x="463271" y="780928"/>
                  </a:cubicBezTo>
                  <a:cubicBezTo>
                    <a:pt x="463271" y="780928"/>
                    <a:pt x="463271" y="780928"/>
                    <a:pt x="471123" y="812165"/>
                  </a:cubicBezTo>
                  <a:cubicBezTo>
                    <a:pt x="471123" y="812165"/>
                    <a:pt x="471123" y="812165"/>
                    <a:pt x="447567" y="827784"/>
                  </a:cubicBezTo>
                  <a:cubicBezTo>
                    <a:pt x="447567" y="827784"/>
                    <a:pt x="447567" y="827784"/>
                    <a:pt x="439715" y="851212"/>
                  </a:cubicBezTo>
                  <a:cubicBezTo>
                    <a:pt x="439715" y="851212"/>
                    <a:pt x="439715" y="851212"/>
                    <a:pt x="463271" y="874640"/>
                  </a:cubicBezTo>
                  <a:cubicBezTo>
                    <a:pt x="463271" y="874640"/>
                    <a:pt x="463271" y="874640"/>
                    <a:pt x="486827" y="874640"/>
                  </a:cubicBezTo>
                  <a:cubicBezTo>
                    <a:pt x="486827" y="874640"/>
                    <a:pt x="486827" y="874640"/>
                    <a:pt x="502531" y="835593"/>
                  </a:cubicBezTo>
                  <a:cubicBezTo>
                    <a:pt x="502531" y="835593"/>
                    <a:pt x="502531" y="835593"/>
                    <a:pt x="518235" y="827784"/>
                  </a:cubicBezTo>
                  <a:cubicBezTo>
                    <a:pt x="518235" y="827784"/>
                    <a:pt x="518235" y="827784"/>
                    <a:pt x="573199" y="796547"/>
                  </a:cubicBezTo>
                  <a:cubicBezTo>
                    <a:pt x="573199" y="796547"/>
                    <a:pt x="573199" y="796547"/>
                    <a:pt x="620312" y="765310"/>
                  </a:cubicBezTo>
                  <a:cubicBezTo>
                    <a:pt x="620312" y="765310"/>
                    <a:pt x="620312" y="765310"/>
                    <a:pt x="651720" y="757500"/>
                  </a:cubicBezTo>
                  <a:cubicBezTo>
                    <a:pt x="651720" y="757500"/>
                    <a:pt x="651720" y="757500"/>
                    <a:pt x="667424" y="773119"/>
                  </a:cubicBezTo>
                  <a:cubicBezTo>
                    <a:pt x="667424" y="773119"/>
                    <a:pt x="667424" y="773119"/>
                    <a:pt x="698832" y="765310"/>
                  </a:cubicBezTo>
                  <a:cubicBezTo>
                    <a:pt x="698832" y="765310"/>
                    <a:pt x="698832" y="765310"/>
                    <a:pt x="730240" y="757500"/>
                  </a:cubicBezTo>
                  <a:cubicBezTo>
                    <a:pt x="730240" y="757500"/>
                    <a:pt x="730240" y="757500"/>
                    <a:pt x="769500" y="741882"/>
                  </a:cubicBezTo>
                  <a:cubicBezTo>
                    <a:pt x="769500" y="741882"/>
                    <a:pt x="769500" y="741882"/>
                    <a:pt x="800909" y="749691"/>
                  </a:cubicBezTo>
                  <a:cubicBezTo>
                    <a:pt x="800909" y="749691"/>
                    <a:pt x="800909" y="749691"/>
                    <a:pt x="816613" y="741882"/>
                  </a:cubicBezTo>
                  <a:cubicBezTo>
                    <a:pt x="816613" y="741882"/>
                    <a:pt x="816613" y="741882"/>
                    <a:pt x="808761" y="687217"/>
                  </a:cubicBezTo>
                  <a:cubicBezTo>
                    <a:pt x="808761" y="687217"/>
                    <a:pt x="808761" y="687217"/>
                    <a:pt x="848021" y="687217"/>
                  </a:cubicBezTo>
                  <a:cubicBezTo>
                    <a:pt x="848021" y="687217"/>
                    <a:pt x="848021" y="687217"/>
                    <a:pt x="887281" y="687217"/>
                  </a:cubicBezTo>
                  <a:cubicBezTo>
                    <a:pt x="887281" y="687217"/>
                    <a:pt x="887281" y="687217"/>
                    <a:pt x="950097" y="734073"/>
                  </a:cubicBezTo>
                  <a:cubicBezTo>
                    <a:pt x="950097" y="734073"/>
                    <a:pt x="950097" y="734073"/>
                    <a:pt x="1005062" y="788738"/>
                  </a:cubicBezTo>
                  <a:cubicBezTo>
                    <a:pt x="1005062" y="788738"/>
                    <a:pt x="1005062" y="788738"/>
                    <a:pt x="1036470" y="734073"/>
                  </a:cubicBezTo>
                  <a:cubicBezTo>
                    <a:pt x="1036470" y="734073"/>
                    <a:pt x="1036470" y="734073"/>
                    <a:pt x="989358" y="687217"/>
                  </a:cubicBezTo>
                  <a:cubicBezTo>
                    <a:pt x="989358" y="687217"/>
                    <a:pt x="989358" y="687217"/>
                    <a:pt x="981506" y="671598"/>
                  </a:cubicBezTo>
                  <a:cubicBezTo>
                    <a:pt x="981506" y="671598"/>
                    <a:pt x="981506" y="671598"/>
                    <a:pt x="989358" y="632552"/>
                  </a:cubicBezTo>
                  <a:cubicBezTo>
                    <a:pt x="989358" y="632552"/>
                    <a:pt x="989358" y="632552"/>
                    <a:pt x="965802" y="593505"/>
                  </a:cubicBezTo>
                  <a:cubicBezTo>
                    <a:pt x="965802" y="593505"/>
                    <a:pt x="965802" y="593505"/>
                    <a:pt x="981506" y="570078"/>
                  </a:cubicBezTo>
                  <a:cubicBezTo>
                    <a:pt x="981506" y="570078"/>
                    <a:pt x="981506" y="570078"/>
                    <a:pt x="1005062" y="546650"/>
                  </a:cubicBezTo>
                  <a:cubicBezTo>
                    <a:pt x="1005062" y="546650"/>
                    <a:pt x="1005062" y="546650"/>
                    <a:pt x="1028618" y="437320"/>
                  </a:cubicBezTo>
                  <a:cubicBezTo>
                    <a:pt x="1028618" y="437320"/>
                    <a:pt x="1028618" y="437320"/>
                    <a:pt x="1075730" y="437320"/>
                  </a:cubicBezTo>
                  <a:cubicBezTo>
                    <a:pt x="1075730" y="437320"/>
                    <a:pt x="1075730" y="437320"/>
                    <a:pt x="1122842" y="452938"/>
                  </a:cubicBezTo>
                  <a:cubicBezTo>
                    <a:pt x="1122842" y="452938"/>
                    <a:pt x="1122842" y="452938"/>
                    <a:pt x="1130694" y="491985"/>
                  </a:cubicBezTo>
                  <a:cubicBezTo>
                    <a:pt x="1130694" y="491985"/>
                    <a:pt x="1130694" y="491985"/>
                    <a:pt x="1138546" y="531031"/>
                  </a:cubicBezTo>
                  <a:cubicBezTo>
                    <a:pt x="1138546" y="531031"/>
                    <a:pt x="1138546" y="531031"/>
                    <a:pt x="1122842" y="593505"/>
                  </a:cubicBezTo>
                  <a:cubicBezTo>
                    <a:pt x="1122842" y="593505"/>
                    <a:pt x="1122842" y="593505"/>
                    <a:pt x="1138546" y="624743"/>
                  </a:cubicBezTo>
                  <a:cubicBezTo>
                    <a:pt x="1138546" y="624743"/>
                    <a:pt x="1138546" y="624743"/>
                    <a:pt x="1162103" y="616933"/>
                  </a:cubicBezTo>
                  <a:cubicBezTo>
                    <a:pt x="1162103" y="616933"/>
                    <a:pt x="1169955" y="554459"/>
                    <a:pt x="1162103" y="546650"/>
                  </a:cubicBezTo>
                  <a:cubicBezTo>
                    <a:pt x="1162103" y="546650"/>
                    <a:pt x="1162103" y="507603"/>
                    <a:pt x="1162103" y="507603"/>
                  </a:cubicBezTo>
                  <a:cubicBezTo>
                    <a:pt x="1162103" y="507603"/>
                    <a:pt x="1162103" y="507603"/>
                    <a:pt x="1177807" y="460748"/>
                  </a:cubicBezTo>
                  <a:cubicBezTo>
                    <a:pt x="1177807" y="460748"/>
                    <a:pt x="1177807" y="460748"/>
                    <a:pt x="1193511" y="460748"/>
                  </a:cubicBezTo>
                  <a:cubicBezTo>
                    <a:pt x="1193511" y="460748"/>
                    <a:pt x="1193511" y="460748"/>
                    <a:pt x="1217067" y="484175"/>
                  </a:cubicBezTo>
                  <a:cubicBezTo>
                    <a:pt x="1217067" y="484175"/>
                    <a:pt x="1217067" y="523222"/>
                    <a:pt x="1240623" y="515413"/>
                  </a:cubicBezTo>
                  <a:cubicBezTo>
                    <a:pt x="1256327" y="507603"/>
                    <a:pt x="1272031" y="476366"/>
                    <a:pt x="1272031" y="476366"/>
                  </a:cubicBezTo>
                  <a:cubicBezTo>
                    <a:pt x="1272031" y="476366"/>
                    <a:pt x="1272031" y="476366"/>
                    <a:pt x="1311291" y="491985"/>
                  </a:cubicBezTo>
                  <a:cubicBezTo>
                    <a:pt x="1311291" y="491985"/>
                    <a:pt x="1334848" y="499794"/>
                    <a:pt x="1334848" y="499794"/>
                  </a:cubicBezTo>
                  <a:cubicBezTo>
                    <a:pt x="1342700" y="491985"/>
                    <a:pt x="1326996" y="421701"/>
                    <a:pt x="1326996" y="421701"/>
                  </a:cubicBezTo>
                  <a:cubicBezTo>
                    <a:pt x="1326996" y="421701"/>
                    <a:pt x="1326996" y="421701"/>
                    <a:pt x="1350552" y="390464"/>
                  </a:cubicBezTo>
                  <a:cubicBezTo>
                    <a:pt x="1350552" y="390464"/>
                    <a:pt x="1468332" y="359227"/>
                    <a:pt x="1476184" y="359227"/>
                  </a:cubicBezTo>
                  <a:cubicBezTo>
                    <a:pt x="1484036" y="359227"/>
                    <a:pt x="1491888" y="273325"/>
                    <a:pt x="1491888" y="273325"/>
                  </a:cubicBezTo>
                  <a:cubicBezTo>
                    <a:pt x="1491888" y="273325"/>
                    <a:pt x="1491888" y="273325"/>
                    <a:pt x="1531149" y="226469"/>
                  </a:cubicBezTo>
                  <a:cubicBezTo>
                    <a:pt x="1531149" y="226469"/>
                    <a:pt x="1531149" y="226469"/>
                    <a:pt x="1617521" y="179614"/>
                  </a:cubicBezTo>
                  <a:cubicBezTo>
                    <a:pt x="1617521" y="179614"/>
                    <a:pt x="1617521" y="179614"/>
                    <a:pt x="1696042" y="148376"/>
                  </a:cubicBezTo>
                  <a:cubicBezTo>
                    <a:pt x="1696042" y="148376"/>
                    <a:pt x="1696042" y="148376"/>
                    <a:pt x="1743154" y="171804"/>
                  </a:cubicBezTo>
                  <a:cubicBezTo>
                    <a:pt x="1743154" y="171804"/>
                    <a:pt x="1743154" y="171804"/>
                    <a:pt x="1813822" y="124949"/>
                  </a:cubicBezTo>
                  <a:cubicBezTo>
                    <a:pt x="1813822" y="124949"/>
                    <a:pt x="1813822" y="124949"/>
                    <a:pt x="1829526" y="70284"/>
                  </a:cubicBezTo>
                  <a:cubicBezTo>
                    <a:pt x="1829526" y="70284"/>
                    <a:pt x="1892343" y="7809"/>
                    <a:pt x="1892343" y="0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  <a:scene3d>
              <a:camera prst="orthographicFront"/>
              <a:lightRig rig="contrasting" dir="t"/>
            </a:scene3d>
            <a:sp3d z="63500" prstMaterial="metal">
              <a:bevelB w="0" h="0"/>
            </a:sp3d>
          </p:spPr>
          <p:txBody>
            <a:bodyPr wrap="square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7" name="Freeform 433">
              <a:extLst>
                <a:ext uri="{FF2B5EF4-FFF2-40B4-BE49-F238E27FC236}">
                  <a16:creationId xmlns:a16="http://schemas.microsoft.com/office/drawing/2014/main" id="{71B04EF6-A1A7-4D5A-9384-A49347CB0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284" y="1289614"/>
              <a:ext cx="4321227" cy="3042959"/>
            </a:xfrm>
            <a:custGeom>
              <a:avLst/>
              <a:gdLst>
                <a:gd name="connsiteX0" fmla="*/ 2559049 w 3302716"/>
                <a:gd name="connsiteY0" fmla="*/ 2582862 h 2641600"/>
                <a:gd name="connsiteX1" fmla="*/ 2592386 w 3302716"/>
                <a:gd name="connsiteY1" fmla="*/ 2583921 h 2641600"/>
                <a:gd name="connsiteX2" fmla="*/ 2589211 w 3302716"/>
                <a:gd name="connsiteY2" fmla="*/ 2601912 h 2641600"/>
                <a:gd name="connsiteX3" fmla="*/ 2555874 w 3302716"/>
                <a:gd name="connsiteY3" fmla="*/ 2596621 h 2641600"/>
                <a:gd name="connsiteX4" fmla="*/ 2363209 w 3302716"/>
                <a:gd name="connsiteY4" fmla="*/ 2508250 h 2641600"/>
                <a:gd name="connsiteX5" fmla="*/ 2425554 w 3302716"/>
                <a:gd name="connsiteY5" fmla="*/ 2508250 h 2641600"/>
                <a:gd name="connsiteX6" fmla="*/ 2472313 w 3302716"/>
                <a:gd name="connsiteY6" fmla="*/ 2532062 h 2641600"/>
                <a:gd name="connsiteX7" fmla="*/ 2503486 w 3302716"/>
                <a:gd name="connsiteY7" fmla="*/ 2547937 h 2641600"/>
                <a:gd name="connsiteX8" fmla="*/ 2441140 w 3302716"/>
                <a:gd name="connsiteY8" fmla="*/ 2540000 h 2641600"/>
                <a:gd name="connsiteX9" fmla="*/ 2417761 w 3302716"/>
                <a:gd name="connsiteY9" fmla="*/ 2555875 h 2641600"/>
                <a:gd name="connsiteX10" fmla="*/ 2386588 w 3302716"/>
                <a:gd name="connsiteY10" fmla="*/ 2555875 h 2641600"/>
                <a:gd name="connsiteX11" fmla="*/ 2371002 w 3302716"/>
                <a:gd name="connsiteY11" fmla="*/ 2547937 h 2641600"/>
                <a:gd name="connsiteX12" fmla="*/ 2332036 w 3302716"/>
                <a:gd name="connsiteY12" fmla="*/ 2532062 h 2641600"/>
                <a:gd name="connsiteX13" fmla="*/ 2363209 w 3302716"/>
                <a:gd name="connsiteY13" fmla="*/ 2524125 h 2641600"/>
                <a:gd name="connsiteX14" fmla="*/ 2118948 w 3302716"/>
                <a:gd name="connsiteY14" fmla="*/ 2422525 h 2641600"/>
                <a:gd name="connsiteX15" fmla="*/ 2205762 w 3302716"/>
                <a:gd name="connsiteY15" fmla="*/ 2422525 h 2641600"/>
                <a:gd name="connsiteX16" fmla="*/ 2261007 w 3302716"/>
                <a:gd name="connsiteY16" fmla="*/ 2445861 h 2641600"/>
                <a:gd name="connsiteX17" fmla="*/ 2276791 w 3302716"/>
                <a:gd name="connsiteY17" fmla="*/ 2469197 h 2641600"/>
                <a:gd name="connsiteX18" fmla="*/ 2316252 w 3302716"/>
                <a:gd name="connsiteY18" fmla="*/ 2476976 h 2641600"/>
                <a:gd name="connsiteX19" fmla="*/ 2332036 w 3302716"/>
                <a:gd name="connsiteY19" fmla="*/ 2492533 h 2641600"/>
                <a:gd name="connsiteX20" fmla="*/ 2316252 w 3302716"/>
                <a:gd name="connsiteY20" fmla="*/ 2500312 h 2641600"/>
                <a:gd name="connsiteX21" fmla="*/ 2253114 w 3302716"/>
                <a:gd name="connsiteY21" fmla="*/ 2500312 h 2641600"/>
                <a:gd name="connsiteX22" fmla="*/ 2237330 w 3302716"/>
                <a:gd name="connsiteY22" fmla="*/ 2484754 h 2641600"/>
                <a:gd name="connsiteX23" fmla="*/ 2221546 w 3302716"/>
                <a:gd name="connsiteY23" fmla="*/ 2461418 h 2641600"/>
                <a:gd name="connsiteX24" fmla="*/ 2174193 w 3302716"/>
                <a:gd name="connsiteY24" fmla="*/ 2453640 h 2641600"/>
                <a:gd name="connsiteX25" fmla="*/ 2126840 w 3302716"/>
                <a:gd name="connsiteY25" fmla="*/ 2453640 h 2641600"/>
                <a:gd name="connsiteX26" fmla="*/ 2095272 w 3302716"/>
                <a:gd name="connsiteY26" fmla="*/ 2453640 h 2641600"/>
                <a:gd name="connsiteX27" fmla="*/ 2055811 w 3302716"/>
                <a:gd name="connsiteY27" fmla="*/ 2445861 h 2641600"/>
                <a:gd name="connsiteX28" fmla="*/ 2071595 w 3302716"/>
                <a:gd name="connsiteY28" fmla="*/ 2430304 h 2641600"/>
                <a:gd name="connsiteX29" fmla="*/ 2118948 w 3302716"/>
                <a:gd name="connsiteY29" fmla="*/ 2422525 h 2641600"/>
                <a:gd name="connsiteX30" fmla="*/ 2079418 w 3302716"/>
                <a:gd name="connsiteY30" fmla="*/ 1711621 h 2641600"/>
                <a:gd name="connsiteX31" fmla="*/ 2126206 w 3302716"/>
                <a:gd name="connsiteY31" fmla="*/ 1812416 h 2641600"/>
                <a:gd name="connsiteX32" fmla="*/ 2126206 w 3302716"/>
                <a:gd name="connsiteY32" fmla="*/ 1859157 h 2641600"/>
                <a:gd name="connsiteX33" fmla="*/ 2127911 w 3302716"/>
                <a:gd name="connsiteY33" fmla="*/ 1858642 h 2641600"/>
                <a:gd name="connsiteX34" fmla="*/ 2127911 w 3302716"/>
                <a:gd name="connsiteY34" fmla="*/ 1813735 h 2641600"/>
                <a:gd name="connsiteX35" fmla="*/ 2080873 w 3302716"/>
                <a:gd name="connsiteY35" fmla="*/ 1712303 h 2641600"/>
                <a:gd name="connsiteX36" fmla="*/ 2795587 w 3302716"/>
                <a:gd name="connsiteY36" fmla="*/ 1516062 h 2641600"/>
                <a:gd name="connsiteX37" fmla="*/ 2795587 w 3302716"/>
                <a:gd name="connsiteY37" fmla="*/ 1539460 h 2641600"/>
                <a:gd name="connsiteX38" fmla="*/ 2779712 w 3302716"/>
                <a:gd name="connsiteY38" fmla="*/ 1570658 h 2641600"/>
                <a:gd name="connsiteX39" fmla="*/ 2787649 w 3302716"/>
                <a:gd name="connsiteY39" fmla="*/ 1586257 h 2641600"/>
                <a:gd name="connsiteX40" fmla="*/ 2851149 w 3302716"/>
                <a:gd name="connsiteY40" fmla="*/ 1617455 h 2641600"/>
                <a:gd name="connsiteX41" fmla="*/ 2867024 w 3302716"/>
                <a:gd name="connsiteY41" fmla="*/ 1656452 h 2641600"/>
                <a:gd name="connsiteX42" fmla="*/ 2867024 w 3302716"/>
                <a:gd name="connsiteY42" fmla="*/ 1687650 h 2641600"/>
                <a:gd name="connsiteX43" fmla="*/ 2835274 w 3302716"/>
                <a:gd name="connsiteY43" fmla="*/ 1695450 h 2641600"/>
                <a:gd name="connsiteX44" fmla="*/ 2819399 w 3302716"/>
                <a:gd name="connsiteY44" fmla="*/ 1672051 h 2641600"/>
                <a:gd name="connsiteX45" fmla="*/ 2795587 w 3302716"/>
                <a:gd name="connsiteY45" fmla="*/ 1679851 h 2641600"/>
                <a:gd name="connsiteX46" fmla="*/ 2771774 w 3302716"/>
                <a:gd name="connsiteY46" fmla="*/ 1664252 h 2641600"/>
                <a:gd name="connsiteX47" fmla="*/ 2732087 w 3302716"/>
                <a:gd name="connsiteY47" fmla="*/ 1656452 h 2641600"/>
                <a:gd name="connsiteX48" fmla="*/ 2708274 w 3302716"/>
                <a:gd name="connsiteY48" fmla="*/ 1664252 h 2641600"/>
                <a:gd name="connsiteX49" fmla="*/ 2708274 w 3302716"/>
                <a:gd name="connsiteY49" fmla="*/ 1633054 h 2641600"/>
                <a:gd name="connsiteX50" fmla="*/ 2716212 w 3302716"/>
                <a:gd name="connsiteY50" fmla="*/ 1609656 h 2641600"/>
                <a:gd name="connsiteX51" fmla="*/ 2755899 w 3302716"/>
                <a:gd name="connsiteY51" fmla="*/ 1547260 h 2641600"/>
                <a:gd name="connsiteX52" fmla="*/ 2089290 w 3302716"/>
                <a:gd name="connsiteY52" fmla="*/ 790575 h 2641600"/>
                <a:gd name="connsiteX53" fmla="*/ 2095710 w 3302716"/>
                <a:gd name="connsiteY53" fmla="*/ 791589 h 2641600"/>
                <a:gd name="connsiteX54" fmla="*/ 2102131 w 3302716"/>
                <a:gd name="connsiteY54" fmla="*/ 793616 h 2641600"/>
                <a:gd name="connsiteX55" fmla="*/ 2105341 w 3302716"/>
                <a:gd name="connsiteY55" fmla="*/ 799700 h 2641600"/>
                <a:gd name="connsiteX56" fmla="*/ 2108552 w 3302716"/>
                <a:gd name="connsiteY56" fmla="*/ 808824 h 2641600"/>
                <a:gd name="connsiteX57" fmla="*/ 2110692 w 3302716"/>
                <a:gd name="connsiteY57" fmla="*/ 816935 h 2641600"/>
                <a:gd name="connsiteX58" fmla="*/ 2111762 w 3302716"/>
                <a:gd name="connsiteY58" fmla="*/ 820991 h 2641600"/>
                <a:gd name="connsiteX59" fmla="*/ 2116042 w 3302716"/>
                <a:gd name="connsiteY59" fmla="*/ 820991 h 2641600"/>
                <a:gd name="connsiteX60" fmla="*/ 2119252 w 3302716"/>
                <a:gd name="connsiteY60" fmla="*/ 818963 h 2641600"/>
                <a:gd name="connsiteX61" fmla="*/ 2123533 w 3302716"/>
                <a:gd name="connsiteY61" fmla="*/ 815922 h 2641600"/>
                <a:gd name="connsiteX62" fmla="*/ 2127813 w 3302716"/>
                <a:gd name="connsiteY62" fmla="*/ 813894 h 2641600"/>
                <a:gd name="connsiteX63" fmla="*/ 2134234 w 3302716"/>
                <a:gd name="connsiteY63" fmla="*/ 813894 h 2641600"/>
                <a:gd name="connsiteX64" fmla="*/ 2141724 w 3302716"/>
                <a:gd name="connsiteY64" fmla="*/ 814908 h 2641600"/>
                <a:gd name="connsiteX65" fmla="*/ 2151355 w 3302716"/>
                <a:gd name="connsiteY65" fmla="*/ 816935 h 2641600"/>
                <a:gd name="connsiteX66" fmla="*/ 2159916 w 3302716"/>
                <a:gd name="connsiteY66" fmla="*/ 820991 h 2641600"/>
                <a:gd name="connsiteX67" fmla="*/ 2167406 w 3302716"/>
                <a:gd name="connsiteY67" fmla="*/ 824032 h 2641600"/>
                <a:gd name="connsiteX68" fmla="*/ 2172757 w 3302716"/>
                <a:gd name="connsiteY68" fmla="*/ 831129 h 2641600"/>
                <a:gd name="connsiteX69" fmla="*/ 2175967 w 3302716"/>
                <a:gd name="connsiteY69" fmla="*/ 839240 h 2641600"/>
                <a:gd name="connsiteX70" fmla="*/ 2181318 w 3302716"/>
                <a:gd name="connsiteY70" fmla="*/ 845324 h 2641600"/>
                <a:gd name="connsiteX71" fmla="*/ 2183458 w 3302716"/>
                <a:gd name="connsiteY71" fmla="*/ 849379 h 2641600"/>
                <a:gd name="connsiteX72" fmla="*/ 2184528 w 3302716"/>
                <a:gd name="connsiteY72" fmla="*/ 850393 h 2641600"/>
                <a:gd name="connsiteX73" fmla="*/ 2207000 w 3302716"/>
                <a:gd name="connsiteY73" fmla="*/ 850393 h 2641600"/>
                <a:gd name="connsiteX74" fmla="*/ 2209140 w 3302716"/>
                <a:gd name="connsiteY74" fmla="*/ 851407 h 2641600"/>
                <a:gd name="connsiteX75" fmla="*/ 2215560 w 3302716"/>
                <a:gd name="connsiteY75" fmla="*/ 853435 h 2641600"/>
                <a:gd name="connsiteX76" fmla="*/ 2220911 w 3302716"/>
                <a:gd name="connsiteY76" fmla="*/ 858504 h 2641600"/>
                <a:gd name="connsiteX77" fmla="*/ 2218771 w 3302716"/>
                <a:gd name="connsiteY77" fmla="*/ 862559 h 2641600"/>
                <a:gd name="connsiteX78" fmla="*/ 2214490 w 3302716"/>
                <a:gd name="connsiteY78" fmla="*/ 867629 h 2641600"/>
                <a:gd name="connsiteX79" fmla="*/ 2211280 w 3302716"/>
                <a:gd name="connsiteY79" fmla="*/ 869656 h 2641600"/>
                <a:gd name="connsiteX80" fmla="*/ 2209140 w 3302716"/>
                <a:gd name="connsiteY80" fmla="*/ 872698 h 2641600"/>
                <a:gd name="connsiteX81" fmla="*/ 2205930 w 3302716"/>
                <a:gd name="connsiteY81" fmla="*/ 874726 h 2641600"/>
                <a:gd name="connsiteX82" fmla="*/ 2202719 w 3302716"/>
                <a:gd name="connsiteY82" fmla="*/ 874726 h 2641600"/>
                <a:gd name="connsiteX83" fmla="*/ 2200579 w 3302716"/>
                <a:gd name="connsiteY83" fmla="*/ 874726 h 2641600"/>
                <a:gd name="connsiteX84" fmla="*/ 2198439 w 3302716"/>
                <a:gd name="connsiteY84" fmla="*/ 873712 h 2641600"/>
                <a:gd name="connsiteX85" fmla="*/ 2192018 w 3302716"/>
                <a:gd name="connsiteY85" fmla="*/ 870670 h 2641600"/>
                <a:gd name="connsiteX86" fmla="*/ 2184528 w 3302716"/>
                <a:gd name="connsiteY86" fmla="*/ 868643 h 2641600"/>
                <a:gd name="connsiteX87" fmla="*/ 2178107 w 3302716"/>
                <a:gd name="connsiteY87" fmla="*/ 866615 h 2641600"/>
                <a:gd name="connsiteX88" fmla="*/ 2173827 w 3302716"/>
                <a:gd name="connsiteY88" fmla="*/ 865601 h 2641600"/>
                <a:gd name="connsiteX89" fmla="*/ 2168477 w 3302716"/>
                <a:gd name="connsiteY89" fmla="*/ 862559 h 2641600"/>
                <a:gd name="connsiteX90" fmla="*/ 2164196 w 3302716"/>
                <a:gd name="connsiteY90" fmla="*/ 859518 h 2641600"/>
                <a:gd name="connsiteX91" fmla="*/ 2158846 w 3302716"/>
                <a:gd name="connsiteY91" fmla="*/ 857490 h 2641600"/>
                <a:gd name="connsiteX92" fmla="*/ 2153495 w 3302716"/>
                <a:gd name="connsiteY92" fmla="*/ 857490 h 2641600"/>
                <a:gd name="connsiteX93" fmla="*/ 2151355 w 3302716"/>
                <a:gd name="connsiteY93" fmla="*/ 861545 h 2641600"/>
                <a:gd name="connsiteX94" fmla="*/ 2152425 w 3302716"/>
                <a:gd name="connsiteY94" fmla="*/ 869656 h 2641600"/>
                <a:gd name="connsiteX95" fmla="*/ 2153495 w 3302716"/>
                <a:gd name="connsiteY95" fmla="*/ 876753 h 2641600"/>
                <a:gd name="connsiteX96" fmla="*/ 2153495 w 3302716"/>
                <a:gd name="connsiteY96" fmla="*/ 883851 h 2641600"/>
                <a:gd name="connsiteX97" fmla="*/ 2149215 w 3302716"/>
                <a:gd name="connsiteY97" fmla="*/ 887906 h 2641600"/>
                <a:gd name="connsiteX98" fmla="*/ 2141724 w 3302716"/>
                <a:gd name="connsiteY98" fmla="*/ 890948 h 2641600"/>
                <a:gd name="connsiteX99" fmla="*/ 2138514 w 3302716"/>
                <a:gd name="connsiteY99" fmla="*/ 893989 h 2641600"/>
                <a:gd name="connsiteX100" fmla="*/ 2137444 w 3302716"/>
                <a:gd name="connsiteY100" fmla="*/ 899058 h 2641600"/>
                <a:gd name="connsiteX101" fmla="*/ 2136374 w 3302716"/>
                <a:gd name="connsiteY101" fmla="*/ 903114 h 2641600"/>
                <a:gd name="connsiteX102" fmla="*/ 2133164 w 3302716"/>
                <a:gd name="connsiteY102" fmla="*/ 906156 h 2641600"/>
                <a:gd name="connsiteX103" fmla="*/ 2127813 w 3302716"/>
                <a:gd name="connsiteY103" fmla="*/ 909197 h 2641600"/>
                <a:gd name="connsiteX104" fmla="*/ 2123533 w 3302716"/>
                <a:gd name="connsiteY104" fmla="*/ 911225 h 2641600"/>
                <a:gd name="connsiteX105" fmla="*/ 2119252 w 3302716"/>
                <a:gd name="connsiteY105" fmla="*/ 908183 h 2641600"/>
                <a:gd name="connsiteX106" fmla="*/ 2118182 w 3302716"/>
                <a:gd name="connsiteY106" fmla="*/ 903114 h 2641600"/>
                <a:gd name="connsiteX107" fmla="*/ 2117112 w 3302716"/>
                <a:gd name="connsiteY107" fmla="*/ 897031 h 2641600"/>
                <a:gd name="connsiteX108" fmla="*/ 2112832 w 3302716"/>
                <a:gd name="connsiteY108" fmla="*/ 891961 h 2641600"/>
                <a:gd name="connsiteX109" fmla="*/ 2107481 w 3302716"/>
                <a:gd name="connsiteY109" fmla="*/ 890948 h 2641600"/>
                <a:gd name="connsiteX110" fmla="*/ 2101061 w 3302716"/>
                <a:gd name="connsiteY110" fmla="*/ 890948 h 2641600"/>
                <a:gd name="connsiteX111" fmla="*/ 2097851 w 3302716"/>
                <a:gd name="connsiteY111" fmla="*/ 891961 h 2641600"/>
                <a:gd name="connsiteX112" fmla="*/ 2094640 w 3302716"/>
                <a:gd name="connsiteY112" fmla="*/ 892975 h 2641600"/>
                <a:gd name="connsiteX113" fmla="*/ 2087150 w 3302716"/>
                <a:gd name="connsiteY113" fmla="*/ 896017 h 2641600"/>
                <a:gd name="connsiteX114" fmla="*/ 2079659 w 3302716"/>
                <a:gd name="connsiteY114" fmla="*/ 897031 h 2641600"/>
                <a:gd name="connsiteX115" fmla="*/ 2076449 w 3302716"/>
                <a:gd name="connsiteY115" fmla="*/ 892975 h 2641600"/>
                <a:gd name="connsiteX116" fmla="*/ 2077519 w 3302716"/>
                <a:gd name="connsiteY116" fmla="*/ 888920 h 2641600"/>
                <a:gd name="connsiteX117" fmla="*/ 2080729 w 3302716"/>
                <a:gd name="connsiteY117" fmla="*/ 881823 h 2641600"/>
                <a:gd name="connsiteX118" fmla="*/ 2086080 w 3302716"/>
                <a:gd name="connsiteY118" fmla="*/ 875740 h 2641600"/>
                <a:gd name="connsiteX119" fmla="*/ 2089290 w 3302716"/>
                <a:gd name="connsiteY119" fmla="*/ 873712 h 2641600"/>
                <a:gd name="connsiteX120" fmla="*/ 2093570 w 3302716"/>
                <a:gd name="connsiteY120" fmla="*/ 870670 h 2641600"/>
                <a:gd name="connsiteX121" fmla="*/ 2093570 w 3302716"/>
                <a:gd name="connsiteY121" fmla="*/ 866615 h 2641600"/>
                <a:gd name="connsiteX122" fmla="*/ 2091430 w 3302716"/>
                <a:gd name="connsiteY122" fmla="*/ 859518 h 2641600"/>
                <a:gd name="connsiteX123" fmla="*/ 2089290 w 3302716"/>
                <a:gd name="connsiteY123" fmla="*/ 852421 h 2641600"/>
                <a:gd name="connsiteX124" fmla="*/ 2088220 w 3302716"/>
                <a:gd name="connsiteY124" fmla="*/ 846337 h 2641600"/>
                <a:gd name="connsiteX125" fmla="*/ 2089290 w 3302716"/>
                <a:gd name="connsiteY125" fmla="*/ 839240 h 2641600"/>
                <a:gd name="connsiteX126" fmla="*/ 2089290 w 3302716"/>
                <a:gd name="connsiteY126" fmla="*/ 835185 h 2641600"/>
                <a:gd name="connsiteX127" fmla="*/ 2087150 w 3302716"/>
                <a:gd name="connsiteY127" fmla="*/ 830116 h 2641600"/>
                <a:gd name="connsiteX128" fmla="*/ 2085010 w 3302716"/>
                <a:gd name="connsiteY128" fmla="*/ 826060 h 2641600"/>
                <a:gd name="connsiteX129" fmla="*/ 2085010 w 3302716"/>
                <a:gd name="connsiteY129" fmla="*/ 816935 h 2641600"/>
                <a:gd name="connsiteX130" fmla="*/ 2085010 w 3302716"/>
                <a:gd name="connsiteY130" fmla="*/ 806797 h 2641600"/>
                <a:gd name="connsiteX131" fmla="*/ 2085010 w 3302716"/>
                <a:gd name="connsiteY131" fmla="*/ 798686 h 2641600"/>
                <a:gd name="connsiteX132" fmla="*/ 2086080 w 3302716"/>
                <a:gd name="connsiteY132" fmla="*/ 792603 h 2641600"/>
                <a:gd name="connsiteX133" fmla="*/ 2239961 w 3302716"/>
                <a:gd name="connsiteY133" fmla="*/ 739775 h 2641600"/>
                <a:gd name="connsiteX134" fmla="*/ 2241866 w 3302716"/>
                <a:gd name="connsiteY134" fmla="*/ 739775 h 2641600"/>
                <a:gd name="connsiteX135" fmla="*/ 2243136 w 3302716"/>
                <a:gd name="connsiteY135" fmla="*/ 741362 h 2641600"/>
                <a:gd name="connsiteX136" fmla="*/ 2243136 w 3302716"/>
                <a:gd name="connsiteY136" fmla="*/ 743744 h 2641600"/>
                <a:gd name="connsiteX137" fmla="*/ 2243136 w 3302716"/>
                <a:gd name="connsiteY137" fmla="*/ 744537 h 2641600"/>
                <a:gd name="connsiteX138" fmla="*/ 2243136 w 3302716"/>
                <a:gd name="connsiteY138" fmla="*/ 746125 h 2641600"/>
                <a:gd name="connsiteX139" fmla="*/ 2241231 w 3302716"/>
                <a:gd name="connsiteY139" fmla="*/ 743744 h 2641600"/>
                <a:gd name="connsiteX140" fmla="*/ 2239961 w 3302716"/>
                <a:gd name="connsiteY140" fmla="*/ 740569 h 2641600"/>
                <a:gd name="connsiteX141" fmla="*/ 1822166 w 3302716"/>
                <a:gd name="connsiteY141" fmla="*/ 407987 h 2641600"/>
                <a:gd name="connsiteX142" fmla="*/ 1869204 w 3302716"/>
                <a:gd name="connsiteY142" fmla="*/ 486012 h 2641600"/>
                <a:gd name="connsiteX143" fmla="*/ 1884883 w 3302716"/>
                <a:gd name="connsiteY143" fmla="*/ 556234 h 2641600"/>
                <a:gd name="connsiteX144" fmla="*/ 1916241 w 3302716"/>
                <a:gd name="connsiteY144" fmla="*/ 610852 h 2641600"/>
                <a:gd name="connsiteX145" fmla="*/ 1931920 w 3302716"/>
                <a:gd name="connsiteY145" fmla="*/ 649864 h 2641600"/>
                <a:gd name="connsiteX146" fmla="*/ 1963279 w 3302716"/>
                <a:gd name="connsiteY146" fmla="*/ 610852 h 2641600"/>
                <a:gd name="connsiteX147" fmla="*/ 1986798 w 3302716"/>
                <a:gd name="connsiteY147" fmla="*/ 642061 h 2641600"/>
                <a:gd name="connsiteX148" fmla="*/ 2002477 w 3302716"/>
                <a:gd name="connsiteY148" fmla="*/ 727889 h 2641600"/>
                <a:gd name="connsiteX149" fmla="*/ 2049515 w 3302716"/>
                <a:gd name="connsiteY149" fmla="*/ 657666 h 2641600"/>
                <a:gd name="connsiteX150" fmla="*/ 2060986 w 3302716"/>
                <a:gd name="connsiteY150" fmla="*/ 600583 h 2641600"/>
                <a:gd name="connsiteX151" fmla="*/ 2054209 w 3302716"/>
                <a:gd name="connsiteY151" fmla="*/ 599786 h 2641600"/>
                <a:gd name="connsiteX152" fmla="*/ 2040216 w 3302716"/>
                <a:gd name="connsiteY152" fmla="*/ 596747 h 2641600"/>
                <a:gd name="connsiteX153" fmla="*/ 2035910 w 3302716"/>
                <a:gd name="connsiteY153" fmla="*/ 592696 h 2641600"/>
                <a:gd name="connsiteX154" fmla="*/ 2031604 w 3302716"/>
                <a:gd name="connsiteY154" fmla="*/ 590670 h 2641600"/>
                <a:gd name="connsiteX155" fmla="*/ 2025146 w 3302716"/>
                <a:gd name="connsiteY155" fmla="*/ 591683 h 2641600"/>
                <a:gd name="connsiteX156" fmla="*/ 2015458 w 3302716"/>
                <a:gd name="connsiteY156" fmla="*/ 596747 h 2641600"/>
                <a:gd name="connsiteX157" fmla="*/ 2011152 w 3302716"/>
                <a:gd name="connsiteY157" fmla="*/ 598773 h 2641600"/>
                <a:gd name="connsiteX158" fmla="*/ 2006847 w 3302716"/>
                <a:gd name="connsiteY158" fmla="*/ 598773 h 2641600"/>
                <a:gd name="connsiteX159" fmla="*/ 1998235 w 3302716"/>
                <a:gd name="connsiteY159" fmla="*/ 593709 h 2641600"/>
                <a:gd name="connsiteX160" fmla="*/ 1992853 w 3302716"/>
                <a:gd name="connsiteY160" fmla="*/ 590670 h 2641600"/>
                <a:gd name="connsiteX161" fmla="*/ 1986395 w 3302716"/>
                <a:gd name="connsiteY161" fmla="*/ 586619 h 2641600"/>
                <a:gd name="connsiteX162" fmla="*/ 1979936 w 3302716"/>
                <a:gd name="connsiteY162" fmla="*/ 583581 h 2641600"/>
                <a:gd name="connsiteX163" fmla="*/ 1974554 w 3302716"/>
                <a:gd name="connsiteY163" fmla="*/ 581555 h 2641600"/>
                <a:gd name="connsiteX164" fmla="*/ 1971325 w 3302716"/>
                <a:gd name="connsiteY164" fmla="*/ 578517 h 2641600"/>
                <a:gd name="connsiteX165" fmla="*/ 1970249 w 3302716"/>
                <a:gd name="connsiteY165" fmla="*/ 575479 h 2641600"/>
                <a:gd name="connsiteX166" fmla="*/ 1972401 w 3302716"/>
                <a:gd name="connsiteY166" fmla="*/ 573453 h 2641600"/>
                <a:gd name="connsiteX167" fmla="*/ 1977784 w 3302716"/>
                <a:gd name="connsiteY167" fmla="*/ 570415 h 2641600"/>
                <a:gd name="connsiteX168" fmla="*/ 1985318 w 3302716"/>
                <a:gd name="connsiteY168" fmla="*/ 568389 h 2641600"/>
                <a:gd name="connsiteX169" fmla="*/ 1992853 w 3302716"/>
                <a:gd name="connsiteY169" fmla="*/ 567376 h 2641600"/>
                <a:gd name="connsiteX170" fmla="*/ 1999312 w 3302716"/>
                <a:gd name="connsiteY170" fmla="*/ 566364 h 2641600"/>
                <a:gd name="connsiteX171" fmla="*/ 2004694 w 3302716"/>
                <a:gd name="connsiteY171" fmla="*/ 565351 h 2641600"/>
                <a:gd name="connsiteX172" fmla="*/ 2009000 w 3302716"/>
                <a:gd name="connsiteY172" fmla="*/ 563325 h 2641600"/>
                <a:gd name="connsiteX173" fmla="*/ 2009000 w 3302716"/>
                <a:gd name="connsiteY173" fmla="*/ 562312 h 2641600"/>
                <a:gd name="connsiteX174" fmla="*/ 2005770 w 3302716"/>
                <a:gd name="connsiteY174" fmla="*/ 560287 h 2641600"/>
                <a:gd name="connsiteX175" fmla="*/ 1998235 w 3302716"/>
                <a:gd name="connsiteY175" fmla="*/ 558261 h 2641600"/>
                <a:gd name="connsiteX176" fmla="*/ 1989624 w 3302716"/>
                <a:gd name="connsiteY176" fmla="*/ 555223 h 2641600"/>
                <a:gd name="connsiteX177" fmla="*/ 1981013 w 3302716"/>
                <a:gd name="connsiteY177" fmla="*/ 553197 h 2641600"/>
                <a:gd name="connsiteX178" fmla="*/ 1974554 w 3302716"/>
                <a:gd name="connsiteY178" fmla="*/ 552185 h 2641600"/>
                <a:gd name="connsiteX179" fmla="*/ 1970249 w 3302716"/>
                <a:gd name="connsiteY179" fmla="*/ 551172 h 2641600"/>
                <a:gd name="connsiteX180" fmla="*/ 1964867 w 3302716"/>
                <a:gd name="connsiteY180" fmla="*/ 548133 h 2641600"/>
                <a:gd name="connsiteX181" fmla="*/ 1962714 w 3302716"/>
                <a:gd name="connsiteY181" fmla="*/ 546108 h 2641600"/>
                <a:gd name="connsiteX182" fmla="*/ 1960561 w 3302716"/>
                <a:gd name="connsiteY182" fmla="*/ 542057 h 2641600"/>
                <a:gd name="connsiteX183" fmla="*/ 1960561 w 3302716"/>
                <a:gd name="connsiteY183" fmla="*/ 534967 h 2641600"/>
                <a:gd name="connsiteX184" fmla="*/ 1960561 w 3302716"/>
                <a:gd name="connsiteY184" fmla="*/ 522814 h 2641600"/>
                <a:gd name="connsiteX185" fmla="*/ 1960561 w 3302716"/>
                <a:gd name="connsiteY185" fmla="*/ 514712 h 2641600"/>
                <a:gd name="connsiteX186" fmla="*/ 1960561 w 3302716"/>
                <a:gd name="connsiteY186" fmla="*/ 505597 h 2641600"/>
                <a:gd name="connsiteX187" fmla="*/ 1961637 w 3302716"/>
                <a:gd name="connsiteY187" fmla="*/ 489392 h 2641600"/>
                <a:gd name="connsiteX188" fmla="*/ 1965943 w 3302716"/>
                <a:gd name="connsiteY188" fmla="*/ 468123 h 2641600"/>
                <a:gd name="connsiteX189" fmla="*/ 1973478 w 3302716"/>
                <a:gd name="connsiteY189" fmla="*/ 449893 h 2641600"/>
                <a:gd name="connsiteX190" fmla="*/ 1984242 w 3302716"/>
                <a:gd name="connsiteY190" fmla="*/ 437740 h 2641600"/>
                <a:gd name="connsiteX191" fmla="*/ 1993930 w 3302716"/>
                <a:gd name="connsiteY191" fmla="*/ 431663 h 2641600"/>
                <a:gd name="connsiteX192" fmla="*/ 2002541 w 3302716"/>
                <a:gd name="connsiteY192" fmla="*/ 431663 h 2641600"/>
                <a:gd name="connsiteX193" fmla="*/ 2010076 w 3302716"/>
                <a:gd name="connsiteY193" fmla="*/ 434702 h 2641600"/>
                <a:gd name="connsiteX194" fmla="*/ 2014382 w 3302716"/>
                <a:gd name="connsiteY194" fmla="*/ 438753 h 2641600"/>
                <a:gd name="connsiteX195" fmla="*/ 2013305 w 3302716"/>
                <a:gd name="connsiteY195" fmla="*/ 447868 h 2641600"/>
                <a:gd name="connsiteX196" fmla="*/ 2006847 w 3302716"/>
                <a:gd name="connsiteY196" fmla="*/ 469136 h 2641600"/>
                <a:gd name="connsiteX197" fmla="*/ 2005770 w 3302716"/>
                <a:gd name="connsiteY197" fmla="*/ 485341 h 2641600"/>
                <a:gd name="connsiteX198" fmla="*/ 2009000 w 3302716"/>
                <a:gd name="connsiteY198" fmla="*/ 499520 h 2641600"/>
                <a:gd name="connsiteX199" fmla="*/ 2014382 w 3302716"/>
                <a:gd name="connsiteY199" fmla="*/ 509648 h 2641600"/>
                <a:gd name="connsiteX200" fmla="*/ 2020840 w 3302716"/>
                <a:gd name="connsiteY200" fmla="*/ 519776 h 2641600"/>
                <a:gd name="connsiteX201" fmla="*/ 2027299 w 3302716"/>
                <a:gd name="connsiteY201" fmla="*/ 526865 h 2641600"/>
                <a:gd name="connsiteX202" fmla="*/ 2033757 w 3302716"/>
                <a:gd name="connsiteY202" fmla="*/ 531929 h 2641600"/>
                <a:gd name="connsiteX203" fmla="*/ 2034654 w 3302716"/>
                <a:gd name="connsiteY203" fmla="*/ 533616 h 2641600"/>
                <a:gd name="connsiteX204" fmla="*/ 2035910 w 3302716"/>
                <a:gd name="connsiteY204" fmla="*/ 536993 h 2641600"/>
                <a:gd name="connsiteX205" fmla="*/ 2036986 w 3302716"/>
                <a:gd name="connsiteY205" fmla="*/ 538006 h 2641600"/>
                <a:gd name="connsiteX206" fmla="*/ 2034654 w 3302716"/>
                <a:gd name="connsiteY206" fmla="*/ 533616 h 2641600"/>
                <a:gd name="connsiteX207" fmla="*/ 2028375 w 3302716"/>
                <a:gd name="connsiteY207" fmla="*/ 516737 h 2641600"/>
                <a:gd name="connsiteX208" fmla="*/ 2020840 w 3302716"/>
                <a:gd name="connsiteY208" fmla="*/ 491418 h 2641600"/>
                <a:gd name="connsiteX209" fmla="*/ 2019764 w 3302716"/>
                <a:gd name="connsiteY209" fmla="*/ 470149 h 2641600"/>
                <a:gd name="connsiteX210" fmla="*/ 2022993 w 3302716"/>
                <a:gd name="connsiteY210" fmla="*/ 454957 h 2641600"/>
                <a:gd name="connsiteX211" fmla="*/ 2027299 w 3302716"/>
                <a:gd name="connsiteY211" fmla="*/ 440778 h 2641600"/>
                <a:gd name="connsiteX212" fmla="*/ 2034834 w 3302716"/>
                <a:gd name="connsiteY212" fmla="*/ 431663 h 2641600"/>
                <a:gd name="connsiteX213" fmla="*/ 2045598 w 3302716"/>
                <a:gd name="connsiteY213" fmla="*/ 428625 h 2641600"/>
                <a:gd name="connsiteX214" fmla="*/ 2058515 w 3302716"/>
                <a:gd name="connsiteY214" fmla="*/ 430650 h 2641600"/>
                <a:gd name="connsiteX215" fmla="*/ 2068203 w 3302716"/>
                <a:gd name="connsiteY215" fmla="*/ 435714 h 2641600"/>
                <a:gd name="connsiteX216" fmla="*/ 2074661 w 3302716"/>
                <a:gd name="connsiteY216" fmla="*/ 442804 h 2641600"/>
                <a:gd name="connsiteX217" fmla="*/ 2077890 w 3302716"/>
                <a:gd name="connsiteY217" fmla="*/ 449893 h 2641600"/>
                <a:gd name="connsiteX218" fmla="*/ 2080043 w 3302716"/>
                <a:gd name="connsiteY218" fmla="*/ 454957 h 2641600"/>
                <a:gd name="connsiteX219" fmla="*/ 2083272 w 3302716"/>
                <a:gd name="connsiteY219" fmla="*/ 461034 h 2641600"/>
                <a:gd name="connsiteX220" fmla="*/ 2084349 w 3302716"/>
                <a:gd name="connsiteY220" fmla="*/ 468123 h 2641600"/>
                <a:gd name="connsiteX221" fmla="*/ 2085425 w 3302716"/>
                <a:gd name="connsiteY221" fmla="*/ 476226 h 2641600"/>
                <a:gd name="connsiteX222" fmla="*/ 2087578 w 3302716"/>
                <a:gd name="connsiteY222" fmla="*/ 482302 h 2641600"/>
                <a:gd name="connsiteX223" fmla="*/ 2094037 w 3302716"/>
                <a:gd name="connsiteY223" fmla="*/ 483315 h 2641600"/>
                <a:gd name="connsiteX224" fmla="*/ 2102648 w 3302716"/>
                <a:gd name="connsiteY224" fmla="*/ 481290 h 2641600"/>
                <a:gd name="connsiteX225" fmla="*/ 2111259 w 3302716"/>
                <a:gd name="connsiteY225" fmla="*/ 476226 h 2641600"/>
                <a:gd name="connsiteX226" fmla="*/ 2117718 w 3302716"/>
                <a:gd name="connsiteY226" fmla="*/ 470149 h 2641600"/>
                <a:gd name="connsiteX227" fmla="*/ 2118794 w 3302716"/>
                <a:gd name="connsiteY227" fmla="*/ 465085 h 2641600"/>
                <a:gd name="connsiteX228" fmla="*/ 2120947 w 3302716"/>
                <a:gd name="connsiteY228" fmla="*/ 460021 h 2641600"/>
                <a:gd name="connsiteX229" fmla="*/ 2128482 w 3302716"/>
                <a:gd name="connsiteY229" fmla="*/ 455970 h 2641600"/>
                <a:gd name="connsiteX230" fmla="*/ 2137093 w 3302716"/>
                <a:gd name="connsiteY230" fmla="*/ 451919 h 2641600"/>
                <a:gd name="connsiteX231" fmla="*/ 2142475 w 3302716"/>
                <a:gd name="connsiteY231" fmla="*/ 447868 h 2641600"/>
                <a:gd name="connsiteX232" fmla="*/ 2148934 w 3302716"/>
                <a:gd name="connsiteY232" fmla="*/ 447868 h 2641600"/>
                <a:gd name="connsiteX233" fmla="*/ 2159698 w 3302716"/>
                <a:gd name="connsiteY233" fmla="*/ 452932 h 2641600"/>
                <a:gd name="connsiteX234" fmla="*/ 2172615 w 3302716"/>
                <a:gd name="connsiteY234" fmla="*/ 461034 h 2641600"/>
                <a:gd name="connsiteX235" fmla="*/ 2177997 w 3302716"/>
                <a:gd name="connsiteY235" fmla="*/ 467111 h 2641600"/>
                <a:gd name="connsiteX236" fmla="*/ 2182303 w 3302716"/>
                <a:gd name="connsiteY236" fmla="*/ 473187 h 2641600"/>
                <a:gd name="connsiteX237" fmla="*/ 2185532 w 3302716"/>
                <a:gd name="connsiteY237" fmla="*/ 478251 h 2641600"/>
                <a:gd name="connsiteX238" fmla="*/ 2190914 w 3302716"/>
                <a:gd name="connsiteY238" fmla="*/ 484328 h 2641600"/>
                <a:gd name="connsiteX239" fmla="*/ 2198449 w 3302716"/>
                <a:gd name="connsiteY239" fmla="*/ 489392 h 2641600"/>
                <a:gd name="connsiteX240" fmla="*/ 2204908 w 3302716"/>
                <a:gd name="connsiteY240" fmla="*/ 490405 h 2641600"/>
                <a:gd name="connsiteX241" fmla="*/ 2209213 w 3302716"/>
                <a:gd name="connsiteY241" fmla="*/ 485341 h 2641600"/>
                <a:gd name="connsiteX242" fmla="*/ 2215672 w 3302716"/>
                <a:gd name="connsiteY242" fmla="*/ 478251 h 2641600"/>
                <a:gd name="connsiteX243" fmla="*/ 2225360 w 3302716"/>
                <a:gd name="connsiteY243" fmla="*/ 475213 h 2641600"/>
                <a:gd name="connsiteX244" fmla="*/ 2236124 w 3302716"/>
                <a:gd name="connsiteY244" fmla="*/ 475213 h 2641600"/>
                <a:gd name="connsiteX245" fmla="*/ 2243659 w 3302716"/>
                <a:gd name="connsiteY245" fmla="*/ 478251 h 2641600"/>
                <a:gd name="connsiteX246" fmla="*/ 2246888 w 3302716"/>
                <a:gd name="connsiteY246" fmla="*/ 483315 h 2641600"/>
                <a:gd name="connsiteX247" fmla="*/ 2249041 w 3302716"/>
                <a:gd name="connsiteY247" fmla="*/ 485341 h 2641600"/>
                <a:gd name="connsiteX248" fmla="*/ 2252270 w 3302716"/>
                <a:gd name="connsiteY248" fmla="*/ 488379 h 2641600"/>
                <a:gd name="connsiteX249" fmla="*/ 2263034 w 3302716"/>
                <a:gd name="connsiteY249" fmla="*/ 490405 h 2641600"/>
                <a:gd name="connsiteX250" fmla="*/ 2270569 w 3302716"/>
                <a:gd name="connsiteY250" fmla="*/ 491418 h 2641600"/>
                <a:gd name="connsiteX251" fmla="*/ 2279180 w 3302716"/>
                <a:gd name="connsiteY251" fmla="*/ 491418 h 2641600"/>
                <a:gd name="connsiteX252" fmla="*/ 2287792 w 3302716"/>
                <a:gd name="connsiteY252" fmla="*/ 492430 h 2641600"/>
                <a:gd name="connsiteX253" fmla="*/ 2295327 w 3302716"/>
                <a:gd name="connsiteY253" fmla="*/ 492430 h 2641600"/>
                <a:gd name="connsiteX254" fmla="*/ 2302862 w 3302716"/>
                <a:gd name="connsiteY254" fmla="*/ 492430 h 2641600"/>
                <a:gd name="connsiteX255" fmla="*/ 2306091 w 3302716"/>
                <a:gd name="connsiteY255" fmla="*/ 493443 h 2641600"/>
                <a:gd name="connsiteX256" fmla="*/ 2308244 w 3302716"/>
                <a:gd name="connsiteY256" fmla="*/ 496481 h 2641600"/>
                <a:gd name="connsiteX257" fmla="*/ 2306091 w 3302716"/>
                <a:gd name="connsiteY257" fmla="*/ 498507 h 2641600"/>
                <a:gd name="connsiteX258" fmla="*/ 2303938 w 3302716"/>
                <a:gd name="connsiteY258" fmla="*/ 501545 h 2641600"/>
                <a:gd name="connsiteX259" fmla="*/ 2307167 w 3302716"/>
                <a:gd name="connsiteY259" fmla="*/ 501545 h 2641600"/>
                <a:gd name="connsiteX260" fmla="*/ 2314702 w 3302716"/>
                <a:gd name="connsiteY260" fmla="*/ 501545 h 2641600"/>
                <a:gd name="connsiteX261" fmla="*/ 2321161 w 3302716"/>
                <a:gd name="connsiteY261" fmla="*/ 503571 h 2641600"/>
                <a:gd name="connsiteX262" fmla="*/ 2325466 w 3302716"/>
                <a:gd name="connsiteY262" fmla="*/ 507622 h 2641600"/>
                <a:gd name="connsiteX263" fmla="*/ 2331925 w 3302716"/>
                <a:gd name="connsiteY263" fmla="*/ 512686 h 2641600"/>
                <a:gd name="connsiteX264" fmla="*/ 2336230 w 3302716"/>
                <a:gd name="connsiteY264" fmla="*/ 515724 h 2641600"/>
                <a:gd name="connsiteX265" fmla="*/ 2338383 w 3302716"/>
                <a:gd name="connsiteY265" fmla="*/ 516737 h 2641600"/>
                <a:gd name="connsiteX266" fmla="*/ 2337307 w 3302716"/>
                <a:gd name="connsiteY266" fmla="*/ 516737 h 2641600"/>
                <a:gd name="connsiteX267" fmla="*/ 2331925 w 3302716"/>
                <a:gd name="connsiteY267" fmla="*/ 518763 h 2641600"/>
                <a:gd name="connsiteX268" fmla="*/ 2328696 w 3302716"/>
                <a:gd name="connsiteY268" fmla="*/ 520788 h 2641600"/>
                <a:gd name="connsiteX269" fmla="*/ 2325466 w 3302716"/>
                <a:gd name="connsiteY269" fmla="*/ 522814 h 2641600"/>
                <a:gd name="connsiteX270" fmla="*/ 2329772 w 3302716"/>
                <a:gd name="connsiteY270" fmla="*/ 526865 h 2641600"/>
                <a:gd name="connsiteX271" fmla="*/ 2339460 w 3302716"/>
                <a:gd name="connsiteY271" fmla="*/ 529903 h 2641600"/>
                <a:gd name="connsiteX272" fmla="*/ 2349147 w 3302716"/>
                <a:gd name="connsiteY272" fmla="*/ 531929 h 2641600"/>
                <a:gd name="connsiteX273" fmla="*/ 2349147 w 3302716"/>
                <a:gd name="connsiteY273" fmla="*/ 534967 h 2641600"/>
                <a:gd name="connsiteX274" fmla="*/ 2344842 w 3302716"/>
                <a:gd name="connsiteY274" fmla="*/ 536993 h 2641600"/>
                <a:gd name="connsiteX275" fmla="*/ 2340536 w 3302716"/>
                <a:gd name="connsiteY275" fmla="*/ 538006 h 2641600"/>
                <a:gd name="connsiteX276" fmla="*/ 2338383 w 3302716"/>
                <a:gd name="connsiteY276" fmla="*/ 540031 h 2641600"/>
                <a:gd name="connsiteX277" fmla="*/ 2338383 w 3302716"/>
                <a:gd name="connsiteY277" fmla="*/ 545095 h 2641600"/>
                <a:gd name="connsiteX278" fmla="*/ 2337307 w 3302716"/>
                <a:gd name="connsiteY278" fmla="*/ 548133 h 2641600"/>
                <a:gd name="connsiteX279" fmla="*/ 2336230 w 3302716"/>
                <a:gd name="connsiteY279" fmla="*/ 553197 h 2641600"/>
                <a:gd name="connsiteX280" fmla="*/ 2336230 w 3302716"/>
                <a:gd name="connsiteY280" fmla="*/ 557249 h 2641600"/>
                <a:gd name="connsiteX281" fmla="*/ 2340536 w 3302716"/>
                <a:gd name="connsiteY281" fmla="*/ 562312 h 2641600"/>
                <a:gd name="connsiteX282" fmla="*/ 2349147 w 3302716"/>
                <a:gd name="connsiteY282" fmla="*/ 565351 h 2641600"/>
                <a:gd name="connsiteX283" fmla="*/ 2359912 w 3302716"/>
                <a:gd name="connsiteY283" fmla="*/ 563325 h 2641600"/>
                <a:gd name="connsiteX284" fmla="*/ 2366370 w 3302716"/>
                <a:gd name="connsiteY284" fmla="*/ 563325 h 2641600"/>
                <a:gd name="connsiteX285" fmla="*/ 2373905 w 3302716"/>
                <a:gd name="connsiteY285" fmla="*/ 566364 h 2641600"/>
                <a:gd name="connsiteX286" fmla="*/ 2382516 w 3302716"/>
                <a:gd name="connsiteY286" fmla="*/ 573453 h 2641600"/>
                <a:gd name="connsiteX287" fmla="*/ 2391128 w 3302716"/>
                <a:gd name="connsiteY287" fmla="*/ 580543 h 2641600"/>
                <a:gd name="connsiteX288" fmla="*/ 2398663 w 3302716"/>
                <a:gd name="connsiteY288" fmla="*/ 582568 h 2641600"/>
                <a:gd name="connsiteX289" fmla="*/ 2400816 w 3302716"/>
                <a:gd name="connsiteY289" fmla="*/ 580543 h 2641600"/>
                <a:gd name="connsiteX290" fmla="*/ 2397586 w 3302716"/>
                <a:gd name="connsiteY290" fmla="*/ 574466 h 2641600"/>
                <a:gd name="connsiteX291" fmla="*/ 2394357 w 3302716"/>
                <a:gd name="connsiteY291" fmla="*/ 569402 h 2641600"/>
                <a:gd name="connsiteX292" fmla="*/ 2394357 w 3302716"/>
                <a:gd name="connsiteY292" fmla="*/ 567376 h 2641600"/>
                <a:gd name="connsiteX293" fmla="*/ 2400816 w 3302716"/>
                <a:gd name="connsiteY293" fmla="*/ 569402 h 2641600"/>
                <a:gd name="connsiteX294" fmla="*/ 2406198 w 3302716"/>
                <a:gd name="connsiteY294" fmla="*/ 570415 h 2641600"/>
                <a:gd name="connsiteX295" fmla="*/ 2413733 w 3302716"/>
                <a:gd name="connsiteY295" fmla="*/ 572440 h 2641600"/>
                <a:gd name="connsiteX296" fmla="*/ 2422344 w 3302716"/>
                <a:gd name="connsiteY296" fmla="*/ 573453 h 2641600"/>
                <a:gd name="connsiteX297" fmla="*/ 2429879 w 3302716"/>
                <a:gd name="connsiteY297" fmla="*/ 573453 h 2641600"/>
                <a:gd name="connsiteX298" fmla="*/ 2436337 w 3302716"/>
                <a:gd name="connsiteY298" fmla="*/ 574466 h 2641600"/>
                <a:gd name="connsiteX299" fmla="*/ 2441719 w 3302716"/>
                <a:gd name="connsiteY299" fmla="*/ 575479 h 2641600"/>
                <a:gd name="connsiteX300" fmla="*/ 2444949 w 3302716"/>
                <a:gd name="connsiteY300" fmla="*/ 576491 h 2641600"/>
                <a:gd name="connsiteX301" fmla="*/ 2446025 w 3302716"/>
                <a:gd name="connsiteY301" fmla="*/ 578517 h 2641600"/>
                <a:gd name="connsiteX302" fmla="*/ 2444949 w 3302716"/>
                <a:gd name="connsiteY302" fmla="*/ 582568 h 2641600"/>
                <a:gd name="connsiteX303" fmla="*/ 2446025 w 3302716"/>
                <a:gd name="connsiteY303" fmla="*/ 584594 h 2641600"/>
                <a:gd name="connsiteX304" fmla="*/ 2448178 w 3302716"/>
                <a:gd name="connsiteY304" fmla="*/ 585607 h 2641600"/>
                <a:gd name="connsiteX305" fmla="*/ 2452484 w 3302716"/>
                <a:gd name="connsiteY305" fmla="*/ 585607 h 2641600"/>
                <a:gd name="connsiteX306" fmla="*/ 2456789 w 3302716"/>
                <a:gd name="connsiteY306" fmla="*/ 585607 h 2641600"/>
                <a:gd name="connsiteX307" fmla="*/ 2462171 w 3302716"/>
                <a:gd name="connsiteY307" fmla="*/ 583581 h 2641600"/>
                <a:gd name="connsiteX308" fmla="*/ 2468630 w 3302716"/>
                <a:gd name="connsiteY308" fmla="*/ 582568 h 2641600"/>
                <a:gd name="connsiteX309" fmla="*/ 2477241 w 3302716"/>
                <a:gd name="connsiteY309" fmla="*/ 582568 h 2641600"/>
                <a:gd name="connsiteX310" fmla="*/ 2488005 w 3302716"/>
                <a:gd name="connsiteY310" fmla="*/ 583581 h 2641600"/>
                <a:gd name="connsiteX311" fmla="*/ 2499846 w 3302716"/>
                <a:gd name="connsiteY311" fmla="*/ 584594 h 2641600"/>
                <a:gd name="connsiteX312" fmla="*/ 2508457 w 3302716"/>
                <a:gd name="connsiteY312" fmla="*/ 588645 h 2641600"/>
                <a:gd name="connsiteX313" fmla="*/ 2510610 w 3302716"/>
                <a:gd name="connsiteY313" fmla="*/ 593709 h 2641600"/>
                <a:gd name="connsiteX314" fmla="*/ 2507381 w 3302716"/>
                <a:gd name="connsiteY314" fmla="*/ 599786 h 2641600"/>
                <a:gd name="connsiteX315" fmla="*/ 2499846 w 3302716"/>
                <a:gd name="connsiteY315" fmla="*/ 603837 h 2641600"/>
                <a:gd name="connsiteX316" fmla="*/ 2494464 w 3302716"/>
                <a:gd name="connsiteY316" fmla="*/ 606875 h 2641600"/>
                <a:gd name="connsiteX317" fmla="*/ 2494464 w 3302716"/>
                <a:gd name="connsiteY317" fmla="*/ 610926 h 2641600"/>
                <a:gd name="connsiteX318" fmla="*/ 2499846 w 3302716"/>
                <a:gd name="connsiteY318" fmla="*/ 613964 h 2641600"/>
                <a:gd name="connsiteX319" fmla="*/ 2504152 w 3302716"/>
                <a:gd name="connsiteY319" fmla="*/ 617003 h 2641600"/>
                <a:gd name="connsiteX320" fmla="*/ 2509534 w 3302716"/>
                <a:gd name="connsiteY320" fmla="*/ 622067 h 2641600"/>
                <a:gd name="connsiteX321" fmla="*/ 2510610 w 3302716"/>
                <a:gd name="connsiteY321" fmla="*/ 627131 h 2641600"/>
                <a:gd name="connsiteX322" fmla="*/ 2510610 w 3302716"/>
                <a:gd name="connsiteY322" fmla="*/ 631182 h 2641600"/>
                <a:gd name="connsiteX323" fmla="*/ 2508457 w 3302716"/>
                <a:gd name="connsiteY323" fmla="*/ 635233 h 2641600"/>
                <a:gd name="connsiteX324" fmla="*/ 2504152 w 3302716"/>
                <a:gd name="connsiteY324" fmla="*/ 638271 h 2641600"/>
                <a:gd name="connsiteX325" fmla="*/ 2499846 w 3302716"/>
                <a:gd name="connsiteY325" fmla="*/ 640297 h 2641600"/>
                <a:gd name="connsiteX326" fmla="*/ 2495540 w 3302716"/>
                <a:gd name="connsiteY326" fmla="*/ 643335 h 2641600"/>
                <a:gd name="connsiteX327" fmla="*/ 2495540 w 3302716"/>
                <a:gd name="connsiteY327" fmla="*/ 645361 h 2641600"/>
                <a:gd name="connsiteX328" fmla="*/ 2497693 w 3302716"/>
                <a:gd name="connsiteY328" fmla="*/ 650425 h 2641600"/>
                <a:gd name="connsiteX329" fmla="*/ 2504152 w 3302716"/>
                <a:gd name="connsiteY329" fmla="*/ 654476 h 2641600"/>
                <a:gd name="connsiteX330" fmla="*/ 2510610 w 3302716"/>
                <a:gd name="connsiteY330" fmla="*/ 659540 h 2641600"/>
                <a:gd name="connsiteX331" fmla="*/ 2513839 w 3302716"/>
                <a:gd name="connsiteY331" fmla="*/ 665617 h 2641600"/>
                <a:gd name="connsiteX332" fmla="*/ 2513839 w 3302716"/>
                <a:gd name="connsiteY332" fmla="*/ 670680 h 2641600"/>
                <a:gd name="connsiteX333" fmla="*/ 2510610 w 3302716"/>
                <a:gd name="connsiteY333" fmla="*/ 675744 h 2641600"/>
                <a:gd name="connsiteX334" fmla="*/ 2505228 w 3302716"/>
                <a:gd name="connsiteY334" fmla="*/ 679796 h 2641600"/>
                <a:gd name="connsiteX335" fmla="*/ 2501999 w 3302716"/>
                <a:gd name="connsiteY335" fmla="*/ 680808 h 2641600"/>
                <a:gd name="connsiteX336" fmla="*/ 2499846 w 3302716"/>
                <a:gd name="connsiteY336" fmla="*/ 680808 h 2641600"/>
                <a:gd name="connsiteX337" fmla="*/ 2493387 w 3302716"/>
                <a:gd name="connsiteY337" fmla="*/ 676757 h 2641600"/>
                <a:gd name="connsiteX338" fmla="*/ 2484776 w 3302716"/>
                <a:gd name="connsiteY338" fmla="*/ 673719 h 2641600"/>
                <a:gd name="connsiteX339" fmla="*/ 2477241 w 3302716"/>
                <a:gd name="connsiteY339" fmla="*/ 669668 h 2641600"/>
                <a:gd name="connsiteX340" fmla="*/ 2470783 w 3302716"/>
                <a:gd name="connsiteY340" fmla="*/ 666629 h 2641600"/>
                <a:gd name="connsiteX341" fmla="*/ 2464324 w 3302716"/>
                <a:gd name="connsiteY341" fmla="*/ 662578 h 2641600"/>
                <a:gd name="connsiteX342" fmla="*/ 2461095 w 3302716"/>
                <a:gd name="connsiteY342" fmla="*/ 660553 h 2641600"/>
                <a:gd name="connsiteX343" fmla="*/ 2455713 w 3302716"/>
                <a:gd name="connsiteY343" fmla="*/ 659540 h 2641600"/>
                <a:gd name="connsiteX344" fmla="*/ 2451407 w 3302716"/>
                <a:gd name="connsiteY344" fmla="*/ 657514 h 2641600"/>
                <a:gd name="connsiteX345" fmla="*/ 2443872 w 3302716"/>
                <a:gd name="connsiteY345" fmla="*/ 654476 h 2641600"/>
                <a:gd name="connsiteX346" fmla="*/ 2434184 w 3302716"/>
                <a:gd name="connsiteY346" fmla="*/ 651438 h 2641600"/>
                <a:gd name="connsiteX347" fmla="*/ 2425573 w 3302716"/>
                <a:gd name="connsiteY347" fmla="*/ 650425 h 2641600"/>
                <a:gd name="connsiteX348" fmla="*/ 2418038 w 3302716"/>
                <a:gd name="connsiteY348" fmla="*/ 651438 h 2641600"/>
                <a:gd name="connsiteX349" fmla="*/ 2413733 w 3302716"/>
                <a:gd name="connsiteY349" fmla="*/ 655489 h 2641600"/>
                <a:gd name="connsiteX350" fmla="*/ 2413733 w 3302716"/>
                <a:gd name="connsiteY350" fmla="*/ 661565 h 2641600"/>
                <a:gd name="connsiteX351" fmla="*/ 2415885 w 3302716"/>
                <a:gd name="connsiteY351" fmla="*/ 667642 h 2641600"/>
                <a:gd name="connsiteX352" fmla="*/ 2421267 w 3302716"/>
                <a:gd name="connsiteY352" fmla="*/ 674732 h 2641600"/>
                <a:gd name="connsiteX353" fmla="*/ 2428802 w 3302716"/>
                <a:gd name="connsiteY353" fmla="*/ 682834 h 2641600"/>
                <a:gd name="connsiteX354" fmla="*/ 2434184 w 3302716"/>
                <a:gd name="connsiteY354" fmla="*/ 685872 h 2641600"/>
                <a:gd name="connsiteX355" fmla="*/ 2437414 w 3302716"/>
                <a:gd name="connsiteY355" fmla="*/ 690936 h 2641600"/>
                <a:gd name="connsiteX356" fmla="*/ 2443872 w 3302716"/>
                <a:gd name="connsiteY356" fmla="*/ 693974 h 2641600"/>
                <a:gd name="connsiteX357" fmla="*/ 2448178 w 3302716"/>
                <a:gd name="connsiteY357" fmla="*/ 697013 h 2641600"/>
                <a:gd name="connsiteX358" fmla="*/ 2454636 w 3302716"/>
                <a:gd name="connsiteY358" fmla="*/ 700051 h 2641600"/>
                <a:gd name="connsiteX359" fmla="*/ 2461095 w 3302716"/>
                <a:gd name="connsiteY359" fmla="*/ 703090 h 2641600"/>
                <a:gd name="connsiteX360" fmla="*/ 2467553 w 3302716"/>
                <a:gd name="connsiteY360" fmla="*/ 704102 h 2641600"/>
                <a:gd name="connsiteX361" fmla="*/ 2472935 w 3302716"/>
                <a:gd name="connsiteY361" fmla="*/ 705115 h 2641600"/>
                <a:gd name="connsiteX362" fmla="*/ 2484776 w 3302716"/>
                <a:gd name="connsiteY362" fmla="*/ 707141 h 2641600"/>
                <a:gd name="connsiteX363" fmla="*/ 2493387 w 3302716"/>
                <a:gd name="connsiteY363" fmla="*/ 709166 h 2641600"/>
                <a:gd name="connsiteX364" fmla="*/ 2499846 w 3302716"/>
                <a:gd name="connsiteY364" fmla="*/ 713217 h 2641600"/>
                <a:gd name="connsiteX365" fmla="*/ 2504152 w 3302716"/>
                <a:gd name="connsiteY365" fmla="*/ 718281 h 2641600"/>
                <a:gd name="connsiteX366" fmla="*/ 2511686 w 3302716"/>
                <a:gd name="connsiteY366" fmla="*/ 721320 h 2641600"/>
                <a:gd name="connsiteX367" fmla="*/ 2520298 w 3302716"/>
                <a:gd name="connsiteY367" fmla="*/ 723345 h 2641600"/>
                <a:gd name="connsiteX368" fmla="*/ 2528909 w 3302716"/>
                <a:gd name="connsiteY368" fmla="*/ 726384 h 2641600"/>
                <a:gd name="connsiteX369" fmla="*/ 2534291 w 3302716"/>
                <a:gd name="connsiteY369" fmla="*/ 733473 h 2641600"/>
                <a:gd name="connsiteX370" fmla="*/ 2535368 w 3302716"/>
                <a:gd name="connsiteY370" fmla="*/ 739550 h 2641600"/>
                <a:gd name="connsiteX371" fmla="*/ 2534291 w 3302716"/>
                <a:gd name="connsiteY371" fmla="*/ 743601 h 2641600"/>
                <a:gd name="connsiteX372" fmla="*/ 2534291 w 3302716"/>
                <a:gd name="connsiteY372" fmla="*/ 747652 h 2641600"/>
                <a:gd name="connsiteX373" fmla="*/ 2537520 w 3302716"/>
                <a:gd name="connsiteY373" fmla="*/ 756767 h 2641600"/>
                <a:gd name="connsiteX374" fmla="*/ 2542903 w 3302716"/>
                <a:gd name="connsiteY374" fmla="*/ 764869 h 2641600"/>
                <a:gd name="connsiteX375" fmla="*/ 2545055 w 3302716"/>
                <a:gd name="connsiteY375" fmla="*/ 769933 h 2641600"/>
                <a:gd name="connsiteX376" fmla="*/ 2546132 w 3302716"/>
                <a:gd name="connsiteY376" fmla="*/ 774997 h 2641600"/>
                <a:gd name="connsiteX377" fmla="*/ 2550438 w 3302716"/>
                <a:gd name="connsiteY377" fmla="*/ 778036 h 2641600"/>
                <a:gd name="connsiteX378" fmla="*/ 2554743 w 3302716"/>
                <a:gd name="connsiteY378" fmla="*/ 783100 h 2641600"/>
                <a:gd name="connsiteX379" fmla="*/ 2559049 w 3302716"/>
                <a:gd name="connsiteY379" fmla="*/ 787151 h 2641600"/>
                <a:gd name="connsiteX380" fmla="*/ 2557973 w 3302716"/>
                <a:gd name="connsiteY380" fmla="*/ 790189 h 2641600"/>
                <a:gd name="connsiteX381" fmla="*/ 2551514 w 3302716"/>
                <a:gd name="connsiteY381" fmla="*/ 789176 h 2641600"/>
                <a:gd name="connsiteX382" fmla="*/ 2546132 w 3302716"/>
                <a:gd name="connsiteY382" fmla="*/ 785125 h 2641600"/>
                <a:gd name="connsiteX383" fmla="*/ 2542903 w 3302716"/>
                <a:gd name="connsiteY383" fmla="*/ 782087 h 2641600"/>
                <a:gd name="connsiteX384" fmla="*/ 2536444 w 3302716"/>
                <a:gd name="connsiteY384" fmla="*/ 778036 h 2641600"/>
                <a:gd name="connsiteX385" fmla="*/ 2525680 w 3302716"/>
                <a:gd name="connsiteY385" fmla="*/ 778036 h 2641600"/>
                <a:gd name="connsiteX386" fmla="*/ 2512763 w 3302716"/>
                <a:gd name="connsiteY386" fmla="*/ 781074 h 2641600"/>
                <a:gd name="connsiteX387" fmla="*/ 2504152 w 3302716"/>
                <a:gd name="connsiteY387" fmla="*/ 782087 h 2641600"/>
                <a:gd name="connsiteX388" fmla="*/ 2497693 w 3302716"/>
                <a:gd name="connsiteY388" fmla="*/ 782087 h 2641600"/>
                <a:gd name="connsiteX389" fmla="*/ 2491235 w 3302716"/>
                <a:gd name="connsiteY389" fmla="*/ 778036 h 2641600"/>
                <a:gd name="connsiteX390" fmla="*/ 2485852 w 3302716"/>
                <a:gd name="connsiteY390" fmla="*/ 776010 h 2641600"/>
                <a:gd name="connsiteX391" fmla="*/ 2480470 w 3302716"/>
                <a:gd name="connsiteY391" fmla="*/ 774997 h 2641600"/>
                <a:gd name="connsiteX392" fmla="*/ 2475088 w 3302716"/>
                <a:gd name="connsiteY392" fmla="*/ 772972 h 2641600"/>
                <a:gd name="connsiteX393" fmla="*/ 2468630 w 3302716"/>
                <a:gd name="connsiteY393" fmla="*/ 771959 h 2641600"/>
                <a:gd name="connsiteX394" fmla="*/ 2462171 w 3302716"/>
                <a:gd name="connsiteY394" fmla="*/ 769933 h 2641600"/>
                <a:gd name="connsiteX395" fmla="*/ 2456789 w 3302716"/>
                <a:gd name="connsiteY395" fmla="*/ 769933 h 2641600"/>
                <a:gd name="connsiteX396" fmla="*/ 2452484 w 3302716"/>
                <a:gd name="connsiteY396" fmla="*/ 769933 h 2641600"/>
                <a:gd name="connsiteX397" fmla="*/ 2448178 w 3302716"/>
                <a:gd name="connsiteY397" fmla="*/ 769933 h 2641600"/>
                <a:gd name="connsiteX398" fmla="*/ 2446025 w 3302716"/>
                <a:gd name="connsiteY398" fmla="*/ 772972 h 2641600"/>
                <a:gd name="connsiteX399" fmla="*/ 2450331 w 3302716"/>
                <a:gd name="connsiteY399" fmla="*/ 776010 h 2641600"/>
                <a:gd name="connsiteX400" fmla="*/ 2458942 w 3302716"/>
                <a:gd name="connsiteY400" fmla="*/ 780061 h 2641600"/>
                <a:gd name="connsiteX401" fmla="*/ 2472935 w 3302716"/>
                <a:gd name="connsiteY401" fmla="*/ 785125 h 2641600"/>
                <a:gd name="connsiteX402" fmla="*/ 2482623 w 3302716"/>
                <a:gd name="connsiteY402" fmla="*/ 788163 h 2641600"/>
                <a:gd name="connsiteX403" fmla="*/ 2488005 w 3302716"/>
                <a:gd name="connsiteY403" fmla="*/ 790189 h 2641600"/>
                <a:gd name="connsiteX404" fmla="*/ 2494464 w 3302716"/>
                <a:gd name="connsiteY404" fmla="*/ 791202 h 2641600"/>
                <a:gd name="connsiteX405" fmla="*/ 2497693 w 3302716"/>
                <a:gd name="connsiteY405" fmla="*/ 791202 h 2641600"/>
                <a:gd name="connsiteX406" fmla="*/ 2501999 w 3302716"/>
                <a:gd name="connsiteY406" fmla="*/ 792215 h 2641600"/>
                <a:gd name="connsiteX407" fmla="*/ 2505228 w 3302716"/>
                <a:gd name="connsiteY407" fmla="*/ 793227 h 2641600"/>
                <a:gd name="connsiteX408" fmla="*/ 2508457 w 3302716"/>
                <a:gd name="connsiteY408" fmla="*/ 795253 h 2641600"/>
                <a:gd name="connsiteX409" fmla="*/ 2510610 w 3302716"/>
                <a:gd name="connsiteY409" fmla="*/ 797279 h 2641600"/>
                <a:gd name="connsiteX410" fmla="*/ 2517069 w 3302716"/>
                <a:gd name="connsiteY410" fmla="*/ 800317 h 2641600"/>
                <a:gd name="connsiteX411" fmla="*/ 2525680 w 3302716"/>
                <a:gd name="connsiteY411" fmla="*/ 804368 h 2641600"/>
                <a:gd name="connsiteX412" fmla="*/ 2534291 w 3302716"/>
                <a:gd name="connsiteY412" fmla="*/ 807406 h 2641600"/>
                <a:gd name="connsiteX413" fmla="*/ 2540750 w 3302716"/>
                <a:gd name="connsiteY413" fmla="*/ 812470 h 2641600"/>
                <a:gd name="connsiteX414" fmla="*/ 2541826 w 3302716"/>
                <a:gd name="connsiteY414" fmla="*/ 813483 h 2641600"/>
                <a:gd name="connsiteX415" fmla="*/ 2543979 w 3302716"/>
                <a:gd name="connsiteY415" fmla="*/ 816521 h 2641600"/>
                <a:gd name="connsiteX416" fmla="*/ 2542903 w 3302716"/>
                <a:gd name="connsiteY416" fmla="*/ 820573 h 2641600"/>
                <a:gd name="connsiteX417" fmla="*/ 2534291 w 3302716"/>
                <a:gd name="connsiteY417" fmla="*/ 821585 h 2641600"/>
                <a:gd name="connsiteX418" fmla="*/ 2527833 w 3302716"/>
                <a:gd name="connsiteY418" fmla="*/ 821585 h 2641600"/>
                <a:gd name="connsiteX419" fmla="*/ 2523527 w 3302716"/>
                <a:gd name="connsiteY419" fmla="*/ 820573 h 2641600"/>
                <a:gd name="connsiteX420" fmla="*/ 2518145 w 3302716"/>
                <a:gd name="connsiteY420" fmla="*/ 820573 h 2641600"/>
                <a:gd name="connsiteX421" fmla="*/ 2513839 w 3302716"/>
                <a:gd name="connsiteY421" fmla="*/ 821585 h 2641600"/>
                <a:gd name="connsiteX422" fmla="*/ 2509534 w 3302716"/>
                <a:gd name="connsiteY422" fmla="*/ 821585 h 2641600"/>
                <a:gd name="connsiteX423" fmla="*/ 2505228 w 3302716"/>
                <a:gd name="connsiteY423" fmla="*/ 822598 h 2641600"/>
                <a:gd name="connsiteX424" fmla="*/ 2499846 w 3302716"/>
                <a:gd name="connsiteY424" fmla="*/ 823611 h 2641600"/>
                <a:gd name="connsiteX425" fmla="*/ 2493387 w 3302716"/>
                <a:gd name="connsiteY425" fmla="*/ 825637 h 2641600"/>
                <a:gd name="connsiteX426" fmla="*/ 2485852 w 3302716"/>
                <a:gd name="connsiteY426" fmla="*/ 826649 h 2641600"/>
                <a:gd name="connsiteX427" fmla="*/ 2479394 w 3302716"/>
                <a:gd name="connsiteY427" fmla="*/ 827662 h 2641600"/>
                <a:gd name="connsiteX428" fmla="*/ 2475088 w 3302716"/>
                <a:gd name="connsiteY428" fmla="*/ 828675 h 2641600"/>
                <a:gd name="connsiteX429" fmla="*/ 2469706 w 3302716"/>
                <a:gd name="connsiteY429" fmla="*/ 828675 h 2641600"/>
                <a:gd name="connsiteX430" fmla="*/ 2464324 w 3302716"/>
                <a:gd name="connsiteY430" fmla="*/ 828675 h 2641600"/>
                <a:gd name="connsiteX431" fmla="*/ 2460018 w 3302716"/>
                <a:gd name="connsiteY431" fmla="*/ 827662 h 2641600"/>
                <a:gd name="connsiteX432" fmla="*/ 2454636 w 3302716"/>
                <a:gd name="connsiteY432" fmla="*/ 827662 h 2641600"/>
                <a:gd name="connsiteX433" fmla="*/ 2448178 w 3302716"/>
                <a:gd name="connsiteY433" fmla="*/ 826649 h 2641600"/>
                <a:gd name="connsiteX434" fmla="*/ 2443872 w 3302716"/>
                <a:gd name="connsiteY434" fmla="*/ 826649 h 2641600"/>
                <a:gd name="connsiteX435" fmla="*/ 2438490 w 3302716"/>
                <a:gd name="connsiteY435" fmla="*/ 826649 h 2641600"/>
                <a:gd name="connsiteX436" fmla="*/ 2434184 w 3302716"/>
                <a:gd name="connsiteY436" fmla="*/ 827662 h 2641600"/>
                <a:gd name="connsiteX437" fmla="*/ 2428802 w 3302716"/>
                <a:gd name="connsiteY437" fmla="*/ 828675 h 2641600"/>
                <a:gd name="connsiteX438" fmla="*/ 2423420 w 3302716"/>
                <a:gd name="connsiteY438" fmla="*/ 828675 h 2641600"/>
                <a:gd name="connsiteX439" fmla="*/ 2420191 w 3302716"/>
                <a:gd name="connsiteY439" fmla="*/ 828675 h 2641600"/>
                <a:gd name="connsiteX440" fmla="*/ 2414809 w 3302716"/>
                <a:gd name="connsiteY440" fmla="*/ 827662 h 2641600"/>
                <a:gd name="connsiteX441" fmla="*/ 2411580 w 3302716"/>
                <a:gd name="connsiteY441" fmla="*/ 825637 h 2641600"/>
                <a:gd name="connsiteX442" fmla="*/ 2406198 w 3302716"/>
                <a:gd name="connsiteY442" fmla="*/ 819560 h 2641600"/>
                <a:gd name="connsiteX443" fmla="*/ 2405121 w 3302716"/>
                <a:gd name="connsiteY443" fmla="*/ 813483 h 2641600"/>
                <a:gd name="connsiteX444" fmla="*/ 2400816 w 3302716"/>
                <a:gd name="connsiteY444" fmla="*/ 808419 h 2641600"/>
                <a:gd name="connsiteX445" fmla="*/ 2387899 w 3302716"/>
                <a:gd name="connsiteY445" fmla="*/ 805381 h 2641600"/>
                <a:gd name="connsiteX446" fmla="*/ 2379287 w 3302716"/>
                <a:gd name="connsiteY446" fmla="*/ 804368 h 2641600"/>
                <a:gd name="connsiteX447" fmla="*/ 2371752 w 3302716"/>
                <a:gd name="connsiteY447" fmla="*/ 801330 h 2641600"/>
                <a:gd name="connsiteX448" fmla="*/ 2365294 w 3302716"/>
                <a:gd name="connsiteY448" fmla="*/ 799304 h 2641600"/>
                <a:gd name="connsiteX449" fmla="*/ 2360988 w 3302716"/>
                <a:gd name="connsiteY449" fmla="*/ 797279 h 2641600"/>
                <a:gd name="connsiteX450" fmla="*/ 2356682 w 3302716"/>
                <a:gd name="connsiteY450" fmla="*/ 795253 h 2641600"/>
                <a:gd name="connsiteX451" fmla="*/ 2353453 w 3302716"/>
                <a:gd name="connsiteY451" fmla="*/ 792215 h 2641600"/>
                <a:gd name="connsiteX452" fmla="*/ 2350224 w 3302716"/>
                <a:gd name="connsiteY452" fmla="*/ 791202 h 2641600"/>
                <a:gd name="connsiteX453" fmla="*/ 2346995 w 3302716"/>
                <a:gd name="connsiteY453" fmla="*/ 789176 h 2641600"/>
                <a:gd name="connsiteX454" fmla="*/ 2341613 w 3302716"/>
                <a:gd name="connsiteY454" fmla="*/ 785125 h 2641600"/>
                <a:gd name="connsiteX455" fmla="*/ 2337307 w 3302716"/>
                <a:gd name="connsiteY455" fmla="*/ 784112 h 2641600"/>
                <a:gd name="connsiteX456" fmla="*/ 2330848 w 3302716"/>
                <a:gd name="connsiteY456" fmla="*/ 785125 h 2641600"/>
                <a:gd name="connsiteX457" fmla="*/ 2321161 w 3302716"/>
                <a:gd name="connsiteY457" fmla="*/ 790189 h 2641600"/>
                <a:gd name="connsiteX458" fmla="*/ 2309320 w 3302716"/>
                <a:gd name="connsiteY458" fmla="*/ 795253 h 2641600"/>
                <a:gd name="connsiteX459" fmla="*/ 2300709 w 3302716"/>
                <a:gd name="connsiteY459" fmla="*/ 796266 h 2641600"/>
                <a:gd name="connsiteX460" fmla="*/ 2293174 w 3302716"/>
                <a:gd name="connsiteY460" fmla="*/ 798291 h 2641600"/>
                <a:gd name="connsiteX461" fmla="*/ 2287792 w 3302716"/>
                <a:gd name="connsiteY461" fmla="*/ 803355 h 2641600"/>
                <a:gd name="connsiteX462" fmla="*/ 2280257 w 3302716"/>
                <a:gd name="connsiteY462" fmla="*/ 810445 h 2641600"/>
                <a:gd name="connsiteX463" fmla="*/ 2272722 w 3302716"/>
                <a:gd name="connsiteY463" fmla="*/ 814496 h 2641600"/>
                <a:gd name="connsiteX464" fmla="*/ 2265187 w 3302716"/>
                <a:gd name="connsiteY464" fmla="*/ 814496 h 2641600"/>
                <a:gd name="connsiteX465" fmla="*/ 2257652 w 3302716"/>
                <a:gd name="connsiteY465" fmla="*/ 810445 h 2641600"/>
                <a:gd name="connsiteX466" fmla="*/ 2252270 w 3302716"/>
                <a:gd name="connsiteY466" fmla="*/ 806394 h 2641600"/>
                <a:gd name="connsiteX467" fmla="*/ 2247964 w 3302716"/>
                <a:gd name="connsiteY467" fmla="*/ 803355 h 2641600"/>
                <a:gd name="connsiteX468" fmla="*/ 2242582 w 3302716"/>
                <a:gd name="connsiteY468" fmla="*/ 799304 h 2641600"/>
                <a:gd name="connsiteX469" fmla="*/ 2239353 w 3302716"/>
                <a:gd name="connsiteY469" fmla="*/ 796266 h 2641600"/>
                <a:gd name="connsiteX470" fmla="*/ 2236124 w 3302716"/>
                <a:gd name="connsiteY470" fmla="*/ 791202 h 2641600"/>
                <a:gd name="connsiteX471" fmla="*/ 2236124 w 3302716"/>
                <a:gd name="connsiteY471" fmla="*/ 788163 h 2641600"/>
                <a:gd name="connsiteX472" fmla="*/ 2240429 w 3302716"/>
                <a:gd name="connsiteY472" fmla="*/ 783100 h 2641600"/>
                <a:gd name="connsiteX473" fmla="*/ 2249041 w 3302716"/>
                <a:gd name="connsiteY473" fmla="*/ 777023 h 2641600"/>
                <a:gd name="connsiteX474" fmla="*/ 2258728 w 3302716"/>
                <a:gd name="connsiteY474" fmla="*/ 772972 h 2641600"/>
                <a:gd name="connsiteX475" fmla="*/ 2265187 w 3302716"/>
                <a:gd name="connsiteY475" fmla="*/ 769933 h 2641600"/>
                <a:gd name="connsiteX476" fmla="*/ 2270569 w 3302716"/>
                <a:gd name="connsiteY476" fmla="*/ 769933 h 2641600"/>
                <a:gd name="connsiteX477" fmla="*/ 2273798 w 3302716"/>
                <a:gd name="connsiteY477" fmla="*/ 769933 h 2641600"/>
                <a:gd name="connsiteX478" fmla="*/ 2275951 w 3302716"/>
                <a:gd name="connsiteY478" fmla="*/ 769933 h 2641600"/>
                <a:gd name="connsiteX479" fmla="*/ 2279180 w 3302716"/>
                <a:gd name="connsiteY479" fmla="*/ 768921 h 2641600"/>
                <a:gd name="connsiteX480" fmla="*/ 2283486 w 3302716"/>
                <a:gd name="connsiteY480" fmla="*/ 766895 h 2641600"/>
                <a:gd name="connsiteX481" fmla="*/ 2288868 w 3302716"/>
                <a:gd name="connsiteY481" fmla="*/ 761831 h 2641600"/>
                <a:gd name="connsiteX482" fmla="*/ 2300709 w 3302716"/>
                <a:gd name="connsiteY482" fmla="*/ 752716 h 2641600"/>
                <a:gd name="connsiteX483" fmla="*/ 2311473 w 3302716"/>
                <a:gd name="connsiteY483" fmla="*/ 745627 h 2641600"/>
                <a:gd name="connsiteX484" fmla="*/ 2315779 w 3302716"/>
                <a:gd name="connsiteY484" fmla="*/ 739550 h 2641600"/>
                <a:gd name="connsiteX485" fmla="*/ 2312549 w 3302716"/>
                <a:gd name="connsiteY485" fmla="*/ 733473 h 2641600"/>
                <a:gd name="connsiteX486" fmla="*/ 2302862 w 3302716"/>
                <a:gd name="connsiteY486" fmla="*/ 727396 h 2641600"/>
                <a:gd name="connsiteX487" fmla="*/ 2292097 w 3302716"/>
                <a:gd name="connsiteY487" fmla="*/ 724358 h 2641600"/>
                <a:gd name="connsiteX488" fmla="*/ 2288868 w 3302716"/>
                <a:gd name="connsiteY488" fmla="*/ 719294 h 2641600"/>
                <a:gd name="connsiteX489" fmla="*/ 2293174 w 3302716"/>
                <a:gd name="connsiteY489" fmla="*/ 705115 h 2641600"/>
                <a:gd name="connsiteX490" fmla="*/ 2305014 w 3302716"/>
                <a:gd name="connsiteY490" fmla="*/ 689923 h 2641600"/>
                <a:gd name="connsiteX491" fmla="*/ 2313626 w 3302716"/>
                <a:gd name="connsiteY491" fmla="*/ 677770 h 2641600"/>
                <a:gd name="connsiteX492" fmla="*/ 2312549 w 3302716"/>
                <a:gd name="connsiteY492" fmla="*/ 666629 h 2641600"/>
                <a:gd name="connsiteX493" fmla="*/ 2299632 w 3302716"/>
                <a:gd name="connsiteY493" fmla="*/ 649412 h 2641600"/>
                <a:gd name="connsiteX494" fmla="*/ 2289945 w 3302716"/>
                <a:gd name="connsiteY494" fmla="*/ 639284 h 2641600"/>
                <a:gd name="connsiteX495" fmla="*/ 2280257 w 3302716"/>
                <a:gd name="connsiteY495" fmla="*/ 631182 h 2641600"/>
                <a:gd name="connsiteX496" fmla="*/ 2271645 w 3302716"/>
                <a:gd name="connsiteY496" fmla="*/ 624092 h 2641600"/>
                <a:gd name="connsiteX497" fmla="*/ 2264111 w 3302716"/>
                <a:gd name="connsiteY497" fmla="*/ 619028 h 2641600"/>
                <a:gd name="connsiteX498" fmla="*/ 2255499 w 3302716"/>
                <a:gd name="connsiteY498" fmla="*/ 613964 h 2641600"/>
                <a:gd name="connsiteX499" fmla="*/ 2247964 w 3302716"/>
                <a:gd name="connsiteY499" fmla="*/ 610926 h 2641600"/>
                <a:gd name="connsiteX500" fmla="*/ 2240429 w 3302716"/>
                <a:gd name="connsiteY500" fmla="*/ 606875 h 2641600"/>
                <a:gd name="connsiteX501" fmla="*/ 2231818 w 3302716"/>
                <a:gd name="connsiteY501" fmla="*/ 603837 h 2641600"/>
                <a:gd name="connsiteX502" fmla="*/ 2223207 w 3302716"/>
                <a:gd name="connsiteY502" fmla="*/ 599786 h 2641600"/>
                <a:gd name="connsiteX503" fmla="*/ 2214595 w 3302716"/>
                <a:gd name="connsiteY503" fmla="*/ 596747 h 2641600"/>
                <a:gd name="connsiteX504" fmla="*/ 2205984 w 3302716"/>
                <a:gd name="connsiteY504" fmla="*/ 591683 h 2641600"/>
                <a:gd name="connsiteX505" fmla="*/ 2198449 w 3302716"/>
                <a:gd name="connsiteY505" fmla="*/ 586619 h 2641600"/>
                <a:gd name="connsiteX506" fmla="*/ 2190914 w 3302716"/>
                <a:gd name="connsiteY506" fmla="*/ 582568 h 2641600"/>
                <a:gd name="connsiteX507" fmla="*/ 2184456 w 3302716"/>
                <a:gd name="connsiteY507" fmla="*/ 578517 h 2641600"/>
                <a:gd name="connsiteX508" fmla="*/ 2177997 w 3302716"/>
                <a:gd name="connsiteY508" fmla="*/ 575479 h 2641600"/>
                <a:gd name="connsiteX509" fmla="*/ 2174768 w 3302716"/>
                <a:gd name="connsiteY509" fmla="*/ 572440 h 2641600"/>
                <a:gd name="connsiteX510" fmla="*/ 2166157 w 3302716"/>
                <a:gd name="connsiteY510" fmla="*/ 567376 h 2641600"/>
                <a:gd name="connsiteX511" fmla="*/ 2157545 w 3302716"/>
                <a:gd name="connsiteY511" fmla="*/ 562312 h 2641600"/>
                <a:gd name="connsiteX512" fmla="*/ 2152163 w 3302716"/>
                <a:gd name="connsiteY512" fmla="*/ 561300 h 2641600"/>
                <a:gd name="connsiteX513" fmla="*/ 2153240 w 3302716"/>
                <a:gd name="connsiteY513" fmla="*/ 567376 h 2641600"/>
                <a:gd name="connsiteX514" fmla="*/ 2159698 w 3302716"/>
                <a:gd name="connsiteY514" fmla="*/ 576491 h 2641600"/>
                <a:gd name="connsiteX515" fmla="*/ 2160774 w 3302716"/>
                <a:gd name="connsiteY515" fmla="*/ 582568 h 2641600"/>
                <a:gd name="connsiteX516" fmla="*/ 2157545 w 3302716"/>
                <a:gd name="connsiteY516" fmla="*/ 585607 h 2641600"/>
                <a:gd name="connsiteX517" fmla="*/ 2144628 w 3302716"/>
                <a:gd name="connsiteY517" fmla="*/ 585607 h 2641600"/>
                <a:gd name="connsiteX518" fmla="*/ 2136017 w 3302716"/>
                <a:gd name="connsiteY518" fmla="*/ 585607 h 2641600"/>
                <a:gd name="connsiteX519" fmla="*/ 2131711 w 3302716"/>
                <a:gd name="connsiteY519" fmla="*/ 585607 h 2641600"/>
                <a:gd name="connsiteX520" fmla="*/ 2126329 w 3302716"/>
                <a:gd name="connsiteY520" fmla="*/ 586619 h 2641600"/>
                <a:gd name="connsiteX521" fmla="*/ 2123100 w 3302716"/>
                <a:gd name="connsiteY521" fmla="*/ 589658 h 2641600"/>
                <a:gd name="connsiteX522" fmla="*/ 2118794 w 3302716"/>
                <a:gd name="connsiteY522" fmla="*/ 591683 h 2641600"/>
                <a:gd name="connsiteX523" fmla="*/ 2116191 w 3302716"/>
                <a:gd name="connsiteY523" fmla="*/ 592173 h 2641600"/>
                <a:gd name="connsiteX524" fmla="*/ 2144897 w 3302716"/>
                <a:gd name="connsiteY524" fmla="*/ 626457 h 2641600"/>
                <a:gd name="connsiteX525" fmla="*/ 2127911 w 3302716"/>
                <a:gd name="connsiteY525" fmla="*/ 673271 h 2641600"/>
                <a:gd name="connsiteX526" fmla="*/ 2152737 w 3302716"/>
                <a:gd name="connsiteY526" fmla="*/ 743494 h 2641600"/>
                <a:gd name="connsiteX527" fmla="*/ 2112232 w 3302716"/>
                <a:gd name="connsiteY527" fmla="*/ 774704 h 2641600"/>
                <a:gd name="connsiteX528" fmla="*/ 2033836 w 3302716"/>
                <a:gd name="connsiteY528" fmla="*/ 790309 h 2641600"/>
                <a:gd name="connsiteX529" fmla="*/ 2018156 w 3302716"/>
                <a:gd name="connsiteY529" fmla="*/ 852729 h 2641600"/>
                <a:gd name="connsiteX530" fmla="*/ 1994637 w 3302716"/>
                <a:gd name="connsiteY530" fmla="*/ 930753 h 2641600"/>
                <a:gd name="connsiteX531" fmla="*/ 1971119 w 3302716"/>
                <a:gd name="connsiteY531" fmla="*/ 930753 h 2641600"/>
                <a:gd name="connsiteX532" fmla="*/ 1931920 w 3302716"/>
                <a:gd name="connsiteY532" fmla="*/ 954161 h 2641600"/>
                <a:gd name="connsiteX533" fmla="*/ 1892722 w 3302716"/>
                <a:gd name="connsiteY533" fmla="*/ 993173 h 2641600"/>
                <a:gd name="connsiteX534" fmla="*/ 1830005 w 3302716"/>
                <a:gd name="connsiteY534" fmla="*/ 1181733 h 2641600"/>
                <a:gd name="connsiteX535" fmla="*/ 1853524 w 3302716"/>
                <a:gd name="connsiteY535" fmla="*/ 1205141 h 2641600"/>
                <a:gd name="connsiteX536" fmla="*/ 1877043 w 3302716"/>
                <a:gd name="connsiteY536" fmla="*/ 1275363 h 2641600"/>
                <a:gd name="connsiteX537" fmla="*/ 1908402 w 3302716"/>
                <a:gd name="connsiteY537" fmla="*/ 1275363 h 2641600"/>
                <a:gd name="connsiteX538" fmla="*/ 2057354 w 3302716"/>
                <a:gd name="connsiteY538" fmla="*/ 1361191 h 2641600"/>
                <a:gd name="connsiteX539" fmla="*/ 2135751 w 3302716"/>
                <a:gd name="connsiteY539" fmla="*/ 1368993 h 2641600"/>
                <a:gd name="connsiteX540" fmla="*/ 2152737 w 3302716"/>
                <a:gd name="connsiteY540" fmla="*/ 1509438 h 2641600"/>
                <a:gd name="connsiteX541" fmla="*/ 2184095 w 3302716"/>
                <a:gd name="connsiteY541" fmla="*/ 1525043 h 2641600"/>
                <a:gd name="connsiteX542" fmla="*/ 2215454 w 3302716"/>
                <a:gd name="connsiteY542" fmla="*/ 1501635 h 2641600"/>
                <a:gd name="connsiteX543" fmla="*/ 2199774 w 3302716"/>
                <a:gd name="connsiteY543" fmla="*/ 1384598 h 2641600"/>
                <a:gd name="connsiteX544" fmla="*/ 2278171 w 3302716"/>
                <a:gd name="connsiteY544" fmla="*/ 1314376 h 2641600"/>
                <a:gd name="connsiteX545" fmla="*/ 2231133 w 3302716"/>
                <a:gd name="connsiteY545" fmla="*/ 1220746 h 2641600"/>
                <a:gd name="connsiteX546" fmla="*/ 2238972 w 3302716"/>
                <a:gd name="connsiteY546" fmla="*/ 1189536 h 2641600"/>
                <a:gd name="connsiteX547" fmla="*/ 2246812 w 3302716"/>
                <a:gd name="connsiteY547" fmla="*/ 1103709 h 2641600"/>
                <a:gd name="connsiteX548" fmla="*/ 2246812 w 3302716"/>
                <a:gd name="connsiteY548" fmla="*/ 1063396 h 2641600"/>
                <a:gd name="connsiteX549" fmla="*/ 2246812 w 3302716"/>
                <a:gd name="connsiteY549" fmla="*/ 1024383 h 2641600"/>
                <a:gd name="connsiteX550" fmla="*/ 2278171 w 3302716"/>
                <a:gd name="connsiteY550" fmla="*/ 1016581 h 2641600"/>
                <a:gd name="connsiteX551" fmla="*/ 2325208 w 3302716"/>
                <a:gd name="connsiteY551" fmla="*/ 1032186 h 2641600"/>
                <a:gd name="connsiteX552" fmla="*/ 2364406 w 3302716"/>
                <a:gd name="connsiteY552" fmla="*/ 1024383 h 2641600"/>
                <a:gd name="connsiteX553" fmla="*/ 2403605 w 3302716"/>
                <a:gd name="connsiteY553" fmla="*/ 1079001 h 2641600"/>
                <a:gd name="connsiteX554" fmla="*/ 2450642 w 3302716"/>
                <a:gd name="connsiteY554" fmla="*/ 1086803 h 2641600"/>
                <a:gd name="connsiteX555" fmla="*/ 2450642 w 3302716"/>
                <a:gd name="connsiteY555" fmla="*/ 1197338 h 2641600"/>
                <a:gd name="connsiteX556" fmla="*/ 2474161 w 3302716"/>
                <a:gd name="connsiteY556" fmla="*/ 1197338 h 2641600"/>
                <a:gd name="connsiteX557" fmla="*/ 2489840 w 3302716"/>
                <a:gd name="connsiteY557" fmla="*/ 1212943 h 2641600"/>
                <a:gd name="connsiteX558" fmla="*/ 2544718 w 3302716"/>
                <a:gd name="connsiteY558" fmla="*/ 1197338 h 2641600"/>
                <a:gd name="connsiteX559" fmla="*/ 2568237 w 3302716"/>
                <a:gd name="connsiteY559" fmla="*/ 1127116 h 2641600"/>
                <a:gd name="connsiteX560" fmla="*/ 2654473 w 3302716"/>
                <a:gd name="connsiteY560" fmla="*/ 1290968 h 2641600"/>
                <a:gd name="connsiteX561" fmla="*/ 2654473 w 3302716"/>
                <a:gd name="connsiteY561" fmla="*/ 1322178 h 2641600"/>
                <a:gd name="connsiteX562" fmla="*/ 2756388 w 3302716"/>
                <a:gd name="connsiteY562" fmla="*/ 1376796 h 2641600"/>
                <a:gd name="connsiteX563" fmla="*/ 2764228 w 3302716"/>
                <a:gd name="connsiteY563" fmla="*/ 1415808 h 2641600"/>
                <a:gd name="connsiteX564" fmla="*/ 2795586 w 3302716"/>
                <a:gd name="connsiteY564" fmla="*/ 1493833 h 2641600"/>
                <a:gd name="connsiteX565" fmla="*/ 2756388 w 3302716"/>
                <a:gd name="connsiteY565" fmla="*/ 1525043 h 2641600"/>
                <a:gd name="connsiteX566" fmla="*/ 2701511 w 3302716"/>
                <a:gd name="connsiteY566" fmla="*/ 1564055 h 2641600"/>
                <a:gd name="connsiteX567" fmla="*/ 2630954 w 3302716"/>
                <a:gd name="connsiteY567" fmla="*/ 1571858 h 2641600"/>
                <a:gd name="connsiteX568" fmla="*/ 2536878 w 3302716"/>
                <a:gd name="connsiteY568" fmla="*/ 1564055 h 2641600"/>
                <a:gd name="connsiteX569" fmla="*/ 2505520 w 3302716"/>
                <a:gd name="connsiteY569" fmla="*/ 1595265 h 2641600"/>
                <a:gd name="connsiteX570" fmla="*/ 2450642 w 3302716"/>
                <a:gd name="connsiteY570" fmla="*/ 1626475 h 2641600"/>
                <a:gd name="connsiteX571" fmla="*/ 2427123 w 3302716"/>
                <a:gd name="connsiteY571" fmla="*/ 1681093 h 2641600"/>
                <a:gd name="connsiteX572" fmla="*/ 2482001 w 3302716"/>
                <a:gd name="connsiteY572" fmla="*/ 1634278 h 2641600"/>
                <a:gd name="connsiteX573" fmla="*/ 2591756 w 3302716"/>
                <a:gd name="connsiteY573" fmla="*/ 1610870 h 2641600"/>
                <a:gd name="connsiteX574" fmla="*/ 2583916 w 3302716"/>
                <a:gd name="connsiteY574" fmla="*/ 1642080 h 2641600"/>
                <a:gd name="connsiteX575" fmla="*/ 2560397 w 3302716"/>
                <a:gd name="connsiteY575" fmla="*/ 1665488 h 2641600"/>
                <a:gd name="connsiteX576" fmla="*/ 2591756 w 3302716"/>
                <a:gd name="connsiteY576" fmla="*/ 1712303 h 2641600"/>
                <a:gd name="connsiteX577" fmla="*/ 2662313 w 3302716"/>
                <a:gd name="connsiteY577" fmla="*/ 1720105 h 2641600"/>
                <a:gd name="connsiteX578" fmla="*/ 2638794 w 3302716"/>
                <a:gd name="connsiteY578" fmla="*/ 1751315 h 2641600"/>
                <a:gd name="connsiteX579" fmla="*/ 2568237 w 3302716"/>
                <a:gd name="connsiteY579" fmla="*/ 1805932 h 2641600"/>
                <a:gd name="connsiteX580" fmla="*/ 2552557 w 3302716"/>
                <a:gd name="connsiteY580" fmla="*/ 1774722 h 2641600"/>
                <a:gd name="connsiteX581" fmla="*/ 2568237 w 3302716"/>
                <a:gd name="connsiteY581" fmla="*/ 1751315 h 2641600"/>
                <a:gd name="connsiteX582" fmla="*/ 2544718 w 3302716"/>
                <a:gd name="connsiteY582" fmla="*/ 1743513 h 2641600"/>
                <a:gd name="connsiteX583" fmla="*/ 2513359 w 3302716"/>
                <a:gd name="connsiteY583" fmla="*/ 1766920 h 2641600"/>
                <a:gd name="connsiteX584" fmla="*/ 2497680 w 3302716"/>
                <a:gd name="connsiteY584" fmla="*/ 1688895 h 2641600"/>
                <a:gd name="connsiteX585" fmla="*/ 2495890 w 3302716"/>
                <a:gd name="connsiteY585" fmla="*/ 1688450 h 2641600"/>
                <a:gd name="connsiteX586" fmla="*/ 2511424 w 3302716"/>
                <a:gd name="connsiteY586" fmla="*/ 1765675 h 2641600"/>
                <a:gd name="connsiteX587" fmla="*/ 2433074 w 3302716"/>
                <a:gd name="connsiteY587" fmla="*/ 1804626 h 2641600"/>
                <a:gd name="connsiteX588" fmla="*/ 2433074 w 3302716"/>
                <a:gd name="connsiteY588" fmla="*/ 1868245 h 2641600"/>
                <a:gd name="connsiteX589" fmla="*/ 2386065 w 3302716"/>
                <a:gd name="connsiteY589" fmla="*/ 1891616 h 2641600"/>
                <a:gd name="connsiteX590" fmla="*/ 2354725 w 3302716"/>
                <a:gd name="connsiteY590" fmla="*/ 1899406 h 2641600"/>
                <a:gd name="connsiteX591" fmla="*/ 2339055 w 3302716"/>
                <a:gd name="connsiteY591" fmla="*/ 1938357 h 2641600"/>
                <a:gd name="connsiteX592" fmla="*/ 2315550 w 3302716"/>
                <a:gd name="connsiteY592" fmla="*/ 1946147 h 2641600"/>
                <a:gd name="connsiteX593" fmla="*/ 2299880 w 3302716"/>
                <a:gd name="connsiteY593" fmla="*/ 1946147 h 2641600"/>
                <a:gd name="connsiteX594" fmla="*/ 2307715 w 3302716"/>
                <a:gd name="connsiteY594" fmla="*/ 1977307 h 2641600"/>
                <a:gd name="connsiteX595" fmla="*/ 2299880 w 3302716"/>
                <a:gd name="connsiteY595" fmla="*/ 1985097 h 2641600"/>
                <a:gd name="connsiteX596" fmla="*/ 2276376 w 3302716"/>
                <a:gd name="connsiteY596" fmla="*/ 1969517 h 2641600"/>
                <a:gd name="connsiteX597" fmla="*/ 2284211 w 3302716"/>
                <a:gd name="connsiteY597" fmla="*/ 2016258 h 2641600"/>
                <a:gd name="connsiteX598" fmla="*/ 2292045 w 3302716"/>
                <a:gd name="connsiteY598" fmla="*/ 2062999 h 2641600"/>
                <a:gd name="connsiteX599" fmla="*/ 2221531 w 3302716"/>
                <a:gd name="connsiteY599" fmla="*/ 2133110 h 2641600"/>
                <a:gd name="connsiteX600" fmla="*/ 2182356 w 3302716"/>
                <a:gd name="connsiteY600" fmla="*/ 2148691 h 2641600"/>
                <a:gd name="connsiteX601" fmla="*/ 2143182 w 3302716"/>
                <a:gd name="connsiteY601" fmla="*/ 2195432 h 2641600"/>
                <a:gd name="connsiteX602" fmla="*/ 2174521 w 3302716"/>
                <a:gd name="connsiteY602" fmla="*/ 2281123 h 2641600"/>
                <a:gd name="connsiteX603" fmla="*/ 2182356 w 3302716"/>
                <a:gd name="connsiteY603" fmla="*/ 2359025 h 2641600"/>
                <a:gd name="connsiteX604" fmla="*/ 2158851 w 3302716"/>
                <a:gd name="connsiteY604" fmla="*/ 2351235 h 2641600"/>
                <a:gd name="connsiteX605" fmla="*/ 2110536 w 3302716"/>
                <a:gd name="connsiteY605" fmla="*/ 2304494 h 2641600"/>
                <a:gd name="connsiteX606" fmla="*/ 2094866 w 3302716"/>
                <a:gd name="connsiteY606" fmla="*/ 2249963 h 2641600"/>
                <a:gd name="connsiteX607" fmla="*/ 2087031 w 3302716"/>
                <a:gd name="connsiteY607" fmla="*/ 2211012 h 2641600"/>
                <a:gd name="connsiteX608" fmla="*/ 2047857 w 3302716"/>
                <a:gd name="connsiteY608" fmla="*/ 2218802 h 2641600"/>
                <a:gd name="connsiteX609" fmla="*/ 2008682 w 3302716"/>
                <a:gd name="connsiteY609" fmla="*/ 2218802 h 2641600"/>
                <a:gd name="connsiteX610" fmla="*/ 1946002 w 3302716"/>
                <a:gd name="connsiteY610" fmla="*/ 2234382 h 2641600"/>
                <a:gd name="connsiteX611" fmla="*/ 1898993 w 3302716"/>
                <a:gd name="connsiteY611" fmla="*/ 2234382 h 2641600"/>
                <a:gd name="connsiteX612" fmla="*/ 1820643 w 3302716"/>
                <a:gd name="connsiteY612" fmla="*/ 2226592 h 2641600"/>
                <a:gd name="connsiteX613" fmla="*/ 1797138 w 3302716"/>
                <a:gd name="connsiteY613" fmla="*/ 2249963 h 2641600"/>
                <a:gd name="connsiteX614" fmla="*/ 1765799 w 3302716"/>
                <a:gd name="connsiteY614" fmla="*/ 2281123 h 2641600"/>
                <a:gd name="connsiteX615" fmla="*/ 1765799 w 3302716"/>
                <a:gd name="connsiteY615" fmla="*/ 2335361 h 2641600"/>
                <a:gd name="connsiteX616" fmla="*/ 1766357 w 3302716"/>
                <a:gd name="connsiteY616" fmla="*/ 2335472 h 2641600"/>
                <a:gd name="connsiteX617" fmla="*/ 1750647 w 3302716"/>
                <a:gd name="connsiteY617" fmla="*/ 2358920 h 2641600"/>
                <a:gd name="connsiteX618" fmla="*/ 1758502 w 3302716"/>
                <a:gd name="connsiteY618" fmla="*/ 2460528 h 2641600"/>
                <a:gd name="connsiteX619" fmla="*/ 1821341 w 3302716"/>
                <a:gd name="connsiteY619" fmla="*/ 2538689 h 2641600"/>
                <a:gd name="connsiteX620" fmla="*/ 1884179 w 3302716"/>
                <a:gd name="connsiteY620" fmla="*/ 2530873 h 2641600"/>
                <a:gd name="connsiteX621" fmla="*/ 1923453 w 3302716"/>
                <a:gd name="connsiteY621" fmla="*/ 2476160 h 2641600"/>
                <a:gd name="connsiteX622" fmla="*/ 2017711 w 3302716"/>
                <a:gd name="connsiteY622" fmla="*/ 2460528 h 2641600"/>
                <a:gd name="connsiteX623" fmla="*/ 2002001 w 3302716"/>
                <a:gd name="connsiteY623" fmla="*/ 2523057 h 2641600"/>
                <a:gd name="connsiteX624" fmla="*/ 1978437 w 3302716"/>
                <a:gd name="connsiteY624" fmla="*/ 2538689 h 2641600"/>
                <a:gd name="connsiteX625" fmla="*/ 1954872 w 3302716"/>
                <a:gd name="connsiteY625" fmla="*/ 2554321 h 2641600"/>
                <a:gd name="connsiteX626" fmla="*/ 1962727 w 3302716"/>
                <a:gd name="connsiteY626" fmla="*/ 2562137 h 2641600"/>
                <a:gd name="connsiteX627" fmla="*/ 1923453 w 3302716"/>
                <a:gd name="connsiteY627" fmla="*/ 2562137 h 2641600"/>
                <a:gd name="connsiteX628" fmla="*/ 1907743 w 3302716"/>
                <a:gd name="connsiteY628" fmla="*/ 2569953 h 2641600"/>
                <a:gd name="connsiteX629" fmla="*/ 1923453 w 3302716"/>
                <a:gd name="connsiteY629" fmla="*/ 2601217 h 2641600"/>
                <a:gd name="connsiteX630" fmla="*/ 1899889 w 3302716"/>
                <a:gd name="connsiteY630" fmla="*/ 2601217 h 2641600"/>
                <a:gd name="connsiteX631" fmla="*/ 1884179 w 3302716"/>
                <a:gd name="connsiteY631" fmla="*/ 2624665 h 2641600"/>
                <a:gd name="connsiteX632" fmla="*/ 1876324 w 3302716"/>
                <a:gd name="connsiteY632" fmla="*/ 2641600 h 2641600"/>
                <a:gd name="connsiteX633" fmla="*/ 1837050 w 3302716"/>
                <a:gd name="connsiteY633" fmla="*/ 2609033 h 2641600"/>
                <a:gd name="connsiteX634" fmla="*/ 1813486 w 3302716"/>
                <a:gd name="connsiteY634" fmla="*/ 2609033 h 2641600"/>
                <a:gd name="connsiteX635" fmla="*/ 1789921 w 3302716"/>
                <a:gd name="connsiteY635" fmla="*/ 2616849 h 2641600"/>
                <a:gd name="connsiteX636" fmla="*/ 1703518 w 3302716"/>
                <a:gd name="connsiteY636" fmla="*/ 2593401 h 2641600"/>
                <a:gd name="connsiteX637" fmla="*/ 1656390 w 3302716"/>
                <a:gd name="connsiteY637" fmla="*/ 2569953 h 2641600"/>
                <a:gd name="connsiteX638" fmla="*/ 1554278 w 3302716"/>
                <a:gd name="connsiteY638" fmla="*/ 2507425 h 2641600"/>
                <a:gd name="connsiteX639" fmla="*/ 1554278 w 3302716"/>
                <a:gd name="connsiteY639" fmla="*/ 2483976 h 2641600"/>
                <a:gd name="connsiteX640" fmla="*/ 1546423 w 3302716"/>
                <a:gd name="connsiteY640" fmla="*/ 2429264 h 2641600"/>
                <a:gd name="connsiteX641" fmla="*/ 1507149 w 3302716"/>
                <a:gd name="connsiteY641" fmla="*/ 2390184 h 2641600"/>
                <a:gd name="connsiteX642" fmla="*/ 1491439 w 3302716"/>
                <a:gd name="connsiteY642" fmla="*/ 2366736 h 2641600"/>
                <a:gd name="connsiteX643" fmla="*/ 1460020 w 3302716"/>
                <a:gd name="connsiteY643" fmla="*/ 2351104 h 2641600"/>
                <a:gd name="connsiteX644" fmla="*/ 1460020 w 3302716"/>
                <a:gd name="connsiteY644" fmla="*/ 2327656 h 2641600"/>
                <a:gd name="connsiteX645" fmla="*/ 1420746 w 3302716"/>
                <a:gd name="connsiteY645" fmla="*/ 2304208 h 2641600"/>
                <a:gd name="connsiteX646" fmla="*/ 1405037 w 3302716"/>
                <a:gd name="connsiteY646" fmla="*/ 2280759 h 2641600"/>
                <a:gd name="connsiteX647" fmla="*/ 1365763 w 3302716"/>
                <a:gd name="connsiteY647" fmla="*/ 2202599 h 2641600"/>
                <a:gd name="connsiteX648" fmla="*/ 1326489 w 3302716"/>
                <a:gd name="connsiteY648" fmla="*/ 2186967 h 2641600"/>
                <a:gd name="connsiteX649" fmla="*/ 1342198 w 3302716"/>
                <a:gd name="connsiteY649" fmla="*/ 2233863 h 2641600"/>
                <a:gd name="connsiteX650" fmla="*/ 1397182 w 3302716"/>
                <a:gd name="connsiteY650" fmla="*/ 2312024 h 2641600"/>
                <a:gd name="connsiteX651" fmla="*/ 1428601 w 3302716"/>
                <a:gd name="connsiteY651" fmla="*/ 2382368 h 2641600"/>
                <a:gd name="connsiteX652" fmla="*/ 1460020 w 3302716"/>
                <a:gd name="connsiteY652" fmla="*/ 2405816 h 2641600"/>
                <a:gd name="connsiteX653" fmla="*/ 1452165 w 3302716"/>
                <a:gd name="connsiteY653" fmla="*/ 2429264 h 2641600"/>
                <a:gd name="connsiteX654" fmla="*/ 1420746 w 3302716"/>
                <a:gd name="connsiteY654" fmla="*/ 2398000 h 2641600"/>
                <a:gd name="connsiteX655" fmla="*/ 1397182 w 3302716"/>
                <a:gd name="connsiteY655" fmla="*/ 2382368 h 2641600"/>
                <a:gd name="connsiteX656" fmla="*/ 1389327 w 3302716"/>
                <a:gd name="connsiteY656" fmla="*/ 2343288 h 2641600"/>
                <a:gd name="connsiteX657" fmla="*/ 1334343 w 3302716"/>
                <a:gd name="connsiteY657" fmla="*/ 2304208 h 2641600"/>
                <a:gd name="connsiteX658" fmla="*/ 1342198 w 3302716"/>
                <a:gd name="connsiteY658" fmla="*/ 2288576 h 2641600"/>
                <a:gd name="connsiteX659" fmla="*/ 1310779 w 3302716"/>
                <a:gd name="connsiteY659" fmla="*/ 2241679 h 2641600"/>
                <a:gd name="connsiteX660" fmla="*/ 1263650 w 3302716"/>
                <a:gd name="connsiteY660" fmla="*/ 2155703 h 2641600"/>
                <a:gd name="connsiteX661" fmla="*/ 1263954 w 3302716"/>
                <a:gd name="connsiteY661" fmla="*/ 2155665 h 2641600"/>
                <a:gd name="connsiteX662" fmla="*/ 1256528 w 3302716"/>
                <a:gd name="connsiteY662" fmla="*/ 2140901 h 2641600"/>
                <a:gd name="connsiteX663" fmla="*/ 1186014 w 3302716"/>
                <a:gd name="connsiteY663" fmla="*/ 2094160 h 2641600"/>
                <a:gd name="connsiteX664" fmla="*/ 1162509 w 3302716"/>
                <a:gd name="connsiteY664" fmla="*/ 2055209 h 2641600"/>
                <a:gd name="connsiteX665" fmla="*/ 1131169 w 3302716"/>
                <a:gd name="connsiteY665" fmla="*/ 2000678 h 2641600"/>
                <a:gd name="connsiteX666" fmla="*/ 1091995 w 3302716"/>
                <a:gd name="connsiteY666" fmla="*/ 1922776 h 2641600"/>
                <a:gd name="connsiteX667" fmla="*/ 1091995 w 3302716"/>
                <a:gd name="connsiteY667" fmla="*/ 1891616 h 2641600"/>
                <a:gd name="connsiteX668" fmla="*/ 1076324 w 3302716"/>
                <a:gd name="connsiteY668" fmla="*/ 1843576 h 2641600"/>
                <a:gd name="connsiteX669" fmla="*/ 1091995 w 3302716"/>
                <a:gd name="connsiteY669" fmla="*/ 1781255 h 2641600"/>
                <a:gd name="connsiteX670" fmla="*/ 1099830 w 3302716"/>
                <a:gd name="connsiteY670" fmla="*/ 1718934 h 2641600"/>
                <a:gd name="connsiteX671" fmla="*/ 1076324 w 3302716"/>
                <a:gd name="connsiteY671" fmla="*/ 1633242 h 2641600"/>
                <a:gd name="connsiteX672" fmla="*/ 1123334 w 3302716"/>
                <a:gd name="connsiteY672" fmla="*/ 1648822 h 2641600"/>
                <a:gd name="connsiteX673" fmla="*/ 1115500 w 3302716"/>
                <a:gd name="connsiteY673" fmla="*/ 1679983 h 2641600"/>
                <a:gd name="connsiteX674" fmla="*/ 1139004 w 3302716"/>
                <a:gd name="connsiteY674" fmla="*/ 1664403 h 2641600"/>
                <a:gd name="connsiteX675" fmla="*/ 1131169 w 3302716"/>
                <a:gd name="connsiteY675" fmla="*/ 1617662 h 2641600"/>
                <a:gd name="connsiteX676" fmla="*/ 1132077 w 3302716"/>
                <a:gd name="connsiteY676" fmla="*/ 1617662 h 2641600"/>
                <a:gd name="connsiteX677" fmla="*/ 1124440 w 3302716"/>
                <a:gd name="connsiteY677" fmla="*/ 1579660 h 2641600"/>
                <a:gd name="connsiteX678" fmla="*/ 1038204 w 3302716"/>
                <a:gd name="connsiteY678" fmla="*/ 1525043 h 2641600"/>
                <a:gd name="connsiteX679" fmla="*/ 975487 w 3302716"/>
                <a:gd name="connsiteY679" fmla="*/ 1439216 h 2641600"/>
                <a:gd name="connsiteX680" fmla="*/ 951968 w 3302716"/>
                <a:gd name="connsiteY680" fmla="*/ 1392401 h 2641600"/>
                <a:gd name="connsiteX681" fmla="*/ 959807 w 3302716"/>
                <a:gd name="connsiteY681" fmla="*/ 1329981 h 2641600"/>
                <a:gd name="connsiteX682" fmla="*/ 904931 w 3302716"/>
                <a:gd name="connsiteY682" fmla="*/ 1290968 h 2641600"/>
                <a:gd name="connsiteX683" fmla="*/ 818695 w 3302716"/>
                <a:gd name="connsiteY683" fmla="*/ 1134919 h 2641600"/>
                <a:gd name="connsiteX684" fmla="*/ 755978 w 3302716"/>
                <a:gd name="connsiteY684" fmla="*/ 1166128 h 2641600"/>
                <a:gd name="connsiteX685" fmla="*/ 676275 w 3302716"/>
                <a:gd name="connsiteY685" fmla="*/ 1127116 h 2641600"/>
                <a:gd name="connsiteX686" fmla="*/ 676275 w 3302716"/>
                <a:gd name="connsiteY686" fmla="*/ 1126457 h 2641600"/>
                <a:gd name="connsiteX687" fmla="*/ 558320 w 3302716"/>
                <a:gd name="connsiteY687" fmla="*/ 1103041 h 2641600"/>
                <a:gd name="connsiteX688" fmla="*/ 534729 w 3302716"/>
                <a:gd name="connsiteY688" fmla="*/ 1086130 h 2641600"/>
                <a:gd name="connsiteX689" fmla="*/ 479684 w 3302716"/>
                <a:gd name="connsiteY689" fmla="*/ 1118652 h 2641600"/>
                <a:gd name="connsiteX690" fmla="*/ 432501 w 3302716"/>
                <a:gd name="connsiteY690" fmla="*/ 1157679 h 2641600"/>
                <a:gd name="connsiteX691" fmla="*/ 424638 w 3302716"/>
                <a:gd name="connsiteY691" fmla="*/ 1118652 h 2641600"/>
                <a:gd name="connsiteX692" fmla="*/ 408911 w 3302716"/>
                <a:gd name="connsiteY692" fmla="*/ 1086130 h 2641600"/>
                <a:gd name="connsiteX693" fmla="*/ 346001 w 3302716"/>
                <a:gd name="connsiteY693" fmla="*/ 1165484 h 2641600"/>
                <a:gd name="connsiteX694" fmla="*/ 353865 w 3302716"/>
                <a:gd name="connsiteY694" fmla="*/ 1188901 h 2641600"/>
                <a:gd name="connsiteX695" fmla="*/ 251637 w 3302716"/>
                <a:gd name="connsiteY695" fmla="*/ 1298176 h 2641600"/>
                <a:gd name="connsiteX696" fmla="*/ 117955 w 3302716"/>
                <a:gd name="connsiteY696" fmla="*/ 1368425 h 2641600"/>
                <a:gd name="connsiteX697" fmla="*/ 235910 w 3302716"/>
                <a:gd name="connsiteY697" fmla="*/ 1266955 h 2641600"/>
                <a:gd name="connsiteX698" fmla="*/ 275228 w 3302716"/>
                <a:gd name="connsiteY698" fmla="*/ 1196706 h 2641600"/>
                <a:gd name="connsiteX699" fmla="*/ 204455 w 3302716"/>
                <a:gd name="connsiteY699" fmla="*/ 1196706 h 2641600"/>
                <a:gd name="connsiteX700" fmla="*/ 149409 w 3302716"/>
                <a:gd name="connsiteY700" fmla="*/ 1204511 h 2641600"/>
                <a:gd name="connsiteX701" fmla="*/ 141546 w 3302716"/>
                <a:gd name="connsiteY701" fmla="*/ 1149874 h 2641600"/>
                <a:gd name="connsiteX702" fmla="*/ 102228 w 3302716"/>
                <a:gd name="connsiteY702" fmla="*/ 1134263 h 2641600"/>
                <a:gd name="connsiteX703" fmla="*/ 94364 w 3302716"/>
                <a:gd name="connsiteY703" fmla="*/ 1093935 h 2641600"/>
                <a:gd name="connsiteX704" fmla="*/ 39318 w 3302716"/>
                <a:gd name="connsiteY704" fmla="*/ 1054908 h 2641600"/>
                <a:gd name="connsiteX705" fmla="*/ 47182 w 3302716"/>
                <a:gd name="connsiteY705" fmla="*/ 1015881 h 2641600"/>
                <a:gd name="connsiteX706" fmla="*/ 94364 w 3302716"/>
                <a:gd name="connsiteY706" fmla="*/ 984659 h 2641600"/>
                <a:gd name="connsiteX707" fmla="*/ 157273 w 3302716"/>
                <a:gd name="connsiteY707" fmla="*/ 961243 h 2641600"/>
                <a:gd name="connsiteX708" fmla="*/ 180864 w 3302716"/>
                <a:gd name="connsiteY708" fmla="*/ 906605 h 2641600"/>
                <a:gd name="connsiteX709" fmla="*/ 125818 w 3302716"/>
                <a:gd name="connsiteY709" fmla="*/ 898800 h 2641600"/>
                <a:gd name="connsiteX710" fmla="*/ 55046 w 3302716"/>
                <a:gd name="connsiteY710" fmla="*/ 898800 h 2641600"/>
                <a:gd name="connsiteX711" fmla="*/ 23591 w 3302716"/>
                <a:gd name="connsiteY711" fmla="*/ 867578 h 2641600"/>
                <a:gd name="connsiteX712" fmla="*/ 0 w 3302716"/>
                <a:gd name="connsiteY712" fmla="*/ 844162 h 2641600"/>
                <a:gd name="connsiteX713" fmla="*/ 78636 w 3302716"/>
                <a:gd name="connsiteY713" fmla="*/ 789524 h 2641600"/>
                <a:gd name="connsiteX714" fmla="*/ 117955 w 3302716"/>
                <a:gd name="connsiteY714" fmla="*/ 805135 h 2641600"/>
                <a:gd name="connsiteX715" fmla="*/ 149409 w 3302716"/>
                <a:gd name="connsiteY715" fmla="*/ 789524 h 2641600"/>
                <a:gd name="connsiteX716" fmla="*/ 149409 w 3302716"/>
                <a:gd name="connsiteY716" fmla="*/ 758303 h 2641600"/>
                <a:gd name="connsiteX717" fmla="*/ 102228 w 3302716"/>
                <a:gd name="connsiteY717" fmla="*/ 734887 h 2641600"/>
                <a:gd name="connsiteX718" fmla="*/ 55046 w 3302716"/>
                <a:gd name="connsiteY718" fmla="*/ 672443 h 2641600"/>
                <a:gd name="connsiteX719" fmla="*/ 55046 w 3302716"/>
                <a:gd name="connsiteY719" fmla="*/ 625611 h 2641600"/>
                <a:gd name="connsiteX720" fmla="*/ 117955 w 3302716"/>
                <a:gd name="connsiteY720" fmla="*/ 610000 h 2641600"/>
                <a:gd name="connsiteX721" fmla="*/ 149409 w 3302716"/>
                <a:gd name="connsiteY721" fmla="*/ 531946 h 2641600"/>
                <a:gd name="connsiteX722" fmla="*/ 196591 w 3302716"/>
                <a:gd name="connsiteY722" fmla="*/ 500725 h 2641600"/>
                <a:gd name="connsiteX723" fmla="*/ 259501 w 3302716"/>
                <a:gd name="connsiteY723" fmla="*/ 477308 h 2641600"/>
                <a:gd name="connsiteX724" fmla="*/ 298819 w 3302716"/>
                <a:gd name="connsiteY724" fmla="*/ 446087 h 2641600"/>
                <a:gd name="connsiteX725" fmla="*/ 369592 w 3302716"/>
                <a:gd name="connsiteY725" fmla="*/ 469503 h 2641600"/>
                <a:gd name="connsiteX726" fmla="*/ 377456 w 3302716"/>
                <a:gd name="connsiteY726" fmla="*/ 492919 h 2641600"/>
                <a:gd name="connsiteX727" fmla="*/ 416774 w 3302716"/>
                <a:gd name="connsiteY727" fmla="*/ 516335 h 2641600"/>
                <a:gd name="connsiteX728" fmla="*/ 463956 w 3302716"/>
                <a:gd name="connsiteY728" fmla="*/ 508530 h 2641600"/>
                <a:gd name="connsiteX729" fmla="*/ 566184 w 3302716"/>
                <a:gd name="connsiteY729" fmla="*/ 555362 h 2641600"/>
                <a:gd name="connsiteX730" fmla="*/ 636957 w 3302716"/>
                <a:gd name="connsiteY730" fmla="*/ 547557 h 2641600"/>
                <a:gd name="connsiteX731" fmla="*/ 660548 w 3302716"/>
                <a:gd name="connsiteY731" fmla="*/ 570973 h 2641600"/>
                <a:gd name="connsiteX732" fmla="*/ 676275 w 3302716"/>
                <a:gd name="connsiteY732" fmla="*/ 570973 h 2641600"/>
                <a:gd name="connsiteX733" fmla="*/ 676275 w 3302716"/>
                <a:gd name="connsiteY733" fmla="*/ 571839 h 2641600"/>
                <a:gd name="connsiteX734" fmla="*/ 724619 w 3302716"/>
                <a:gd name="connsiteY734" fmla="*/ 587444 h 2641600"/>
                <a:gd name="connsiteX735" fmla="*/ 763818 w 3302716"/>
                <a:gd name="connsiteY735" fmla="*/ 626457 h 2641600"/>
                <a:gd name="connsiteX736" fmla="*/ 826535 w 3302716"/>
                <a:gd name="connsiteY736" fmla="*/ 642061 h 2641600"/>
                <a:gd name="connsiteX737" fmla="*/ 865733 w 3302716"/>
                <a:gd name="connsiteY737" fmla="*/ 603049 h 2641600"/>
                <a:gd name="connsiteX738" fmla="*/ 1014685 w 3302716"/>
                <a:gd name="connsiteY738" fmla="*/ 532827 h 2641600"/>
                <a:gd name="connsiteX739" fmla="*/ 1069562 w 3302716"/>
                <a:gd name="connsiteY739" fmla="*/ 595247 h 2641600"/>
                <a:gd name="connsiteX740" fmla="*/ 1124440 w 3302716"/>
                <a:gd name="connsiteY740" fmla="*/ 579642 h 2641600"/>
                <a:gd name="connsiteX741" fmla="*/ 1210676 w 3302716"/>
                <a:gd name="connsiteY741" fmla="*/ 603049 h 2641600"/>
                <a:gd name="connsiteX742" fmla="*/ 1273393 w 3302716"/>
                <a:gd name="connsiteY742" fmla="*/ 634259 h 2641600"/>
                <a:gd name="connsiteX743" fmla="*/ 1328271 w 3302716"/>
                <a:gd name="connsiteY743" fmla="*/ 649864 h 2641600"/>
                <a:gd name="connsiteX744" fmla="*/ 1312592 w 3302716"/>
                <a:gd name="connsiteY744" fmla="*/ 681074 h 2641600"/>
                <a:gd name="connsiteX745" fmla="*/ 1351790 w 3302716"/>
                <a:gd name="connsiteY745" fmla="*/ 712284 h 2641600"/>
                <a:gd name="connsiteX746" fmla="*/ 1438025 w 3302716"/>
                <a:gd name="connsiteY746" fmla="*/ 696679 h 2641600"/>
                <a:gd name="connsiteX747" fmla="*/ 1477224 w 3302716"/>
                <a:gd name="connsiteY747" fmla="*/ 743494 h 2641600"/>
                <a:gd name="connsiteX748" fmla="*/ 1500741 w 3302716"/>
                <a:gd name="connsiteY748" fmla="*/ 751296 h 2641600"/>
                <a:gd name="connsiteX749" fmla="*/ 1492902 w 3302716"/>
                <a:gd name="connsiteY749" fmla="*/ 704481 h 2641600"/>
                <a:gd name="connsiteX750" fmla="*/ 1485063 w 3302716"/>
                <a:gd name="connsiteY750" fmla="*/ 681074 h 2641600"/>
                <a:gd name="connsiteX751" fmla="*/ 1555619 w 3302716"/>
                <a:gd name="connsiteY751" fmla="*/ 665469 h 2641600"/>
                <a:gd name="connsiteX752" fmla="*/ 1602657 w 3302716"/>
                <a:gd name="connsiteY752" fmla="*/ 696679 h 2641600"/>
                <a:gd name="connsiteX753" fmla="*/ 1681053 w 3302716"/>
                <a:gd name="connsiteY753" fmla="*/ 696679 h 2641600"/>
                <a:gd name="connsiteX754" fmla="*/ 1735930 w 3302716"/>
                <a:gd name="connsiteY754" fmla="*/ 712284 h 2641600"/>
                <a:gd name="connsiteX755" fmla="*/ 1748129 w 3302716"/>
                <a:gd name="connsiteY755" fmla="*/ 681931 h 2641600"/>
                <a:gd name="connsiteX756" fmla="*/ 1738522 w 3302716"/>
                <a:gd name="connsiteY756" fmla="*/ 676522 h 2641600"/>
                <a:gd name="connsiteX757" fmla="*/ 1733103 w 3302716"/>
                <a:gd name="connsiteY757" fmla="*/ 671437 h 2641600"/>
                <a:gd name="connsiteX758" fmla="*/ 1726600 w 3302716"/>
                <a:gd name="connsiteY758" fmla="*/ 666351 h 2641600"/>
                <a:gd name="connsiteX759" fmla="*/ 1720097 w 3302716"/>
                <a:gd name="connsiteY759" fmla="*/ 661266 h 2641600"/>
                <a:gd name="connsiteX760" fmla="*/ 1714677 w 3302716"/>
                <a:gd name="connsiteY760" fmla="*/ 656180 h 2641600"/>
                <a:gd name="connsiteX761" fmla="*/ 1711426 w 3302716"/>
                <a:gd name="connsiteY761" fmla="*/ 653129 h 2641600"/>
                <a:gd name="connsiteX762" fmla="*/ 1706007 w 3302716"/>
                <a:gd name="connsiteY762" fmla="*/ 649061 h 2641600"/>
                <a:gd name="connsiteX763" fmla="*/ 1703839 w 3302716"/>
                <a:gd name="connsiteY763" fmla="*/ 647026 h 2641600"/>
                <a:gd name="connsiteX764" fmla="*/ 1701671 w 3302716"/>
                <a:gd name="connsiteY764" fmla="*/ 646009 h 2641600"/>
                <a:gd name="connsiteX765" fmla="*/ 1698420 w 3302716"/>
                <a:gd name="connsiteY765" fmla="*/ 644992 h 2641600"/>
                <a:gd name="connsiteX766" fmla="*/ 1697336 w 3302716"/>
                <a:gd name="connsiteY766" fmla="*/ 644992 h 2641600"/>
                <a:gd name="connsiteX767" fmla="*/ 1694085 w 3302716"/>
                <a:gd name="connsiteY767" fmla="*/ 647026 h 2641600"/>
                <a:gd name="connsiteX768" fmla="*/ 1685414 w 3302716"/>
                <a:gd name="connsiteY768" fmla="*/ 653129 h 2641600"/>
                <a:gd name="connsiteX769" fmla="*/ 1678911 w 3302716"/>
                <a:gd name="connsiteY769" fmla="*/ 657197 h 2641600"/>
                <a:gd name="connsiteX770" fmla="*/ 1670240 w 3302716"/>
                <a:gd name="connsiteY770" fmla="*/ 661266 h 2641600"/>
                <a:gd name="connsiteX771" fmla="*/ 1660486 w 3302716"/>
                <a:gd name="connsiteY771" fmla="*/ 664317 h 2641600"/>
                <a:gd name="connsiteX772" fmla="*/ 1650731 w 3302716"/>
                <a:gd name="connsiteY772" fmla="*/ 667368 h 2641600"/>
                <a:gd name="connsiteX773" fmla="*/ 1639893 w 3302716"/>
                <a:gd name="connsiteY773" fmla="*/ 670420 h 2641600"/>
                <a:gd name="connsiteX774" fmla="*/ 1630138 w 3302716"/>
                <a:gd name="connsiteY774" fmla="*/ 671437 h 2641600"/>
                <a:gd name="connsiteX775" fmla="*/ 1623635 w 3302716"/>
                <a:gd name="connsiteY775" fmla="*/ 672454 h 2641600"/>
                <a:gd name="connsiteX776" fmla="*/ 1619300 w 3302716"/>
                <a:gd name="connsiteY776" fmla="*/ 674488 h 2641600"/>
                <a:gd name="connsiteX777" fmla="*/ 1614965 w 3302716"/>
                <a:gd name="connsiteY777" fmla="*/ 674488 h 2641600"/>
                <a:gd name="connsiteX778" fmla="*/ 1611713 w 3302716"/>
                <a:gd name="connsiteY778" fmla="*/ 674488 h 2641600"/>
                <a:gd name="connsiteX779" fmla="*/ 1606294 w 3302716"/>
                <a:gd name="connsiteY779" fmla="*/ 672454 h 2641600"/>
                <a:gd name="connsiteX780" fmla="*/ 1599791 w 3302716"/>
                <a:gd name="connsiteY780" fmla="*/ 670420 h 2641600"/>
                <a:gd name="connsiteX781" fmla="*/ 1594372 w 3302716"/>
                <a:gd name="connsiteY781" fmla="*/ 669403 h 2641600"/>
                <a:gd name="connsiteX782" fmla="*/ 1588953 w 3302716"/>
                <a:gd name="connsiteY782" fmla="*/ 667368 h 2641600"/>
                <a:gd name="connsiteX783" fmla="*/ 1583533 w 3302716"/>
                <a:gd name="connsiteY783" fmla="*/ 666351 h 2641600"/>
                <a:gd name="connsiteX784" fmla="*/ 1580282 w 3302716"/>
                <a:gd name="connsiteY784" fmla="*/ 666351 h 2641600"/>
                <a:gd name="connsiteX785" fmla="*/ 1577030 w 3302716"/>
                <a:gd name="connsiteY785" fmla="*/ 664317 h 2641600"/>
                <a:gd name="connsiteX786" fmla="*/ 1574863 w 3302716"/>
                <a:gd name="connsiteY786" fmla="*/ 661266 h 2641600"/>
                <a:gd name="connsiteX787" fmla="*/ 1574863 w 3302716"/>
                <a:gd name="connsiteY787" fmla="*/ 655163 h 2641600"/>
                <a:gd name="connsiteX788" fmla="*/ 1573779 w 3302716"/>
                <a:gd name="connsiteY788" fmla="*/ 648043 h 2641600"/>
                <a:gd name="connsiteX789" fmla="*/ 1570527 w 3302716"/>
                <a:gd name="connsiteY789" fmla="*/ 638890 h 2641600"/>
                <a:gd name="connsiteX790" fmla="*/ 1562941 w 3302716"/>
                <a:gd name="connsiteY790" fmla="*/ 630753 h 2641600"/>
                <a:gd name="connsiteX791" fmla="*/ 1554270 w 3302716"/>
                <a:gd name="connsiteY791" fmla="*/ 623633 h 2641600"/>
                <a:gd name="connsiteX792" fmla="*/ 1544515 w 3302716"/>
                <a:gd name="connsiteY792" fmla="*/ 617530 h 2641600"/>
                <a:gd name="connsiteX793" fmla="*/ 1536928 w 3302716"/>
                <a:gd name="connsiteY793" fmla="*/ 614479 h 2641600"/>
                <a:gd name="connsiteX794" fmla="*/ 1530425 w 3302716"/>
                <a:gd name="connsiteY794" fmla="*/ 612445 h 2641600"/>
                <a:gd name="connsiteX795" fmla="*/ 1528258 w 3302716"/>
                <a:gd name="connsiteY795" fmla="*/ 607359 h 2641600"/>
                <a:gd name="connsiteX796" fmla="*/ 1527174 w 3302716"/>
                <a:gd name="connsiteY796" fmla="*/ 601257 h 2641600"/>
                <a:gd name="connsiteX797" fmla="*/ 1527174 w 3302716"/>
                <a:gd name="connsiteY797" fmla="*/ 593120 h 2641600"/>
                <a:gd name="connsiteX798" fmla="*/ 1527174 w 3302716"/>
                <a:gd name="connsiteY798" fmla="*/ 586000 h 2641600"/>
                <a:gd name="connsiteX799" fmla="*/ 1528258 w 3302716"/>
                <a:gd name="connsiteY799" fmla="*/ 579898 h 2641600"/>
                <a:gd name="connsiteX800" fmla="*/ 1532593 w 3302716"/>
                <a:gd name="connsiteY800" fmla="*/ 578881 h 2641600"/>
                <a:gd name="connsiteX801" fmla="*/ 1540180 w 3302716"/>
                <a:gd name="connsiteY801" fmla="*/ 578881 h 2641600"/>
                <a:gd name="connsiteX802" fmla="*/ 1548851 w 3302716"/>
                <a:gd name="connsiteY802" fmla="*/ 577864 h 2641600"/>
                <a:gd name="connsiteX803" fmla="*/ 1556437 w 3302716"/>
                <a:gd name="connsiteY803" fmla="*/ 578881 h 2641600"/>
                <a:gd name="connsiteX804" fmla="*/ 1566192 w 3302716"/>
                <a:gd name="connsiteY804" fmla="*/ 581932 h 2641600"/>
                <a:gd name="connsiteX805" fmla="*/ 1572695 w 3302716"/>
                <a:gd name="connsiteY805" fmla="*/ 584983 h 2641600"/>
                <a:gd name="connsiteX806" fmla="*/ 1580282 w 3302716"/>
                <a:gd name="connsiteY806" fmla="*/ 588035 h 2641600"/>
                <a:gd name="connsiteX807" fmla="*/ 1588953 w 3302716"/>
                <a:gd name="connsiteY807" fmla="*/ 592103 h 2641600"/>
                <a:gd name="connsiteX808" fmla="*/ 1597623 w 3302716"/>
                <a:gd name="connsiteY808" fmla="*/ 597189 h 2641600"/>
                <a:gd name="connsiteX809" fmla="*/ 1605210 w 3302716"/>
                <a:gd name="connsiteY809" fmla="*/ 599223 h 2641600"/>
                <a:gd name="connsiteX810" fmla="*/ 1612797 w 3302716"/>
                <a:gd name="connsiteY810" fmla="*/ 601257 h 2641600"/>
                <a:gd name="connsiteX811" fmla="*/ 1616048 w 3302716"/>
                <a:gd name="connsiteY811" fmla="*/ 601257 h 2641600"/>
                <a:gd name="connsiteX812" fmla="*/ 1619300 w 3302716"/>
                <a:gd name="connsiteY812" fmla="*/ 599223 h 2641600"/>
                <a:gd name="connsiteX813" fmla="*/ 1620384 w 3302716"/>
                <a:gd name="connsiteY813" fmla="*/ 591086 h 2641600"/>
                <a:gd name="connsiteX814" fmla="*/ 1620384 w 3302716"/>
                <a:gd name="connsiteY814" fmla="*/ 582949 h 2641600"/>
                <a:gd name="connsiteX815" fmla="*/ 1614965 w 3302716"/>
                <a:gd name="connsiteY815" fmla="*/ 575829 h 2641600"/>
                <a:gd name="connsiteX816" fmla="*/ 1601959 w 3302716"/>
                <a:gd name="connsiteY816" fmla="*/ 570744 h 2641600"/>
                <a:gd name="connsiteX817" fmla="*/ 1587869 w 3302716"/>
                <a:gd name="connsiteY817" fmla="*/ 567693 h 2641600"/>
                <a:gd name="connsiteX818" fmla="*/ 1581366 w 3302716"/>
                <a:gd name="connsiteY818" fmla="*/ 566676 h 2641600"/>
                <a:gd name="connsiteX819" fmla="*/ 1574863 w 3302716"/>
                <a:gd name="connsiteY819" fmla="*/ 566676 h 2641600"/>
                <a:gd name="connsiteX820" fmla="*/ 1565108 w 3302716"/>
                <a:gd name="connsiteY820" fmla="*/ 564641 h 2641600"/>
                <a:gd name="connsiteX821" fmla="*/ 1553186 w 3302716"/>
                <a:gd name="connsiteY821" fmla="*/ 564641 h 2641600"/>
                <a:gd name="connsiteX822" fmla="*/ 1545599 w 3302716"/>
                <a:gd name="connsiteY822" fmla="*/ 564641 h 2641600"/>
                <a:gd name="connsiteX823" fmla="*/ 1540180 w 3302716"/>
                <a:gd name="connsiteY823" fmla="*/ 563624 h 2641600"/>
                <a:gd name="connsiteX824" fmla="*/ 1535845 w 3302716"/>
                <a:gd name="connsiteY824" fmla="*/ 560573 h 2641600"/>
                <a:gd name="connsiteX825" fmla="*/ 1530425 w 3302716"/>
                <a:gd name="connsiteY825" fmla="*/ 553453 h 2641600"/>
                <a:gd name="connsiteX826" fmla="*/ 1529342 w 3302716"/>
                <a:gd name="connsiteY826" fmla="*/ 545316 h 2641600"/>
                <a:gd name="connsiteX827" fmla="*/ 1529342 w 3302716"/>
                <a:gd name="connsiteY827" fmla="*/ 539214 h 2641600"/>
                <a:gd name="connsiteX828" fmla="*/ 1531509 w 3302716"/>
                <a:gd name="connsiteY828" fmla="*/ 535145 h 2641600"/>
                <a:gd name="connsiteX829" fmla="*/ 1539096 w 3302716"/>
                <a:gd name="connsiteY829" fmla="*/ 533111 h 2641600"/>
                <a:gd name="connsiteX830" fmla="*/ 1548851 w 3302716"/>
                <a:gd name="connsiteY830" fmla="*/ 535145 h 2641600"/>
                <a:gd name="connsiteX831" fmla="*/ 1557521 w 3302716"/>
                <a:gd name="connsiteY831" fmla="*/ 533111 h 2641600"/>
                <a:gd name="connsiteX832" fmla="*/ 1558605 w 3302716"/>
                <a:gd name="connsiteY832" fmla="*/ 528026 h 2641600"/>
                <a:gd name="connsiteX833" fmla="*/ 1555354 w 3302716"/>
                <a:gd name="connsiteY833" fmla="*/ 521923 h 2641600"/>
                <a:gd name="connsiteX834" fmla="*/ 1552102 w 3302716"/>
                <a:gd name="connsiteY834" fmla="*/ 519889 h 2641600"/>
                <a:gd name="connsiteX835" fmla="*/ 1547767 w 3302716"/>
                <a:gd name="connsiteY835" fmla="*/ 516838 h 2641600"/>
                <a:gd name="connsiteX836" fmla="*/ 1541264 w 3302716"/>
                <a:gd name="connsiteY836" fmla="*/ 510735 h 2641600"/>
                <a:gd name="connsiteX837" fmla="*/ 1535845 w 3302716"/>
                <a:gd name="connsiteY837" fmla="*/ 502598 h 2641600"/>
                <a:gd name="connsiteX838" fmla="*/ 1530425 w 3302716"/>
                <a:gd name="connsiteY838" fmla="*/ 497513 h 2641600"/>
                <a:gd name="connsiteX839" fmla="*/ 1530425 w 3302716"/>
                <a:gd name="connsiteY839" fmla="*/ 492427 h 2641600"/>
                <a:gd name="connsiteX840" fmla="*/ 1535845 w 3302716"/>
                <a:gd name="connsiteY840" fmla="*/ 487342 h 2641600"/>
                <a:gd name="connsiteX841" fmla="*/ 1542348 w 3302716"/>
                <a:gd name="connsiteY841" fmla="*/ 485308 h 2641600"/>
                <a:gd name="connsiteX842" fmla="*/ 1547767 w 3302716"/>
                <a:gd name="connsiteY842" fmla="*/ 483273 h 2641600"/>
                <a:gd name="connsiteX843" fmla="*/ 1549934 w 3302716"/>
                <a:gd name="connsiteY843" fmla="*/ 481239 h 2641600"/>
                <a:gd name="connsiteX844" fmla="*/ 1553186 w 3302716"/>
                <a:gd name="connsiteY844" fmla="*/ 475137 h 2641600"/>
                <a:gd name="connsiteX845" fmla="*/ 1554270 w 3302716"/>
                <a:gd name="connsiteY845" fmla="*/ 469034 h 2641600"/>
                <a:gd name="connsiteX846" fmla="*/ 1554270 w 3302716"/>
                <a:gd name="connsiteY846" fmla="*/ 465983 h 2641600"/>
                <a:gd name="connsiteX847" fmla="*/ 1557521 w 3302716"/>
                <a:gd name="connsiteY847" fmla="*/ 462931 h 2641600"/>
                <a:gd name="connsiteX848" fmla="*/ 1562941 w 3302716"/>
                <a:gd name="connsiteY848" fmla="*/ 461914 h 2641600"/>
                <a:gd name="connsiteX849" fmla="*/ 1570527 w 3302716"/>
                <a:gd name="connsiteY849" fmla="*/ 460897 h 2641600"/>
                <a:gd name="connsiteX850" fmla="*/ 1577030 w 3302716"/>
                <a:gd name="connsiteY850" fmla="*/ 456829 h 2641600"/>
                <a:gd name="connsiteX851" fmla="*/ 1582450 w 3302716"/>
                <a:gd name="connsiteY851" fmla="*/ 454795 h 2641600"/>
                <a:gd name="connsiteX852" fmla="*/ 1593288 w 3302716"/>
                <a:gd name="connsiteY852" fmla="*/ 452760 h 2641600"/>
                <a:gd name="connsiteX853" fmla="*/ 1605210 w 3302716"/>
                <a:gd name="connsiteY853" fmla="*/ 450726 h 2641600"/>
                <a:gd name="connsiteX854" fmla="*/ 1614965 w 3302716"/>
                <a:gd name="connsiteY854" fmla="*/ 447675 h 2641600"/>
                <a:gd name="connsiteX855" fmla="*/ 1622551 w 3302716"/>
                <a:gd name="connsiteY855" fmla="*/ 450726 h 2641600"/>
                <a:gd name="connsiteX856" fmla="*/ 1622551 w 3302716"/>
                <a:gd name="connsiteY856" fmla="*/ 456829 h 2641600"/>
                <a:gd name="connsiteX857" fmla="*/ 1619300 w 3302716"/>
                <a:gd name="connsiteY857" fmla="*/ 465983 h 2641600"/>
                <a:gd name="connsiteX858" fmla="*/ 1614965 w 3302716"/>
                <a:gd name="connsiteY858" fmla="*/ 471068 h 2641600"/>
                <a:gd name="connsiteX859" fmla="*/ 1616048 w 3302716"/>
                <a:gd name="connsiteY859" fmla="*/ 475137 h 2641600"/>
                <a:gd name="connsiteX860" fmla="*/ 1622551 w 3302716"/>
                <a:gd name="connsiteY860" fmla="*/ 474119 h 2641600"/>
                <a:gd name="connsiteX861" fmla="*/ 1630138 w 3302716"/>
                <a:gd name="connsiteY861" fmla="*/ 471068 h 2641600"/>
                <a:gd name="connsiteX862" fmla="*/ 1635557 w 3302716"/>
                <a:gd name="connsiteY862" fmla="*/ 472085 h 2641600"/>
                <a:gd name="connsiteX863" fmla="*/ 1637725 w 3302716"/>
                <a:gd name="connsiteY863" fmla="*/ 475137 h 2641600"/>
                <a:gd name="connsiteX864" fmla="*/ 1639893 w 3302716"/>
                <a:gd name="connsiteY864" fmla="*/ 482256 h 2641600"/>
                <a:gd name="connsiteX865" fmla="*/ 1646396 w 3302716"/>
                <a:gd name="connsiteY865" fmla="*/ 489376 h 2641600"/>
                <a:gd name="connsiteX866" fmla="*/ 1653983 w 3302716"/>
                <a:gd name="connsiteY866" fmla="*/ 494461 h 2641600"/>
                <a:gd name="connsiteX867" fmla="*/ 1661570 w 3302716"/>
                <a:gd name="connsiteY867" fmla="*/ 495479 h 2641600"/>
                <a:gd name="connsiteX868" fmla="*/ 1664821 w 3302716"/>
                <a:gd name="connsiteY868" fmla="*/ 493444 h 2641600"/>
                <a:gd name="connsiteX869" fmla="*/ 1664821 w 3302716"/>
                <a:gd name="connsiteY869" fmla="*/ 486325 h 2641600"/>
                <a:gd name="connsiteX870" fmla="*/ 1663737 w 3302716"/>
                <a:gd name="connsiteY870" fmla="*/ 479205 h 2641600"/>
                <a:gd name="connsiteX871" fmla="*/ 1662653 w 3302716"/>
                <a:gd name="connsiteY871" fmla="*/ 475137 h 2641600"/>
                <a:gd name="connsiteX872" fmla="*/ 1666989 w 3302716"/>
                <a:gd name="connsiteY872" fmla="*/ 475137 h 2641600"/>
                <a:gd name="connsiteX873" fmla="*/ 1672408 w 3302716"/>
                <a:gd name="connsiteY873" fmla="*/ 481239 h 2641600"/>
                <a:gd name="connsiteX874" fmla="*/ 1678911 w 3302716"/>
                <a:gd name="connsiteY874" fmla="*/ 487342 h 2641600"/>
                <a:gd name="connsiteX875" fmla="*/ 1684330 w 3302716"/>
                <a:gd name="connsiteY875" fmla="*/ 495479 h 2641600"/>
                <a:gd name="connsiteX876" fmla="*/ 1685414 w 3302716"/>
                <a:gd name="connsiteY876" fmla="*/ 506667 h 2641600"/>
                <a:gd name="connsiteX877" fmla="*/ 1686498 w 3302716"/>
                <a:gd name="connsiteY877" fmla="*/ 517855 h 2641600"/>
                <a:gd name="connsiteX878" fmla="*/ 1687582 w 3302716"/>
                <a:gd name="connsiteY878" fmla="*/ 529043 h 2641600"/>
                <a:gd name="connsiteX879" fmla="*/ 1691917 w 3302716"/>
                <a:gd name="connsiteY879" fmla="*/ 532094 h 2641600"/>
                <a:gd name="connsiteX880" fmla="*/ 1695168 w 3302716"/>
                <a:gd name="connsiteY880" fmla="*/ 523957 h 2641600"/>
                <a:gd name="connsiteX881" fmla="*/ 1698420 w 3302716"/>
                <a:gd name="connsiteY881" fmla="*/ 512769 h 2641600"/>
                <a:gd name="connsiteX882" fmla="*/ 1701671 w 3302716"/>
                <a:gd name="connsiteY882" fmla="*/ 505650 h 2641600"/>
                <a:gd name="connsiteX883" fmla="*/ 1702755 w 3302716"/>
                <a:gd name="connsiteY883" fmla="*/ 499547 h 2641600"/>
                <a:gd name="connsiteX884" fmla="*/ 1700588 w 3302716"/>
                <a:gd name="connsiteY884" fmla="*/ 494461 h 2641600"/>
                <a:gd name="connsiteX885" fmla="*/ 1697336 w 3302716"/>
                <a:gd name="connsiteY885" fmla="*/ 487342 h 2641600"/>
                <a:gd name="connsiteX886" fmla="*/ 1696252 w 3302716"/>
                <a:gd name="connsiteY886" fmla="*/ 481239 h 2641600"/>
                <a:gd name="connsiteX887" fmla="*/ 1697336 w 3302716"/>
                <a:gd name="connsiteY887" fmla="*/ 475137 h 2641600"/>
                <a:gd name="connsiteX888" fmla="*/ 1700588 w 3302716"/>
                <a:gd name="connsiteY888" fmla="*/ 470051 h 2641600"/>
                <a:gd name="connsiteX889" fmla="*/ 1704923 w 3302716"/>
                <a:gd name="connsiteY889" fmla="*/ 468017 h 2641600"/>
                <a:gd name="connsiteX890" fmla="*/ 1710342 w 3302716"/>
                <a:gd name="connsiteY890" fmla="*/ 469034 h 2641600"/>
                <a:gd name="connsiteX891" fmla="*/ 1714677 w 3302716"/>
                <a:gd name="connsiteY891" fmla="*/ 471068 h 2641600"/>
                <a:gd name="connsiteX892" fmla="*/ 1721180 w 3302716"/>
                <a:gd name="connsiteY892" fmla="*/ 474119 h 2641600"/>
                <a:gd name="connsiteX893" fmla="*/ 1723348 w 3302716"/>
                <a:gd name="connsiteY893" fmla="*/ 472085 h 2641600"/>
                <a:gd name="connsiteX894" fmla="*/ 1725516 w 3302716"/>
                <a:gd name="connsiteY894" fmla="*/ 470051 h 2641600"/>
                <a:gd name="connsiteX895" fmla="*/ 1723348 w 3302716"/>
                <a:gd name="connsiteY895" fmla="*/ 467000 h 2641600"/>
                <a:gd name="connsiteX896" fmla="*/ 1723348 w 3302716"/>
                <a:gd name="connsiteY896" fmla="*/ 465983 h 2641600"/>
                <a:gd name="connsiteX897" fmla="*/ 1721180 w 3302716"/>
                <a:gd name="connsiteY897" fmla="*/ 462931 h 2641600"/>
                <a:gd name="connsiteX898" fmla="*/ 1716845 w 3302716"/>
                <a:gd name="connsiteY898" fmla="*/ 458863 h 2641600"/>
                <a:gd name="connsiteX899" fmla="*/ 1713594 w 3302716"/>
                <a:gd name="connsiteY899" fmla="*/ 454795 h 2641600"/>
                <a:gd name="connsiteX900" fmla="*/ 1721180 w 3302716"/>
                <a:gd name="connsiteY900" fmla="*/ 452760 h 2641600"/>
                <a:gd name="connsiteX901" fmla="*/ 1727683 w 3302716"/>
                <a:gd name="connsiteY901" fmla="*/ 452760 h 2641600"/>
                <a:gd name="connsiteX902" fmla="*/ 1735270 w 3302716"/>
                <a:gd name="connsiteY902" fmla="*/ 452760 h 2641600"/>
                <a:gd name="connsiteX903" fmla="*/ 1741773 w 3302716"/>
                <a:gd name="connsiteY903" fmla="*/ 452760 h 2641600"/>
                <a:gd name="connsiteX904" fmla="*/ 1747193 w 3302716"/>
                <a:gd name="connsiteY904" fmla="*/ 453777 h 2641600"/>
                <a:gd name="connsiteX905" fmla="*/ 1752612 w 3302716"/>
                <a:gd name="connsiteY905" fmla="*/ 455812 h 2641600"/>
                <a:gd name="connsiteX906" fmla="*/ 1755863 w 3302716"/>
                <a:gd name="connsiteY906" fmla="*/ 458863 h 2641600"/>
                <a:gd name="connsiteX907" fmla="*/ 1758031 w 3302716"/>
                <a:gd name="connsiteY907" fmla="*/ 462931 h 2641600"/>
                <a:gd name="connsiteX908" fmla="*/ 1755863 w 3302716"/>
                <a:gd name="connsiteY908" fmla="*/ 469034 h 2641600"/>
                <a:gd name="connsiteX909" fmla="*/ 1751528 w 3302716"/>
                <a:gd name="connsiteY909" fmla="*/ 479205 h 2641600"/>
                <a:gd name="connsiteX910" fmla="*/ 1747193 w 3302716"/>
                <a:gd name="connsiteY910" fmla="*/ 485308 h 2641600"/>
                <a:gd name="connsiteX911" fmla="*/ 1742857 w 3302716"/>
                <a:gd name="connsiteY911" fmla="*/ 487342 h 2641600"/>
                <a:gd name="connsiteX912" fmla="*/ 1738522 w 3302716"/>
                <a:gd name="connsiteY912" fmla="*/ 490393 h 2641600"/>
                <a:gd name="connsiteX913" fmla="*/ 1735270 w 3302716"/>
                <a:gd name="connsiteY913" fmla="*/ 493444 h 2641600"/>
                <a:gd name="connsiteX914" fmla="*/ 1736354 w 3302716"/>
                <a:gd name="connsiteY914" fmla="*/ 500564 h 2641600"/>
                <a:gd name="connsiteX915" fmla="*/ 1738522 w 3302716"/>
                <a:gd name="connsiteY915" fmla="*/ 508701 h 2641600"/>
                <a:gd name="connsiteX916" fmla="*/ 1739606 w 3302716"/>
                <a:gd name="connsiteY916" fmla="*/ 517855 h 2641600"/>
                <a:gd name="connsiteX917" fmla="*/ 1741773 w 3302716"/>
                <a:gd name="connsiteY917" fmla="*/ 528026 h 2641600"/>
                <a:gd name="connsiteX918" fmla="*/ 1742857 w 3302716"/>
                <a:gd name="connsiteY918" fmla="*/ 538197 h 2641600"/>
                <a:gd name="connsiteX919" fmla="*/ 1745025 w 3302716"/>
                <a:gd name="connsiteY919" fmla="*/ 547351 h 2641600"/>
                <a:gd name="connsiteX920" fmla="*/ 1745025 w 3302716"/>
                <a:gd name="connsiteY920" fmla="*/ 554470 h 2641600"/>
                <a:gd name="connsiteX921" fmla="*/ 1743941 w 3302716"/>
                <a:gd name="connsiteY921" fmla="*/ 559556 h 2641600"/>
                <a:gd name="connsiteX922" fmla="*/ 1742857 w 3302716"/>
                <a:gd name="connsiteY922" fmla="*/ 561590 h 2641600"/>
                <a:gd name="connsiteX923" fmla="*/ 1741773 w 3302716"/>
                <a:gd name="connsiteY923" fmla="*/ 564641 h 2641600"/>
                <a:gd name="connsiteX924" fmla="*/ 1741773 w 3302716"/>
                <a:gd name="connsiteY924" fmla="*/ 571761 h 2641600"/>
                <a:gd name="connsiteX925" fmla="*/ 1745025 w 3302716"/>
                <a:gd name="connsiteY925" fmla="*/ 579898 h 2641600"/>
                <a:gd name="connsiteX926" fmla="*/ 1749360 w 3302716"/>
                <a:gd name="connsiteY926" fmla="*/ 586000 h 2641600"/>
                <a:gd name="connsiteX927" fmla="*/ 1753696 w 3302716"/>
                <a:gd name="connsiteY927" fmla="*/ 591086 h 2641600"/>
                <a:gd name="connsiteX928" fmla="*/ 1761282 w 3302716"/>
                <a:gd name="connsiteY928" fmla="*/ 597189 h 2641600"/>
                <a:gd name="connsiteX929" fmla="*/ 1769953 w 3302716"/>
                <a:gd name="connsiteY929" fmla="*/ 603291 h 2641600"/>
                <a:gd name="connsiteX930" fmla="*/ 1777540 w 3302716"/>
                <a:gd name="connsiteY930" fmla="*/ 608377 h 2641600"/>
                <a:gd name="connsiteX931" fmla="*/ 1784043 w 3302716"/>
                <a:gd name="connsiteY931" fmla="*/ 610411 h 2641600"/>
                <a:gd name="connsiteX932" fmla="*/ 1786211 w 3302716"/>
                <a:gd name="connsiteY932" fmla="*/ 612445 h 2641600"/>
                <a:gd name="connsiteX933" fmla="*/ 1788378 w 3302716"/>
                <a:gd name="connsiteY933" fmla="*/ 614479 h 2641600"/>
                <a:gd name="connsiteX934" fmla="*/ 1793797 w 3302716"/>
                <a:gd name="connsiteY934" fmla="*/ 618548 h 2641600"/>
                <a:gd name="connsiteX935" fmla="*/ 1797049 w 3302716"/>
                <a:gd name="connsiteY935" fmla="*/ 625667 h 2641600"/>
                <a:gd name="connsiteX936" fmla="*/ 1795965 w 3302716"/>
                <a:gd name="connsiteY936" fmla="*/ 632787 h 2641600"/>
                <a:gd name="connsiteX937" fmla="*/ 1791630 w 3302716"/>
                <a:gd name="connsiteY937" fmla="*/ 637872 h 2641600"/>
                <a:gd name="connsiteX938" fmla="*/ 1786211 w 3302716"/>
                <a:gd name="connsiteY938" fmla="*/ 638890 h 2641600"/>
                <a:gd name="connsiteX939" fmla="*/ 1782959 w 3302716"/>
                <a:gd name="connsiteY939" fmla="*/ 637872 h 2641600"/>
                <a:gd name="connsiteX940" fmla="*/ 1778624 w 3302716"/>
                <a:gd name="connsiteY940" fmla="*/ 637872 h 2641600"/>
                <a:gd name="connsiteX941" fmla="*/ 1775372 w 3302716"/>
                <a:gd name="connsiteY941" fmla="*/ 637872 h 2641600"/>
                <a:gd name="connsiteX942" fmla="*/ 1772121 w 3302716"/>
                <a:gd name="connsiteY942" fmla="*/ 637872 h 2641600"/>
                <a:gd name="connsiteX943" fmla="*/ 1772121 w 3302716"/>
                <a:gd name="connsiteY943" fmla="*/ 639907 h 2641600"/>
                <a:gd name="connsiteX944" fmla="*/ 1774288 w 3302716"/>
                <a:gd name="connsiteY944" fmla="*/ 646009 h 2641600"/>
                <a:gd name="connsiteX945" fmla="*/ 1776456 w 3302716"/>
                <a:gd name="connsiteY945" fmla="*/ 655163 h 2641600"/>
                <a:gd name="connsiteX946" fmla="*/ 1778624 w 3302716"/>
                <a:gd name="connsiteY946" fmla="*/ 664317 h 2641600"/>
                <a:gd name="connsiteX947" fmla="*/ 1777540 w 3302716"/>
                <a:gd name="connsiteY947" fmla="*/ 671437 h 2641600"/>
                <a:gd name="connsiteX948" fmla="*/ 1774803 w 3302716"/>
                <a:gd name="connsiteY948" fmla="*/ 673271 h 2641600"/>
                <a:gd name="connsiteX949" fmla="*/ 1782968 w 3302716"/>
                <a:gd name="connsiteY949" fmla="*/ 673271 h 2641600"/>
                <a:gd name="connsiteX950" fmla="*/ 1806487 w 3302716"/>
                <a:gd name="connsiteY950" fmla="*/ 688876 h 2641600"/>
                <a:gd name="connsiteX951" fmla="*/ 1845685 w 3302716"/>
                <a:gd name="connsiteY951" fmla="*/ 649864 h 2641600"/>
                <a:gd name="connsiteX952" fmla="*/ 1837845 w 3302716"/>
                <a:gd name="connsiteY952" fmla="*/ 603049 h 2641600"/>
                <a:gd name="connsiteX953" fmla="*/ 1782968 w 3302716"/>
                <a:gd name="connsiteY953" fmla="*/ 556234 h 2641600"/>
                <a:gd name="connsiteX954" fmla="*/ 1782968 w 3302716"/>
                <a:gd name="connsiteY954" fmla="*/ 517222 h 2641600"/>
                <a:gd name="connsiteX955" fmla="*/ 1880953 w 3302716"/>
                <a:gd name="connsiteY955" fmla="*/ 369887 h 2641600"/>
                <a:gd name="connsiteX956" fmla="*/ 1883100 w 3302716"/>
                <a:gd name="connsiteY956" fmla="*/ 369887 h 2641600"/>
                <a:gd name="connsiteX957" fmla="*/ 1884174 w 3302716"/>
                <a:gd name="connsiteY957" fmla="*/ 369887 h 2641600"/>
                <a:gd name="connsiteX958" fmla="*/ 1885248 w 3302716"/>
                <a:gd name="connsiteY958" fmla="*/ 370888 h 2641600"/>
                <a:gd name="connsiteX959" fmla="*/ 1889544 w 3302716"/>
                <a:gd name="connsiteY959" fmla="*/ 374891 h 2641600"/>
                <a:gd name="connsiteX960" fmla="*/ 1891691 w 3302716"/>
                <a:gd name="connsiteY960" fmla="*/ 378894 h 2641600"/>
                <a:gd name="connsiteX961" fmla="*/ 1892765 w 3302716"/>
                <a:gd name="connsiteY961" fmla="*/ 384899 h 2641600"/>
                <a:gd name="connsiteX962" fmla="*/ 1892765 w 3302716"/>
                <a:gd name="connsiteY962" fmla="*/ 389903 h 2641600"/>
                <a:gd name="connsiteX963" fmla="*/ 1895987 w 3302716"/>
                <a:gd name="connsiteY963" fmla="*/ 393907 h 2641600"/>
                <a:gd name="connsiteX964" fmla="*/ 1897061 w 3302716"/>
                <a:gd name="connsiteY964" fmla="*/ 398911 h 2641600"/>
                <a:gd name="connsiteX965" fmla="*/ 1897061 w 3302716"/>
                <a:gd name="connsiteY965" fmla="*/ 404916 h 2641600"/>
                <a:gd name="connsiteX966" fmla="*/ 1893839 w 3302716"/>
                <a:gd name="connsiteY966" fmla="*/ 409920 h 2641600"/>
                <a:gd name="connsiteX967" fmla="*/ 1889544 w 3302716"/>
                <a:gd name="connsiteY967" fmla="*/ 413923 h 2641600"/>
                <a:gd name="connsiteX968" fmla="*/ 1884174 w 3302716"/>
                <a:gd name="connsiteY968" fmla="*/ 415925 h 2641600"/>
                <a:gd name="connsiteX969" fmla="*/ 1880953 w 3302716"/>
                <a:gd name="connsiteY969" fmla="*/ 413923 h 2641600"/>
                <a:gd name="connsiteX970" fmla="*/ 1877731 w 3302716"/>
                <a:gd name="connsiteY970" fmla="*/ 409920 h 2641600"/>
                <a:gd name="connsiteX971" fmla="*/ 1873436 w 3302716"/>
                <a:gd name="connsiteY971" fmla="*/ 406917 h 2641600"/>
                <a:gd name="connsiteX972" fmla="*/ 1868066 w 3302716"/>
                <a:gd name="connsiteY972" fmla="*/ 404916 h 2641600"/>
                <a:gd name="connsiteX973" fmla="*/ 1863771 w 3302716"/>
                <a:gd name="connsiteY973" fmla="*/ 400912 h 2641600"/>
                <a:gd name="connsiteX974" fmla="*/ 1860549 w 3302716"/>
                <a:gd name="connsiteY974" fmla="*/ 397910 h 2641600"/>
                <a:gd name="connsiteX975" fmla="*/ 1861623 w 3302716"/>
                <a:gd name="connsiteY975" fmla="*/ 392906 h 2641600"/>
                <a:gd name="connsiteX976" fmla="*/ 1864844 w 3302716"/>
                <a:gd name="connsiteY976" fmla="*/ 387902 h 2641600"/>
                <a:gd name="connsiteX977" fmla="*/ 1868066 w 3302716"/>
                <a:gd name="connsiteY977" fmla="*/ 384899 h 2641600"/>
                <a:gd name="connsiteX978" fmla="*/ 1872362 w 3302716"/>
                <a:gd name="connsiteY978" fmla="*/ 381897 h 2641600"/>
                <a:gd name="connsiteX979" fmla="*/ 1874509 w 3302716"/>
                <a:gd name="connsiteY979" fmla="*/ 376893 h 2641600"/>
                <a:gd name="connsiteX980" fmla="*/ 1875583 w 3302716"/>
                <a:gd name="connsiteY980" fmla="*/ 374891 h 2641600"/>
                <a:gd name="connsiteX981" fmla="*/ 1875583 w 3302716"/>
                <a:gd name="connsiteY981" fmla="*/ 373890 h 2641600"/>
                <a:gd name="connsiteX982" fmla="*/ 1877731 w 3302716"/>
                <a:gd name="connsiteY982" fmla="*/ 370888 h 2641600"/>
                <a:gd name="connsiteX983" fmla="*/ 1509540 w 3302716"/>
                <a:gd name="connsiteY983" fmla="*/ 361950 h 2641600"/>
                <a:gd name="connsiteX984" fmla="*/ 1512757 w 3302716"/>
                <a:gd name="connsiteY984" fmla="*/ 361950 h 2641600"/>
                <a:gd name="connsiteX985" fmla="*/ 1515975 w 3302716"/>
                <a:gd name="connsiteY985" fmla="*/ 362950 h 2641600"/>
                <a:gd name="connsiteX986" fmla="*/ 1521338 w 3302716"/>
                <a:gd name="connsiteY986" fmla="*/ 364951 h 2641600"/>
                <a:gd name="connsiteX987" fmla="*/ 1525629 w 3302716"/>
                <a:gd name="connsiteY987" fmla="*/ 368952 h 2641600"/>
                <a:gd name="connsiteX988" fmla="*/ 1530992 w 3302716"/>
                <a:gd name="connsiteY988" fmla="*/ 370953 h 2641600"/>
                <a:gd name="connsiteX989" fmla="*/ 1537428 w 3302716"/>
                <a:gd name="connsiteY989" fmla="*/ 371953 h 2641600"/>
                <a:gd name="connsiteX990" fmla="*/ 1544937 w 3302716"/>
                <a:gd name="connsiteY990" fmla="*/ 373954 h 2641600"/>
                <a:gd name="connsiteX991" fmla="*/ 1554590 w 3302716"/>
                <a:gd name="connsiteY991" fmla="*/ 375955 h 2641600"/>
                <a:gd name="connsiteX992" fmla="*/ 1558881 w 3302716"/>
                <a:gd name="connsiteY992" fmla="*/ 381957 h 2641600"/>
                <a:gd name="connsiteX993" fmla="*/ 1562098 w 3302716"/>
                <a:gd name="connsiteY993" fmla="*/ 387959 h 2641600"/>
                <a:gd name="connsiteX994" fmla="*/ 1566389 w 3302716"/>
                <a:gd name="connsiteY994" fmla="*/ 393961 h 2641600"/>
                <a:gd name="connsiteX995" fmla="*/ 1571752 w 3302716"/>
                <a:gd name="connsiteY995" fmla="*/ 396962 h 2641600"/>
                <a:gd name="connsiteX996" fmla="*/ 1577116 w 3302716"/>
                <a:gd name="connsiteY996" fmla="*/ 394961 h 2641600"/>
                <a:gd name="connsiteX997" fmla="*/ 1581406 w 3302716"/>
                <a:gd name="connsiteY997" fmla="*/ 394961 h 2641600"/>
                <a:gd name="connsiteX998" fmla="*/ 1587842 w 3302716"/>
                <a:gd name="connsiteY998" fmla="*/ 397962 h 2641600"/>
                <a:gd name="connsiteX999" fmla="*/ 1594278 w 3302716"/>
                <a:gd name="connsiteY999" fmla="*/ 405965 h 2641600"/>
                <a:gd name="connsiteX1000" fmla="*/ 1598568 w 3302716"/>
                <a:gd name="connsiteY1000" fmla="*/ 417969 h 2641600"/>
                <a:gd name="connsiteX1001" fmla="*/ 1599641 w 3302716"/>
                <a:gd name="connsiteY1001" fmla="*/ 428973 h 2641600"/>
                <a:gd name="connsiteX1002" fmla="*/ 1601786 w 3302716"/>
                <a:gd name="connsiteY1002" fmla="*/ 432974 h 2641600"/>
                <a:gd name="connsiteX1003" fmla="*/ 1599641 w 3302716"/>
                <a:gd name="connsiteY1003" fmla="*/ 436976 h 2641600"/>
                <a:gd name="connsiteX1004" fmla="*/ 1597496 w 3302716"/>
                <a:gd name="connsiteY1004" fmla="*/ 439977 h 2641600"/>
                <a:gd name="connsiteX1005" fmla="*/ 1593205 w 3302716"/>
                <a:gd name="connsiteY1005" fmla="*/ 443978 h 2641600"/>
                <a:gd name="connsiteX1006" fmla="*/ 1587842 w 3302716"/>
                <a:gd name="connsiteY1006" fmla="*/ 445979 h 2641600"/>
                <a:gd name="connsiteX1007" fmla="*/ 1580334 w 3302716"/>
                <a:gd name="connsiteY1007" fmla="*/ 447979 h 2641600"/>
                <a:gd name="connsiteX1008" fmla="*/ 1571752 w 3302716"/>
                <a:gd name="connsiteY1008" fmla="*/ 450980 h 2641600"/>
                <a:gd name="connsiteX1009" fmla="*/ 1563171 w 3302716"/>
                <a:gd name="connsiteY1009" fmla="*/ 451981 h 2641600"/>
                <a:gd name="connsiteX1010" fmla="*/ 1554590 w 3302716"/>
                <a:gd name="connsiteY1010" fmla="*/ 453981 h 2641600"/>
                <a:gd name="connsiteX1011" fmla="*/ 1540646 w 3302716"/>
                <a:gd name="connsiteY1011" fmla="*/ 457983 h 2641600"/>
                <a:gd name="connsiteX1012" fmla="*/ 1536355 w 3302716"/>
                <a:gd name="connsiteY1012" fmla="*/ 460984 h 2641600"/>
                <a:gd name="connsiteX1013" fmla="*/ 1536355 w 3302716"/>
                <a:gd name="connsiteY1013" fmla="*/ 465985 h 2641600"/>
                <a:gd name="connsiteX1014" fmla="*/ 1536355 w 3302716"/>
                <a:gd name="connsiteY1014" fmla="*/ 472988 h 2641600"/>
                <a:gd name="connsiteX1015" fmla="*/ 1532065 w 3302716"/>
                <a:gd name="connsiteY1015" fmla="*/ 477990 h 2641600"/>
                <a:gd name="connsiteX1016" fmla="*/ 1523484 w 3302716"/>
                <a:gd name="connsiteY1016" fmla="*/ 480991 h 2641600"/>
                <a:gd name="connsiteX1017" fmla="*/ 1513830 w 3302716"/>
                <a:gd name="connsiteY1017" fmla="*/ 485992 h 2641600"/>
                <a:gd name="connsiteX1018" fmla="*/ 1507395 w 3302716"/>
                <a:gd name="connsiteY1018" fmla="*/ 496996 h 2641600"/>
                <a:gd name="connsiteX1019" fmla="*/ 1502031 w 3302716"/>
                <a:gd name="connsiteY1019" fmla="*/ 507000 h 2641600"/>
                <a:gd name="connsiteX1020" fmla="*/ 1496668 w 3302716"/>
                <a:gd name="connsiteY1020" fmla="*/ 508000 h 2641600"/>
                <a:gd name="connsiteX1021" fmla="*/ 1490232 w 3302716"/>
                <a:gd name="connsiteY1021" fmla="*/ 504999 h 2641600"/>
                <a:gd name="connsiteX1022" fmla="*/ 1484869 w 3302716"/>
                <a:gd name="connsiteY1022" fmla="*/ 499997 h 2641600"/>
                <a:gd name="connsiteX1023" fmla="*/ 1481651 w 3302716"/>
                <a:gd name="connsiteY1023" fmla="*/ 498997 h 2641600"/>
                <a:gd name="connsiteX1024" fmla="*/ 1477361 w 3302716"/>
                <a:gd name="connsiteY1024" fmla="*/ 500997 h 2641600"/>
                <a:gd name="connsiteX1025" fmla="*/ 1471998 w 3302716"/>
                <a:gd name="connsiteY1025" fmla="*/ 504999 h 2641600"/>
                <a:gd name="connsiteX1026" fmla="*/ 1464489 w 3302716"/>
                <a:gd name="connsiteY1026" fmla="*/ 508000 h 2641600"/>
                <a:gd name="connsiteX1027" fmla="*/ 1459126 w 3302716"/>
                <a:gd name="connsiteY1027" fmla="*/ 505999 h 2641600"/>
                <a:gd name="connsiteX1028" fmla="*/ 1458053 w 3302716"/>
                <a:gd name="connsiteY1028" fmla="*/ 497996 h 2641600"/>
                <a:gd name="connsiteX1029" fmla="*/ 1458053 w 3302716"/>
                <a:gd name="connsiteY1029" fmla="*/ 484992 h 2641600"/>
                <a:gd name="connsiteX1030" fmla="*/ 1454835 w 3302716"/>
                <a:gd name="connsiteY1030" fmla="*/ 468987 h 2641600"/>
                <a:gd name="connsiteX1031" fmla="*/ 1449472 w 3302716"/>
                <a:gd name="connsiteY1031" fmla="*/ 455982 h 2641600"/>
                <a:gd name="connsiteX1032" fmla="*/ 1447327 w 3302716"/>
                <a:gd name="connsiteY1032" fmla="*/ 452981 h 2641600"/>
                <a:gd name="connsiteX1033" fmla="*/ 1446254 w 3302716"/>
                <a:gd name="connsiteY1033" fmla="*/ 452981 h 2641600"/>
                <a:gd name="connsiteX1034" fmla="*/ 1443036 w 3302716"/>
                <a:gd name="connsiteY1034" fmla="*/ 451981 h 2641600"/>
                <a:gd name="connsiteX1035" fmla="*/ 1446254 w 3302716"/>
                <a:gd name="connsiteY1035" fmla="*/ 443978 h 2641600"/>
                <a:gd name="connsiteX1036" fmla="*/ 1454835 w 3302716"/>
                <a:gd name="connsiteY1036" fmla="*/ 432974 h 2641600"/>
                <a:gd name="connsiteX1037" fmla="*/ 1464489 w 3302716"/>
                <a:gd name="connsiteY1037" fmla="*/ 423971 h 2641600"/>
                <a:gd name="connsiteX1038" fmla="*/ 1471998 w 3302716"/>
                <a:gd name="connsiteY1038" fmla="*/ 416969 h 2641600"/>
                <a:gd name="connsiteX1039" fmla="*/ 1477361 w 3302716"/>
                <a:gd name="connsiteY1039" fmla="*/ 411967 h 2641600"/>
                <a:gd name="connsiteX1040" fmla="*/ 1488087 w 3302716"/>
                <a:gd name="connsiteY1040" fmla="*/ 401964 h 2641600"/>
                <a:gd name="connsiteX1041" fmla="*/ 1496668 w 3302716"/>
                <a:gd name="connsiteY1041" fmla="*/ 392960 h 2641600"/>
                <a:gd name="connsiteX1042" fmla="*/ 1502031 w 3302716"/>
                <a:gd name="connsiteY1042" fmla="*/ 385958 h 2641600"/>
                <a:gd name="connsiteX1043" fmla="*/ 1504177 w 3302716"/>
                <a:gd name="connsiteY1043" fmla="*/ 381957 h 2641600"/>
                <a:gd name="connsiteX1044" fmla="*/ 1505249 w 3302716"/>
                <a:gd name="connsiteY1044" fmla="*/ 376955 h 2641600"/>
                <a:gd name="connsiteX1045" fmla="*/ 1505249 w 3302716"/>
                <a:gd name="connsiteY1045" fmla="*/ 369953 h 2641600"/>
                <a:gd name="connsiteX1046" fmla="*/ 1507395 w 3302716"/>
                <a:gd name="connsiteY1046" fmla="*/ 363950 h 2641600"/>
                <a:gd name="connsiteX1047" fmla="*/ 1770098 w 3302716"/>
                <a:gd name="connsiteY1047" fmla="*/ 320675 h 2641600"/>
                <a:gd name="connsiteX1048" fmla="*/ 1777592 w 3302716"/>
                <a:gd name="connsiteY1048" fmla="*/ 325735 h 2641600"/>
                <a:gd name="connsiteX1049" fmla="*/ 1785087 w 3302716"/>
                <a:gd name="connsiteY1049" fmla="*/ 332819 h 2641600"/>
                <a:gd name="connsiteX1050" fmla="*/ 1788299 w 3302716"/>
                <a:gd name="connsiteY1050" fmla="*/ 336867 h 2641600"/>
                <a:gd name="connsiteX1051" fmla="*/ 1790440 w 3302716"/>
                <a:gd name="connsiteY1051" fmla="*/ 336867 h 2641600"/>
                <a:gd name="connsiteX1052" fmla="*/ 1793652 w 3302716"/>
                <a:gd name="connsiteY1052" fmla="*/ 336867 h 2641600"/>
                <a:gd name="connsiteX1053" fmla="*/ 1796864 w 3302716"/>
                <a:gd name="connsiteY1053" fmla="*/ 335855 h 2641600"/>
                <a:gd name="connsiteX1054" fmla="*/ 1801146 w 3302716"/>
                <a:gd name="connsiteY1054" fmla="*/ 331807 h 2641600"/>
                <a:gd name="connsiteX1055" fmla="*/ 1804358 w 3302716"/>
                <a:gd name="connsiteY1055" fmla="*/ 329783 h 2641600"/>
                <a:gd name="connsiteX1056" fmla="*/ 1808641 w 3302716"/>
                <a:gd name="connsiteY1056" fmla="*/ 331807 h 2641600"/>
                <a:gd name="connsiteX1057" fmla="*/ 1812923 w 3302716"/>
                <a:gd name="connsiteY1057" fmla="*/ 335855 h 2641600"/>
                <a:gd name="connsiteX1058" fmla="*/ 1817206 w 3302716"/>
                <a:gd name="connsiteY1058" fmla="*/ 336867 h 2641600"/>
                <a:gd name="connsiteX1059" fmla="*/ 1818277 w 3302716"/>
                <a:gd name="connsiteY1059" fmla="*/ 333831 h 2641600"/>
                <a:gd name="connsiteX1060" fmla="*/ 1817206 w 3302716"/>
                <a:gd name="connsiteY1060" fmla="*/ 331807 h 2641600"/>
                <a:gd name="connsiteX1061" fmla="*/ 1815065 w 3302716"/>
                <a:gd name="connsiteY1061" fmla="*/ 327759 h 2641600"/>
                <a:gd name="connsiteX1062" fmla="*/ 1815065 w 3302716"/>
                <a:gd name="connsiteY1062" fmla="*/ 323711 h 2641600"/>
                <a:gd name="connsiteX1063" fmla="*/ 1817206 w 3302716"/>
                <a:gd name="connsiteY1063" fmla="*/ 322699 h 2641600"/>
                <a:gd name="connsiteX1064" fmla="*/ 1820418 w 3302716"/>
                <a:gd name="connsiteY1064" fmla="*/ 323711 h 2641600"/>
                <a:gd name="connsiteX1065" fmla="*/ 1825771 w 3302716"/>
                <a:gd name="connsiteY1065" fmla="*/ 328771 h 2641600"/>
                <a:gd name="connsiteX1066" fmla="*/ 1831124 w 3302716"/>
                <a:gd name="connsiteY1066" fmla="*/ 331807 h 2641600"/>
                <a:gd name="connsiteX1067" fmla="*/ 1834336 w 3302716"/>
                <a:gd name="connsiteY1067" fmla="*/ 332819 h 2641600"/>
                <a:gd name="connsiteX1068" fmla="*/ 1835407 w 3302716"/>
                <a:gd name="connsiteY1068" fmla="*/ 330795 h 2641600"/>
                <a:gd name="connsiteX1069" fmla="*/ 1836478 w 3302716"/>
                <a:gd name="connsiteY1069" fmla="*/ 328771 h 2641600"/>
                <a:gd name="connsiteX1070" fmla="*/ 1842901 w 3302716"/>
                <a:gd name="connsiteY1070" fmla="*/ 327759 h 2641600"/>
                <a:gd name="connsiteX1071" fmla="*/ 1848255 w 3302716"/>
                <a:gd name="connsiteY1071" fmla="*/ 329783 h 2641600"/>
                <a:gd name="connsiteX1072" fmla="*/ 1849325 w 3302716"/>
                <a:gd name="connsiteY1072" fmla="*/ 335855 h 2641600"/>
                <a:gd name="connsiteX1073" fmla="*/ 1848255 w 3302716"/>
                <a:gd name="connsiteY1073" fmla="*/ 342939 h 2641600"/>
                <a:gd name="connsiteX1074" fmla="*/ 1843972 w 3302716"/>
                <a:gd name="connsiteY1074" fmla="*/ 352048 h 2641600"/>
                <a:gd name="connsiteX1075" fmla="*/ 1842901 w 3302716"/>
                <a:gd name="connsiteY1075" fmla="*/ 358120 h 2641600"/>
                <a:gd name="connsiteX1076" fmla="*/ 1843972 w 3302716"/>
                <a:gd name="connsiteY1076" fmla="*/ 360144 h 2641600"/>
                <a:gd name="connsiteX1077" fmla="*/ 1849325 w 3302716"/>
                <a:gd name="connsiteY1077" fmla="*/ 363180 h 2641600"/>
                <a:gd name="connsiteX1078" fmla="*/ 1855749 w 3302716"/>
                <a:gd name="connsiteY1078" fmla="*/ 371276 h 2641600"/>
                <a:gd name="connsiteX1079" fmla="*/ 1858961 w 3302716"/>
                <a:gd name="connsiteY1079" fmla="*/ 378360 h 2641600"/>
                <a:gd name="connsiteX1080" fmla="*/ 1856820 w 3302716"/>
                <a:gd name="connsiteY1080" fmla="*/ 379372 h 2641600"/>
                <a:gd name="connsiteX1081" fmla="*/ 1851466 w 3302716"/>
                <a:gd name="connsiteY1081" fmla="*/ 377348 h 2641600"/>
                <a:gd name="connsiteX1082" fmla="*/ 1847184 w 3302716"/>
                <a:gd name="connsiteY1082" fmla="*/ 375324 h 2641600"/>
                <a:gd name="connsiteX1083" fmla="*/ 1843972 w 3302716"/>
                <a:gd name="connsiteY1083" fmla="*/ 375324 h 2641600"/>
                <a:gd name="connsiteX1084" fmla="*/ 1843972 w 3302716"/>
                <a:gd name="connsiteY1084" fmla="*/ 378360 h 2641600"/>
                <a:gd name="connsiteX1085" fmla="*/ 1847184 w 3302716"/>
                <a:gd name="connsiteY1085" fmla="*/ 383420 h 2641600"/>
                <a:gd name="connsiteX1086" fmla="*/ 1848255 w 3302716"/>
                <a:gd name="connsiteY1086" fmla="*/ 385444 h 2641600"/>
                <a:gd name="connsiteX1087" fmla="*/ 1843972 w 3302716"/>
                <a:gd name="connsiteY1087" fmla="*/ 387468 h 2641600"/>
                <a:gd name="connsiteX1088" fmla="*/ 1835407 w 3302716"/>
                <a:gd name="connsiteY1088" fmla="*/ 393541 h 2641600"/>
                <a:gd name="connsiteX1089" fmla="*/ 1824700 w 3302716"/>
                <a:gd name="connsiteY1089" fmla="*/ 398601 h 2641600"/>
                <a:gd name="connsiteX1090" fmla="*/ 1812923 w 3302716"/>
                <a:gd name="connsiteY1090" fmla="*/ 401637 h 2641600"/>
                <a:gd name="connsiteX1091" fmla="*/ 1807570 w 3302716"/>
                <a:gd name="connsiteY1091" fmla="*/ 400625 h 2641600"/>
                <a:gd name="connsiteX1092" fmla="*/ 1807570 w 3302716"/>
                <a:gd name="connsiteY1092" fmla="*/ 394553 h 2641600"/>
                <a:gd name="connsiteX1093" fmla="*/ 1809712 w 3302716"/>
                <a:gd name="connsiteY1093" fmla="*/ 386456 h 2641600"/>
                <a:gd name="connsiteX1094" fmla="*/ 1811853 w 3302716"/>
                <a:gd name="connsiteY1094" fmla="*/ 379372 h 2641600"/>
                <a:gd name="connsiteX1095" fmla="*/ 1811853 w 3302716"/>
                <a:gd name="connsiteY1095" fmla="*/ 375324 h 2641600"/>
                <a:gd name="connsiteX1096" fmla="*/ 1810782 w 3302716"/>
                <a:gd name="connsiteY1096" fmla="*/ 374312 h 2641600"/>
                <a:gd name="connsiteX1097" fmla="*/ 1807570 w 3302716"/>
                <a:gd name="connsiteY1097" fmla="*/ 374312 h 2641600"/>
                <a:gd name="connsiteX1098" fmla="*/ 1800076 w 3302716"/>
                <a:gd name="connsiteY1098" fmla="*/ 375324 h 2641600"/>
                <a:gd name="connsiteX1099" fmla="*/ 1792581 w 3302716"/>
                <a:gd name="connsiteY1099" fmla="*/ 375324 h 2641600"/>
                <a:gd name="connsiteX1100" fmla="*/ 1790440 w 3302716"/>
                <a:gd name="connsiteY1100" fmla="*/ 375324 h 2641600"/>
                <a:gd name="connsiteX1101" fmla="*/ 1788299 w 3302716"/>
                <a:gd name="connsiteY1101" fmla="*/ 373300 h 2641600"/>
                <a:gd name="connsiteX1102" fmla="*/ 1791511 w 3302716"/>
                <a:gd name="connsiteY1102" fmla="*/ 368240 h 2641600"/>
                <a:gd name="connsiteX1103" fmla="*/ 1792581 w 3302716"/>
                <a:gd name="connsiteY1103" fmla="*/ 364192 h 2641600"/>
                <a:gd name="connsiteX1104" fmla="*/ 1790440 w 3302716"/>
                <a:gd name="connsiteY1104" fmla="*/ 363180 h 2641600"/>
                <a:gd name="connsiteX1105" fmla="*/ 1786157 w 3302716"/>
                <a:gd name="connsiteY1105" fmla="*/ 363180 h 2641600"/>
                <a:gd name="connsiteX1106" fmla="*/ 1782946 w 3302716"/>
                <a:gd name="connsiteY1106" fmla="*/ 363180 h 2641600"/>
                <a:gd name="connsiteX1107" fmla="*/ 1778663 w 3302716"/>
                <a:gd name="connsiteY1107" fmla="*/ 362168 h 2641600"/>
                <a:gd name="connsiteX1108" fmla="*/ 1775451 w 3302716"/>
                <a:gd name="connsiteY1108" fmla="*/ 359132 h 2641600"/>
                <a:gd name="connsiteX1109" fmla="*/ 1772239 w 3302716"/>
                <a:gd name="connsiteY1109" fmla="*/ 354072 h 2641600"/>
                <a:gd name="connsiteX1110" fmla="*/ 1771168 w 3302716"/>
                <a:gd name="connsiteY1110" fmla="*/ 347999 h 2641600"/>
                <a:gd name="connsiteX1111" fmla="*/ 1770098 w 3302716"/>
                <a:gd name="connsiteY1111" fmla="*/ 342939 h 2641600"/>
                <a:gd name="connsiteX1112" fmla="*/ 1769027 w 3302716"/>
                <a:gd name="connsiteY1112" fmla="*/ 335855 h 2641600"/>
                <a:gd name="connsiteX1113" fmla="*/ 1767957 w 3302716"/>
                <a:gd name="connsiteY1113" fmla="*/ 329783 h 2641600"/>
                <a:gd name="connsiteX1114" fmla="*/ 1766886 w 3302716"/>
                <a:gd name="connsiteY1114" fmla="*/ 322699 h 2641600"/>
                <a:gd name="connsiteX1115" fmla="*/ 1648242 w 3302716"/>
                <a:gd name="connsiteY1115" fmla="*/ 307975 h 2641600"/>
                <a:gd name="connsiteX1116" fmla="*/ 1655845 w 3302716"/>
                <a:gd name="connsiteY1116" fmla="*/ 307975 h 2641600"/>
                <a:gd name="connsiteX1117" fmla="*/ 1660189 w 3302716"/>
                <a:gd name="connsiteY1117" fmla="*/ 310033 h 2641600"/>
                <a:gd name="connsiteX1118" fmla="*/ 1661276 w 3302716"/>
                <a:gd name="connsiteY1118" fmla="*/ 313121 h 2641600"/>
                <a:gd name="connsiteX1119" fmla="*/ 1660189 w 3302716"/>
                <a:gd name="connsiteY1119" fmla="*/ 316209 h 2641600"/>
                <a:gd name="connsiteX1120" fmla="*/ 1661276 w 3302716"/>
                <a:gd name="connsiteY1120" fmla="*/ 321355 h 2641600"/>
                <a:gd name="connsiteX1121" fmla="*/ 1665620 w 3302716"/>
                <a:gd name="connsiteY1121" fmla="*/ 323414 h 2641600"/>
                <a:gd name="connsiteX1122" fmla="*/ 1671051 w 3302716"/>
                <a:gd name="connsiteY1122" fmla="*/ 327531 h 2641600"/>
                <a:gd name="connsiteX1123" fmla="*/ 1672137 w 3302716"/>
                <a:gd name="connsiteY1123" fmla="*/ 331648 h 2641600"/>
                <a:gd name="connsiteX1124" fmla="*/ 1672137 w 3302716"/>
                <a:gd name="connsiteY1124" fmla="*/ 336794 h 2641600"/>
                <a:gd name="connsiteX1125" fmla="*/ 1677568 w 3302716"/>
                <a:gd name="connsiteY1125" fmla="*/ 339882 h 2641600"/>
                <a:gd name="connsiteX1126" fmla="*/ 1681913 w 3302716"/>
                <a:gd name="connsiteY1126" fmla="*/ 343999 h 2641600"/>
                <a:gd name="connsiteX1127" fmla="*/ 1685172 w 3302716"/>
                <a:gd name="connsiteY1127" fmla="*/ 348116 h 2641600"/>
                <a:gd name="connsiteX1128" fmla="*/ 1685172 w 3302716"/>
                <a:gd name="connsiteY1128" fmla="*/ 353262 h 2641600"/>
                <a:gd name="connsiteX1129" fmla="*/ 1685172 w 3302716"/>
                <a:gd name="connsiteY1129" fmla="*/ 356350 h 2641600"/>
                <a:gd name="connsiteX1130" fmla="*/ 1687344 w 3302716"/>
                <a:gd name="connsiteY1130" fmla="*/ 359437 h 2641600"/>
                <a:gd name="connsiteX1131" fmla="*/ 1692775 w 3302716"/>
                <a:gd name="connsiteY1131" fmla="*/ 361496 h 2641600"/>
                <a:gd name="connsiteX1132" fmla="*/ 1698206 w 3302716"/>
                <a:gd name="connsiteY1132" fmla="*/ 364584 h 2641600"/>
                <a:gd name="connsiteX1133" fmla="*/ 1704723 w 3302716"/>
                <a:gd name="connsiteY1133" fmla="*/ 368701 h 2641600"/>
                <a:gd name="connsiteX1134" fmla="*/ 1709068 w 3302716"/>
                <a:gd name="connsiteY1134" fmla="*/ 368701 h 2641600"/>
                <a:gd name="connsiteX1135" fmla="*/ 1710154 w 3302716"/>
                <a:gd name="connsiteY1135" fmla="*/ 363554 h 2641600"/>
                <a:gd name="connsiteX1136" fmla="*/ 1710154 w 3302716"/>
                <a:gd name="connsiteY1136" fmla="*/ 356350 h 2641600"/>
                <a:gd name="connsiteX1137" fmla="*/ 1710154 w 3302716"/>
                <a:gd name="connsiteY1137" fmla="*/ 351203 h 2641600"/>
                <a:gd name="connsiteX1138" fmla="*/ 1710154 w 3302716"/>
                <a:gd name="connsiteY1138" fmla="*/ 346057 h 2641600"/>
                <a:gd name="connsiteX1139" fmla="*/ 1710154 w 3302716"/>
                <a:gd name="connsiteY1139" fmla="*/ 340911 h 2641600"/>
                <a:gd name="connsiteX1140" fmla="*/ 1706895 w 3302716"/>
                <a:gd name="connsiteY1140" fmla="*/ 338852 h 2641600"/>
                <a:gd name="connsiteX1141" fmla="*/ 1704723 w 3302716"/>
                <a:gd name="connsiteY1141" fmla="*/ 338852 h 2641600"/>
                <a:gd name="connsiteX1142" fmla="*/ 1703637 w 3302716"/>
                <a:gd name="connsiteY1142" fmla="*/ 337823 h 2641600"/>
                <a:gd name="connsiteX1143" fmla="*/ 1702551 w 3302716"/>
                <a:gd name="connsiteY1143" fmla="*/ 332677 h 2641600"/>
                <a:gd name="connsiteX1144" fmla="*/ 1702551 w 3302716"/>
                <a:gd name="connsiteY1144" fmla="*/ 327531 h 2641600"/>
                <a:gd name="connsiteX1145" fmla="*/ 1702551 w 3302716"/>
                <a:gd name="connsiteY1145" fmla="*/ 322384 h 2641600"/>
                <a:gd name="connsiteX1146" fmla="*/ 1703637 w 3302716"/>
                <a:gd name="connsiteY1146" fmla="*/ 319297 h 2641600"/>
                <a:gd name="connsiteX1147" fmla="*/ 1706895 w 3302716"/>
                <a:gd name="connsiteY1147" fmla="*/ 316209 h 2641600"/>
                <a:gd name="connsiteX1148" fmla="*/ 1713413 w 3302716"/>
                <a:gd name="connsiteY1148" fmla="*/ 314150 h 2641600"/>
                <a:gd name="connsiteX1149" fmla="*/ 1718844 w 3302716"/>
                <a:gd name="connsiteY1149" fmla="*/ 312092 h 2641600"/>
                <a:gd name="connsiteX1150" fmla="*/ 1723188 w 3302716"/>
                <a:gd name="connsiteY1150" fmla="*/ 309004 h 2641600"/>
                <a:gd name="connsiteX1151" fmla="*/ 1724274 w 3302716"/>
                <a:gd name="connsiteY1151" fmla="*/ 307975 h 2641600"/>
                <a:gd name="connsiteX1152" fmla="*/ 1724274 w 3302716"/>
                <a:gd name="connsiteY1152" fmla="*/ 312092 h 2641600"/>
                <a:gd name="connsiteX1153" fmla="*/ 1723188 w 3302716"/>
                <a:gd name="connsiteY1153" fmla="*/ 321355 h 2641600"/>
                <a:gd name="connsiteX1154" fmla="*/ 1723188 w 3302716"/>
                <a:gd name="connsiteY1154" fmla="*/ 331648 h 2641600"/>
                <a:gd name="connsiteX1155" fmla="*/ 1722102 w 3302716"/>
                <a:gd name="connsiteY1155" fmla="*/ 338852 h 2641600"/>
                <a:gd name="connsiteX1156" fmla="*/ 1721016 w 3302716"/>
                <a:gd name="connsiteY1156" fmla="*/ 343999 h 2641600"/>
                <a:gd name="connsiteX1157" fmla="*/ 1721016 w 3302716"/>
                <a:gd name="connsiteY1157" fmla="*/ 348116 h 2641600"/>
                <a:gd name="connsiteX1158" fmla="*/ 1722102 w 3302716"/>
                <a:gd name="connsiteY1158" fmla="*/ 353262 h 2641600"/>
                <a:gd name="connsiteX1159" fmla="*/ 1727533 w 3302716"/>
                <a:gd name="connsiteY1159" fmla="*/ 355320 h 2641600"/>
                <a:gd name="connsiteX1160" fmla="*/ 1731878 w 3302716"/>
                <a:gd name="connsiteY1160" fmla="*/ 352233 h 2641600"/>
                <a:gd name="connsiteX1161" fmla="*/ 1734050 w 3302716"/>
                <a:gd name="connsiteY1161" fmla="*/ 346057 h 2641600"/>
                <a:gd name="connsiteX1162" fmla="*/ 1736223 w 3302716"/>
                <a:gd name="connsiteY1162" fmla="*/ 342969 h 2641600"/>
                <a:gd name="connsiteX1163" fmla="*/ 1742740 w 3302716"/>
                <a:gd name="connsiteY1163" fmla="*/ 345028 h 2641600"/>
                <a:gd name="connsiteX1164" fmla="*/ 1750343 w 3302716"/>
                <a:gd name="connsiteY1164" fmla="*/ 351203 h 2641600"/>
                <a:gd name="connsiteX1165" fmla="*/ 1754688 w 3302716"/>
                <a:gd name="connsiteY1165" fmla="*/ 354291 h 2641600"/>
                <a:gd name="connsiteX1166" fmla="*/ 1755774 w 3302716"/>
                <a:gd name="connsiteY1166" fmla="*/ 358408 h 2641600"/>
                <a:gd name="connsiteX1167" fmla="*/ 1754688 w 3302716"/>
                <a:gd name="connsiteY1167" fmla="*/ 363554 h 2641600"/>
                <a:gd name="connsiteX1168" fmla="*/ 1754688 w 3302716"/>
                <a:gd name="connsiteY1168" fmla="*/ 369730 h 2641600"/>
                <a:gd name="connsiteX1169" fmla="*/ 1754688 w 3302716"/>
                <a:gd name="connsiteY1169" fmla="*/ 371788 h 2641600"/>
                <a:gd name="connsiteX1170" fmla="*/ 1753602 w 3302716"/>
                <a:gd name="connsiteY1170" fmla="*/ 375905 h 2641600"/>
                <a:gd name="connsiteX1171" fmla="*/ 1750343 w 3302716"/>
                <a:gd name="connsiteY1171" fmla="*/ 382081 h 2641600"/>
                <a:gd name="connsiteX1172" fmla="*/ 1744912 w 3302716"/>
                <a:gd name="connsiteY1172" fmla="*/ 388257 h 2641600"/>
                <a:gd name="connsiteX1173" fmla="*/ 1742740 w 3302716"/>
                <a:gd name="connsiteY1173" fmla="*/ 392374 h 2641600"/>
                <a:gd name="connsiteX1174" fmla="*/ 1737309 w 3302716"/>
                <a:gd name="connsiteY1174" fmla="*/ 394432 h 2641600"/>
                <a:gd name="connsiteX1175" fmla="*/ 1727533 w 3302716"/>
                <a:gd name="connsiteY1175" fmla="*/ 393403 h 2641600"/>
                <a:gd name="connsiteX1176" fmla="*/ 1715585 w 3302716"/>
                <a:gd name="connsiteY1176" fmla="*/ 391344 h 2641600"/>
                <a:gd name="connsiteX1177" fmla="*/ 1706895 w 3302716"/>
                <a:gd name="connsiteY1177" fmla="*/ 388257 h 2641600"/>
                <a:gd name="connsiteX1178" fmla="*/ 1701465 w 3302716"/>
                <a:gd name="connsiteY1178" fmla="*/ 387227 h 2641600"/>
                <a:gd name="connsiteX1179" fmla="*/ 1697120 w 3302716"/>
                <a:gd name="connsiteY1179" fmla="*/ 390315 h 2641600"/>
                <a:gd name="connsiteX1180" fmla="*/ 1693861 w 3302716"/>
                <a:gd name="connsiteY1180" fmla="*/ 393403 h 2641600"/>
                <a:gd name="connsiteX1181" fmla="*/ 1689516 w 3302716"/>
                <a:gd name="connsiteY1181" fmla="*/ 395461 h 2641600"/>
                <a:gd name="connsiteX1182" fmla="*/ 1685172 w 3302716"/>
                <a:gd name="connsiteY1182" fmla="*/ 398549 h 2641600"/>
                <a:gd name="connsiteX1183" fmla="*/ 1677568 w 3302716"/>
                <a:gd name="connsiteY1183" fmla="*/ 400608 h 2641600"/>
                <a:gd name="connsiteX1184" fmla="*/ 1669965 w 3302716"/>
                <a:gd name="connsiteY1184" fmla="*/ 401637 h 2641600"/>
                <a:gd name="connsiteX1185" fmla="*/ 1664534 w 3302716"/>
                <a:gd name="connsiteY1185" fmla="*/ 401637 h 2641600"/>
                <a:gd name="connsiteX1186" fmla="*/ 1660189 w 3302716"/>
                <a:gd name="connsiteY1186" fmla="*/ 401637 h 2641600"/>
                <a:gd name="connsiteX1187" fmla="*/ 1653672 w 3302716"/>
                <a:gd name="connsiteY1187" fmla="*/ 401637 h 2641600"/>
                <a:gd name="connsiteX1188" fmla="*/ 1646069 w 3302716"/>
                <a:gd name="connsiteY1188" fmla="*/ 399578 h 2641600"/>
                <a:gd name="connsiteX1189" fmla="*/ 1637380 w 3302716"/>
                <a:gd name="connsiteY1189" fmla="*/ 395461 h 2641600"/>
                <a:gd name="connsiteX1190" fmla="*/ 1630863 w 3302716"/>
                <a:gd name="connsiteY1190" fmla="*/ 392374 h 2641600"/>
                <a:gd name="connsiteX1191" fmla="*/ 1631949 w 3302716"/>
                <a:gd name="connsiteY1191" fmla="*/ 388257 h 2641600"/>
                <a:gd name="connsiteX1192" fmla="*/ 1638466 w 3302716"/>
                <a:gd name="connsiteY1192" fmla="*/ 387227 h 2641600"/>
                <a:gd name="connsiteX1193" fmla="*/ 1646069 w 3302716"/>
                <a:gd name="connsiteY1193" fmla="*/ 387227 h 2641600"/>
                <a:gd name="connsiteX1194" fmla="*/ 1652586 w 3302716"/>
                <a:gd name="connsiteY1194" fmla="*/ 387227 h 2641600"/>
                <a:gd name="connsiteX1195" fmla="*/ 1658017 w 3302716"/>
                <a:gd name="connsiteY1195" fmla="*/ 385169 h 2641600"/>
                <a:gd name="connsiteX1196" fmla="*/ 1663448 w 3302716"/>
                <a:gd name="connsiteY1196" fmla="*/ 380023 h 2641600"/>
                <a:gd name="connsiteX1197" fmla="*/ 1664534 w 3302716"/>
                <a:gd name="connsiteY1197" fmla="*/ 373847 h 2641600"/>
                <a:gd name="connsiteX1198" fmla="*/ 1663448 w 3302716"/>
                <a:gd name="connsiteY1198" fmla="*/ 369730 h 2641600"/>
                <a:gd name="connsiteX1199" fmla="*/ 1656931 w 3302716"/>
                <a:gd name="connsiteY1199" fmla="*/ 369730 h 2641600"/>
                <a:gd name="connsiteX1200" fmla="*/ 1649328 w 3302716"/>
                <a:gd name="connsiteY1200" fmla="*/ 374876 h 2641600"/>
                <a:gd name="connsiteX1201" fmla="*/ 1646069 w 3302716"/>
                <a:gd name="connsiteY1201" fmla="*/ 376935 h 2641600"/>
                <a:gd name="connsiteX1202" fmla="*/ 1640638 w 3302716"/>
                <a:gd name="connsiteY1202" fmla="*/ 376935 h 2641600"/>
                <a:gd name="connsiteX1203" fmla="*/ 1633035 w 3302716"/>
                <a:gd name="connsiteY1203" fmla="*/ 371788 h 2641600"/>
                <a:gd name="connsiteX1204" fmla="*/ 1626518 w 3302716"/>
                <a:gd name="connsiteY1204" fmla="*/ 366642 h 2641600"/>
                <a:gd name="connsiteX1205" fmla="*/ 1620001 w 3302716"/>
                <a:gd name="connsiteY1205" fmla="*/ 362525 h 2641600"/>
                <a:gd name="connsiteX1206" fmla="*/ 1615656 w 3302716"/>
                <a:gd name="connsiteY1206" fmla="*/ 360467 h 2641600"/>
                <a:gd name="connsiteX1207" fmla="*/ 1613484 w 3302716"/>
                <a:gd name="connsiteY1207" fmla="*/ 355320 h 2641600"/>
                <a:gd name="connsiteX1208" fmla="*/ 1611311 w 3302716"/>
                <a:gd name="connsiteY1208" fmla="*/ 351203 h 2641600"/>
                <a:gd name="connsiteX1209" fmla="*/ 1611311 w 3302716"/>
                <a:gd name="connsiteY1209" fmla="*/ 347086 h 2641600"/>
                <a:gd name="connsiteX1210" fmla="*/ 1613484 w 3302716"/>
                <a:gd name="connsiteY1210" fmla="*/ 343999 h 2641600"/>
                <a:gd name="connsiteX1211" fmla="*/ 1620001 w 3302716"/>
                <a:gd name="connsiteY1211" fmla="*/ 338852 h 2641600"/>
                <a:gd name="connsiteX1212" fmla="*/ 1624345 w 3302716"/>
                <a:gd name="connsiteY1212" fmla="*/ 333706 h 2641600"/>
                <a:gd name="connsiteX1213" fmla="*/ 1626518 w 3302716"/>
                <a:gd name="connsiteY1213" fmla="*/ 330618 h 2641600"/>
                <a:gd name="connsiteX1214" fmla="*/ 1627604 w 3302716"/>
                <a:gd name="connsiteY1214" fmla="*/ 328560 h 2641600"/>
                <a:gd name="connsiteX1215" fmla="*/ 1630863 w 3302716"/>
                <a:gd name="connsiteY1215" fmla="*/ 322384 h 2641600"/>
                <a:gd name="connsiteX1216" fmla="*/ 1636293 w 3302716"/>
                <a:gd name="connsiteY1216" fmla="*/ 315180 h 2641600"/>
                <a:gd name="connsiteX1217" fmla="*/ 1638466 w 3302716"/>
                <a:gd name="connsiteY1217" fmla="*/ 312092 h 2641600"/>
                <a:gd name="connsiteX1218" fmla="*/ 1641725 w 3302716"/>
                <a:gd name="connsiteY1218" fmla="*/ 309004 h 2641600"/>
                <a:gd name="connsiteX1219" fmla="*/ 1864918 w 3302716"/>
                <a:gd name="connsiteY1219" fmla="*/ 306387 h 2641600"/>
                <a:gd name="connsiteX1220" fmla="*/ 1871331 w 3302716"/>
                <a:gd name="connsiteY1220" fmla="*/ 306387 h 2641600"/>
                <a:gd name="connsiteX1221" fmla="*/ 1876675 w 3302716"/>
                <a:gd name="connsiteY1221" fmla="*/ 307419 h 2641600"/>
                <a:gd name="connsiteX1222" fmla="*/ 1883088 w 3302716"/>
                <a:gd name="connsiteY1222" fmla="*/ 312578 h 2641600"/>
                <a:gd name="connsiteX1223" fmla="*/ 1887363 w 3302716"/>
                <a:gd name="connsiteY1223" fmla="*/ 318769 h 2641600"/>
                <a:gd name="connsiteX1224" fmla="*/ 1890570 w 3302716"/>
                <a:gd name="connsiteY1224" fmla="*/ 323929 h 2641600"/>
                <a:gd name="connsiteX1225" fmla="*/ 1891677 w 3302716"/>
                <a:gd name="connsiteY1225" fmla="*/ 324641 h 2641600"/>
                <a:gd name="connsiteX1226" fmla="*/ 1892185 w 3302716"/>
                <a:gd name="connsiteY1226" fmla="*/ 324167 h 2641600"/>
                <a:gd name="connsiteX1227" fmla="*/ 1895247 w 3302716"/>
                <a:gd name="connsiteY1227" fmla="*/ 323214 h 2641600"/>
                <a:gd name="connsiteX1228" fmla="*/ 1896267 w 3302716"/>
                <a:gd name="connsiteY1228" fmla="*/ 322262 h 2641600"/>
                <a:gd name="connsiteX1229" fmla="*/ 1897288 w 3302716"/>
                <a:gd name="connsiteY1229" fmla="*/ 323214 h 2641600"/>
                <a:gd name="connsiteX1230" fmla="*/ 1898308 w 3302716"/>
                <a:gd name="connsiteY1230" fmla="*/ 325119 h 2641600"/>
                <a:gd name="connsiteX1231" fmla="*/ 1898308 w 3302716"/>
                <a:gd name="connsiteY1231" fmla="*/ 327024 h 2641600"/>
                <a:gd name="connsiteX1232" fmla="*/ 1898712 w 3302716"/>
                <a:gd name="connsiteY1232" fmla="*/ 327778 h 2641600"/>
                <a:gd name="connsiteX1233" fmla="*/ 1903396 w 3302716"/>
                <a:gd name="connsiteY1233" fmla="*/ 327024 h 2641600"/>
                <a:gd name="connsiteX1234" fmla="*/ 1906602 w 3302716"/>
                <a:gd name="connsiteY1234" fmla="*/ 322897 h 2641600"/>
                <a:gd name="connsiteX1235" fmla="*/ 1908740 w 3302716"/>
                <a:gd name="connsiteY1235" fmla="*/ 319801 h 2641600"/>
                <a:gd name="connsiteX1236" fmla="*/ 1914084 w 3302716"/>
                <a:gd name="connsiteY1236" fmla="*/ 318769 h 2641600"/>
                <a:gd name="connsiteX1237" fmla="*/ 1918359 w 3302716"/>
                <a:gd name="connsiteY1237" fmla="*/ 319801 h 2641600"/>
                <a:gd name="connsiteX1238" fmla="*/ 1922634 w 3302716"/>
                <a:gd name="connsiteY1238" fmla="*/ 319801 h 2641600"/>
                <a:gd name="connsiteX1239" fmla="*/ 1924772 w 3302716"/>
                <a:gd name="connsiteY1239" fmla="*/ 322897 h 2641600"/>
                <a:gd name="connsiteX1240" fmla="*/ 1925841 w 3302716"/>
                <a:gd name="connsiteY1240" fmla="*/ 328056 h 2641600"/>
                <a:gd name="connsiteX1241" fmla="*/ 1929047 w 3302716"/>
                <a:gd name="connsiteY1241" fmla="*/ 336311 h 2641600"/>
                <a:gd name="connsiteX1242" fmla="*/ 1936529 w 3302716"/>
                <a:gd name="connsiteY1242" fmla="*/ 343534 h 2641600"/>
                <a:gd name="connsiteX1243" fmla="*/ 1941873 w 3302716"/>
                <a:gd name="connsiteY1243" fmla="*/ 350758 h 2641600"/>
                <a:gd name="connsiteX1244" fmla="*/ 1945079 w 3302716"/>
                <a:gd name="connsiteY1244" fmla="*/ 357981 h 2641600"/>
                <a:gd name="connsiteX1245" fmla="*/ 1948286 w 3302716"/>
                <a:gd name="connsiteY1245" fmla="*/ 361076 h 2641600"/>
                <a:gd name="connsiteX1246" fmla="*/ 1957905 w 3302716"/>
                <a:gd name="connsiteY1246" fmla="*/ 360045 h 2641600"/>
                <a:gd name="connsiteX1247" fmla="*/ 1969662 w 3302716"/>
                <a:gd name="connsiteY1247" fmla="*/ 359013 h 2641600"/>
                <a:gd name="connsiteX1248" fmla="*/ 1978212 w 3302716"/>
                <a:gd name="connsiteY1248" fmla="*/ 360045 h 2641600"/>
                <a:gd name="connsiteX1249" fmla="*/ 1982488 w 3302716"/>
                <a:gd name="connsiteY1249" fmla="*/ 361076 h 2641600"/>
                <a:gd name="connsiteX1250" fmla="*/ 1987832 w 3302716"/>
                <a:gd name="connsiteY1250" fmla="*/ 359013 h 2641600"/>
                <a:gd name="connsiteX1251" fmla="*/ 1993176 w 3302716"/>
                <a:gd name="connsiteY1251" fmla="*/ 353853 h 2641600"/>
                <a:gd name="connsiteX1252" fmla="*/ 1998520 w 3302716"/>
                <a:gd name="connsiteY1252" fmla="*/ 348694 h 2641600"/>
                <a:gd name="connsiteX1253" fmla="*/ 2003864 w 3302716"/>
                <a:gd name="connsiteY1253" fmla="*/ 344566 h 2641600"/>
                <a:gd name="connsiteX1254" fmla="*/ 2010277 w 3302716"/>
                <a:gd name="connsiteY1254" fmla="*/ 339407 h 2641600"/>
                <a:gd name="connsiteX1255" fmla="*/ 2015621 w 3302716"/>
                <a:gd name="connsiteY1255" fmla="*/ 336311 h 2641600"/>
                <a:gd name="connsiteX1256" fmla="*/ 2028447 w 3302716"/>
                <a:gd name="connsiteY1256" fmla="*/ 335279 h 2641600"/>
                <a:gd name="connsiteX1257" fmla="*/ 2031653 w 3302716"/>
                <a:gd name="connsiteY1257" fmla="*/ 336311 h 2641600"/>
                <a:gd name="connsiteX1258" fmla="*/ 2039135 w 3302716"/>
                <a:gd name="connsiteY1258" fmla="*/ 337343 h 2641600"/>
                <a:gd name="connsiteX1259" fmla="*/ 2047685 w 3302716"/>
                <a:gd name="connsiteY1259" fmla="*/ 340439 h 2641600"/>
                <a:gd name="connsiteX1260" fmla="*/ 2055167 w 3302716"/>
                <a:gd name="connsiteY1260" fmla="*/ 344566 h 2641600"/>
                <a:gd name="connsiteX1261" fmla="*/ 2060511 w 3302716"/>
                <a:gd name="connsiteY1261" fmla="*/ 348694 h 2641600"/>
                <a:gd name="connsiteX1262" fmla="*/ 2062649 w 3302716"/>
                <a:gd name="connsiteY1262" fmla="*/ 353853 h 2641600"/>
                <a:gd name="connsiteX1263" fmla="*/ 2065855 w 3302716"/>
                <a:gd name="connsiteY1263" fmla="*/ 360045 h 2641600"/>
                <a:gd name="connsiteX1264" fmla="*/ 2065855 w 3302716"/>
                <a:gd name="connsiteY1264" fmla="*/ 368300 h 2641600"/>
                <a:gd name="connsiteX1265" fmla="*/ 2065855 w 3302716"/>
                <a:gd name="connsiteY1265" fmla="*/ 375523 h 2641600"/>
                <a:gd name="connsiteX1266" fmla="*/ 2066924 w 3302716"/>
                <a:gd name="connsiteY1266" fmla="*/ 377587 h 2641600"/>
                <a:gd name="connsiteX1267" fmla="*/ 2065855 w 3302716"/>
                <a:gd name="connsiteY1267" fmla="*/ 381714 h 2641600"/>
                <a:gd name="connsiteX1268" fmla="*/ 2060511 w 3302716"/>
                <a:gd name="connsiteY1268" fmla="*/ 384810 h 2641600"/>
                <a:gd name="connsiteX1269" fmla="*/ 2054098 w 3302716"/>
                <a:gd name="connsiteY1269" fmla="*/ 389969 h 2641600"/>
                <a:gd name="connsiteX1270" fmla="*/ 2049823 w 3302716"/>
                <a:gd name="connsiteY1270" fmla="*/ 393065 h 2641600"/>
                <a:gd name="connsiteX1271" fmla="*/ 2043410 w 3302716"/>
                <a:gd name="connsiteY1271" fmla="*/ 394097 h 2641600"/>
                <a:gd name="connsiteX1272" fmla="*/ 2034860 w 3302716"/>
                <a:gd name="connsiteY1272" fmla="*/ 394097 h 2641600"/>
                <a:gd name="connsiteX1273" fmla="*/ 2028447 w 3302716"/>
                <a:gd name="connsiteY1273" fmla="*/ 393065 h 2641600"/>
                <a:gd name="connsiteX1274" fmla="*/ 2025240 w 3302716"/>
                <a:gd name="connsiteY1274" fmla="*/ 392033 h 2641600"/>
                <a:gd name="connsiteX1275" fmla="*/ 2022034 w 3302716"/>
                <a:gd name="connsiteY1275" fmla="*/ 393065 h 2641600"/>
                <a:gd name="connsiteX1276" fmla="*/ 2017759 w 3302716"/>
                <a:gd name="connsiteY1276" fmla="*/ 397192 h 2641600"/>
                <a:gd name="connsiteX1277" fmla="*/ 2013483 w 3302716"/>
                <a:gd name="connsiteY1277" fmla="*/ 399256 h 2641600"/>
                <a:gd name="connsiteX1278" fmla="*/ 2009208 w 3302716"/>
                <a:gd name="connsiteY1278" fmla="*/ 400288 h 2641600"/>
                <a:gd name="connsiteX1279" fmla="*/ 2002795 w 3302716"/>
                <a:gd name="connsiteY1279" fmla="*/ 401320 h 2641600"/>
                <a:gd name="connsiteX1280" fmla="*/ 1996382 w 3302716"/>
                <a:gd name="connsiteY1280" fmla="*/ 401320 h 2641600"/>
                <a:gd name="connsiteX1281" fmla="*/ 1989969 w 3302716"/>
                <a:gd name="connsiteY1281" fmla="*/ 402352 h 2641600"/>
                <a:gd name="connsiteX1282" fmla="*/ 1984625 w 3302716"/>
                <a:gd name="connsiteY1282" fmla="*/ 402352 h 2641600"/>
                <a:gd name="connsiteX1283" fmla="*/ 1979281 w 3302716"/>
                <a:gd name="connsiteY1283" fmla="*/ 403384 h 2641600"/>
                <a:gd name="connsiteX1284" fmla="*/ 1975006 w 3302716"/>
                <a:gd name="connsiteY1284" fmla="*/ 405447 h 2641600"/>
                <a:gd name="connsiteX1285" fmla="*/ 1969662 w 3302716"/>
                <a:gd name="connsiteY1285" fmla="*/ 407511 h 2641600"/>
                <a:gd name="connsiteX1286" fmla="*/ 1964318 w 3302716"/>
                <a:gd name="connsiteY1286" fmla="*/ 408543 h 2641600"/>
                <a:gd name="connsiteX1287" fmla="*/ 1957905 w 3302716"/>
                <a:gd name="connsiteY1287" fmla="*/ 409575 h 2641600"/>
                <a:gd name="connsiteX1288" fmla="*/ 1949355 w 3302716"/>
                <a:gd name="connsiteY1288" fmla="*/ 409575 h 2641600"/>
                <a:gd name="connsiteX1289" fmla="*/ 1940804 w 3302716"/>
                <a:gd name="connsiteY1289" fmla="*/ 408543 h 2641600"/>
                <a:gd name="connsiteX1290" fmla="*/ 1933322 w 3302716"/>
                <a:gd name="connsiteY1290" fmla="*/ 408543 h 2641600"/>
                <a:gd name="connsiteX1291" fmla="*/ 1929047 w 3302716"/>
                <a:gd name="connsiteY1291" fmla="*/ 406479 h 2641600"/>
                <a:gd name="connsiteX1292" fmla="*/ 1923703 w 3302716"/>
                <a:gd name="connsiteY1292" fmla="*/ 402352 h 2641600"/>
                <a:gd name="connsiteX1293" fmla="*/ 1918359 w 3302716"/>
                <a:gd name="connsiteY1293" fmla="*/ 399256 h 2641600"/>
                <a:gd name="connsiteX1294" fmla="*/ 1913015 w 3302716"/>
                <a:gd name="connsiteY1294" fmla="*/ 394097 h 2641600"/>
                <a:gd name="connsiteX1295" fmla="*/ 1907671 w 3302716"/>
                <a:gd name="connsiteY1295" fmla="*/ 387905 h 2641600"/>
                <a:gd name="connsiteX1296" fmla="*/ 1906602 w 3302716"/>
                <a:gd name="connsiteY1296" fmla="*/ 379650 h 2641600"/>
                <a:gd name="connsiteX1297" fmla="*/ 1907671 w 3302716"/>
                <a:gd name="connsiteY1297" fmla="*/ 369331 h 2641600"/>
                <a:gd name="connsiteX1298" fmla="*/ 1907671 w 3302716"/>
                <a:gd name="connsiteY1298" fmla="*/ 362108 h 2641600"/>
                <a:gd name="connsiteX1299" fmla="*/ 1907671 w 3302716"/>
                <a:gd name="connsiteY1299" fmla="*/ 355917 h 2641600"/>
                <a:gd name="connsiteX1300" fmla="*/ 1905533 w 3302716"/>
                <a:gd name="connsiteY1300" fmla="*/ 351790 h 2641600"/>
                <a:gd name="connsiteX1301" fmla="*/ 1903396 w 3302716"/>
                <a:gd name="connsiteY1301" fmla="*/ 346630 h 2641600"/>
                <a:gd name="connsiteX1302" fmla="*/ 1900189 w 3302716"/>
                <a:gd name="connsiteY1302" fmla="*/ 342503 h 2641600"/>
                <a:gd name="connsiteX1303" fmla="*/ 1895914 w 3302716"/>
                <a:gd name="connsiteY1303" fmla="*/ 339407 h 2641600"/>
                <a:gd name="connsiteX1304" fmla="*/ 1889501 w 3302716"/>
                <a:gd name="connsiteY1304" fmla="*/ 339407 h 2641600"/>
                <a:gd name="connsiteX1305" fmla="*/ 1883088 w 3302716"/>
                <a:gd name="connsiteY1305" fmla="*/ 340439 h 2641600"/>
                <a:gd name="connsiteX1306" fmla="*/ 1880951 w 3302716"/>
                <a:gd name="connsiteY1306" fmla="*/ 342503 h 2641600"/>
                <a:gd name="connsiteX1307" fmla="*/ 1876675 w 3302716"/>
                <a:gd name="connsiteY1307" fmla="*/ 342503 h 2641600"/>
                <a:gd name="connsiteX1308" fmla="*/ 1872400 w 3302716"/>
                <a:gd name="connsiteY1308" fmla="*/ 338375 h 2641600"/>
                <a:gd name="connsiteX1309" fmla="*/ 1863850 w 3302716"/>
                <a:gd name="connsiteY1309" fmla="*/ 332184 h 2641600"/>
                <a:gd name="connsiteX1310" fmla="*/ 1856368 w 3302716"/>
                <a:gd name="connsiteY1310" fmla="*/ 329088 h 2641600"/>
                <a:gd name="connsiteX1311" fmla="*/ 1851024 w 3302716"/>
                <a:gd name="connsiteY1311" fmla="*/ 322897 h 2641600"/>
                <a:gd name="connsiteX1312" fmla="*/ 1852093 w 3302716"/>
                <a:gd name="connsiteY1312" fmla="*/ 315674 h 2641600"/>
                <a:gd name="connsiteX1313" fmla="*/ 1858506 w 3302716"/>
                <a:gd name="connsiteY1313" fmla="*/ 309482 h 2641600"/>
                <a:gd name="connsiteX1314" fmla="*/ 1889077 w 3302716"/>
                <a:gd name="connsiteY1314" fmla="*/ 268287 h 2641600"/>
                <a:gd name="connsiteX1315" fmla="*/ 1890151 w 3302716"/>
                <a:gd name="connsiteY1315" fmla="*/ 269257 h 2641600"/>
                <a:gd name="connsiteX1316" fmla="*/ 1892299 w 3302716"/>
                <a:gd name="connsiteY1316" fmla="*/ 271197 h 2641600"/>
                <a:gd name="connsiteX1317" fmla="*/ 1892299 w 3302716"/>
                <a:gd name="connsiteY1317" fmla="*/ 274108 h 2641600"/>
                <a:gd name="connsiteX1318" fmla="*/ 1888003 w 3302716"/>
                <a:gd name="connsiteY1318" fmla="*/ 277988 h 2641600"/>
                <a:gd name="connsiteX1319" fmla="*/ 1881560 w 3302716"/>
                <a:gd name="connsiteY1319" fmla="*/ 281869 h 2641600"/>
                <a:gd name="connsiteX1320" fmla="*/ 1879412 w 3302716"/>
                <a:gd name="connsiteY1320" fmla="*/ 283809 h 2641600"/>
                <a:gd name="connsiteX1321" fmla="*/ 1876190 w 3302716"/>
                <a:gd name="connsiteY1321" fmla="*/ 285750 h 2641600"/>
                <a:gd name="connsiteX1322" fmla="*/ 1868673 w 3302716"/>
                <a:gd name="connsiteY1322" fmla="*/ 285750 h 2641600"/>
                <a:gd name="connsiteX1323" fmla="*/ 1860082 w 3302716"/>
                <a:gd name="connsiteY1323" fmla="*/ 283809 h 2641600"/>
                <a:gd name="connsiteX1324" fmla="*/ 1855786 w 3302716"/>
                <a:gd name="connsiteY1324" fmla="*/ 280899 h 2641600"/>
                <a:gd name="connsiteX1325" fmla="*/ 1855786 w 3302716"/>
                <a:gd name="connsiteY1325" fmla="*/ 277018 h 2641600"/>
                <a:gd name="connsiteX1326" fmla="*/ 1860082 w 3302716"/>
                <a:gd name="connsiteY1326" fmla="*/ 275078 h 2641600"/>
                <a:gd name="connsiteX1327" fmla="*/ 1870821 w 3302716"/>
                <a:gd name="connsiteY1327" fmla="*/ 272167 h 2641600"/>
                <a:gd name="connsiteX1328" fmla="*/ 1879412 w 3302716"/>
                <a:gd name="connsiteY1328" fmla="*/ 270227 h 2641600"/>
                <a:gd name="connsiteX1329" fmla="*/ 1886929 w 3302716"/>
                <a:gd name="connsiteY1329" fmla="*/ 269257 h 2641600"/>
                <a:gd name="connsiteX1330" fmla="*/ 1624012 w 3302716"/>
                <a:gd name="connsiteY1330" fmla="*/ 258762 h 2641600"/>
                <a:gd name="connsiteX1331" fmla="*/ 1632603 w 3302716"/>
                <a:gd name="connsiteY1331" fmla="*/ 258762 h 2641600"/>
                <a:gd name="connsiteX1332" fmla="*/ 1636898 w 3302716"/>
                <a:gd name="connsiteY1332" fmla="*/ 258762 h 2641600"/>
                <a:gd name="connsiteX1333" fmla="*/ 1640120 w 3302716"/>
                <a:gd name="connsiteY1333" fmla="*/ 258762 h 2641600"/>
                <a:gd name="connsiteX1334" fmla="*/ 1644416 w 3302716"/>
                <a:gd name="connsiteY1334" fmla="*/ 258762 h 2641600"/>
                <a:gd name="connsiteX1335" fmla="*/ 1650859 w 3302716"/>
                <a:gd name="connsiteY1335" fmla="*/ 258762 h 2641600"/>
                <a:gd name="connsiteX1336" fmla="*/ 1656228 w 3302716"/>
                <a:gd name="connsiteY1336" fmla="*/ 260826 h 2641600"/>
                <a:gd name="connsiteX1337" fmla="*/ 1660524 w 3302716"/>
                <a:gd name="connsiteY1337" fmla="*/ 264953 h 2641600"/>
                <a:gd name="connsiteX1338" fmla="*/ 1657302 w 3302716"/>
                <a:gd name="connsiteY1338" fmla="*/ 269081 h 2641600"/>
                <a:gd name="connsiteX1339" fmla="*/ 1653007 w 3302716"/>
                <a:gd name="connsiteY1339" fmla="*/ 274240 h 2641600"/>
                <a:gd name="connsiteX1340" fmla="*/ 1650859 w 3302716"/>
                <a:gd name="connsiteY1340" fmla="*/ 276304 h 2641600"/>
                <a:gd name="connsiteX1341" fmla="*/ 1650859 w 3302716"/>
                <a:gd name="connsiteY1341" fmla="*/ 278368 h 2641600"/>
                <a:gd name="connsiteX1342" fmla="*/ 1648711 w 3302716"/>
                <a:gd name="connsiteY1342" fmla="*/ 283527 h 2641600"/>
                <a:gd name="connsiteX1343" fmla="*/ 1646564 w 3302716"/>
                <a:gd name="connsiteY1343" fmla="*/ 290750 h 2641600"/>
                <a:gd name="connsiteX1344" fmla="*/ 1643342 w 3302716"/>
                <a:gd name="connsiteY1344" fmla="*/ 294878 h 2641600"/>
                <a:gd name="connsiteX1345" fmla="*/ 1637972 w 3302716"/>
                <a:gd name="connsiteY1345" fmla="*/ 299005 h 2641600"/>
                <a:gd name="connsiteX1346" fmla="*/ 1632603 w 3302716"/>
                <a:gd name="connsiteY1346" fmla="*/ 300037 h 2641600"/>
                <a:gd name="connsiteX1347" fmla="*/ 1631529 w 3302716"/>
                <a:gd name="connsiteY1347" fmla="*/ 301069 h 2641600"/>
                <a:gd name="connsiteX1348" fmla="*/ 1628307 w 3302716"/>
                <a:gd name="connsiteY1348" fmla="*/ 305197 h 2641600"/>
                <a:gd name="connsiteX1349" fmla="*/ 1624012 w 3302716"/>
                <a:gd name="connsiteY1349" fmla="*/ 306228 h 2641600"/>
                <a:gd name="connsiteX1350" fmla="*/ 1621864 w 3302716"/>
                <a:gd name="connsiteY1350" fmla="*/ 302101 h 2641600"/>
                <a:gd name="connsiteX1351" fmla="*/ 1619716 w 3302716"/>
                <a:gd name="connsiteY1351" fmla="*/ 294878 h 2641600"/>
                <a:gd name="connsiteX1352" fmla="*/ 1616494 w 3302716"/>
                <a:gd name="connsiteY1352" fmla="*/ 289718 h 2641600"/>
                <a:gd name="connsiteX1353" fmla="*/ 1613272 w 3302716"/>
                <a:gd name="connsiteY1353" fmla="*/ 286623 h 2641600"/>
                <a:gd name="connsiteX1354" fmla="*/ 1611125 w 3302716"/>
                <a:gd name="connsiteY1354" fmla="*/ 290750 h 2641600"/>
                <a:gd name="connsiteX1355" fmla="*/ 1610051 w 3302716"/>
                <a:gd name="connsiteY1355" fmla="*/ 297973 h 2641600"/>
                <a:gd name="connsiteX1356" fmla="*/ 1610051 w 3302716"/>
                <a:gd name="connsiteY1356" fmla="*/ 304165 h 2641600"/>
                <a:gd name="connsiteX1357" fmla="*/ 1607903 w 3302716"/>
                <a:gd name="connsiteY1357" fmla="*/ 307260 h 2641600"/>
                <a:gd name="connsiteX1358" fmla="*/ 1602534 w 3302716"/>
                <a:gd name="connsiteY1358" fmla="*/ 307260 h 2641600"/>
                <a:gd name="connsiteX1359" fmla="*/ 1596090 w 3302716"/>
                <a:gd name="connsiteY1359" fmla="*/ 307260 h 2641600"/>
                <a:gd name="connsiteX1360" fmla="*/ 1591795 w 3302716"/>
                <a:gd name="connsiteY1360" fmla="*/ 312420 h 2641600"/>
                <a:gd name="connsiteX1361" fmla="*/ 1591795 w 3302716"/>
                <a:gd name="connsiteY1361" fmla="*/ 317579 h 2641600"/>
                <a:gd name="connsiteX1362" fmla="*/ 1591795 w 3302716"/>
                <a:gd name="connsiteY1362" fmla="*/ 320675 h 2641600"/>
                <a:gd name="connsiteX1363" fmla="*/ 1590721 w 3302716"/>
                <a:gd name="connsiteY1363" fmla="*/ 317579 h 2641600"/>
                <a:gd name="connsiteX1364" fmla="*/ 1586425 w 3302716"/>
                <a:gd name="connsiteY1364" fmla="*/ 314484 h 2641600"/>
                <a:gd name="connsiteX1365" fmla="*/ 1579981 w 3302716"/>
                <a:gd name="connsiteY1365" fmla="*/ 310356 h 2641600"/>
                <a:gd name="connsiteX1366" fmla="*/ 1574612 w 3302716"/>
                <a:gd name="connsiteY1366" fmla="*/ 308292 h 2641600"/>
                <a:gd name="connsiteX1367" fmla="*/ 1567095 w 3302716"/>
                <a:gd name="connsiteY1367" fmla="*/ 308292 h 2641600"/>
                <a:gd name="connsiteX1368" fmla="*/ 1557430 w 3302716"/>
                <a:gd name="connsiteY1368" fmla="*/ 308292 h 2641600"/>
                <a:gd name="connsiteX1369" fmla="*/ 1550986 w 3302716"/>
                <a:gd name="connsiteY1369" fmla="*/ 306228 h 2641600"/>
                <a:gd name="connsiteX1370" fmla="*/ 1555282 w 3302716"/>
                <a:gd name="connsiteY1370" fmla="*/ 300037 h 2641600"/>
                <a:gd name="connsiteX1371" fmla="*/ 1562799 w 3302716"/>
                <a:gd name="connsiteY1371" fmla="*/ 293846 h 2641600"/>
                <a:gd name="connsiteX1372" fmla="*/ 1569242 w 3302716"/>
                <a:gd name="connsiteY1372" fmla="*/ 289718 h 2641600"/>
                <a:gd name="connsiteX1373" fmla="*/ 1575686 w 3302716"/>
                <a:gd name="connsiteY1373" fmla="*/ 284559 h 2641600"/>
                <a:gd name="connsiteX1374" fmla="*/ 1588573 w 3302716"/>
                <a:gd name="connsiteY1374" fmla="*/ 278368 h 2641600"/>
                <a:gd name="connsiteX1375" fmla="*/ 1600386 w 3302716"/>
                <a:gd name="connsiteY1375" fmla="*/ 271144 h 2641600"/>
                <a:gd name="connsiteX1376" fmla="*/ 1610051 w 3302716"/>
                <a:gd name="connsiteY1376" fmla="*/ 265985 h 2641600"/>
                <a:gd name="connsiteX1377" fmla="*/ 1615420 w 3302716"/>
                <a:gd name="connsiteY1377" fmla="*/ 260826 h 2641600"/>
                <a:gd name="connsiteX1378" fmla="*/ 1703386 w 3302716"/>
                <a:gd name="connsiteY1378" fmla="*/ 241300 h 2641600"/>
                <a:gd name="connsiteX1379" fmla="*/ 1708942 w 3302716"/>
                <a:gd name="connsiteY1379" fmla="*/ 243359 h 2641600"/>
                <a:gd name="connsiteX1380" fmla="*/ 1716721 w 3302716"/>
                <a:gd name="connsiteY1380" fmla="*/ 245419 h 2641600"/>
                <a:gd name="connsiteX1381" fmla="*/ 1722277 w 3302716"/>
                <a:gd name="connsiteY1381" fmla="*/ 248508 h 2641600"/>
                <a:gd name="connsiteX1382" fmla="*/ 1725611 w 3302716"/>
                <a:gd name="connsiteY1382" fmla="*/ 253657 h 2641600"/>
                <a:gd name="connsiteX1383" fmla="*/ 1723388 w 3302716"/>
                <a:gd name="connsiteY1383" fmla="*/ 261894 h 2641600"/>
                <a:gd name="connsiteX1384" fmla="*/ 1722277 w 3302716"/>
                <a:gd name="connsiteY1384" fmla="*/ 262924 h 2641600"/>
                <a:gd name="connsiteX1385" fmla="*/ 1720055 w 3302716"/>
                <a:gd name="connsiteY1385" fmla="*/ 268073 h 2641600"/>
                <a:gd name="connsiteX1386" fmla="*/ 1716721 w 3302716"/>
                <a:gd name="connsiteY1386" fmla="*/ 272192 h 2641600"/>
                <a:gd name="connsiteX1387" fmla="*/ 1712276 w 3302716"/>
                <a:gd name="connsiteY1387" fmla="*/ 276311 h 2641600"/>
                <a:gd name="connsiteX1388" fmla="*/ 1707831 w 3302716"/>
                <a:gd name="connsiteY1388" fmla="*/ 278370 h 2641600"/>
                <a:gd name="connsiteX1389" fmla="*/ 1702275 w 3302716"/>
                <a:gd name="connsiteY1389" fmla="*/ 279400 h 2641600"/>
                <a:gd name="connsiteX1390" fmla="*/ 1696718 w 3302716"/>
                <a:gd name="connsiteY1390" fmla="*/ 279400 h 2641600"/>
                <a:gd name="connsiteX1391" fmla="*/ 1695607 w 3302716"/>
                <a:gd name="connsiteY1391" fmla="*/ 279400 h 2641600"/>
                <a:gd name="connsiteX1392" fmla="*/ 1694496 w 3302716"/>
                <a:gd name="connsiteY1392" fmla="*/ 278370 h 2641600"/>
                <a:gd name="connsiteX1393" fmla="*/ 1693385 w 3302716"/>
                <a:gd name="connsiteY1393" fmla="*/ 276311 h 2641600"/>
                <a:gd name="connsiteX1394" fmla="*/ 1691162 w 3302716"/>
                <a:gd name="connsiteY1394" fmla="*/ 274251 h 2641600"/>
                <a:gd name="connsiteX1395" fmla="*/ 1686717 w 3302716"/>
                <a:gd name="connsiteY1395" fmla="*/ 270132 h 2641600"/>
                <a:gd name="connsiteX1396" fmla="*/ 1683383 w 3302716"/>
                <a:gd name="connsiteY1396" fmla="*/ 266013 h 2641600"/>
                <a:gd name="connsiteX1397" fmla="*/ 1681161 w 3302716"/>
                <a:gd name="connsiteY1397" fmla="*/ 261894 h 2641600"/>
                <a:gd name="connsiteX1398" fmla="*/ 1683383 w 3302716"/>
                <a:gd name="connsiteY1398" fmla="*/ 258805 h 2641600"/>
                <a:gd name="connsiteX1399" fmla="*/ 1687828 w 3302716"/>
                <a:gd name="connsiteY1399" fmla="*/ 253657 h 2641600"/>
                <a:gd name="connsiteX1400" fmla="*/ 1694496 w 3302716"/>
                <a:gd name="connsiteY1400" fmla="*/ 248508 h 2641600"/>
                <a:gd name="connsiteX1401" fmla="*/ 1700052 w 3302716"/>
                <a:gd name="connsiteY1401" fmla="*/ 244389 h 2641600"/>
                <a:gd name="connsiteX1402" fmla="*/ 1839678 w 3302716"/>
                <a:gd name="connsiteY1402" fmla="*/ 222250 h 2641600"/>
                <a:gd name="connsiteX1403" fmla="*/ 1843600 w 3302716"/>
                <a:gd name="connsiteY1403" fmla="*/ 222250 h 2641600"/>
                <a:gd name="connsiteX1404" fmla="*/ 1850463 w 3302716"/>
                <a:gd name="connsiteY1404" fmla="*/ 227426 h 2641600"/>
                <a:gd name="connsiteX1405" fmla="*/ 1856347 w 3302716"/>
                <a:gd name="connsiteY1405" fmla="*/ 232603 h 2641600"/>
                <a:gd name="connsiteX1406" fmla="*/ 1858308 w 3302716"/>
                <a:gd name="connsiteY1406" fmla="*/ 236744 h 2641600"/>
                <a:gd name="connsiteX1407" fmla="*/ 1859288 w 3302716"/>
                <a:gd name="connsiteY1407" fmla="*/ 237780 h 2641600"/>
                <a:gd name="connsiteX1408" fmla="*/ 1862230 w 3302716"/>
                <a:gd name="connsiteY1408" fmla="*/ 239850 h 2641600"/>
                <a:gd name="connsiteX1409" fmla="*/ 1866152 w 3302716"/>
                <a:gd name="connsiteY1409" fmla="*/ 245027 h 2641600"/>
                <a:gd name="connsiteX1410" fmla="*/ 1870074 w 3302716"/>
                <a:gd name="connsiteY1410" fmla="*/ 250204 h 2641600"/>
                <a:gd name="connsiteX1411" fmla="*/ 1870074 w 3302716"/>
                <a:gd name="connsiteY1411" fmla="*/ 253310 h 2641600"/>
                <a:gd name="connsiteX1412" fmla="*/ 1867132 w 3302716"/>
                <a:gd name="connsiteY1412" fmla="*/ 256416 h 2641600"/>
                <a:gd name="connsiteX1413" fmla="*/ 1865171 w 3302716"/>
                <a:gd name="connsiteY1413" fmla="*/ 261592 h 2641600"/>
                <a:gd name="connsiteX1414" fmla="*/ 1862230 w 3302716"/>
                <a:gd name="connsiteY1414" fmla="*/ 265734 h 2641600"/>
                <a:gd name="connsiteX1415" fmla="*/ 1857327 w 3302716"/>
                <a:gd name="connsiteY1415" fmla="*/ 267804 h 2641600"/>
                <a:gd name="connsiteX1416" fmla="*/ 1852424 w 3302716"/>
                <a:gd name="connsiteY1416" fmla="*/ 269875 h 2641600"/>
                <a:gd name="connsiteX1417" fmla="*/ 1847522 w 3302716"/>
                <a:gd name="connsiteY1417" fmla="*/ 269875 h 2641600"/>
                <a:gd name="connsiteX1418" fmla="*/ 1843600 w 3302716"/>
                <a:gd name="connsiteY1418" fmla="*/ 266769 h 2641600"/>
                <a:gd name="connsiteX1419" fmla="*/ 1840658 w 3302716"/>
                <a:gd name="connsiteY1419" fmla="*/ 259522 h 2641600"/>
                <a:gd name="connsiteX1420" fmla="*/ 1839678 w 3302716"/>
                <a:gd name="connsiteY1420" fmla="*/ 250204 h 2641600"/>
                <a:gd name="connsiteX1421" fmla="*/ 1837716 w 3302716"/>
                <a:gd name="connsiteY1421" fmla="*/ 242956 h 2641600"/>
                <a:gd name="connsiteX1422" fmla="*/ 1837716 w 3302716"/>
                <a:gd name="connsiteY1422" fmla="*/ 237780 h 2641600"/>
                <a:gd name="connsiteX1423" fmla="*/ 1836736 w 3302716"/>
                <a:gd name="connsiteY1423" fmla="*/ 232603 h 2641600"/>
                <a:gd name="connsiteX1424" fmla="*/ 1837716 w 3302716"/>
                <a:gd name="connsiteY1424" fmla="*/ 227426 h 2641600"/>
                <a:gd name="connsiteX1425" fmla="*/ 1774221 w 3302716"/>
                <a:gd name="connsiteY1425" fmla="*/ 200025 h 2641600"/>
                <a:gd name="connsiteX1426" fmla="*/ 1779422 w 3302716"/>
                <a:gd name="connsiteY1426" fmla="*/ 200025 h 2641600"/>
                <a:gd name="connsiteX1427" fmla="*/ 1784622 w 3302716"/>
                <a:gd name="connsiteY1427" fmla="*/ 200025 h 2641600"/>
                <a:gd name="connsiteX1428" fmla="*/ 1789823 w 3302716"/>
                <a:gd name="connsiteY1428" fmla="*/ 202062 h 2641600"/>
                <a:gd name="connsiteX1429" fmla="*/ 1793983 w 3302716"/>
                <a:gd name="connsiteY1429" fmla="*/ 208175 h 2641600"/>
                <a:gd name="connsiteX1430" fmla="*/ 1799183 w 3302716"/>
                <a:gd name="connsiteY1430" fmla="*/ 213270 h 2641600"/>
                <a:gd name="connsiteX1431" fmla="*/ 1805424 w 3302716"/>
                <a:gd name="connsiteY1431" fmla="*/ 215307 h 2641600"/>
                <a:gd name="connsiteX1432" fmla="*/ 1809584 w 3302716"/>
                <a:gd name="connsiteY1432" fmla="*/ 216326 h 2641600"/>
                <a:gd name="connsiteX1433" fmla="*/ 1811664 w 3302716"/>
                <a:gd name="connsiteY1433" fmla="*/ 219383 h 2641600"/>
                <a:gd name="connsiteX1434" fmla="*/ 1814785 w 3302716"/>
                <a:gd name="connsiteY1434" fmla="*/ 224477 h 2641600"/>
                <a:gd name="connsiteX1435" fmla="*/ 1818945 w 3302716"/>
                <a:gd name="connsiteY1435" fmla="*/ 229571 h 2641600"/>
                <a:gd name="connsiteX1436" fmla="*/ 1823105 w 3302716"/>
                <a:gd name="connsiteY1436" fmla="*/ 232628 h 2641600"/>
                <a:gd name="connsiteX1437" fmla="*/ 1825186 w 3302716"/>
                <a:gd name="connsiteY1437" fmla="*/ 234665 h 2641600"/>
                <a:gd name="connsiteX1438" fmla="*/ 1826226 w 3302716"/>
                <a:gd name="connsiteY1438" fmla="*/ 237722 h 2641600"/>
                <a:gd name="connsiteX1439" fmla="*/ 1829346 w 3302716"/>
                <a:gd name="connsiteY1439" fmla="*/ 244854 h 2641600"/>
                <a:gd name="connsiteX1440" fmla="*/ 1830386 w 3302716"/>
                <a:gd name="connsiteY1440" fmla="*/ 254023 h 2641600"/>
                <a:gd name="connsiteX1441" fmla="*/ 1829346 w 3302716"/>
                <a:gd name="connsiteY1441" fmla="*/ 261155 h 2641600"/>
                <a:gd name="connsiteX1442" fmla="*/ 1826226 w 3302716"/>
                <a:gd name="connsiteY1442" fmla="*/ 265230 h 2641600"/>
                <a:gd name="connsiteX1443" fmla="*/ 1824145 w 3302716"/>
                <a:gd name="connsiteY1443" fmla="*/ 267268 h 2641600"/>
                <a:gd name="connsiteX1444" fmla="*/ 1819985 w 3302716"/>
                <a:gd name="connsiteY1444" fmla="*/ 268287 h 2641600"/>
                <a:gd name="connsiteX1445" fmla="*/ 1815825 w 3302716"/>
                <a:gd name="connsiteY1445" fmla="*/ 266249 h 2641600"/>
                <a:gd name="connsiteX1446" fmla="*/ 1810624 w 3302716"/>
                <a:gd name="connsiteY1446" fmla="*/ 263193 h 2641600"/>
                <a:gd name="connsiteX1447" fmla="*/ 1806464 w 3302716"/>
                <a:gd name="connsiteY1447" fmla="*/ 261155 h 2641600"/>
                <a:gd name="connsiteX1448" fmla="*/ 1803344 w 3302716"/>
                <a:gd name="connsiteY1448" fmla="*/ 259117 h 2641600"/>
                <a:gd name="connsiteX1449" fmla="*/ 1800223 w 3302716"/>
                <a:gd name="connsiteY1449" fmla="*/ 254023 h 2641600"/>
                <a:gd name="connsiteX1450" fmla="*/ 1795023 w 3302716"/>
                <a:gd name="connsiteY1450" fmla="*/ 250967 h 2641600"/>
                <a:gd name="connsiteX1451" fmla="*/ 1787742 w 3302716"/>
                <a:gd name="connsiteY1451" fmla="*/ 249948 h 2641600"/>
                <a:gd name="connsiteX1452" fmla="*/ 1782542 w 3302716"/>
                <a:gd name="connsiteY1452" fmla="*/ 247910 h 2641600"/>
                <a:gd name="connsiteX1453" fmla="*/ 1778382 w 3302716"/>
                <a:gd name="connsiteY1453" fmla="*/ 242816 h 2641600"/>
                <a:gd name="connsiteX1454" fmla="*/ 1779422 w 3302716"/>
                <a:gd name="connsiteY1454" fmla="*/ 237722 h 2641600"/>
                <a:gd name="connsiteX1455" fmla="*/ 1783582 w 3302716"/>
                <a:gd name="connsiteY1455" fmla="*/ 237722 h 2641600"/>
                <a:gd name="connsiteX1456" fmla="*/ 1785662 w 3302716"/>
                <a:gd name="connsiteY1456" fmla="*/ 236703 h 2641600"/>
                <a:gd name="connsiteX1457" fmla="*/ 1783582 w 3302716"/>
                <a:gd name="connsiteY1457" fmla="*/ 230590 h 2641600"/>
                <a:gd name="connsiteX1458" fmla="*/ 1777342 w 3302716"/>
                <a:gd name="connsiteY1458" fmla="*/ 220402 h 2641600"/>
                <a:gd name="connsiteX1459" fmla="*/ 1772141 w 3302716"/>
                <a:gd name="connsiteY1459" fmla="*/ 211232 h 2641600"/>
                <a:gd name="connsiteX1460" fmla="*/ 1770061 w 3302716"/>
                <a:gd name="connsiteY1460" fmla="*/ 204100 h 2641600"/>
                <a:gd name="connsiteX1461" fmla="*/ 3053347 w 3302716"/>
                <a:gd name="connsiteY1461" fmla="*/ 145819 h 2641600"/>
                <a:gd name="connsiteX1462" fmla="*/ 3059596 w 3302716"/>
                <a:gd name="connsiteY1462" fmla="*/ 146950 h 2641600"/>
                <a:gd name="connsiteX1463" fmla="*/ 3063850 w 3302716"/>
                <a:gd name="connsiteY1463" fmla="*/ 149037 h 2641600"/>
                <a:gd name="connsiteX1464" fmla="*/ 3066219 w 3302716"/>
                <a:gd name="connsiteY1464" fmla="*/ 152505 h 2641600"/>
                <a:gd name="connsiteX1465" fmla="*/ 3067402 w 3302716"/>
                <a:gd name="connsiteY1465" fmla="*/ 157178 h 2641600"/>
                <a:gd name="connsiteX1466" fmla="*/ 3066588 w 3302716"/>
                <a:gd name="connsiteY1466" fmla="*/ 168683 h 2641600"/>
                <a:gd name="connsiteX1467" fmla="*/ 3062379 w 3302716"/>
                <a:gd name="connsiteY1467" fmla="*/ 181500 h 2641600"/>
                <a:gd name="connsiteX1468" fmla="*/ 3060380 w 3302716"/>
                <a:gd name="connsiteY1468" fmla="*/ 194210 h 2641600"/>
                <a:gd name="connsiteX1469" fmla="*/ 3064146 w 3302716"/>
                <a:gd name="connsiteY1469" fmla="*/ 203201 h 2641600"/>
                <a:gd name="connsiteX1470" fmla="*/ 3068828 w 3302716"/>
                <a:gd name="connsiteY1470" fmla="*/ 212864 h 2641600"/>
                <a:gd name="connsiteX1471" fmla="*/ 3069685 w 3302716"/>
                <a:gd name="connsiteY1471" fmla="*/ 222138 h 2641600"/>
                <a:gd name="connsiteX1472" fmla="*/ 3067955 w 3302716"/>
                <a:gd name="connsiteY1472" fmla="*/ 232972 h 2641600"/>
                <a:gd name="connsiteX1473" fmla="*/ 3069458 w 3302716"/>
                <a:gd name="connsiteY1473" fmla="*/ 244795 h 2641600"/>
                <a:gd name="connsiteX1474" fmla="*/ 3073544 w 3302716"/>
                <a:gd name="connsiteY1474" fmla="*/ 260937 h 2641600"/>
                <a:gd name="connsiteX1475" fmla="*/ 3078867 w 3302716"/>
                <a:gd name="connsiteY1475" fmla="*/ 279025 h 2641600"/>
                <a:gd name="connsiteX1476" fmla="*/ 3087426 w 3302716"/>
                <a:gd name="connsiteY1476" fmla="*/ 292226 h 2641600"/>
                <a:gd name="connsiteX1477" fmla="*/ 3100516 w 3302716"/>
                <a:gd name="connsiteY1477" fmla="*/ 293885 h 2641600"/>
                <a:gd name="connsiteX1478" fmla="*/ 3106819 w 3302716"/>
                <a:gd name="connsiteY1478" fmla="*/ 292289 h 2641600"/>
                <a:gd name="connsiteX1479" fmla="*/ 3111559 w 3302716"/>
                <a:gd name="connsiteY1479" fmla="*/ 293349 h 2641600"/>
                <a:gd name="connsiteX1480" fmla="*/ 3115113 w 3302716"/>
                <a:gd name="connsiteY1480" fmla="*/ 295614 h 2641600"/>
                <a:gd name="connsiteX1481" fmla="*/ 3117374 w 3302716"/>
                <a:gd name="connsiteY1481" fmla="*/ 298657 h 2641600"/>
                <a:gd name="connsiteX1482" fmla="*/ 3119635 w 3302716"/>
                <a:gd name="connsiteY1482" fmla="*/ 301701 h 2641600"/>
                <a:gd name="connsiteX1483" fmla="*/ 3123297 w 3302716"/>
                <a:gd name="connsiteY1483" fmla="*/ 304390 h 2641600"/>
                <a:gd name="connsiteX1484" fmla="*/ 3127229 w 3302716"/>
                <a:gd name="connsiteY1484" fmla="*/ 305203 h 2641600"/>
                <a:gd name="connsiteX1485" fmla="*/ 3134556 w 3302716"/>
                <a:gd name="connsiteY1485" fmla="*/ 304704 h 2641600"/>
                <a:gd name="connsiteX1486" fmla="*/ 3142368 w 3302716"/>
                <a:gd name="connsiteY1486" fmla="*/ 303179 h 2641600"/>
                <a:gd name="connsiteX1487" fmla="*/ 3148994 w 3302716"/>
                <a:gd name="connsiteY1487" fmla="*/ 302857 h 2641600"/>
                <a:gd name="connsiteX1488" fmla="*/ 3154434 w 3302716"/>
                <a:gd name="connsiteY1488" fmla="*/ 303740 h 2641600"/>
                <a:gd name="connsiteX1489" fmla="*/ 3157881 w 3302716"/>
                <a:gd name="connsiteY1489" fmla="*/ 305580 h 2641600"/>
                <a:gd name="connsiteX1490" fmla="*/ 3158741 w 3302716"/>
                <a:gd name="connsiteY1490" fmla="*/ 308978 h 2641600"/>
                <a:gd name="connsiteX1491" fmla="*/ 3156907 w 3302716"/>
                <a:gd name="connsiteY1491" fmla="*/ 313510 h 2641600"/>
                <a:gd name="connsiteX1492" fmla="*/ 3152379 w 3302716"/>
                <a:gd name="connsiteY1492" fmla="*/ 319176 h 2641600"/>
                <a:gd name="connsiteX1493" fmla="*/ 3145157 w 3302716"/>
                <a:gd name="connsiteY1493" fmla="*/ 325976 h 2641600"/>
                <a:gd name="connsiteX1494" fmla="*/ 3138636 w 3302716"/>
                <a:gd name="connsiteY1494" fmla="*/ 332599 h 2641600"/>
                <a:gd name="connsiteX1495" fmla="*/ 3139225 w 3302716"/>
                <a:gd name="connsiteY1495" fmla="*/ 337873 h 2641600"/>
                <a:gd name="connsiteX1496" fmla="*/ 3144718 w 3302716"/>
                <a:gd name="connsiteY1496" fmla="*/ 341907 h 2641600"/>
                <a:gd name="connsiteX1497" fmla="*/ 3153012 w 3302716"/>
                <a:gd name="connsiteY1497" fmla="*/ 345231 h 2641600"/>
                <a:gd name="connsiteX1498" fmla="*/ 3164701 w 3302716"/>
                <a:gd name="connsiteY1498" fmla="*/ 347244 h 2641600"/>
                <a:gd name="connsiteX1499" fmla="*/ 3176497 w 3302716"/>
                <a:gd name="connsiteY1499" fmla="*/ 349682 h 2641600"/>
                <a:gd name="connsiteX1500" fmla="*/ 3187378 w 3302716"/>
                <a:gd name="connsiteY1500" fmla="*/ 351448 h 2641600"/>
                <a:gd name="connsiteX1501" fmla="*/ 3196158 w 3302716"/>
                <a:gd name="connsiteY1501" fmla="*/ 353746 h 2641600"/>
                <a:gd name="connsiteX1502" fmla="*/ 3201921 w 3302716"/>
                <a:gd name="connsiteY1502" fmla="*/ 355903 h 2641600"/>
                <a:gd name="connsiteX1503" fmla="*/ 3204882 w 3302716"/>
                <a:gd name="connsiteY1503" fmla="*/ 358769 h 2641600"/>
                <a:gd name="connsiteX1504" fmla="*/ 3204934 w 3302716"/>
                <a:gd name="connsiteY1504" fmla="*/ 361920 h 2641600"/>
                <a:gd name="connsiteX1505" fmla="*/ 3204286 w 3302716"/>
                <a:gd name="connsiteY1505" fmla="*/ 365248 h 2641600"/>
                <a:gd name="connsiteX1506" fmla="*/ 3204446 w 3302716"/>
                <a:gd name="connsiteY1506" fmla="*/ 368823 h 2641600"/>
                <a:gd name="connsiteX1507" fmla="*/ 3205091 w 3302716"/>
                <a:gd name="connsiteY1507" fmla="*/ 371372 h 2641600"/>
                <a:gd name="connsiteX1508" fmla="*/ 3209561 w 3302716"/>
                <a:gd name="connsiteY1508" fmla="*/ 374308 h 2641600"/>
                <a:gd name="connsiteX1509" fmla="*/ 3216024 w 3302716"/>
                <a:gd name="connsiteY1509" fmla="*/ 376288 h 2641600"/>
                <a:gd name="connsiteX1510" fmla="*/ 3222595 w 3302716"/>
                <a:gd name="connsiteY1510" fmla="*/ 378693 h 2641600"/>
                <a:gd name="connsiteX1511" fmla="*/ 3225556 w 3302716"/>
                <a:gd name="connsiteY1511" fmla="*/ 381559 h 2641600"/>
                <a:gd name="connsiteX1512" fmla="*/ 3225824 w 3302716"/>
                <a:gd name="connsiteY1512" fmla="*/ 385560 h 2641600"/>
                <a:gd name="connsiteX1513" fmla="*/ 3224690 w 3302716"/>
                <a:gd name="connsiteY1513" fmla="*/ 389914 h 2641600"/>
                <a:gd name="connsiteX1514" fmla="*/ 3222048 w 3302716"/>
                <a:gd name="connsiteY1514" fmla="*/ 394199 h 2641600"/>
                <a:gd name="connsiteX1515" fmla="*/ 3221023 w 3302716"/>
                <a:gd name="connsiteY1515" fmla="*/ 398979 h 2641600"/>
                <a:gd name="connsiteX1516" fmla="*/ 3221290 w 3302716"/>
                <a:gd name="connsiteY1516" fmla="*/ 402979 h 2641600"/>
                <a:gd name="connsiteX1517" fmla="*/ 3223658 w 3302716"/>
                <a:gd name="connsiteY1517" fmla="*/ 406447 h 2641600"/>
                <a:gd name="connsiteX1518" fmla="*/ 3226835 w 3302716"/>
                <a:gd name="connsiteY1518" fmla="*/ 410163 h 2641600"/>
                <a:gd name="connsiteX1519" fmla="*/ 3228125 w 3302716"/>
                <a:gd name="connsiteY1519" fmla="*/ 415260 h 2641600"/>
                <a:gd name="connsiteX1520" fmla="*/ 3227207 w 3302716"/>
                <a:gd name="connsiteY1520" fmla="*/ 420465 h 2641600"/>
                <a:gd name="connsiteX1521" fmla="*/ 3225102 w 3302716"/>
                <a:gd name="connsiteY1521" fmla="*/ 426873 h 2641600"/>
                <a:gd name="connsiteX1522" fmla="*/ 3220574 w 3302716"/>
                <a:gd name="connsiteY1522" fmla="*/ 432539 h 2641600"/>
                <a:gd name="connsiteX1523" fmla="*/ 3216154 w 3302716"/>
                <a:gd name="connsiteY1523" fmla="*/ 438630 h 2641600"/>
                <a:gd name="connsiteX1524" fmla="*/ 3209903 w 3302716"/>
                <a:gd name="connsiteY1524" fmla="*/ 443377 h 2641600"/>
                <a:gd name="connsiteX1525" fmla="*/ 3201928 w 3302716"/>
                <a:gd name="connsiteY1525" fmla="*/ 447203 h 2641600"/>
                <a:gd name="connsiteX1526" fmla="*/ 3196647 w 3302716"/>
                <a:gd name="connsiteY1526" fmla="*/ 449896 h 2641600"/>
                <a:gd name="connsiteX1527" fmla="*/ 3194168 w 3302716"/>
                <a:gd name="connsiteY1527" fmla="*/ 451879 h 2641600"/>
                <a:gd name="connsiteX1528" fmla="*/ 3195406 w 3302716"/>
                <a:gd name="connsiteY1528" fmla="*/ 453826 h 2641600"/>
                <a:gd name="connsiteX1529" fmla="*/ 3198961 w 3302716"/>
                <a:gd name="connsiteY1529" fmla="*/ 456090 h 2641600"/>
                <a:gd name="connsiteX1530" fmla="*/ 3204723 w 3302716"/>
                <a:gd name="connsiteY1530" fmla="*/ 458247 h 2641600"/>
                <a:gd name="connsiteX1531" fmla="*/ 3212102 w 3302716"/>
                <a:gd name="connsiteY1531" fmla="*/ 460900 h 2641600"/>
                <a:gd name="connsiteX1532" fmla="*/ 3221312 w 3302716"/>
                <a:gd name="connsiteY1532" fmla="*/ 464896 h 2641600"/>
                <a:gd name="connsiteX1533" fmla="*/ 3230737 w 3302716"/>
                <a:gd name="connsiteY1533" fmla="*/ 469742 h 2641600"/>
                <a:gd name="connsiteX1534" fmla="*/ 3237145 w 3302716"/>
                <a:gd name="connsiteY1534" fmla="*/ 474448 h 2641600"/>
                <a:gd name="connsiteX1535" fmla="*/ 3237090 w 3302716"/>
                <a:gd name="connsiteY1535" fmla="*/ 477174 h 2641600"/>
                <a:gd name="connsiteX1536" fmla="*/ 3232294 w 3302716"/>
                <a:gd name="connsiteY1536" fmla="*/ 478840 h 2641600"/>
                <a:gd name="connsiteX1537" fmla="*/ 3225668 w 3302716"/>
                <a:gd name="connsiteY1537" fmla="*/ 479161 h 2641600"/>
                <a:gd name="connsiteX1538" fmla="*/ 3216240 w 3302716"/>
                <a:gd name="connsiteY1538" fmla="*/ 480192 h 2641600"/>
                <a:gd name="connsiteX1539" fmla="*/ 3208321 w 3302716"/>
                <a:gd name="connsiteY1539" fmla="*/ 481292 h 2641600"/>
                <a:gd name="connsiteX1540" fmla="*/ 3202017 w 3302716"/>
                <a:gd name="connsiteY1540" fmla="*/ 482888 h 2641600"/>
                <a:gd name="connsiteX1541" fmla="*/ 3198353 w 3302716"/>
                <a:gd name="connsiteY1541" fmla="*/ 486076 h 2641600"/>
                <a:gd name="connsiteX1542" fmla="*/ 3198405 w 3302716"/>
                <a:gd name="connsiteY1542" fmla="*/ 489226 h 2641600"/>
                <a:gd name="connsiteX1543" fmla="*/ 3198835 w 3302716"/>
                <a:gd name="connsiteY1543" fmla="*/ 490925 h 2641600"/>
                <a:gd name="connsiteX1544" fmla="*/ 3199643 w 3302716"/>
                <a:gd name="connsiteY1544" fmla="*/ 491173 h 2641600"/>
                <a:gd name="connsiteX1545" fmla="*/ 3202444 w 3302716"/>
                <a:gd name="connsiteY1545" fmla="*/ 490464 h 2641600"/>
                <a:gd name="connsiteX1546" fmla="*/ 3206647 w 3302716"/>
                <a:gd name="connsiteY1546" fmla="*/ 489400 h 2641600"/>
                <a:gd name="connsiteX1547" fmla="*/ 3213058 w 3302716"/>
                <a:gd name="connsiteY1547" fmla="*/ 488229 h 2641600"/>
                <a:gd name="connsiteX1548" fmla="*/ 3223294 w 3302716"/>
                <a:gd name="connsiteY1548" fmla="*/ 487446 h 2641600"/>
                <a:gd name="connsiteX1549" fmla="*/ 3235253 w 3302716"/>
                <a:gd name="connsiteY1549" fmla="*/ 487583 h 2641600"/>
                <a:gd name="connsiteX1550" fmla="*/ 3248828 w 3302716"/>
                <a:gd name="connsiteY1550" fmla="*/ 488215 h 2641600"/>
                <a:gd name="connsiteX1551" fmla="*/ 3260194 w 3302716"/>
                <a:gd name="connsiteY1551" fmla="*/ 488954 h 2641600"/>
                <a:gd name="connsiteX1552" fmla="*/ 3268866 w 3302716"/>
                <a:gd name="connsiteY1552" fmla="*/ 490826 h 2641600"/>
                <a:gd name="connsiteX1553" fmla="*/ 3277538 w 3302716"/>
                <a:gd name="connsiteY1553" fmla="*/ 492699 h 2641600"/>
                <a:gd name="connsiteX1554" fmla="*/ 3284324 w 3302716"/>
                <a:gd name="connsiteY1554" fmla="*/ 495953 h 2641600"/>
                <a:gd name="connsiteX1555" fmla="*/ 3288901 w 3302716"/>
                <a:gd name="connsiteY1555" fmla="*/ 499315 h 2641600"/>
                <a:gd name="connsiteX1556" fmla="*/ 3293100 w 3302716"/>
                <a:gd name="connsiteY1556" fmla="*/ 504128 h 2641600"/>
                <a:gd name="connsiteX1557" fmla="*/ 3295414 w 3302716"/>
                <a:gd name="connsiteY1557" fmla="*/ 510322 h 2641600"/>
                <a:gd name="connsiteX1558" fmla="*/ 3295626 w 3302716"/>
                <a:gd name="connsiteY1558" fmla="*/ 517048 h 2641600"/>
                <a:gd name="connsiteX1559" fmla="*/ 3291906 w 3302716"/>
                <a:gd name="connsiteY1559" fmla="*/ 522962 h 2641600"/>
                <a:gd name="connsiteX1560" fmla="*/ 3285061 w 3302716"/>
                <a:gd name="connsiteY1560" fmla="*/ 528310 h 2641600"/>
                <a:gd name="connsiteX1561" fmla="*/ 3277895 w 3302716"/>
                <a:gd name="connsiteY1561" fmla="*/ 532384 h 2641600"/>
                <a:gd name="connsiteX1562" fmla="*/ 3269705 w 3302716"/>
                <a:gd name="connsiteY1562" fmla="*/ 535361 h 2641600"/>
                <a:gd name="connsiteX1563" fmla="*/ 3261786 w 3302716"/>
                <a:gd name="connsiteY1563" fmla="*/ 536462 h 2641600"/>
                <a:gd name="connsiteX1564" fmla="*/ 3255537 w 3302716"/>
                <a:gd name="connsiteY1564" fmla="*/ 535331 h 2641600"/>
                <a:gd name="connsiteX1565" fmla="*/ 3251068 w 3302716"/>
                <a:gd name="connsiteY1565" fmla="*/ 532395 h 2641600"/>
                <a:gd name="connsiteX1566" fmla="*/ 3245305 w 3302716"/>
                <a:gd name="connsiteY1566" fmla="*/ 530238 h 2641600"/>
                <a:gd name="connsiteX1567" fmla="*/ 3233776 w 3302716"/>
                <a:gd name="connsiteY1567" fmla="*/ 531800 h 2641600"/>
                <a:gd name="connsiteX1568" fmla="*/ 3219983 w 3302716"/>
                <a:gd name="connsiteY1568" fmla="*/ 536195 h 2641600"/>
                <a:gd name="connsiteX1569" fmla="*/ 3205597 w 3302716"/>
                <a:gd name="connsiteY1569" fmla="*/ 541193 h 2641600"/>
                <a:gd name="connsiteX1570" fmla="*/ 3192934 w 3302716"/>
                <a:gd name="connsiteY1570" fmla="*/ 547110 h 2641600"/>
                <a:gd name="connsiteX1571" fmla="*/ 3183774 w 3302716"/>
                <a:gd name="connsiteY1571" fmla="*/ 552141 h 2641600"/>
                <a:gd name="connsiteX1572" fmla="*/ 3182103 w 3302716"/>
                <a:gd name="connsiteY1572" fmla="*/ 554372 h 2641600"/>
                <a:gd name="connsiteX1573" fmla="*/ 3188514 w 3302716"/>
                <a:gd name="connsiteY1573" fmla="*/ 553201 h 2641600"/>
                <a:gd name="connsiteX1574" fmla="*/ 3204353 w 3302716"/>
                <a:gd name="connsiteY1574" fmla="*/ 551000 h 2641600"/>
                <a:gd name="connsiteX1575" fmla="*/ 3211732 w 3302716"/>
                <a:gd name="connsiteY1575" fmla="*/ 553652 h 2641600"/>
                <a:gd name="connsiteX1576" fmla="*/ 3213830 w 3302716"/>
                <a:gd name="connsiteY1576" fmla="*/ 558996 h 2641600"/>
                <a:gd name="connsiteX1577" fmla="*/ 3212641 w 3302716"/>
                <a:gd name="connsiteY1577" fmla="*/ 566077 h 2641600"/>
                <a:gd name="connsiteX1578" fmla="*/ 3209029 w 3302716"/>
                <a:gd name="connsiteY1578" fmla="*/ 572416 h 2641600"/>
                <a:gd name="connsiteX1579" fmla="*/ 3206494 w 3302716"/>
                <a:gd name="connsiteY1579" fmla="*/ 577125 h 2641600"/>
                <a:gd name="connsiteX1580" fmla="*/ 3206817 w 3302716"/>
                <a:gd name="connsiteY1580" fmla="*/ 578399 h 2641600"/>
                <a:gd name="connsiteX1581" fmla="*/ 3211667 w 3302716"/>
                <a:gd name="connsiteY1581" fmla="*/ 574008 h 2641600"/>
                <a:gd name="connsiteX1582" fmla="*/ 3221799 w 3302716"/>
                <a:gd name="connsiteY1582" fmla="*/ 566923 h 2641600"/>
                <a:gd name="connsiteX1583" fmla="*/ 3235161 w 3302716"/>
                <a:gd name="connsiteY1583" fmla="*/ 560829 h 2641600"/>
                <a:gd name="connsiteX1584" fmla="*/ 3249332 w 3302716"/>
                <a:gd name="connsiteY1584" fmla="*/ 554982 h 2641600"/>
                <a:gd name="connsiteX1585" fmla="*/ 3264741 w 3302716"/>
                <a:gd name="connsiteY1585" fmla="*/ 551081 h 2641600"/>
                <a:gd name="connsiteX1586" fmla="*/ 3277671 w 3302716"/>
                <a:gd name="connsiteY1586" fmla="*/ 549164 h 2641600"/>
                <a:gd name="connsiteX1587" fmla="*/ 3289630 w 3302716"/>
                <a:gd name="connsiteY1587" fmla="*/ 549301 h 2641600"/>
                <a:gd name="connsiteX1588" fmla="*/ 3299110 w 3302716"/>
                <a:gd name="connsiteY1588" fmla="*/ 551421 h 2641600"/>
                <a:gd name="connsiteX1589" fmla="*/ 3302716 w 3302716"/>
                <a:gd name="connsiteY1589" fmla="*/ 556836 h 2641600"/>
                <a:gd name="connsiteX1590" fmla="*/ 3302283 w 3302716"/>
                <a:gd name="connsiteY1590" fmla="*/ 561014 h 2641600"/>
                <a:gd name="connsiteX1591" fmla="*/ 3299156 w 3302716"/>
                <a:gd name="connsiteY1591" fmla="*/ 566326 h 2641600"/>
                <a:gd name="connsiteX1592" fmla="*/ 3294951 w 3302716"/>
                <a:gd name="connsiteY1592" fmla="*/ 573266 h 2641600"/>
                <a:gd name="connsiteX1593" fmla="*/ 3288859 w 3302716"/>
                <a:gd name="connsiteY1593" fmla="*/ 581588 h 2641600"/>
                <a:gd name="connsiteX1594" fmla="*/ 3280666 w 3302716"/>
                <a:gd name="connsiteY1594" fmla="*/ 590441 h 2641600"/>
                <a:gd name="connsiteX1595" fmla="*/ 3271073 w 3302716"/>
                <a:gd name="connsiteY1595" fmla="*/ 599650 h 2641600"/>
                <a:gd name="connsiteX1596" fmla="*/ 3260886 w 3302716"/>
                <a:gd name="connsiteY1596" fmla="*/ 609460 h 2641600"/>
                <a:gd name="connsiteX1597" fmla="*/ 3249999 w 3302716"/>
                <a:gd name="connsiteY1597" fmla="*/ 619448 h 2641600"/>
                <a:gd name="connsiteX1598" fmla="*/ 3239113 w 3302716"/>
                <a:gd name="connsiteY1598" fmla="*/ 629435 h 2641600"/>
                <a:gd name="connsiteX1599" fmla="*/ 3228118 w 3302716"/>
                <a:gd name="connsiteY1599" fmla="*/ 638998 h 2641600"/>
                <a:gd name="connsiteX1600" fmla="*/ 3217717 w 3302716"/>
                <a:gd name="connsiteY1600" fmla="*/ 647959 h 2641600"/>
                <a:gd name="connsiteX1601" fmla="*/ 3208016 w 3302716"/>
                <a:gd name="connsiteY1601" fmla="*/ 656742 h 2641600"/>
                <a:gd name="connsiteX1602" fmla="*/ 3198585 w 3302716"/>
                <a:gd name="connsiteY1602" fmla="*/ 663650 h 2641600"/>
                <a:gd name="connsiteX1603" fmla="*/ 3189855 w 3302716"/>
                <a:gd name="connsiteY1603" fmla="*/ 670379 h 2641600"/>
                <a:gd name="connsiteX1604" fmla="*/ 3183496 w 3302716"/>
                <a:gd name="connsiteY1604" fmla="*/ 674701 h 2641600"/>
                <a:gd name="connsiteX1605" fmla="*/ 3179023 w 3302716"/>
                <a:gd name="connsiteY1605" fmla="*/ 677641 h 2641600"/>
                <a:gd name="connsiteX1606" fmla="*/ 3171641 w 3302716"/>
                <a:gd name="connsiteY1606" fmla="*/ 680866 h 2641600"/>
                <a:gd name="connsiteX1607" fmla="*/ 3166468 w 3302716"/>
                <a:gd name="connsiteY1607" fmla="*/ 683983 h 2641600"/>
                <a:gd name="connsiteX1608" fmla="*/ 3163396 w 3302716"/>
                <a:gd name="connsiteY1608" fmla="*/ 686569 h 2641600"/>
                <a:gd name="connsiteX1609" fmla="*/ 3159246 w 3302716"/>
                <a:gd name="connsiteY1609" fmla="*/ 690783 h 2641600"/>
                <a:gd name="connsiteX1610" fmla="*/ 3156226 w 3302716"/>
                <a:gd name="connsiteY1610" fmla="*/ 696519 h 2641600"/>
                <a:gd name="connsiteX1611" fmla="*/ 3152344 w 3302716"/>
                <a:gd name="connsiteY1611" fmla="*/ 704734 h 2641600"/>
                <a:gd name="connsiteX1612" fmla="*/ 3148298 w 3302716"/>
                <a:gd name="connsiteY1612" fmla="*/ 715250 h 2641600"/>
                <a:gd name="connsiteX1613" fmla="*/ 3143119 w 3302716"/>
                <a:gd name="connsiteY1613" fmla="*/ 730121 h 2641600"/>
                <a:gd name="connsiteX1614" fmla="*/ 3135946 w 3302716"/>
                <a:gd name="connsiteY1614" fmla="*/ 745948 h 2641600"/>
                <a:gd name="connsiteX1615" fmla="*/ 3126727 w 3302716"/>
                <a:gd name="connsiteY1615" fmla="*/ 759581 h 2641600"/>
                <a:gd name="connsiteX1616" fmla="*/ 3115678 w 3302716"/>
                <a:gd name="connsiteY1616" fmla="*/ 771870 h 2641600"/>
                <a:gd name="connsiteX1617" fmla="*/ 3104791 w 3302716"/>
                <a:gd name="connsiteY1617" fmla="*/ 781858 h 2641600"/>
                <a:gd name="connsiteX1618" fmla="*/ 3094282 w 3302716"/>
                <a:gd name="connsiteY1618" fmla="*/ 790394 h 2641600"/>
                <a:gd name="connsiteX1619" fmla="*/ 3083235 w 3302716"/>
                <a:gd name="connsiteY1619" fmla="*/ 796806 h 2641600"/>
                <a:gd name="connsiteX1620" fmla="*/ 3073160 w 3302716"/>
                <a:gd name="connsiteY1620" fmla="*/ 801164 h 2641600"/>
                <a:gd name="connsiteX1621" fmla="*/ 3066263 w 3302716"/>
                <a:gd name="connsiteY1621" fmla="*/ 803362 h 2641600"/>
                <a:gd name="connsiteX1622" fmla="*/ 3058989 w 3302716"/>
                <a:gd name="connsiteY1622" fmla="*/ 807011 h 2641600"/>
                <a:gd name="connsiteX1623" fmla="*/ 3049343 w 3302716"/>
                <a:gd name="connsiteY1623" fmla="*/ 813069 h 2641600"/>
                <a:gd name="connsiteX1624" fmla="*/ 3038942 w 3302716"/>
                <a:gd name="connsiteY1624" fmla="*/ 822030 h 2641600"/>
                <a:gd name="connsiteX1625" fmla="*/ 3028863 w 3302716"/>
                <a:gd name="connsiteY1625" fmla="*/ 832265 h 2641600"/>
                <a:gd name="connsiteX1626" fmla="*/ 3019807 w 3302716"/>
                <a:gd name="connsiteY1626" fmla="*/ 843597 h 2641600"/>
                <a:gd name="connsiteX1627" fmla="*/ 3013552 w 3302716"/>
                <a:gd name="connsiteY1627" fmla="*/ 854220 h 2641600"/>
                <a:gd name="connsiteX1628" fmla="*/ 3010315 w 3302716"/>
                <a:gd name="connsiteY1628" fmla="*/ 864983 h 2641600"/>
                <a:gd name="connsiteX1629" fmla="*/ 3011872 w 3302716"/>
                <a:gd name="connsiteY1629" fmla="*/ 874081 h 2641600"/>
                <a:gd name="connsiteX1630" fmla="*/ 3013537 w 3302716"/>
                <a:gd name="connsiteY1630" fmla="*/ 883603 h 2641600"/>
                <a:gd name="connsiteX1631" fmla="*/ 3011808 w 3302716"/>
                <a:gd name="connsiteY1631" fmla="*/ 894437 h 2641600"/>
                <a:gd name="connsiteX1632" fmla="*/ 3007977 w 3302716"/>
                <a:gd name="connsiteY1632" fmla="*/ 905802 h 2641600"/>
                <a:gd name="connsiteX1633" fmla="*/ 3003446 w 3302716"/>
                <a:gd name="connsiteY1633" fmla="*/ 917345 h 2641600"/>
                <a:gd name="connsiteX1634" fmla="*/ 2996599 w 3302716"/>
                <a:gd name="connsiteY1634" fmla="*/ 928570 h 2641600"/>
                <a:gd name="connsiteX1635" fmla="*/ 2990022 w 3302716"/>
                <a:gd name="connsiteY1635" fmla="*/ 937919 h 2641600"/>
                <a:gd name="connsiteX1636" fmla="*/ 2985117 w 3302716"/>
                <a:gd name="connsiteY1636" fmla="*/ 945036 h 2641600"/>
                <a:gd name="connsiteX1637" fmla="*/ 2981074 w 3302716"/>
                <a:gd name="connsiteY1637" fmla="*/ 949675 h 2641600"/>
                <a:gd name="connsiteX1638" fmla="*/ 2980693 w 3302716"/>
                <a:gd name="connsiteY1638" fmla="*/ 957004 h 2641600"/>
                <a:gd name="connsiteX1639" fmla="*/ 2986075 w 3302716"/>
                <a:gd name="connsiteY1639" fmla="*/ 966489 h 2641600"/>
                <a:gd name="connsiteX1640" fmla="*/ 2990164 w 3302716"/>
                <a:gd name="connsiteY1640" fmla="*/ 976754 h 2641600"/>
                <a:gd name="connsiteX1641" fmla="*/ 2985203 w 3302716"/>
                <a:gd name="connsiteY1641" fmla="*/ 986598 h 2641600"/>
                <a:gd name="connsiteX1642" fmla="*/ 2980352 w 3302716"/>
                <a:gd name="connsiteY1642" fmla="*/ 990989 h 2641600"/>
                <a:gd name="connsiteX1643" fmla="*/ 2977603 w 3302716"/>
                <a:gd name="connsiteY1643" fmla="*/ 994849 h 2641600"/>
                <a:gd name="connsiteX1644" fmla="*/ 2974961 w 3302716"/>
                <a:gd name="connsiteY1644" fmla="*/ 999134 h 2641600"/>
                <a:gd name="connsiteX1645" fmla="*/ 2972535 w 3302716"/>
                <a:gd name="connsiteY1645" fmla="*/ 1004268 h 2641600"/>
                <a:gd name="connsiteX1646" fmla="*/ 2972639 w 3302716"/>
                <a:gd name="connsiteY1646" fmla="*/ 1010569 h 2641600"/>
                <a:gd name="connsiteX1647" fmla="*/ 2972366 w 3302716"/>
                <a:gd name="connsiteY1647" fmla="*/ 1018323 h 2641600"/>
                <a:gd name="connsiteX1648" fmla="*/ 2971930 w 3302716"/>
                <a:gd name="connsiteY1648" fmla="*/ 1028377 h 2641600"/>
                <a:gd name="connsiteX1649" fmla="*/ 2972947 w 3302716"/>
                <a:gd name="connsiteY1649" fmla="*/ 1041227 h 2641600"/>
                <a:gd name="connsiteX1650" fmla="*/ 2971758 w 3302716"/>
                <a:gd name="connsiteY1650" fmla="*/ 1048308 h 2641600"/>
                <a:gd name="connsiteX1651" fmla="*/ 2970139 w 3302716"/>
                <a:gd name="connsiteY1651" fmla="*/ 1053690 h 2641600"/>
                <a:gd name="connsiteX1652" fmla="*/ 2966311 w 3302716"/>
                <a:gd name="connsiteY1652" fmla="*/ 1059178 h 2641600"/>
                <a:gd name="connsiteX1653" fmla="*/ 2961246 w 3302716"/>
                <a:gd name="connsiteY1653" fmla="*/ 1062721 h 2641600"/>
                <a:gd name="connsiteX1654" fmla="*/ 2954779 w 3302716"/>
                <a:gd name="connsiteY1654" fmla="*/ 1066617 h 2641600"/>
                <a:gd name="connsiteX1655" fmla="*/ 2948691 w 3302716"/>
                <a:gd name="connsiteY1655" fmla="*/ 1069062 h 2641600"/>
                <a:gd name="connsiteX1656" fmla="*/ 2941794 w 3302716"/>
                <a:gd name="connsiteY1656" fmla="*/ 1071260 h 2641600"/>
                <a:gd name="connsiteX1657" fmla="*/ 2933983 w 3302716"/>
                <a:gd name="connsiteY1657" fmla="*/ 1072786 h 2641600"/>
                <a:gd name="connsiteX1658" fmla="*/ 2926764 w 3302716"/>
                <a:gd name="connsiteY1658" fmla="*/ 1073709 h 2641600"/>
                <a:gd name="connsiteX1659" fmla="*/ 2920245 w 3302716"/>
                <a:gd name="connsiteY1659" fmla="*/ 1074455 h 2641600"/>
                <a:gd name="connsiteX1660" fmla="*/ 2913404 w 3302716"/>
                <a:gd name="connsiteY1660" fmla="*/ 1073927 h 2641600"/>
                <a:gd name="connsiteX1661" fmla="*/ 2907263 w 3302716"/>
                <a:gd name="connsiteY1661" fmla="*/ 1073221 h 2641600"/>
                <a:gd name="connsiteX1662" fmla="*/ 2901930 w 3302716"/>
                <a:gd name="connsiteY1662" fmla="*/ 1072763 h 2641600"/>
                <a:gd name="connsiteX1663" fmla="*/ 2897783 w 3302716"/>
                <a:gd name="connsiteY1663" fmla="*/ 1071101 h 2641600"/>
                <a:gd name="connsiteX1664" fmla="*/ 2895037 w 3302716"/>
                <a:gd name="connsiteY1664" fmla="*/ 1069084 h 2641600"/>
                <a:gd name="connsiteX1665" fmla="*/ 2893098 w 3302716"/>
                <a:gd name="connsiteY1665" fmla="*/ 1067315 h 2641600"/>
                <a:gd name="connsiteX1666" fmla="*/ 2891107 w 3302716"/>
                <a:gd name="connsiteY1666" fmla="*/ 1062395 h 2641600"/>
                <a:gd name="connsiteX1667" fmla="*/ 2887824 w 3302716"/>
                <a:gd name="connsiteY1667" fmla="*/ 1058254 h 2641600"/>
                <a:gd name="connsiteX1668" fmla="*/ 2882438 w 3302716"/>
                <a:gd name="connsiteY1668" fmla="*/ 1054645 h 2641600"/>
                <a:gd name="connsiteX1669" fmla="*/ 2876460 w 3302716"/>
                <a:gd name="connsiteY1669" fmla="*/ 1051639 h 2641600"/>
                <a:gd name="connsiteX1670" fmla="*/ 2869297 w 3302716"/>
                <a:gd name="connsiteY1670" fmla="*/ 1049836 h 2641600"/>
                <a:gd name="connsiteX1671" fmla="*/ 2860247 w 3302716"/>
                <a:gd name="connsiteY1671" fmla="*/ 1049415 h 2641600"/>
                <a:gd name="connsiteX1672" fmla="*/ 2851519 w 3302716"/>
                <a:gd name="connsiteY1672" fmla="*/ 1050268 h 2641600"/>
                <a:gd name="connsiteX1673" fmla="*/ 2841121 w 3302716"/>
                <a:gd name="connsiteY1673" fmla="*/ 1053352 h 2641600"/>
                <a:gd name="connsiteX1674" fmla="*/ 2829592 w 3302716"/>
                <a:gd name="connsiteY1674" fmla="*/ 1054915 h 2641600"/>
                <a:gd name="connsiteX1675" fmla="*/ 2817903 w 3302716"/>
                <a:gd name="connsiteY1675" fmla="*/ 1052901 h 2641600"/>
                <a:gd name="connsiteX1676" fmla="*/ 2803953 w 3302716"/>
                <a:gd name="connsiteY1676" fmla="*/ 1047845 h 2641600"/>
                <a:gd name="connsiteX1677" fmla="*/ 2792590 w 3302716"/>
                <a:gd name="connsiteY1677" fmla="*/ 1041229 h 2641600"/>
                <a:gd name="connsiteX1678" fmla="*/ 2780797 w 3302716"/>
                <a:gd name="connsiteY1678" fmla="*/ 1032915 h 2641600"/>
                <a:gd name="connsiteX1679" fmla="*/ 2769704 w 3302716"/>
                <a:gd name="connsiteY1679" fmla="*/ 1024423 h 2641600"/>
                <a:gd name="connsiteX1680" fmla="*/ 2760335 w 3302716"/>
                <a:gd name="connsiteY1680" fmla="*/ 1016850 h 2641600"/>
                <a:gd name="connsiteX1681" fmla="*/ 2752796 w 3302716"/>
                <a:gd name="connsiteY1681" fmla="*/ 1010623 h 2641600"/>
                <a:gd name="connsiteX1682" fmla="*/ 2745473 w 3302716"/>
                <a:gd name="connsiteY1682" fmla="*/ 1005245 h 2641600"/>
                <a:gd name="connsiteX1683" fmla="*/ 2737126 w 3302716"/>
                <a:gd name="connsiteY1683" fmla="*/ 998770 h 2641600"/>
                <a:gd name="connsiteX1684" fmla="*/ 2728187 w 3302716"/>
                <a:gd name="connsiteY1684" fmla="*/ 992897 h 2641600"/>
                <a:gd name="connsiteX1685" fmla="*/ 2719840 w 3302716"/>
                <a:gd name="connsiteY1685" fmla="*/ 986422 h 2641600"/>
                <a:gd name="connsiteX1686" fmla="*/ 2712679 w 3302716"/>
                <a:gd name="connsiteY1686" fmla="*/ 978742 h 2641600"/>
                <a:gd name="connsiteX1687" fmla="*/ 2707027 w 3302716"/>
                <a:gd name="connsiteY1687" fmla="*/ 971133 h 2641600"/>
                <a:gd name="connsiteX1688" fmla="*/ 2702560 w 3302716"/>
                <a:gd name="connsiteY1688" fmla="*/ 962320 h 2641600"/>
                <a:gd name="connsiteX1689" fmla="*/ 2702296 w 3302716"/>
                <a:gd name="connsiteY1689" fmla="*/ 952443 h 2641600"/>
                <a:gd name="connsiteX1690" fmla="*/ 2701331 w 3302716"/>
                <a:gd name="connsiteY1690" fmla="*/ 942744 h 2641600"/>
                <a:gd name="connsiteX1691" fmla="*/ 2698265 w 3302716"/>
                <a:gd name="connsiteY1691" fmla="*/ 933576 h 2641600"/>
                <a:gd name="connsiteX1692" fmla="*/ 2691805 w 3302716"/>
                <a:gd name="connsiteY1692" fmla="*/ 925719 h 2641600"/>
                <a:gd name="connsiteX1693" fmla="*/ 2685560 w 3302716"/>
                <a:gd name="connsiteY1693" fmla="*/ 918712 h 2641600"/>
                <a:gd name="connsiteX1694" fmla="*/ 2677914 w 3302716"/>
                <a:gd name="connsiteY1694" fmla="*/ 912060 h 2641600"/>
                <a:gd name="connsiteX1695" fmla="*/ 2671183 w 3302716"/>
                <a:gd name="connsiteY1695" fmla="*/ 906080 h 2641600"/>
                <a:gd name="connsiteX1696" fmla="*/ 2664560 w 3302716"/>
                <a:gd name="connsiteY1696" fmla="*/ 900524 h 2641600"/>
                <a:gd name="connsiteX1697" fmla="*/ 2660953 w 3302716"/>
                <a:gd name="connsiteY1697" fmla="*/ 895109 h 2641600"/>
                <a:gd name="connsiteX1698" fmla="*/ 2658425 w 3302716"/>
                <a:gd name="connsiteY1698" fmla="*/ 888066 h 2641600"/>
                <a:gd name="connsiteX1699" fmla="*/ 2657245 w 3302716"/>
                <a:gd name="connsiteY1699" fmla="*/ 877516 h 2641600"/>
                <a:gd name="connsiteX1700" fmla="*/ 2657629 w 3302716"/>
                <a:gd name="connsiteY1700" fmla="*/ 864311 h 2641600"/>
                <a:gd name="connsiteX1701" fmla="*/ 2657798 w 3302716"/>
                <a:gd name="connsiteY1701" fmla="*/ 850257 h 2641600"/>
                <a:gd name="connsiteX1702" fmla="*/ 2659475 w 3302716"/>
                <a:gd name="connsiteY1702" fmla="*/ 836273 h 2641600"/>
                <a:gd name="connsiteX1703" fmla="*/ 2661960 w 3302716"/>
                <a:gd name="connsiteY1703" fmla="*/ 822536 h 2641600"/>
                <a:gd name="connsiteX1704" fmla="*/ 2665198 w 3302716"/>
                <a:gd name="connsiteY1704" fmla="*/ 811773 h 2641600"/>
                <a:gd name="connsiteX1705" fmla="*/ 2668380 w 3302716"/>
                <a:gd name="connsiteY1705" fmla="*/ 803735 h 2641600"/>
                <a:gd name="connsiteX1706" fmla="*/ 2672908 w 3302716"/>
                <a:gd name="connsiteY1706" fmla="*/ 798069 h 2641600"/>
                <a:gd name="connsiteX1707" fmla="*/ 2679160 w 3302716"/>
                <a:gd name="connsiteY1707" fmla="*/ 793323 h 2641600"/>
                <a:gd name="connsiteX1708" fmla="*/ 2685518 w 3302716"/>
                <a:gd name="connsiteY1708" fmla="*/ 789001 h 2641600"/>
                <a:gd name="connsiteX1709" fmla="*/ 2692578 w 3302716"/>
                <a:gd name="connsiteY1709" fmla="*/ 784502 h 2641600"/>
                <a:gd name="connsiteX1710" fmla="*/ 2699959 w 3302716"/>
                <a:gd name="connsiteY1710" fmla="*/ 781278 h 2641600"/>
                <a:gd name="connsiteX1711" fmla="*/ 2706426 w 3302716"/>
                <a:gd name="connsiteY1711" fmla="*/ 777381 h 2641600"/>
                <a:gd name="connsiteX1712" fmla="*/ 2711599 w 3302716"/>
                <a:gd name="connsiteY1712" fmla="*/ 774264 h 2641600"/>
                <a:gd name="connsiteX1713" fmla="*/ 2715156 w 3302716"/>
                <a:gd name="connsiteY1713" fmla="*/ 770651 h 2641600"/>
                <a:gd name="connsiteX1714" fmla="*/ 2719094 w 3302716"/>
                <a:gd name="connsiteY1714" fmla="*/ 759711 h 2641600"/>
                <a:gd name="connsiteX1715" fmla="*/ 2721364 w 3302716"/>
                <a:gd name="connsiteY1715" fmla="*/ 745124 h 2641600"/>
                <a:gd name="connsiteX1716" fmla="*/ 2720455 w 3302716"/>
                <a:gd name="connsiteY1716" fmla="*/ 732699 h 2641600"/>
                <a:gd name="connsiteX1717" fmla="*/ 2713239 w 3302716"/>
                <a:gd name="connsiteY1717" fmla="*/ 727745 h 2641600"/>
                <a:gd name="connsiteX1718" fmla="*/ 2708228 w 3302716"/>
                <a:gd name="connsiteY1718" fmla="*/ 728562 h 2641600"/>
                <a:gd name="connsiteX1719" fmla="*/ 2704727 w 3302716"/>
                <a:gd name="connsiteY1719" fmla="*/ 729448 h 2641600"/>
                <a:gd name="connsiteX1720" fmla="*/ 2700847 w 3302716"/>
                <a:gd name="connsiteY1720" fmla="*/ 731786 h 2641600"/>
                <a:gd name="connsiteX1721" fmla="*/ 2699176 w 3302716"/>
                <a:gd name="connsiteY1721" fmla="*/ 734017 h 2641600"/>
                <a:gd name="connsiteX1722" fmla="*/ 2696319 w 3302716"/>
                <a:gd name="connsiteY1722" fmla="*/ 737452 h 2641600"/>
                <a:gd name="connsiteX1723" fmla="*/ 2692869 w 3302716"/>
                <a:gd name="connsiteY1723" fmla="*/ 741489 h 2641600"/>
                <a:gd name="connsiteX1724" fmla="*/ 2690928 w 3302716"/>
                <a:gd name="connsiteY1724" fmla="*/ 745597 h 2641600"/>
                <a:gd name="connsiteX1725" fmla="*/ 2686992 w 3302716"/>
                <a:gd name="connsiteY1725" fmla="*/ 750661 h 2641600"/>
                <a:gd name="connsiteX1726" fmla="*/ 2682034 w 3302716"/>
                <a:gd name="connsiteY1726" fmla="*/ 754628 h 2641600"/>
                <a:gd name="connsiteX1727" fmla="*/ 2673630 w 3302716"/>
                <a:gd name="connsiteY1727" fmla="*/ 756755 h 2641600"/>
                <a:gd name="connsiteX1728" fmla="*/ 2665388 w 3302716"/>
                <a:gd name="connsiteY1728" fmla="*/ 756581 h 2641600"/>
                <a:gd name="connsiteX1729" fmla="*/ 2656015 w 3302716"/>
                <a:gd name="connsiteY1729" fmla="*/ 754886 h 2641600"/>
                <a:gd name="connsiteX1730" fmla="*/ 2647128 w 3302716"/>
                <a:gd name="connsiteY1730" fmla="*/ 752164 h 2641600"/>
                <a:gd name="connsiteX1731" fmla="*/ 2639427 w 3302716"/>
                <a:gd name="connsiteY1731" fmla="*/ 748237 h 2641600"/>
                <a:gd name="connsiteX1732" fmla="*/ 2633019 w 3302716"/>
                <a:gd name="connsiteY1732" fmla="*/ 743531 h 2641600"/>
                <a:gd name="connsiteX1733" fmla="*/ 2629412 w 3302716"/>
                <a:gd name="connsiteY1733" fmla="*/ 738116 h 2641600"/>
                <a:gd name="connsiteX1734" fmla="*/ 2630223 w 3302716"/>
                <a:gd name="connsiteY1734" fmla="*/ 732487 h 2641600"/>
                <a:gd name="connsiteX1735" fmla="*/ 2632865 w 3302716"/>
                <a:gd name="connsiteY1735" fmla="*/ 728203 h 2641600"/>
                <a:gd name="connsiteX1736" fmla="*/ 2639439 w 3302716"/>
                <a:gd name="connsiteY1736" fmla="*/ 724731 h 2641600"/>
                <a:gd name="connsiteX1737" fmla="*/ 2646120 w 3302716"/>
                <a:gd name="connsiteY1737" fmla="*/ 721683 h 2641600"/>
                <a:gd name="connsiteX1738" fmla="*/ 2652424 w 3302716"/>
                <a:gd name="connsiteY1738" fmla="*/ 720088 h 2641600"/>
                <a:gd name="connsiteX1739" fmla="*/ 2658942 w 3302716"/>
                <a:gd name="connsiteY1739" fmla="*/ 719342 h 2641600"/>
                <a:gd name="connsiteX1740" fmla="*/ 2663252 w 3302716"/>
                <a:gd name="connsiteY1740" fmla="*/ 718703 h 2641600"/>
                <a:gd name="connsiteX1741" fmla="*/ 2664653 w 3302716"/>
                <a:gd name="connsiteY1741" fmla="*/ 718348 h 2641600"/>
                <a:gd name="connsiteX1742" fmla="*/ 2662930 w 3302716"/>
                <a:gd name="connsiteY1742" fmla="*/ 717428 h 2641600"/>
                <a:gd name="connsiteX1743" fmla="*/ 2658297 w 3302716"/>
                <a:gd name="connsiteY1743" fmla="*/ 716793 h 2641600"/>
                <a:gd name="connsiteX1744" fmla="*/ 2653342 w 3302716"/>
                <a:gd name="connsiteY1744" fmla="*/ 714883 h 2641600"/>
                <a:gd name="connsiteX1745" fmla="*/ 2648280 w 3302716"/>
                <a:gd name="connsiteY1745" fmla="*/ 712549 h 2641600"/>
                <a:gd name="connsiteX1746" fmla="*/ 2644025 w 3302716"/>
                <a:gd name="connsiteY1746" fmla="*/ 710462 h 2641600"/>
                <a:gd name="connsiteX1747" fmla="*/ 2643272 w 3302716"/>
                <a:gd name="connsiteY1747" fmla="*/ 707489 h 2641600"/>
                <a:gd name="connsiteX1748" fmla="*/ 2646937 w 3302716"/>
                <a:gd name="connsiteY1748" fmla="*/ 704301 h 2641600"/>
                <a:gd name="connsiteX1749" fmla="*/ 2656528 w 3302716"/>
                <a:gd name="connsiteY1749" fmla="*/ 700969 h 2641600"/>
                <a:gd name="connsiteX1750" fmla="*/ 2666226 w 3302716"/>
                <a:gd name="connsiteY1750" fmla="*/ 698062 h 2641600"/>
                <a:gd name="connsiteX1751" fmla="*/ 2671291 w 3302716"/>
                <a:gd name="connsiteY1751" fmla="*/ 694520 h 2641600"/>
                <a:gd name="connsiteX1752" fmla="*/ 2672154 w 3302716"/>
                <a:gd name="connsiteY1752" fmla="*/ 692042 h 2641600"/>
                <a:gd name="connsiteX1753" fmla="*/ 2670001 w 3302716"/>
                <a:gd name="connsiteY1753" fmla="*/ 689423 h 2641600"/>
                <a:gd name="connsiteX1754" fmla="*/ 2664238 w 3302716"/>
                <a:gd name="connsiteY1754" fmla="*/ 687266 h 2641600"/>
                <a:gd name="connsiteX1755" fmla="*/ 2657775 w 3302716"/>
                <a:gd name="connsiteY1755" fmla="*/ 685286 h 2641600"/>
                <a:gd name="connsiteX1756" fmla="*/ 2650125 w 3302716"/>
                <a:gd name="connsiteY1756" fmla="*/ 684510 h 2641600"/>
                <a:gd name="connsiteX1757" fmla="*/ 2643177 w 3302716"/>
                <a:gd name="connsiteY1757" fmla="*/ 683557 h 2641600"/>
                <a:gd name="connsiteX1758" fmla="*/ 2637629 w 3302716"/>
                <a:gd name="connsiteY1758" fmla="*/ 682250 h 2641600"/>
                <a:gd name="connsiteX1759" fmla="*/ 2634075 w 3302716"/>
                <a:gd name="connsiteY1759" fmla="*/ 679985 h 2641600"/>
                <a:gd name="connsiteX1760" fmla="*/ 2632999 w 3302716"/>
                <a:gd name="connsiteY1760" fmla="*/ 675738 h 2641600"/>
                <a:gd name="connsiteX1761" fmla="*/ 2632302 w 3302716"/>
                <a:gd name="connsiteY1761" fmla="*/ 670038 h 2641600"/>
                <a:gd name="connsiteX1762" fmla="*/ 2632468 w 3302716"/>
                <a:gd name="connsiteY1762" fmla="*/ 661860 h 2641600"/>
                <a:gd name="connsiteX1763" fmla="*/ 2634197 w 3302716"/>
                <a:gd name="connsiteY1763" fmla="*/ 651027 h 2641600"/>
                <a:gd name="connsiteX1764" fmla="*/ 2635174 w 3302716"/>
                <a:gd name="connsiteY1764" fmla="*/ 637220 h 2641600"/>
                <a:gd name="connsiteX1765" fmla="*/ 2636098 w 3302716"/>
                <a:gd name="connsiteY1765" fmla="*/ 620262 h 2641600"/>
                <a:gd name="connsiteX1766" fmla="*/ 2634922 w 3302716"/>
                <a:gd name="connsiteY1766" fmla="*/ 603836 h 2641600"/>
                <a:gd name="connsiteX1767" fmla="*/ 2630888 w 3302716"/>
                <a:gd name="connsiteY1767" fmla="*/ 590846 h 2641600"/>
                <a:gd name="connsiteX1768" fmla="*/ 2626099 w 3302716"/>
                <a:gd name="connsiteY1768" fmla="*/ 580758 h 2641600"/>
                <a:gd name="connsiteX1769" fmla="*/ 2620124 w 3302716"/>
                <a:gd name="connsiteY1769" fmla="*/ 571875 h 2641600"/>
                <a:gd name="connsiteX1770" fmla="*/ 2612855 w 3302716"/>
                <a:gd name="connsiteY1770" fmla="*/ 563771 h 2641600"/>
                <a:gd name="connsiteX1771" fmla="*/ 2606288 w 3302716"/>
                <a:gd name="connsiteY1771" fmla="*/ 555489 h 2641600"/>
                <a:gd name="connsiteX1772" fmla="*/ 2601013 w 3302716"/>
                <a:gd name="connsiteY1772" fmla="*/ 546429 h 2641600"/>
                <a:gd name="connsiteX1773" fmla="*/ 2596709 w 3302716"/>
                <a:gd name="connsiteY1773" fmla="*/ 535314 h 2641600"/>
                <a:gd name="connsiteX1774" fmla="*/ 2591812 w 3302716"/>
                <a:gd name="connsiteY1774" fmla="*/ 524802 h 2641600"/>
                <a:gd name="connsiteX1775" fmla="*/ 2584651 w 3302716"/>
                <a:gd name="connsiteY1775" fmla="*/ 517123 h 2641600"/>
                <a:gd name="connsiteX1776" fmla="*/ 2575927 w 3302716"/>
                <a:gd name="connsiteY1776" fmla="*/ 512099 h 2641600"/>
                <a:gd name="connsiteX1777" fmla="*/ 2564831 w 3302716"/>
                <a:gd name="connsiteY1777" fmla="*/ 509484 h 2641600"/>
                <a:gd name="connsiteX1778" fmla="*/ 2553357 w 3302716"/>
                <a:gd name="connsiteY1778" fmla="*/ 508321 h 2641600"/>
                <a:gd name="connsiteX1779" fmla="*/ 2540913 w 3302716"/>
                <a:gd name="connsiteY1779" fmla="*/ 509211 h 2641600"/>
                <a:gd name="connsiteX1780" fmla="*/ 2527175 w 3302716"/>
                <a:gd name="connsiteY1780" fmla="*/ 510880 h 2641600"/>
                <a:gd name="connsiteX1781" fmla="*/ 2514246 w 3302716"/>
                <a:gd name="connsiteY1781" fmla="*/ 512797 h 2641600"/>
                <a:gd name="connsiteX1782" fmla="*/ 2501909 w 3302716"/>
                <a:gd name="connsiteY1782" fmla="*/ 514112 h 2641600"/>
                <a:gd name="connsiteX1783" fmla="*/ 2491458 w 3302716"/>
                <a:gd name="connsiteY1783" fmla="*/ 514045 h 2641600"/>
                <a:gd name="connsiteX1784" fmla="*/ 2482786 w 3302716"/>
                <a:gd name="connsiteY1784" fmla="*/ 512172 h 2641600"/>
                <a:gd name="connsiteX1785" fmla="*/ 2475407 w 3302716"/>
                <a:gd name="connsiteY1785" fmla="*/ 509520 h 2641600"/>
                <a:gd name="connsiteX1786" fmla="*/ 2469107 w 3302716"/>
                <a:gd name="connsiteY1786" fmla="*/ 505239 h 2641600"/>
                <a:gd name="connsiteX1787" fmla="*/ 2463992 w 3302716"/>
                <a:gd name="connsiteY1787" fmla="*/ 499754 h 2641600"/>
                <a:gd name="connsiteX1788" fmla="*/ 2458069 w 3302716"/>
                <a:gd name="connsiteY1788" fmla="*/ 494021 h 2641600"/>
                <a:gd name="connsiteX1789" fmla="*/ 2452739 w 3302716"/>
                <a:gd name="connsiteY1789" fmla="*/ 487687 h 2641600"/>
                <a:gd name="connsiteX1790" fmla="*/ 2449618 w 3302716"/>
                <a:gd name="connsiteY1790" fmla="*/ 481245 h 2641600"/>
                <a:gd name="connsiteX1791" fmla="*/ 2449028 w 3302716"/>
                <a:gd name="connsiteY1791" fmla="*/ 475970 h 2641600"/>
                <a:gd name="connsiteX1792" fmla="*/ 2450054 w 3302716"/>
                <a:gd name="connsiteY1792" fmla="*/ 471191 h 2641600"/>
                <a:gd name="connsiteX1793" fmla="*/ 2452481 w 3302716"/>
                <a:gd name="connsiteY1793" fmla="*/ 466056 h 2641600"/>
                <a:gd name="connsiteX1794" fmla="*/ 2454315 w 3302716"/>
                <a:gd name="connsiteY1794" fmla="*/ 461524 h 2641600"/>
                <a:gd name="connsiteX1795" fmla="*/ 2455341 w 3302716"/>
                <a:gd name="connsiteY1795" fmla="*/ 456745 h 2641600"/>
                <a:gd name="connsiteX1796" fmla="*/ 2454643 w 3302716"/>
                <a:gd name="connsiteY1796" fmla="*/ 451045 h 2641600"/>
                <a:gd name="connsiteX1797" fmla="*/ 2451522 w 3302716"/>
                <a:gd name="connsiteY1797" fmla="*/ 444604 h 2641600"/>
                <a:gd name="connsiteX1798" fmla="*/ 2446893 w 3302716"/>
                <a:gd name="connsiteY1798" fmla="*/ 438092 h 2641600"/>
                <a:gd name="connsiteX1799" fmla="*/ 2446788 w 3302716"/>
                <a:gd name="connsiteY1799" fmla="*/ 431790 h 2641600"/>
                <a:gd name="connsiteX1800" fmla="*/ 2447491 w 3302716"/>
                <a:gd name="connsiteY1800" fmla="*/ 425736 h 2641600"/>
                <a:gd name="connsiteX1801" fmla="*/ 2450619 w 3302716"/>
                <a:gd name="connsiteY1801" fmla="*/ 420425 h 2641600"/>
                <a:gd name="connsiteX1802" fmla="*/ 2456170 w 3302716"/>
                <a:gd name="connsiteY1802" fmla="*/ 415856 h 2641600"/>
                <a:gd name="connsiteX1803" fmla="*/ 2464630 w 3302716"/>
                <a:gd name="connsiteY1803" fmla="*/ 411002 h 2641600"/>
                <a:gd name="connsiteX1804" fmla="*/ 2474813 w 3302716"/>
                <a:gd name="connsiteY1804" fmla="*/ 407068 h 2641600"/>
                <a:gd name="connsiteX1805" fmla="*/ 2486612 w 3302716"/>
                <a:gd name="connsiteY1805" fmla="*/ 403630 h 2641600"/>
                <a:gd name="connsiteX1806" fmla="*/ 2499112 w 3302716"/>
                <a:gd name="connsiteY1806" fmla="*/ 400014 h 2641600"/>
                <a:gd name="connsiteX1807" fmla="*/ 2512097 w 3302716"/>
                <a:gd name="connsiteY1807" fmla="*/ 395371 h 2641600"/>
                <a:gd name="connsiteX1808" fmla="*/ 2523359 w 3302716"/>
                <a:gd name="connsiteY1808" fmla="*/ 389808 h 2641600"/>
                <a:gd name="connsiteX1809" fmla="*/ 2533920 w 3302716"/>
                <a:gd name="connsiteY1809" fmla="*/ 384423 h 2641600"/>
                <a:gd name="connsiteX1810" fmla="*/ 2542650 w 3302716"/>
                <a:gd name="connsiteY1810" fmla="*/ 377693 h 2641600"/>
                <a:gd name="connsiteX1811" fmla="*/ 2549765 w 3302716"/>
                <a:gd name="connsiteY1811" fmla="*/ 370468 h 2641600"/>
                <a:gd name="connsiteX1812" fmla="*/ 2553648 w 3302716"/>
                <a:gd name="connsiteY1812" fmla="*/ 362254 h 2641600"/>
                <a:gd name="connsiteX1813" fmla="*/ 2554406 w 3302716"/>
                <a:gd name="connsiteY1813" fmla="*/ 353474 h 2641600"/>
                <a:gd name="connsiteX1814" fmla="*/ 2557374 w 3302716"/>
                <a:gd name="connsiteY1814" fmla="*/ 344587 h 2641600"/>
                <a:gd name="connsiteX1815" fmla="*/ 2564759 w 3302716"/>
                <a:gd name="connsiteY1815" fmla="*/ 335486 h 2641600"/>
                <a:gd name="connsiteX1816" fmla="*/ 2575160 w 3302716"/>
                <a:gd name="connsiteY1816" fmla="*/ 326525 h 2641600"/>
                <a:gd name="connsiteX1817" fmla="*/ 2587878 w 3302716"/>
                <a:gd name="connsiteY1817" fmla="*/ 317882 h 2641600"/>
                <a:gd name="connsiteX1818" fmla="*/ 2600110 w 3302716"/>
                <a:gd name="connsiteY1818" fmla="*/ 310265 h 2641600"/>
                <a:gd name="connsiteX1819" fmla="*/ 2611535 w 3302716"/>
                <a:gd name="connsiteY1819" fmla="*/ 302402 h 2641600"/>
                <a:gd name="connsiteX1820" fmla="*/ 2619565 w 3302716"/>
                <a:gd name="connsiteY1820" fmla="*/ 295849 h 2641600"/>
                <a:gd name="connsiteX1821" fmla="*/ 2624793 w 3302716"/>
                <a:gd name="connsiteY1821" fmla="*/ 290006 h 2641600"/>
                <a:gd name="connsiteX1822" fmla="*/ 2627813 w 3302716"/>
                <a:gd name="connsiteY1822" fmla="*/ 284270 h 2641600"/>
                <a:gd name="connsiteX1823" fmla="*/ 2635843 w 3302716"/>
                <a:gd name="connsiteY1823" fmla="*/ 277717 h 2641600"/>
                <a:gd name="connsiteX1824" fmla="*/ 2645488 w 3302716"/>
                <a:gd name="connsiteY1824" fmla="*/ 271660 h 2641600"/>
                <a:gd name="connsiteX1825" fmla="*/ 2656642 w 3302716"/>
                <a:gd name="connsiteY1825" fmla="*/ 265672 h 2641600"/>
                <a:gd name="connsiteX1826" fmla="*/ 2670113 w 3302716"/>
                <a:gd name="connsiteY1826" fmla="*/ 260002 h 2641600"/>
                <a:gd name="connsiteX1827" fmla="*/ 2683906 w 3302716"/>
                <a:gd name="connsiteY1827" fmla="*/ 255607 h 2641600"/>
                <a:gd name="connsiteX1828" fmla="*/ 2696728 w 3302716"/>
                <a:gd name="connsiteY1828" fmla="*/ 253265 h 2641600"/>
                <a:gd name="connsiteX1829" fmla="*/ 2709172 w 3302716"/>
                <a:gd name="connsiteY1829" fmla="*/ 252375 h 2641600"/>
                <a:gd name="connsiteX1830" fmla="*/ 2719516 w 3302716"/>
                <a:gd name="connsiteY1830" fmla="*/ 252017 h 2641600"/>
                <a:gd name="connsiteX1831" fmla="*/ 2727920 w 3302716"/>
                <a:gd name="connsiteY1831" fmla="*/ 249890 h 2641600"/>
                <a:gd name="connsiteX1832" fmla="*/ 2733901 w 3302716"/>
                <a:gd name="connsiteY1832" fmla="*/ 247020 h 2641600"/>
                <a:gd name="connsiteX1833" fmla="*/ 2738267 w 3302716"/>
                <a:gd name="connsiteY1833" fmla="*/ 243655 h 2641600"/>
                <a:gd name="connsiteX1834" fmla="*/ 2741501 w 3302716"/>
                <a:gd name="connsiteY1834" fmla="*/ 238768 h 2641600"/>
                <a:gd name="connsiteX1835" fmla="*/ 2743335 w 3302716"/>
                <a:gd name="connsiteY1835" fmla="*/ 234236 h 2641600"/>
                <a:gd name="connsiteX1836" fmla="*/ 2745762 w 3302716"/>
                <a:gd name="connsiteY1836" fmla="*/ 229102 h 2641600"/>
                <a:gd name="connsiteX1837" fmla="*/ 2747273 w 3302716"/>
                <a:gd name="connsiteY1837" fmla="*/ 223295 h 2641600"/>
                <a:gd name="connsiteX1838" fmla="*/ 2752502 w 3302716"/>
                <a:gd name="connsiteY1838" fmla="*/ 217452 h 2641600"/>
                <a:gd name="connsiteX1839" fmla="*/ 2762633 w 3302716"/>
                <a:gd name="connsiteY1839" fmla="*/ 210368 h 2641600"/>
                <a:gd name="connsiteX1840" fmla="*/ 2777181 w 3302716"/>
                <a:gd name="connsiteY1840" fmla="*/ 203069 h 2641600"/>
                <a:gd name="connsiteX1841" fmla="*/ 2793023 w 3302716"/>
                <a:gd name="connsiteY1841" fmla="*/ 194991 h 2641600"/>
                <a:gd name="connsiteX1842" fmla="*/ 2809888 w 3302716"/>
                <a:gd name="connsiteY1842" fmla="*/ 188010 h 2641600"/>
                <a:gd name="connsiteX1843" fmla="*/ 2828154 w 3302716"/>
                <a:gd name="connsiteY1843" fmla="*/ 180675 h 2641600"/>
                <a:gd name="connsiteX1844" fmla="*/ 2843618 w 3302716"/>
                <a:gd name="connsiteY1844" fmla="*/ 174048 h 2641600"/>
                <a:gd name="connsiteX1845" fmla="*/ 2855687 w 3302716"/>
                <a:gd name="connsiteY1845" fmla="*/ 168733 h 2641600"/>
                <a:gd name="connsiteX1846" fmla="*/ 2860375 w 3302716"/>
                <a:gd name="connsiteY1846" fmla="*/ 166643 h 2641600"/>
                <a:gd name="connsiteX1847" fmla="*/ 2865278 w 3302716"/>
                <a:gd name="connsiteY1847" fmla="*/ 165402 h 2641600"/>
                <a:gd name="connsiteX1848" fmla="*/ 2870181 w 3302716"/>
                <a:gd name="connsiteY1848" fmla="*/ 164161 h 2641600"/>
                <a:gd name="connsiteX1849" fmla="*/ 2874491 w 3302716"/>
                <a:gd name="connsiteY1849" fmla="*/ 163522 h 2641600"/>
                <a:gd name="connsiteX1850" fmla="*/ 2880416 w 3302716"/>
                <a:gd name="connsiteY1850" fmla="*/ 163378 h 2641600"/>
                <a:gd name="connsiteX1851" fmla="*/ 2885749 w 3302716"/>
                <a:gd name="connsiteY1851" fmla="*/ 163836 h 2641600"/>
                <a:gd name="connsiteX1852" fmla="*/ 2891190 w 3302716"/>
                <a:gd name="connsiteY1852" fmla="*/ 164718 h 2641600"/>
                <a:gd name="connsiteX1853" fmla="*/ 2897223 w 3302716"/>
                <a:gd name="connsiteY1853" fmla="*/ 164999 h 2641600"/>
                <a:gd name="connsiteX1854" fmla="*/ 2903364 w 3302716"/>
                <a:gd name="connsiteY1854" fmla="*/ 165705 h 2641600"/>
                <a:gd name="connsiteX1855" fmla="*/ 2910205 w 3302716"/>
                <a:gd name="connsiteY1855" fmla="*/ 166233 h 2641600"/>
                <a:gd name="connsiteX1856" fmla="*/ 2917531 w 3302716"/>
                <a:gd name="connsiteY1856" fmla="*/ 165734 h 2641600"/>
                <a:gd name="connsiteX1857" fmla="*/ 2926852 w 3302716"/>
                <a:gd name="connsiteY1857" fmla="*/ 164279 h 2641600"/>
                <a:gd name="connsiteX1858" fmla="*/ 2936494 w 3302716"/>
                <a:gd name="connsiteY1858" fmla="*/ 164098 h 2641600"/>
                <a:gd name="connsiteX1859" fmla="*/ 2939563 w 3302716"/>
                <a:gd name="connsiteY1859" fmla="*/ 167389 h 2641600"/>
                <a:gd name="connsiteX1860" fmla="*/ 2938052 w 3302716"/>
                <a:gd name="connsiteY1860" fmla="*/ 173196 h 2641600"/>
                <a:gd name="connsiteX1861" fmla="*/ 2933039 w 3302716"/>
                <a:gd name="connsiteY1861" fmla="*/ 179889 h 2641600"/>
                <a:gd name="connsiteX1862" fmla="*/ 2926732 w 3302716"/>
                <a:gd name="connsiteY1862" fmla="*/ 187361 h 2641600"/>
                <a:gd name="connsiteX1863" fmla="*/ 2921018 w 3302716"/>
                <a:gd name="connsiteY1863" fmla="*/ 194231 h 2641600"/>
                <a:gd name="connsiteX1864" fmla="*/ 2916168 w 3302716"/>
                <a:gd name="connsiteY1864" fmla="*/ 198623 h 2641600"/>
                <a:gd name="connsiteX1865" fmla="*/ 2913689 w 3302716"/>
                <a:gd name="connsiteY1865" fmla="*/ 200607 h 2641600"/>
                <a:gd name="connsiteX1866" fmla="*/ 2927804 w 3302716"/>
                <a:gd name="connsiteY1866" fmla="*/ 197485 h 2641600"/>
                <a:gd name="connsiteX1867" fmla="*/ 2936154 w 3302716"/>
                <a:gd name="connsiteY1867" fmla="*/ 198084 h 2641600"/>
                <a:gd name="connsiteX1868" fmla="*/ 2940623 w 3302716"/>
                <a:gd name="connsiteY1868" fmla="*/ 201020 h 2641600"/>
                <a:gd name="connsiteX1869" fmla="*/ 2942614 w 3302716"/>
                <a:gd name="connsiteY1869" fmla="*/ 205940 h 2641600"/>
                <a:gd name="connsiteX1870" fmla="*/ 2942181 w 3302716"/>
                <a:gd name="connsiteY1870" fmla="*/ 210118 h 2641600"/>
                <a:gd name="connsiteX1871" fmla="*/ 2940833 w 3302716"/>
                <a:gd name="connsiteY1871" fmla="*/ 213623 h 2641600"/>
                <a:gd name="connsiteX1872" fmla="*/ 2941048 w 3302716"/>
                <a:gd name="connsiteY1872" fmla="*/ 214473 h 2641600"/>
                <a:gd name="connsiteX1873" fmla="*/ 2943312 w 3302716"/>
                <a:gd name="connsiteY1873" fmla="*/ 211640 h 2641600"/>
                <a:gd name="connsiteX1874" fmla="*/ 2947247 w 3302716"/>
                <a:gd name="connsiteY1874" fmla="*/ 206576 h 2641600"/>
                <a:gd name="connsiteX1875" fmla="*/ 2951882 w 3302716"/>
                <a:gd name="connsiteY1875" fmla="*/ 201335 h 2641600"/>
                <a:gd name="connsiteX1876" fmla="*/ 2955925 w 3302716"/>
                <a:gd name="connsiteY1876" fmla="*/ 196695 h 2641600"/>
                <a:gd name="connsiteX1877" fmla="*/ 2960182 w 3302716"/>
                <a:gd name="connsiteY1877" fmla="*/ 192906 h 2641600"/>
                <a:gd name="connsiteX1878" fmla="*/ 2964763 w 3302716"/>
                <a:gd name="connsiteY1878" fmla="*/ 190390 h 2641600"/>
                <a:gd name="connsiteX1879" fmla="*/ 2968157 w 3302716"/>
                <a:gd name="connsiteY1879" fmla="*/ 189079 h 2641600"/>
                <a:gd name="connsiteX1880" fmla="*/ 2972089 w 3302716"/>
                <a:gd name="connsiteY1880" fmla="*/ 189892 h 2641600"/>
                <a:gd name="connsiteX1881" fmla="*/ 2975051 w 3302716"/>
                <a:gd name="connsiteY1881" fmla="*/ 192758 h 2641600"/>
                <a:gd name="connsiteX1882" fmla="*/ 2978335 w 3302716"/>
                <a:gd name="connsiteY1882" fmla="*/ 196899 h 2641600"/>
                <a:gd name="connsiteX1883" fmla="*/ 2981188 w 3302716"/>
                <a:gd name="connsiteY1883" fmla="*/ 199340 h 2641600"/>
                <a:gd name="connsiteX1884" fmla="*/ 2984312 w 3302716"/>
                <a:gd name="connsiteY1884" fmla="*/ 199905 h 2641600"/>
                <a:gd name="connsiteX1885" fmla="*/ 2986521 w 3302716"/>
                <a:gd name="connsiteY1885" fmla="*/ 199798 h 2641600"/>
                <a:gd name="connsiteX1886" fmla="*/ 2989916 w 3302716"/>
                <a:gd name="connsiteY1886" fmla="*/ 198487 h 2641600"/>
                <a:gd name="connsiteX1887" fmla="*/ 2993095 w 3302716"/>
                <a:gd name="connsiteY1887" fmla="*/ 196326 h 2641600"/>
                <a:gd name="connsiteX1888" fmla="*/ 2996545 w 3302716"/>
                <a:gd name="connsiteY1888" fmla="*/ 192289 h 2641600"/>
                <a:gd name="connsiteX1889" fmla="*/ 3000265 w 3302716"/>
                <a:gd name="connsiteY1889" fmla="*/ 186376 h 2641600"/>
                <a:gd name="connsiteX1890" fmla="*/ 3003500 w 3302716"/>
                <a:gd name="connsiteY1890" fmla="*/ 181489 h 2641600"/>
                <a:gd name="connsiteX1891" fmla="*/ 3006734 w 3302716"/>
                <a:gd name="connsiteY1891" fmla="*/ 176602 h 2641600"/>
                <a:gd name="connsiteX1892" fmla="*/ 3009054 w 3302716"/>
                <a:gd name="connsiteY1892" fmla="*/ 171043 h 2641600"/>
                <a:gd name="connsiteX1893" fmla="*/ 3012989 w 3302716"/>
                <a:gd name="connsiteY1893" fmla="*/ 165979 h 2641600"/>
                <a:gd name="connsiteX1894" fmla="*/ 3017732 w 3302716"/>
                <a:gd name="connsiteY1894" fmla="*/ 161163 h 2641600"/>
                <a:gd name="connsiteX1895" fmla="*/ 3022475 w 3302716"/>
                <a:gd name="connsiteY1895" fmla="*/ 156346 h 2641600"/>
                <a:gd name="connsiteX1896" fmla="*/ 3028833 w 3302716"/>
                <a:gd name="connsiteY1896" fmla="*/ 152025 h 2641600"/>
                <a:gd name="connsiteX1897" fmla="*/ 3034814 w 3302716"/>
                <a:gd name="connsiteY1897" fmla="*/ 149155 h 2641600"/>
                <a:gd name="connsiteX1898" fmla="*/ 3039017 w 3302716"/>
                <a:gd name="connsiteY1898" fmla="*/ 148091 h 2641600"/>
                <a:gd name="connsiteX1899" fmla="*/ 3043920 w 3302716"/>
                <a:gd name="connsiteY1899" fmla="*/ 146850 h 2641600"/>
                <a:gd name="connsiteX1900" fmla="*/ 3048230 w 3302716"/>
                <a:gd name="connsiteY1900" fmla="*/ 146211 h 2641600"/>
                <a:gd name="connsiteX1901" fmla="*/ 1949844 w 3302716"/>
                <a:gd name="connsiteY1901" fmla="*/ 0 h 2641600"/>
                <a:gd name="connsiteX1902" fmla="*/ 1962733 w 3302716"/>
                <a:gd name="connsiteY1902" fmla="*/ 0 h 2641600"/>
                <a:gd name="connsiteX1903" fmla="*/ 1975623 w 3302716"/>
                <a:gd name="connsiteY1903" fmla="*/ 0 h 2641600"/>
                <a:gd name="connsiteX1904" fmla="*/ 1983142 w 3302716"/>
                <a:gd name="connsiteY1904" fmla="*/ 1015 h 2641600"/>
                <a:gd name="connsiteX1905" fmla="*/ 1989587 w 3302716"/>
                <a:gd name="connsiteY1905" fmla="*/ 3045 h 2641600"/>
                <a:gd name="connsiteX1906" fmla="*/ 1997105 w 3302716"/>
                <a:gd name="connsiteY1906" fmla="*/ 7106 h 2641600"/>
                <a:gd name="connsiteX1907" fmla="*/ 2005698 w 3302716"/>
                <a:gd name="connsiteY1907" fmla="*/ 10152 h 2641600"/>
                <a:gd name="connsiteX1908" fmla="*/ 2013217 w 3302716"/>
                <a:gd name="connsiteY1908" fmla="*/ 14213 h 2641600"/>
                <a:gd name="connsiteX1909" fmla="*/ 2020736 w 3302716"/>
                <a:gd name="connsiteY1909" fmla="*/ 15228 h 2641600"/>
                <a:gd name="connsiteX1910" fmla="*/ 2027181 w 3302716"/>
                <a:gd name="connsiteY1910" fmla="*/ 15228 h 2641600"/>
                <a:gd name="connsiteX1911" fmla="*/ 2034700 w 3302716"/>
                <a:gd name="connsiteY1911" fmla="*/ 13197 h 2641600"/>
                <a:gd name="connsiteX1912" fmla="*/ 2040071 w 3302716"/>
                <a:gd name="connsiteY1912" fmla="*/ 13197 h 2641600"/>
                <a:gd name="connsiteX1913" fmla="*/ 2046515 w 3302716"/>
                <a:gd name="connsiteY1913" fmla="*/ 14213 h 2641600"/>
                <a:gd name="connsiteX1914" fmla="*/ 2051886 w 3302716"/>
                <a:gd name="connsiteY1914" fmla="*/ 19289 h 2641600"/>
                <a:gd name="connsiteX1915" fmla="*/ 2056183 w 3302716"/>
                <a:gd name="connsiteY1915" fmla="*/ 25380 h 2641600"/>
                <a:gd name="connsiteX1916" fmla="*/ 2062627 w 3302716"/>
                <a:gd name="connsiteY1916" fmla="*/ 30456 h 2641600"/>
                <a:gd name="connsiteX1917" fmla="*/ 2063701 w 3302716"/>
                <a:gd name="connsiteY1917" fmla="*/ 34517 h 2641600"/>
                <a:gd name="connsiteX1918" fmla="*/ 2056183 w 3302716"/>
                <a:gd name="connsiteY1918" fmla="*/ 40608 h 2641600"/>
                <a:gd name="connsiteX1919" fmla="*/ 2044367 w 3302716"/>
                <a:gd name="connsiteY1919" fmla="*/ 46699 h 2641600"/>
                <a:gd name="connsiteX1920" fmla="*/ 2036848 w 3302716"/>
                <a:gd name="connsiteY1920" fmla="*/ 49745 h 2641600"/>
                <a:gd name="connsiteX1921" fmla="*/ 2032552 w 3302716"/>
                <a:gd name="connsiteY1921" fmla="*/ 53806 h 2641600"/>
                <a:gd name="connsiteX1922" fmla="*/ 2035774 w 3302716"/>
                <a:gd name="connsiteY1922" fmla="*/ 56851 h 2641600"/>
                <a:gd name="connsiteX1923" fmla="*/ 2041145 w 3302716"/>
                <a:gd name="connsiteY1923" fmla="*/ 60912 h 2641600"/>
                <a:gd name="connsiteX1924" fmla="*/ 2045441 w 3302716"/>
                <a:gd name="connsiteY1924" fmla="*/ 63958 h 2641600"/>
                <a:gd name="connsiteX1925" fmla="*/ 2046515 w 3302716"/>
                <a:gd name="connsiteY1925" fmla="*/ 69034 h 2641600"/>
                <a:gd name="connsiteX1926" fmla="*/ 2046515 w 3302716"/>
                <a:gd name="connsiteY1926" fmla="*/ 76140 h 2641600"/>
                <a:gd name="connsiteX1927" fmla="*/ 2044367 w 3302716"/>
                <a:gd name="connsiteY1927" fmla="*/ 82231 h 2641600"/>
                <a:gd name="connsiteX1928" fmla="*/ 2043293 w 3302716"/>
                <a:gd name="connsiteY1928" fmla="*/ 85277 h 2641600"/>
                <a:gd name="connsiteX1929" fmla="*/ 2043293 w 3302716"/>
                <a:gd name="connsiteY1929" fmla="*/ 88323 h 2641600"/>
                <a:gd name="connsiteX1930" fmla="*/ 2046515 w 3302716"/>
                <a:gd name="connsiteY1930" fmla="*/ 93399 h 2641600"/>
                <a:gd name="connsiteX1931" fmla="*/ 2052960 w 3302716"/>
                <a:gd name="connsiteY1931" fmla="*/ 101520 h 2641600"/>
                <a:gd name="connsiteX1932" fmla="*/ 2060479 w 3302716"/>
                <a:gd name="connsiteY1932" fmla="*/ 111672 h 2641600"/>
                <a:gd name="connsiteX1933" fmla="*/ 2062627 w 3302716"/>
                <a:gd name="connsiteY1933" fmla="*/ 123855 h 2641600"/>
                <a:gd name="connsiteX1934" fmla="*/ 2055108 w 3302716"/>
                <a:gd name="connsiteY1934" fmla="*/ 134007 h 2641600"/>
                <a:gd name="connsiteX1935" fmla="*/ 2041145 w 3302716"/>
                <a:gd name="connsiteY1935" fmla="*/ 142128 h 2641600"/>
                <a:gd name="connsiteX1936" fmla="*/ 2031478 w 3302716"/>
                <a:gd name="connsiteY1936" fmla="*/ 148220 h 2641600"/>
                <a:gd name="connsiteX1937" fmla="*/ 2028255 w 3302716"/>
                <a:gd name="connsiteY1937" fmla="*/ 153296 h 2641600"/>
                <a:gd name="connsiteX1938" fmla="*/ 2031478 w 3302716"/>
                <a:gd name="connsiteY1938" fmla="*/ 159387 h 2641600"/>
                <a:gd name="connsiteX1939" fmla="*/ 2041145 w 3302716"/>
                <a:gd name="connsiteY1939" fmla="*/ 165478 h 2641600"/>
                <a:gd name="connsiteX1940" fmla="*/ 2052960 w 3302716"/>
                <a:gd name="connsiteY1940" fmla="*/ 172584 h 2641600"/>
                <a:gd name="connsiteX1941" fmla="*/ 2060479 w 3302716"/>
                <a:gd name="connsiteY1941" fmla="*/ 182736 h 2641600"/>
                <a:gd name="connsiteX1942" fmla="*/ 2060479 w 3302716"/>
                <a:gd name="connsiteY1942" fmla="*/ 191873 h 2641600"/>
                <a:gd name="connsiteX1943" fmla="*/ 2057257 w 3302716"/>
                <a:gd name="connsiteY1943" fmla="*/ 202025 h 2641600"/>
                <a:gd name="connsiteX1944" fmla="*/ 2059405 w 3302716"/>
                <a:gd name="connsiteY1944" fmla="*/ 213193 h 2641600"/>
                <a:gd name="connsiteX1945" fmla="*/ 2060479 w 3302716"/>
                <a:gd name="connsiteY1945" fmla="*/ 222329 h 2641600"/>
                <a:gd name="connsiteX1946" fmla="*/ 2061553 w 3302716"/>
                <a:gd name="connsiteY1946" fmla="*/ 232481 h 2641600"/>
                <a:gd name="connsiteX1947" fmla="*/ 2062627 w 3302716"/>
                <a:gd name="connsiteY1947" fmla="*/ 245679 h 2641600"/>
                <a:gd name="connsiteX1948" fmla="*/ 2064776 w 3302716"/>
                <a:gd name="connsiteY1948" fmla="*/ 257862 h 2641600"/>
                <a:gd name="connsiteX1949" fmla="*/ 2066924 w 3302716"/>
                <a:gd name="connsiteY1949" fmla="*/ 268014 h 2641600"/>
                <a:gd name="connsiteX1950" fmla="*/ 2061553 w 3302716"/>
                <a:gd name="connsiteY1950" fmla="*/ 271059 h 2641600"/>
                <a:gd name="connsiteX1951" fmla="*/ 2054034 w 3302716"/>
                <a:gd name="connsiteY1951" fmla="*/ 269029 h 2641600"/>
                <a:gd name="connsiteX1952" fmla="*/ 2047590 w 3302716"/>
                <a:gd name="connsiteY1952" fmla="*/ 269029 h 2641600"/>
                <a:gd name="connsiteX1953" fmla="*/ 2047590 w 3302716"/>
                <a:gd name="connsiteY1953" fmla="*/ 272074 h 2641600"/>
                <a:gd name="connsiteX1954" fmla="*/ 2055108 w 3302716"/>
                <a:gd name="connsiteY1954" fmla="*/ 283242 h 2641600"/>
                <a:gd name="connsiteX1955" fmla="*/ 2062627 w 3302716"/>
                <a:gd name="connsiteY1955" fmla="*/ 294409 h 2641600"/>
                <a:gd name="connsiteX1956" fmla="*/ 2064776 w 3302716"/>
                <a:gd name="connsiteY1956" fmla="*/ 305576 h 2641600"/>
                <a:gd name="connsiteX1957" fmla="*/ 2063701 w 3302716"/>
                <a:gd name="connsiteY1957" fmla="*/ 313698 h 2641600"/>
                <a:gd name="connsiteX1958" fmla="*/ 2059405 w 3302716"/>
                <a:gd name="connsiteY1958" fmla="*/ 317759 h 2641600"/>
                <a:gd name="connsiteX1959" fmla="*/ 2057257 w 3302716"/>
                <a:gd name="connsiteY1959" fmla="*/ 318774 h 2641600"/>
                <a:gd name="connsiteX1960" fmla="*/ 2055108 w 3302716"/>
                <a:gd name="connsiteY1960" fmla="*/ 318774 h 2641600"/>
                <a:gd name="connsiteX1961" fmla="*/ 2054034 w 3302716"/>
                <a:gd name="connsiteY1961" fmla="*/ 318774 h 2641600"/>
                <a:gd name="connsiteX1962" fmla="*/ 2051886 w 3302716"/>
                <a:gd name="connsiteY1962" fmla="*/ 318774 h 2641600"/>
                <a:gd name="connsiteX1963" fmla="*/ 2043293 w 3302716"/>
                <a:gd name="connsiteY1963" fmla="*/ 317759 h 2641600"/>
                <a:gd name="connsiteX1964" fmla="*/ 2036848 w 3302716"/>
                <a:gd name="connsiteY1964" fmla="*/ 320804 h 2641600"/>
                <a:gd name="connsiteX1965" fmla="*/ 2031478 w 3302716"/>
                <a:gd name="connsiteY1965" fmla="*/ 322835 h 2641600"/>
                <a:gd name="connsiteX1966" fmla="*/ 2027181 w 3302716"/>
                <a:gd name="connsiteY1966" fmla="*/ 323850 h 2641600"/>
                <a:gd name="connsiteX1967" fmla="*/ 2026107 w 3302716"/>
                <a:gd name="connsiteY1967" fmla="*/ 323850 h 2641600"/>
                <a:gd name="connsiteX1968" fmla="*/ 2023959 w 3302716"/>
                <a:gd name="connsiteY1968" fmla="*/ 323850 h 2641600"/>
                <a:gd name="connsiteX1969" fmla="*/ 2022885 w 3302716"/>
                <a:gd name="connsiteY1969" fmla="*/ 322835 h 2641600"/>
                <a:gd name="connsiteX1970" fmla="*/ 2021810 w 3302716"/>
                <a:gd name="connsiteY1970" fmla="*/ 321819 h 2641600"/>
                <a:gd name="connsiteX1971" fmla="*/ 2018588 w 3302716"/>
                <a:gd name="connsiteY1971" fmla="*/ 318774 h 2641600"/>
                <a:gd name="connsiteX1972" fmla="*/ 2013217 w 3302716"/>
                <a:gd name="connsiteY1972" fmla="*/ 317759 h 2641600"/>
                <a:gd name="connsiteX1973" fmla="*/ 2006773 w 3302716"/>
                <a:gd name="connsiteY1973" fmla="*/ 317759 h 2641600"/>
                <a:gd name="connsiteX1974" fmla="*/ 2000328 w 3302716"/>
                <a:gd name="connsiteY1974" fmla="*/ 316743 h 2641600"/>
                <a:gd name="connsiteX1975" fmla="*/ 1996031 w 3302716"/>
                <a:gd name="connsiteY1975" fmla="*/ 315728 h 2641600"/>
                <a:gd name="connsiteX1976" fmla="*/ 1989587 w 3302716"/>
                <a:gd name="connsiteY1976" fmla="*/ 314713 h 2641600"/>
                <a:gd name="connsiteX1977" fmla="*/ 1986364 w 3302716"/>
                <a:gd name="connsiteY1977" fmla="*/ 313698 h 2641600"/>
                <a:gd name="connsiteX1978" fmla="*/ 1983142 w 3302716"/>
                <a:gd name="connsiteY1978" fmla="*/ 309637 h 2641600"/>
                <a:gd name="connsiteX1979" fmla="*/ 1980994 w 3302716"/>
                <a:gd name="connsiteY1979" fmla="*/ 306591 h 2641600"/>
                <a:gd name="connsiteX1980" fmla="*/ 1978845 w 3302716"/>
                <a:gd name="connsiteY1980" fmla="*/ 305576 h 2641600"/>
                <a:gd name="connsiteX1981" fmla="*/ 1974549 w 3302716"/>
                <a:gd name="connsiteY1981" fmla="*/ 305576 h 2641600"/>
                <a:gd name="connsiteX1982" fmla="*/ 1967030 w 3302716"/>
                <a:gd name="connsiteY1982" fmla="*/ 303546 h 2641600"/>
                <a:gd name="connsiteX1983" fmla="*/ 1958437 w 3302716"/>
                <a:gd name="connsiteY1983" fmla="*/ 300500 h 2641600"/>
                <a:gd name="connsiteX1984" fmla="*/ 1950918 w 3302716"/>
                <a:gd name="connsiteY1984" fmla="*/ 297455 h 2641600"/>
                <a:gd name="connsiteX1985" fmla="*/ 1944473 w 3302716"/>
                <a:gd name="connsiteY1985" fmla="*/ 292378 h 2641600"/>
                <a:gd name="connsiteX1986" fmla="*/ 1939102 w 3302716"/>
                <a:gd name="connsiteY1986" fmla="*/ 284257 h 2641600"/>
                <a:gd name="connsiteX1987" fmla="*/ 1936954 w 3302716"/>
                <a:gd name="connsiteY1987" fmla="*/ 276135 h 2641600"/>
                <a:gd name="connsiteX1988" fmla="*/ 1938028 w 3302716"/>
                <a:gd name="connsiteY1988" fmla="*/ 269029 h 2641600"/>
                <a:gd name="connsiteX1989" fmla="*/ 1938028 w 3302716"/>
                <a:gd name="connsiteY1989" fmla="*/ 263953 h 2641600"/>
                <a:gd name="connsiteX1990" fmla="*/ 1936954 w 3302716"/>
                <a:gd name="connsiteY1990" fmla="*/ 262938 h 2641600"/>
                <a:gd name="connsiteX1991" fmla="*/ 1930509 w 3302716"/>
                <a:gd name="connsiteY1991" fmla="*/ 261922 h 2641600"/>
                <a:gd name="connsiteX1992" fmla="*/ 1922991 w 3302716"/>
                <a:gd name="connsiteY1992" fmla="*/ 260907 h 2641600"/>
                <a:gd name="connsiteX1993" fmla="*/ 1915472 w 3302716"/>
                <a:gd name="connsiteY1993" fmla="*/ 256846 h 2641600"/>
                <a:gd name="connsiteX1994" fmla="*/ 1914398 w 3302716"/>
                <a:gd name="connsiteY1994" fmla="*/ 252786 h 2641600"/>
                <a:gd name="connsiteX1995" fmla="*/ 1912249 w 3302716"/>
                <a:gd name="connsiteY1995" fmla="*/ 248725 h 2641600"/>
                <a:gd name="connsiteX1996" fmla="*/ 1906879 w 3302716"/>
                <a:gd name="connsiteY1996" fmla="*/ 245679 h 2641600"/>
                <a:gd name="connsiteX1997" fmla="*/ 1900434 w 3302716"/>
                <a:gd name="connsiteY1997" fmla="*/ 241618 h 2641600"/>
                <a:gd name="connsiteX1998" fmla="*/ 1897211 w 3302716"/>
                <a:gd name="connsiteY1998" fmla="*/ 238573 h 2641600"/>
                <a:gd name="connsiteX1999" fmla="*/ 1893989 w 3302716"/>
                <a:gd name="connsiteY1999" fmla="*/ 233497 h 2641600"/>
                <a:gd name="connsiteX2000" fmla="*/ 1890767 w 3302716"/>
                <a:gd name="connsiteY2000" fmla="*/ 229436 h 2641600"/>
                <a:gd name="connsiteX2001" fmla="*/ 1888618 w 3302716"/>
                <a:gd name="connsiteY2001" fmla="*/ 223345 h 2641600"/>
                <a:gd name="connsiteX2002" fmla="*/ 1891841 w 3302716"/>
                <a:gd name="connsiteY2002" fmla="*/ 215223 h 2641600"/>
                <a:gd name="connsiteX2003" fmla="*/ 1898286 w 3302716"/>
                <a:gd name="connsiteY2003" fmla="*/ 207101 h 2641600"/>
                <a:gd name="connsiteX2004" fmla="*/ 1901508 w 3302716"/>
                <a:gd name="connsiteY2004" fmla="*/ 199995 h 2641600"/>
                <a:gd name="connsiteX2005" fmla="*/ 1903656 w 3302716"/>
                <a:gd name="connsiteY2005" fmla="*/ 193904 h 2641600"/>
                <a:gd name="connsiteX2006" fmla="*/ 1901508 w 3302716"/>
                <a:gd name="connsiteY2006" fmla="*/ 189843 h 2641600"/>
                <a:gd name="connsiteX2007" fmla="*/ 1899360 w 3302716"/>
                <a:gd name="connsiteY2007" fmla="*/ 183752 h 2641600"/>
                <a:gd name="connsiteX2008" fmla="*/ 1898286 w 3302716"/>
                <a:gd name="connsiteY2008" fmla="*/ 178676 h 2641600"/>
                <a:gd name="connsiteX2009" fmla="*/ 1897211 w 3302716"/>
                <a:gd name="connsiteY2009" fmla="*/ 178676 h 2641600"/>
                <a:gd name="connsiteX2010" fmla="*/ 1891841 w 3302716"/>
                <a:gd name="connsiteY2010" fmla="*/ 185782 h 2641600"/>
                <a:gd name="connsiteX2011" fmla="*/ 1887544 w 3302716"/>
                <a:gd name="connsiteY2011" fmla="*/ 195934 h 2641600"/>
                <a:gd name="connsiteX2012" fmla="*/ 1884322 w 3302716"/>
                <a:gd name="connsiteY2012" fmla="*/ 204056 h 2641600"/>
                <a:gd name="connsiteX2013" fmla="*/ 1881099 w 3302716"/>
                <a:gd name="connsiteY2013" fmla="*/ 209132 h 2641600"/>
                <a:gd name="connsiteX2014" fmla="*/ 1876803 w 3302716"/>
                <a:gd name="connsiteY2014" fmla="*/ 208117 h 2641600"/>
                <a:gd name="connsiteX2015" fmla="*/ 1873581 w 3302716"/>
                <a:gd name="connsiteY2015" fmla="*/ 204056 h 2641600"/>
                <a:gd name="connsiteX2016" fmla="*/ 1868210 w 3302716"/>
                <a:gd name="connsiteY2016" fmla="*/ 198980 h 2641600"/>
                <a:gd name="connsiteX2017" fmla="*/ 1863913 w 3302716"/>
                <a:gd name="connsiteY2017" fmla="*/ 193904 h 2641600"/>
                <a:gd name="connsiteX2018" fmla="*/ 1860691 w 3302716"/>
                <a:gd name="connsiteY2018" fmla="*/ 189843 h 2641600"/>
                <a:gd name="connsiteX2019" fmla="*/ 1858543 w 3302716"/>
                <a:gd name="connsiteY2019" fmla="*/ 180706 h 2641600"/>
                <a:gd name="connsiteX2020" fmla="*/ 1855320 w 3302716"/>
                <a:gd name="connsiteY2020" fmla="*/ 168524 h 2641600"/>
                <a:gd name="connsiteX2021" fmla="*/ 1851024 w 3302716"/>
                <a:gd name="connsiteY2021" fmla="*/ 155326 h 2641600"/>
                <a:gd name="connsiteX2022" fmla="*/ 1851024 w 3302716"/>
                <a:gd name="connsiteY2022" fmla="*/ 145174 h 2641600"/>
                <a:gd name="connsiteX2023" fmla="*/ 1852098 w 3302716"/>
                <a:gd name="connsiteY2023" fmla="*/ 137052 h 2641600"/>
                <a:gd name="connsiteX2024" fmla="*/ 1853172 w 3302716"/>
                <a:gd name="connsiteY2024" fmla="*/ 130961 h 2641600"/>
                <a:gd name="connsiteX2025" fmla="*/ 1857469 w 3302716"/>
                <a:gd name="connsiteY2025" fmla="*/ 125885 h 2641600"/>
                <a:gd name="connsiteX2026" fmla="*/ 1863913 w 3302716"/>
                <a:gd name="connsiteY2026" fmla="*/ 122839 h 2641600"/>
                <a:gd name="connsiteX2027" fmla="*/ 1871432 w 3302716"/>
                <a:gd name="connsiteY2027" fmla="*/ 121824 h 2641600"/>
                <a:gd name="connsiteX2028" fmla="*/ 1875729 w 3302716"/>
                <a:gd name="connsiteY2028" fmla="*/ 120809 h 2641600"/>
                <a:gd name="connsiteX2029" fmla="*/ 1880025 w 3302716"/>
                <a:gd name="connsiteY2029" fmla="*/ 120809 h 2641600"/>
                <a:gd name="connsiteX2030" fmla="*/ 1883248 w 3302716"/>
                <a:gd name="connsiteY2030" fmla="*/ 121824 h 2641600"/>
                <a:gd name="connsiteX2031" fmla="*/ 1884322 w 3302716"/>
                <a:gd name="connsiteY2031" fmla="*/ 120809 h 2641600"/>
                <a:gd name="connsiteX2032" fmla="*/ 1883248 w 3302716"/>
                <a:gd name="connsiteY2032" fmla="*/ 115733 h 2641600"/>
                <a:gd name="connsiteX2033" fmla="*/ 1881099 w 3302716"/>
                <a:gd name="connsiteY2033" fmla="*/ 109642 h 2641600"/>
                <a:gd name="connsiteX2034" fmla="*/ 1876803 w 3302716"/>
                <a:gd name="connsiteY2034" fmla="*/ 105581 h 2641600"/>
                <a:gd name="connsiteX2035" fmla="*/ 1875729 w 3302716"/>
                <a:gd name="connsiteY2035" fmla="*/ 101520 h 2641600"/>
                <a:gd name="connsiteX2036" fmla="*/ 1876803 w 3302716"/>
                <a:gd name="connsiteY2036" fmla="*/ 96444 h 2641600"/>
                <a:gd name="connsiteX2037" fmla="*/ 1881099 w 3302716"/>
                <a:gd name="connsiteY2037" fmla="*/ 91368 h 2641600"/>
                <a:gd name="connsiteX2038" fmla="*/ 1884322 w 3302716"/>
                <a:gd name="connsiteY2038" fmla="*/ 86292 h 2641600"/>
                <a:gd name="connsiteX2039" fmla="*/ 1889693 w 3302716"/>
                <a:gd name="connsiteY2039" fmla="*/ 82231 h 2641600"/>
                <a:gd name="connsiteX2040" fmla="*/ 1898286 w 3302716"/>
                <a:gd name="connsiteY2040" fmla="*/ 75125 h 2641600"/>
                <a:gd name="connsiteX2041" fmla="*/ 1909027 w 3302716"/>
                <a:gd name="connsiteY2041" fmla="*/ 72079 h 2641600"/>
                <a:gd name="connsiteX2042" fmla="*/ 1918694 w 3302716"/>
                <a:gd name="connsiteY2042" fmla="*/ 76140 h 2641600"/>
                <a:gd name="connsiteX2043" fmla="*/ 1926213 w 3302716"/>
                <a:gd name="connsiteY2043" fmla="*/ 83247 h 2641600"/>
                <a:gd name="connsiteX2044" fmla="*/ 1931584 w 3302716"/>
                <a:gd name="connsiteY2044" fmla="*/ 88323 h 2641600"/>
                <a:gd name="connsiteX2045" fmla="*/ 1933732 w 3302716"/>
                <a:gd name="connsiteY2045" fmla="*/ 91368 h 2641600"/>
                <a:gd name="connsiteX2046" fmla="*/ 1939102 w 3302716"/>
                <a:gd name="connsiteY2046" fmla="*/ 90353 h 2641600"/>
                <a:gd name="connsiteX2047" fmla="*/ 1945547 w 3302716"/>
                <a:gd name="connsiteY2047" fmla="*/ 86292 h 2641600"/>
                <a:gd name="connsiteX2048" fmla="*/ 1954140 w 3302716"/>
                <a:gd name="connsiteY2048" fmla="*/ 80201 h 2641600"/>
                <a:gd name="connsiteX2049" fmla="*/ 1962733 w 3302716"/>
                <a:gd name="connsiteY2049" fmla="*/ 73094 h 2641600"/>
                <a:gd name="connsiteX2050" fmla="*/ 1970252 w 3302716"/>
                <a:gd name="connsiteY2050" fmla="*/ 63958 h 2641600"/>
                <a:gd name="connsiteX2051" fmla="*/ 1972400 w 3302716"/>
                <a:gd name="connsiteY2051" fmla="*/ 56851 h 2641600"/>
                <a:gd name="connsiteX2052" fmla="*/ 1972400 w 3302716"/>
                <a:gd name="connsiteY2052" fmla="*/ 55836 h 2641600"/>
                <a:gd name="connsiteX2053" fmla="*/ 1969178 w 3302716"/>
                <a:gd name="connsiteY2053" fmla="*/ 57866 h 2641600"/>
                <a:gd name="connsiteX2054" fmla="*/ 1961659 w 3302716"/>
                <a:gd name="connsiteY2054" fmla="*/ 63958 h 2641600"/>
                <a:gd name="connsiteX2055" fmla="*/ 1950918 w 3302716"/>
                <a:gd name="connsiteY2055" fmla="*/ 68018 h 2641600"/>
                <a:gd name="connsiteX2056" fmla="*/ 1942325 w 3302716"/>
                <a:gd name="connsiteY2056" fmla="*/ 68018 h 2641600"/>
                <a:gd name="connsiteX2057" fmla="*/ 1939102 w 3302716"/>
                <a:gd name="connsiteY2057" fmla="*/ 61927 h 2641600"/>
                <a:gd name="connsiteX2058" fmla="*/ 1941251 w 3302716"/>
                <a:gd name="connsiteY2058" fmla="*/ 52790 h 2641600"/>
                <a:gd name="connsiteX2059" fmla="*/ 1945547 w 3302716"/>
                <a:gd name="connsiteY2059" fmla="*/ 49745 h 2641600"/>
                <a:gd name="connsiteX2060" fmla="*/ 1950918 w 3302716"/>
                <a:gd name="connsiteY2060" fmla="*/ 42638 h 2641600"/>
                <a:gd name="connsiteX2061" fmla="*/ 1955214 w 3302716"/>
                <a:gd name="connsiteY2061" fmla="*/ 36547 h 2641600"/>
                <a:gd name="connsiteX2062" fmla="*/ 1953066 w 3302716"/>
                <a:gd name="connsiteY2062" fmla="*/ 29441 h 2641600"/>
                <a:gd name="connsiteX2063" fmla="*/ 1945547 w 3302716"/>
                <a:gd name="connsiteY2063" fmla="*/ 25380 h 2641600"/>
                <a:gd name="connsiteX2064" fmla="*/ 1939102 w 3302716"/>
                <a:gd name="connsiteY2064" fmla="*/ 23350 h 2641600"/>
                <a:gd name="connsiteX2065" fmla="*/ 1934806 w 3302716"/>
                <a:gd name="connsiteY2065" fmla="*/ 18273 h 2641600"/>
                <a:gd name="connsiteX2066" fmla="*/ 1936954 w 3302716"/>
                <a:gd name="connsiteY2066" fmla="*/ 11167 h 2641600"/>
                <a:gd name="connsiteX2067" fmla="*/ 1939102 w 3302716"/>
                <a:gd name="connsiteY2067" fmla="*/ 4061 h 2641600"/>
                <a:gd name="connsiteX2068" fmla="*/ 1942325 w 3302716"/>
                <a:gd name="connsiteY2068" fmla="*/ 1015 h 264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</a:cxnLst>
              <a:rect l="l" t="t" r="r" b="b"/>
              <a:pathLst>
                <a:path w="3302716" h="2641600">
                  <a:moveTo>
                    <a:pt x="2559049" y="2582862"/>
                  </a:moveTo>
                  <a:lnTo>
                    <a:pt x="2592386" y="2583921"/>
                  </a:lnTo>
                  <a:lnTo>
                    <a:pt x="2589211" y="2601912"/>
                  </a:lnTo>
                  <a:lnTo>
                    <a:pt x="2555874" y="2596621"/>
                  </a:lnTo>
                  <a:close/>
                  <a:moveTo>
                    <a:pt x="2363209" y="2508250"/>
                  </a:moveTo>
                  <a:lnTo>
                    <a:pt x="2425554" y="2508250"/>
                  </a:lnTo>
                  <a:lnTo>
                    <a:pt x="2472313" y="2532062"/>
                  </a:lnTo>
                  <a:lnTo>
                    <a:pt x="2503486" y="2547937"/>
                  </a:lnTo>
                  <a:lnTo>
                    <a:pt x="2441140" y="2540000"/>
                  </a:lnTo>
                  <a:lnTo>
                    <a:pt x="2417761" y="2555875"/>
                  </a:lnTo>
                  <a:lnTo>
                    <a:pt x="2386588" y="2555875"/>
                  </a:lnTo>
                  <a:lnTo>
                    <a:pt x="2371002" y="2547937"/>
                  </a:lnTo>
                  <a:lnTo>
                    <a:pt x="2332036" y="2532062"/>
                  </a:lnTo>
                  <a:lnTo>
                    <a:pt x="2363209" y="2524125"/>
                  </a:lnTo>
                  <a:close/>
                  <a:moveTo>
                    <a:pt x="2118948" y="2422525"/>
                  </a:moveTo>
                  <a:cubicBezTo>
                    <a:pt x="2205762" y="2422525"/>
                    <a:pt x="2205762" y="2422525"/>
                    <a:pt x="2205762" y="2422525"/>
                  </a:cubicBezTo>
                  <a:cubicBezTo>
                    <a:pt x="2261007" y="2445861"/>
                    <a:pt x="2261007" y="2445861"/>
                    <a:pt x="2261007" y="2445861"/>
                  </a:cubicBezTo>
                  <a:cubicBezTo>
                    <a:pt x="2261007" y="2445861"/>
                    <a:pt x="2268899" y="2461418"/>
                    <a:pt x="2276791" y="2469197"/>
                  </a:cubicBezTo>
                  <a:cubicBezTo>
                    <a:pt x="2292575" y="2476976"/>
                    <a:pt x="2316252" y="2476976"/>
                    <a:pt x="2316252" y="2476976"/>
                  </a:cubicBezTo>
                  <a:cubicBezTo>
                    <a:pt x="2332036" y="2492533"/>
                    <a:pt x="2332036" y="2492533"/>
                    <a:pt x="2332036" y="2492533"/>
                  </a:cubicBezTo>
                  <a:cubicBezTo>
                    <a:pt x="2332036" y="2492533"/>
                    <a:pt x="2332036" y="2500312"/>
                    <a:pt x="2316252" y="2500312"/>
                  </a:cubicBezTo>
                  <a:cubicBezTo>
                    <a:pt x="2300467" y="2500312"/>
                    <a:pt x="2253114" y="2500312"/>
                    <a:pt x="2253114" y="2500312"/>
                  </a:cubicBezTo>
                  <a:cubicBezTo>
                    <a:pt x="2237330" y="2484754"/>
                    <a:pt x="2237330" y="2484754"/>
                    <a:pt x="2237330" y="2484754"/>
                  </a:cubicBezTo>
                  <a:cubicBezTo>
                    <a:pt x="2221546" y="2461418"/>
                    <a:pt x="2221546" y="2461418"/>
                    <a:pt x="2221546" y="2461418"/>
                  </a:cubicBezTo>
                  <a:cubicBezTo>
                    <a:pt x="2174193" y="2453640"/>
                    <a:pt x="2174193" y="2453640"/>
                    <a:pt x="2174193" y="2453640"/>
                  </a:cubicBezTo>
                  <a:cubicBezTo>
                    <a:pt x="2126840" y="2453640"/>
                    <a:pt x="2126840" y="2453640"/>
                    <a:pt x="2126840" y="2453640"/>
                  </a:cubicBezTo>
                  <a:cubicBezTo>
                    <a:pt x="2095272" y="2453640"/>
                    <a:pt x="2095272" y="2453640"/>
                    <a:pt x="2095272" y="2453640"/>
                  </a:cubicBezTo>
                  <a:cubicBezTo>
                    <a:pt x="2055811" y="2445861"/>
                    <a:pt x="2055811" y="2445861"/>
                    <a:pt x="2055811" y="2445861"/>
                  </a:cubicBezTo>
                  <a:lnTo>
                    <a:pt x="2071595" y="2430304"/>
                  </a:lnTo>
                  <a:cubicBezTo>
                    <a:pt x="2118948" y="2422525"/>
                    <a:pt x="2118948" y="2422525"/>
                    <a:pt x="2118948" y="2422525"/>
                  </a:cubicBezTo>
                  <a:close/>
                  <a:moveTo>
                    <a:pt x="2079418" y="1711621"/>
                  </a:moveTo>
                  <a:lnTo>
                    <a:pt x="2126206" y="1812416"/>
                  </a:lnTo>
                  <a:lnTo>
                    <a:pt x="2126206" y="1859157"/>
                  </a:lnTo>
                  <a:lnTo>
                    <a:pt x="2127911" y="1858642"/>
                  </a:lnTo>
                  <a:lnTo>
                    <a:pt x="2127911" y="1813735"/>
                  </a:lnTo>
                  <a:lnTo>
                    <a:pt x="2080873" y="1712303"/>
                  </a:lnTo>
                  <a:close/>
                  <a:moveTo>
                    <a:pt x="2795587" y="1516062"/>
                  </a:moveTo>
                  <a:lnTo>
                    <a:pt x="2795587" y="1539460"/>
                  </a:lnTo>
                  <a:lnTo>
                    <a:pt x="2779712" y="1570658"/>
                  </a:lnTo>
                  <a:lnTo>
                    <a:pt x="2787649" y="1586257"/>
                  </a:lnTo>
                  <a:lnTo>
                    <a:pt x="2851149" y="1617455"/>
                  </a:lnTo>
                  <a:lnTo>
                    <a:pt x="2867024" y="1656452"/>
                  </a:lnTo>
                  <a:lnTo>
                    <a:pt x="2867024" y="1687650"/>
                  </a:lnTo>
                  <a:lnTo>
                    <a:pt x="2835274" y="1695450"/>
                  </a:lnTo>
                  <a:lnTo>
                    <a:pt x="2819399" y="1672051"/>
                  </a:lnTo>
                  <a:lnTo>
                    <a:pt x="2795587" y="1679851"/>
                  </a:lnTo>
                  <a:lnTo>
                    <a:pt x="2771774" y="1664252"/>
                  </a:lnTo>
                  <a:lnTo>
                    <a:pt x="2732087" y="1656452"/>
                  </a:lnTo>
                  <a:lnTo>
                    <a:pt x="2708274" y="1664252"/>
                  </a:lnTo>
                  <a:lnTo>
                    <a:pt x="2708274" y="1633054"/>
                  </a:lnTo>
                  <a:lnTo>
                    <a:pt x="2716212" y="1609656"/>
                  </a:lnTo>
                  <a:lnTo>
                    <a:pt x="2755899" y="1547260"/>
                  </a:lnTo>
                  <a:close/>
                  <a:moveTo>
                    <a:pt x="2089290" y="790575"/>
                  </a:moveTo>
                  <a:lnTo>
                    <a:pt x="2095710" y="791589"/>
                  </a:lnTo>
                  <a:lnTo>
                    <a:pt x="2102131" y="793616"/>
                  </a:lnTo>
                  <a:lnTo>
                    <a:pt x="2105341" y="799700"/>
                  </a:lnTo>
                  <a:lnTo>
                    <a:pt x="2108552" y="808824"/>
                  </a:lnTo>
                  <a:lnTo>
                    <a:pt x="2110692" y="816935"/>
                  </a:lnTo>
                  <a:lnTo>
                    <a:pt x="2111762" y="820991"/>
                  </a:lnTo>
                  <a:lnTo>
                    <a:pt x="2116042" y="820991"/>
                  </a:lnTo>
                  <a:lnTo>
                    <a:pt x="2119252" y="818963"/>
                  </a:lnTo>
                  <a:lnTo>
                    <a:pt x="2123533" y="815922"/>
                  </a:lnTo>
                  <a:lnTo>
                    <a:pt x="2127813" y="813894"/>
                  </a:lnTo>
                  <a:lnTo>
                    <a:pt x="2134234" y="813894"/>
                  </a:lnTo>
                  <a:lnTo>
                    <a:pt x="2141724" y="814908"/>
                  </a:lnTo>
                  <a:lnTo>
                    <a:pt x="2151355" y="816935"/>
                  </a:lnTo>
                  <a:lnTo>
                    <a:pt x="2159916" y="820991"/>
                  </a:lnTo>
                  <a:lnTo>
                    <a:pt x="2167406" y="824032"/>
                  </a:lnTo>
                  <a:lnTo>
                    <a:pt x="2172757" y="831129"/>
                  </a:lnTo>
                  <a:lnTo>
                    <a:pt x="2175967" y="839240"/>
                  </a:lnTo>
                  <a:lnTo>
                    <a:pt x="2181318" y="845324"/>
                  </a:lnTo>
                  <a:lnTo>
                    <a:pt x="2183458" y="849379"/>
                  </a:lnTo>
                  <a:lnTo>
                    <a:pt x="2184528" y="850393"/>
                  </a:lnTo>
                  <a:lnTo>
                    <a:pt x="2207000" y="850393"/>
                  </a:lnTo>
                  <a:lnTo>
                    <a:pt x="2209140" y="851407"/>
                  </a:lnTo>
                  <a:lnTo>
                    <a:pt x="2215560" y="853435"/>
                  </a:lnTo>
                  <a:lnTo>
                    <a:pt x="2220911" y="858504"/>
                  </a:lnTo>
                  <a:lnTo>
                    <a:pt x="2218771" y="862559"/>
                  </a:lnTo>
                  <a:lnTo>
                    <a:pt x="2214490" y="867629"/>
                  </a:lnTo>
                  <a:lnTo>
                    <a:pt x="2211280" y="869656"/>
                  </a:lnTo>
                  <a:lnTo>
                    <a:pt x="2209140" y="872698"/>
                  </a:lnTo>
                  <a:lnTo>
                    <a:pt x="2205930" y="874726"/>
                  </a:lnTo>
                  <a:lnTo>
                    <a:pt x="2202719" y="874726"/>
                  </a:lnTo>
                  <a:lnTo>
                    <a:pt x="2200579" y="874726"/>
                  </a:lnTo>
                  <a:lnTo>
                    <a:pt x="2198439" y="873712"/>
                  </a:lnTo>
                  <a:lnTo>
                    <a:pt x="2192018" y="870670"/>
                  </a:lnTo>
                  <a:lnTo>
                    <a:pt x="2184528" y="868643"/>
                  </a:lnTo>
                  <a:lnTo>
                    <a:pt x="2178107" y="866615"/>
                  </a:lnTo>
                  <a:lnTo>
                    <a:pt x="2173827" y="865601"/>
                  </a:lnTo>
                  <a:lnTo>
                    <a:pt x="2168477" y="862559"/>
                  </a:lnTo>
                  <a:lnTo>
                    <a:pt x="2164196" y="859518"/>
                  </a:lnTo>
                  <a:lnTo>
                    <a:pt x="2158846" y="857490"/>
                  </a:lnTo>
                  <a:lnTo>
                    <a:pt x="2153495" y="857490"/>
                  </a:lnTo>
                  <a:lnTo>
                    <a:pt x="2151355" y="861545"/>
                  </a:lnTo>
                  <a:lnTo>
                    <a:pt x="2152425" y="869656"/>
                  </a:lnTo>
                  <a:lnTo>
                    <a:pt x="2153495" y="876753"/>
                  </a:lnTo>
                  <a:lnTo>
                    <a:pt x="2153495" y="883851"/>
                  </a:lnTo>
                  <a:lnTo>
                    <a:pt x="2149215" y="887906"/>
                  </a:lnTo>
                  <a:lnTo>
                    <a:pt x="2141724" y="890948"/>
                  </a:lnTo>
                  <a:lnTo>
                    <a:pt x="2138514" y="893989"/>
                  </a:lnTo>
                  <a:lnTo>
                    <a:pt x="2137444" y="899058"/>
                  </a:lnTo>
                  <a:lnTo>
                    <a:pt x="2136374" y="903114"/>
                  </a:lnTo>
                  <a:lnTo>
                    <a:pt x="2133164" y="906156"/>
                  </a:lnTo>
                  <a:lnTo>
                    <a:pt x="2127813" y="909197"/>
                  </a:lnTo>
                  <a:lnTo>
                    <a:pt x="2123533" y="911225"/>
                  </a:lnTo>
                  <a:lnTo>
                    <a:pt x="2119252" y="908183"/>
                  </a:lnTo>
                  <a:lnTo>
                    <a:pt x="2118182" y="903114"/>
                  </a:lnTo>
                  <a:lnTo>
                    <a:pt x="2117112" y="897031"/>
                  </a:lnTo>
                  <a:lnTo>
                    <a:pt x="2112832" y="891961"/>
                  </a:lnTo>
                  <a:lnTo>
                    <a:pt x="2107481" y="890948"/>
                  </a:lnTo>
                  <a:lnTo>
                    <a:pt x="2101061" y="890948"/>
                  </a:lnTo>
                  <a:lnTo>
                    <a:pt x="2097851" y="891961"/>
                  </a:lnTo>
                  <a:lnTo>
                    <a:pt x="2094640" y="892975"/>
                  </a:lnTo>
                  <a:lnTo>
                    <a:pt x="2087150" y="896017"/>
                  </a:lnTo>
                  <a:lnTo>
                    <a:pt x="2079659" y="897031"/>
                  </a:lnTo>
                  <a:lnTo>
                    <a:pt x="2076449" y="892975"/>
                  </a:lnTo>
                  <a:lnTo>
                    <a:pt x="2077519" y="888920"/>
                  </a:lnTo>
                  <a:lnTo>
                    <a:pt x="2080729" y="881823"/>
                  </a:lnTo>
                  <a:lnTo>
                    <a:pt x="2086080" y="875740"/>
                  </a:lnTo>
                  <a:lnTo>
                    <a:pt x="2089290" y="873712"/>
                  </a:lnTo>
                  <a:lnTo>
                    <a:pt x="2093570" y="870670"/>
                  </a:lnTo>
                  <a:lnTo>
                    <a:pt x="2093570" y="866615"/>
                  </a:lnTo>
                  <a:lnTo>
                    <a:pt x="2091430" y="859518"/>
                  </a:lnTo>
                  <a:lnTo>
                    <a:pt x="2089290" y="852421"/>
                  </a:lnTo>
                  <a:lnTo>
                    <a:pt x="2088220" y="846337"/>
                  </a:lnTo>
                  <a:lnTo>
                    <a:pt x="2089290" y="839240"/>
                  </a:lnTo>
                  <a:lnTo>
                    <a:pt x="2089290" y="835185"/>
                  </a:lnTo>
                  <a:lnTo>
                    <a:pt x="2087150" y="830116"/>
                  </a:lnTo>
                  <a:lnTo>
                    <a:pt x="2085010" y="826060"/>
                  </a:lnTo>
                  <a:lnTo>
                    <a:pt x="2085010" y="816935"/>
                  </a:lnTo>
                  <a:lnTo>
                    <a:pt x="2085010" y="806797"/>
                  </a:lnTo>
                  <a:lnTo>
                    <a:pt x="2085010" y="798686"/>
                  </a:lnTo>
                  <a:lnTo>
                    <a:pt x="2086080" y="792603"/>
                  </a:lnTo>
                  <a:close/>
                  <a:moveTo>
                    <a:pt x="2239961" y="739775"/>
                  </a:moveTo>
                  <a:lnTo>
                    <a:pt x="2241866" y="739775"/>
                  </a:lnTo>
                  <a:lnTo>
                    <a:pt x="2243136" y="741362"/>
                  </a:lnTo>
                  <a:lnTo>
                    <a:pt x="2243136" y="743744"/>
                  </a:lnTo>
                  <a:lnTo>
                    <a:pt x="2243136" y="744537"/>
                  </a:lnTo>
                  <a:lnTo>
                    <a:pt x="2243136" y="746125"/>
                  </a:lnTo>
                  <a:lnTo>
                    <a:pt x="2241231" y="743744"/>
                  </a:lnTo>
                  <a:lnTo>
                    <a:pt x="2239961" y="740569"/>
                  </a:lnTo>
                  <a:close/>
                  <a:moveTo>
                    <a:pt x="1822166" y="407987"/>
                  </a:moveTo>
                  <a:lnTo>
                    <a:pt x="1869204" y="486012"/>
                  </a:lnTo>
                  <a:lnTo>
                    <a:pt x="1884883" y="556234"/>
                  </a:lnTo>
                  <a:lnTo>
                    <a:pt x="1916241" y="610852"/>
                  </a:lnTo>
                  <a:lnTo>
                    <a:pt x="1931920" y="649864"/>
                  </a:lnTo>
                  <a:lnTo>
                    <a:pt x="1963279" y="610852"/>
                  </a:lnTo>
                  <a:lnTo>
                    <a:pt x="1986798" y="642061"/>
                  </a:lnTo>
                  <a:lnTo>
                    <a:pt x="2002477" y="727889"/>
                  </a:lnTo>
                  <a:lnTo>
                    <a:pt x="2049515" y="657666"/>
                  </a:lnTo>
                  <a:lnTo>
                    <a:pt x="2060986" y="600583"/>
                  </a:lnTo>
                  <a:lnTo>
                    <a:pt x="2054209" y="599786"/>
                  </a:lnTo>
                  <a:lnTo>
                    <a:pt x="2040216" y="596747"/>
                  </a:lnTo>
                  <a:lnTo>
                    <a:pt x="2035910" y="592696"/>
                  </a:lnTo>
                  <a:lnTo>
                    <a:pt x="2031604" y="590670"/>
                  </a:lnTo>
                  <a:lnTo>
                    <a:pt x="2025146" y="591683"/>
                  </a:lnTo>
                  <a:lnTo>
                    <a:pt x="2015458" y="596747"/>
                  </a:lnTo>
                  <a:lnTo>
                    <a:pt x="2011152" y="598773"/>
                  </a:lnTo>
                  <a:lnTo>
                    <a:pt x="2006847" y="598773"/>
                  </a:lnTo>
                  <a:lnTo>
                    <a:pt x="1998235" y="593709"/>
                  </a:lnTo>
                  <a:lnTo>
                    <a:pt x="1992853" y="590670"/>
                  </a:lnTo>
                  <a:lnTo>
                    <a:pt x="1986395" y="586619"/>
                  </a:lnTo>
                  <a:lnTo>
                    <a:pt x="1979936" y="583581"/>
                  </a:lnTo>
                  <a:lnTo>
                    <a:pt x="1974554" y="581555"/>
                  </a:lnTo>
                  <a:lnTo>
                    <a:pt x="1971325" y="578517"/>
                  </a:lnTo>
                  <a:lnTo>
                    <a:pt x="1970249" y="575479"/>
                  </a:lnTo>
                  <a:lnTo>
                    <a:pt x="1972401" y="573453"/>
                  </a:lnTo>
                  <a:lnTo>
                    <a:pt x="1977784" y="570415"/>
                  </a:lnTo>
                  <a:lnTo>
                    <a:pt x="1985318" y="568389"/>
                  </a:lnTo>
                  <a:lnTo>
                    <a:pt x="1992853" y="567376"/>
                  </a:lnTo>
                  <a:lnTo>
                    <a:pt x="1999312" y="566364"/>
                  </a:lnTo>
                  <a:lnTo>
                    <a:pt x="2004694" y="565351"/>
                  </a:lnTo>
                  <a:lnTo>
                    <a:pt x="2009000" y="563325"/>
                  </a:lnTo>
                  <a:lnTo>
                    <a:pt x="2009000" y="562312"/>
                  </a:lnTo>
                  <a:lnTo>
                    <a:pt x="2005770" y="560287"/>
                  </a:lnTo>
                  <a:lnTo>
                    <a:pt x="1998235" y="558261"/>
                  </a:lnTo>
                  <a:lnTo>
                    <a:pt x="1989624" y="555223"/>
                  </a:lnTo>
                  <a:lnTo>
                    <a:pt x="1981013" y="553197"/>
                  </a:lnTo>
                  <a:lnTo>
                    <a:pt x="1974554" y="552185"/>
                  </a:lnTo>
                  <a:lnTo>
                    <a:pt x="1970249" y="551172"/>
                  </a:lnTo>
                  <a:lnTo>
                    <a:pt x="1964867" y="548133"/>
                  </a:lnTo>
                  <a:lnTo>
                    <a:pt x="1962714" y="546108"/>
                  </a:lnTo>
                  <a:lnTo>
                    <a:pt x="1960561" y="542057"/>
                  </a:lnTo>
                  <a:lnTo>
                    <a:pt x="1960561" y="534967"/>
                  </a:lnTo>
                  <a:lnTo>
                    <a:pt x="1960561" y="522814"/>
                  </a:lnTo>
                  <a:lnTo>
                    <a:pt x="1960561" y="514712"/>
                  </a:lnTo>
                  <a:lnTo>
                    <a:pt x="1960561" y="505597"/>
                  </a:lnTo>
                  <a:lnTo>
                    <a:pt x="1961637" y="489392"/>
                  </a:lnTo>
                  <a:lnTo>
                    <a:pt x="1965943" y="468123"/>
                  </a:lnTo>
                  <a:lnTo>
                    <a:pt x="1973478" y="449893"/>
                  </a:lnTo>
                  <a:lnTo>
                    <a:pt x="1984242" y="437740"/>
                  </a:lnTo>
                  <a:lnTo>
                    <a:pt x="1993930" y="431663"/>
                  </a:lnTo>
                  <a:lnTo>
                    <a:pt x="2002541" y="431663"/>
                  </a:lnTo>
                  <a:lnTo>
                    <a:pt x="2010076" y="434702"/>
                  </a:lnTo>
                  <a:lnTo>
                    <a:pt x="2014382" y="438753"/>
                  </a:lnTo>
                  <a:lnTo>
                    <a:pt x="2013305" y="447868"/>
                  </a:lnTo>
                  <a:lnTo>
                    <a:pt x="2006847" y="469136"/>
                  </a:lnTo>
                  <a:lnTo>
                    <a:pt x="2005770" y="485341"/>
                  </a:lnTo>
                  <a:lnTo>
                    <a:pt x="2009000" y="499520"/>
                  </a:lnTo>
                  <a:lnTo>
                    <a:pt x="2014382" y="509648"/>
                  </a:lnTo>
                  <a:lnTo>
                    <a:pt x="2020840" y="519776"/>
                  </a:lnTo>
                  <a:lnTo>
                    <a:pt x="2027299" y="526865"/>
                  </a:lnTo>
                  <a:lnTo>
                    <a:pt x="2033757" y="531929"/>
                  </a:lnTo>
                  <a:lnTo>
                    <a:pt x="2034654" y="533616"/>
                  </a:lnTo>
                  <a:lnTo>
                    <a:pt x="2035910" y="536993"/>
                  </a:lnTo>
                  <a:lnTo>
                    <a:pt x="2036986" y="538006"/>
                  </a:lnTo>
                  <a:lnTo>
                    <a:pt x="2034654" y="533616"/>
                  </a:lnTo>
                  <a:lnTo>
                    <a:pt x="2028375" y="516737"/>
                  </a:lnTo>
                  <a:lnTo>
                    <a:pt x="2020840" y="491418"/>
                  </a:lnTo>
                  <a:lnTo>
                    <a:pt x="2019764" y="470149"/>
                  </a:lnTo>
                  <a:lnTo>
                    <a:pt x="2022993" y="454957"/>
                  </a:lnTo>
                  <a:lnTo>
                    <a:pt x="2027299" y="440778"/>
                  </a:lnTo>
                  <a:lnTo>
                    <a:pt x="2034834" y="431663"/>
                  </a:lnTo>
                  <a:lnTo>
                    <a:pt x="2045598" y="428625"/>
                  </a:lnTo>
                  <a:lnTo>
                    <a:pt x="2058515" y="430650"/>
                  </a:lnTo>
                  <a:lnTo>
                    <a:pt x="2068203" y="435714"/>
                  </a:lnTo>
                  <a:lnTo>
                    <a:pt x="2074661" y="442804"/>
                  </a:lnTo>
                  <a:lnTo>
                    <a:pt x="2077890" y="449893"/>
                  </a:lnTo>
                  <a:lnTo>
                    <a:pt x="2080043" y="454957"/>
                  </a:lnTo>
                  <a:lnTo>
                    <a:pt x="2083272" y="461034"/>
                  </a:lnTo>
                  <a:lnTo>
                    <a:pt x="2084349" y="468123"/>
                  </a:lnTo>
                  <a:lnTo>
                    <a:pt x="2085425" y="476226"/>
                  </a:lnTo>
                  <a:lnTo>
                    <a:pt x="2087578" y="482302"/>
                  </a:lnTo>
                  <a:lnTo>
                    <a:pt x="2094037" y="483315"/>
                  </a:lnTo>
                  <a:lnTo>
                    <a:pt x="2102648" y="481290"/>
                  </a:lnTo>
                  <a:lnTo>
                    <a:pt x="2111259" y="476226"/>
                  </a:lnTo>
                  <a:lnTo>
                    <a:pt x="2117718" y="470149"/>
                  </a:lnTo>
                  <a:lnTo>
                    <a:pt x="2118794" y="465085"/>
                  </a:lnTo>
                  <a:lnTo>
                    <a:pt x="2120947" y="460021"/>
                  </a:lnTo>
                  <a:lnTo>
                    <a:pt x="2128482" y="455970"/>
                  </a:lnTo>
                  <a:lnTo>
                    <a:pt x="2137093" y="451919"/>
                  </a:lnTo>
                  <a:lnTo>
                    <a:pt x="2142475" y="447868"/>
                  </a:lnTo>
                  <a:lnTo>
                    <a:pt x="2148934" y="447868"/>
                  </a:lnTo>
                  <a:lnTo>
                    <a:pt x="2159698" y="452932"/>
                  </a:lnTo>
                  <a:lnTo>
                    <a:pt x="2172615" y="461034"/>
                  </a:lnTo>
                  <a:lnTo>
                    <a:pt x="2177997" y="467111"/>
                  </a:lnTo>
                  <a:lnTo>
                    <a:pt x="2182303" y="473187"/>
                  </a:lnTo>
                  <a:lnTo>
                    <a:pt x="2185532" y="478251"/>
                  </a:lnTo>
                  <a:lnTo>
                    <a:pt x="2190914" y="484328"/>
                  </a:lnTo>
                  <a:lnTo>
                    <a:pt x="2198449" y="489392"/>
                  </a:lnTo>
                  <a:lnTo>
                    <a:pt x="2204908" y="490405"/>
                  </a:lnTo>
                  <a:lnTo>
                    <a:pt x="2209213" y="485341"/>
                  </a:lnTo>
                  <a:lnTo>
                    <a:pt x="2215672" y="478251"/>
                  </a:lnTo>
                  <a:lnTo>
                    <a:pt x="2225360" y="475213"/>
                  </a:lnTo>
                  <a:lnTo>
                    <a:pt x="2236124" y="475213"/>
                  </a:lnTo>
                  <a:lnTo>
                    <a:pt x="2243659" y="478251"/>
                  </a:lnTo>
                  <a:lnTo>
                    <a:pt x="2246888" y="483315"/>
                  </a:lnTo>
                  <a:lnTo>
                    <a:pt x="2249041" y="485341"/>
                  </a:lnTo>
                  <a:lnTo>
                    <a:pt x="2252270" y="488379"/>
                  </a:lnTo>
                  <a:lnTo>
                    <a:pt x="2263034" y="490405"/>
                  </a:lnTo>
                  <a:lnTo>
                    <a:pt x="2270569" y="491418"/>
                  </a:lnTo>
                  <a:lnTo>
                    <a:pt x="2279180" y="491418"/>
                  </a:lnTo>
                  <a:lnTo>
                    <a:pt x="2287792" y="492430"/>
                  </a:lnTo>
                  <a:lnTo>
                    <a:pt x="2295327" y="492430"/>
                  </a:lnTo>
                  <a:lnTo>
                    <a:pt x="2302862" y="492430"/>
                  </a:lnTo>
                  <a:lnTo>
                    <a:pt x="2306091" y="493443"/>
                  </a:lnTo>
                  <a:lnTo>
                    <a:pt x="2308244" y="496481"/>
                  </a:lnTo>
                  <a:lnTo>
                    <a:pt x="2306091" y="498507"/>
                  </a:lnTo>
                  <a:lnTo>
                    <a:pt x="2303938" y="501545"/>
                  </a:lnTo>
                  <a:lnTo>
                    <a:pt x="2307167" y="501545"/>
                  </a:lnTo>
                  <a:lnTo>
                    <a:pt x="2314702" y="501545"/>
                  </a:lnTo>
                  <a:lnTo>
                    <a:pt x="2321161" y="503571"/>
                  </a:lnTo>
                  <a:lnTo>
                    <a:pt x="2325466" y="507622"/>
                  </a:lnTo>
                  <a:lnTo>
                    <a:pt x="2331925" y="512686"/>
                  </a:lnTo>
                  <a:lnTo>
                    <a:pt x="2336230" y="515724"/>
                  </a:lnTo>
                  <a:lnTo>
                    <a:pt x="2338383" y="516737"/>
                  </a:lnTo>
                  <a:lnTo>
                    <a:pt x="2337307" y="516737"/>
                  </a:lnTo>
                  <a:lnTo>
                    <a:pt x="2331925" y="518763"/>
                  </a:lnTo>
                  <a:lnTo>
                    <a:pt x="2328696" y="520788"/>
                  </a:lnTo>
                  <a:lnTo>
                    <a:pt x="2325466" y="522814"/>
                  </a:lnTo>
                  <a:lnTo>
                    <a:pt x="2329772" y="526865"/>
                  </a:lnTo>
                  <a:lnTo>
                    <a:pt x="2339460" y="529903"/>
                  </a:lnTo>
                  <a:lnTo>
                    <a:pt x="2349147" y="531929"/>
                  </a:lnTo>
                  <a:lnTo>
                    <a:pt x="2349147" y="534967"/>
                  </a:lnTo>
                  <a:lnTo>
                    <a:pt x="2344842" y="536993"/>
                  </a:lnTo>
                  <a:lnTo>
                    <a:pt x="2340536" y="538006"/>
                  </a:lnTo>
                  <a:lnTo>
                    <a:pt x="2338383" y="540031"/>
                  </a:lnTo>
                  <a:lnTo>
                    <a:pt x="2338383" y="545095"/>
                  </a:lnTo>
                  <a:lnTo>
                    <a:pt x="2337307" y="548133"/>
                  </a:lnTo>
                  <a:lnTo>
                    <a:pt x="2336230" y="553197"/>
                  </a:lnTo>
                  <a:lnTo>
                    <a:pt x="2336230" y="557249"/>
                  </a:lnTo>
                  <a:lnTo>
                    <a:pt x="2340536" y="562312"/>
                  </a:lnTo>
                  <a:lnTo>
                    <a:pt x="2349147" y="565351"/>
                  </a:lnTo>
                  <a:lnTo>
                    <a:pt x="2359912" y="563325"/>
                  </a:lnTo>
                  <a:lnTo>
                    <a:pt x="2366370" y="563325"/>
                  </a:lnTo>
                  <a:lnTo>
                    <a:pt x="2373905" y="566364"/>
                  </a:lnTo>
                  <a:lnTo>
                    <a:pt x="2382516" y="573453"/>
                  </a:lnTo>
                  <a:lnTo>
                    <a:pt x="2391128" y="580543"/>
                  </a:lnTo>
                  <a:lnTo>
                    <a:pt x="2398663" y="582568"/>
                  </a:lnTo>
                  <a:lnTo>
                    <a:pt x="2400816" y="580543"/>
                  </a:lnTo>
                  <a:lnTo>
                    <a:pt x="2397586" y="574466"/>
                  </a:lnTo>
                  <a:lnTo>
                    <a:pt x="2394357" y="569402"/>
                  </a:lnTo>
                  <a:lnTo>
                    <a:pt x="2394357" y="567376"/>
                  </a:lnTo>
                  <a:lnTo>
                    <a:pt x="2400816" y="569402"/>
                  </a:lnTo>
                  <a:lnTo>
                    <a:pt x="2406198" y="570415"/>
                  </a:lnTo>
                  <a:lnTo>
                    <a:pt x="2413733" y="572440"/>
                  </a:lnTo>
                  <a:lnTo>
                    <a:pt x="2422344" y="573453"/>
                  </a:lnTo>
                  <a:lnTo>
                    <a:pt x="2429879" y="573453"/>
                  </a:lnTo>
                  <a:lnTo>
                    <a:pt x="2436337" y="574466"/>
                  </a:lnTo>
                  <a:lnTo>
                    <a:pt x="2441719" y="575479"/>
                  </a:lnTo>
                  <a:lnTo>
                    <a:pt x="2444949" y="576491"/>
                  </a:lnTo>
                  <a:lnTo>
                    <a:pt x="2446025" y="578517"/>
                  </a:lnTo>
                  <a:lnTo>
                    <a:pt x="2444949" y="582568"/>
                  </a:lnTo>
                  <a:lnTo>
                    <a:pt x="2446025" y="584594"/>
                  </a:lnTo>
                  <a:lnTo>
                    <a:pt x="2448178" y="585607"/>
                  </a:lnTo>
                  <a:lnTo>
                    <a:pt x="2452484" y="585607"/>
                  </a:lnTo>
                  <a:lnTo>
                    <a:pt x="2456789" y="585607"/>
                  </a:lnTo>
                  <a:lnTo>
                    <a:pt x="2462171" y="583581"/>
                  </a:lnTo>
                  <a:lnTo>
                    <a:pt x="2468630" y="582568"/>
                  </a:lnTo>
                  <a:lnTo>
                    <a:pt x="2477241" y="582568"/>
                  </a:lnTo>
                  <a:lnTo>
                    <a:pt x="2488005" y="583581"/>
                  </a:lnTo>
                  <a:lnTo>
                    <a:pt x="2499846" y="584594"/>
                  </a:lnTo>
                  <a:lnTo>
                    <a:pt x="2508457" y="588645"/>
                  </a:lnTo>
                  <a:lnTo>
                    <a:pt x="2510610" y="593709"/>
                  </a:lnTo>
                  <a:lnTo>
                    <a:pt x="2507381" y="599786"/>
                  </a:lnTo>
                  <a:lnTo>
                    <a:pt x="2499846" y="603837"/>
                  </a:lnTo>
                  <a:lnTo>
                    <a:pt x="2494464" y="606875"/>
                  </a:lnTo>
                  <a:lnTo>
                    <a:pt x="2494464" y="610926"/>
                  </a:lnTo>
                  <a:lnTo>
                    <a:pt x="2499846" y="613964"/>
                  </a:lnTo>
                  <a:lnTo>
                    <a:pt x="2504152" y="617003"/>
                  </a:lnTo>
                  <a:lnTo>
                    <a:pt x="2509534" y="622067"/>
                  </a:lnTo>
                  <a:lnTo>
                    <a:pt x="2510610" y="627131"/>
                  </a:lnTo>
                  <a:lnTo>
                    <a:pt x="2510610" y="631182"/>
                  </a:lnTo>
                  <a:lnTo>
                    <a:pt x="2508457" y="635233"/>
                  </a:lnTo>
                  <a:lnTo>
                    <a:pt x="2504152" y="638271"/>
                  </a:lnTo>
                  <a:lnTo>
                    <a:pt x="2499846" y="640297"/>
                  </a:lnTo>
                  <a:lnTo>
                    <a:pt x="2495540" y="643335"/>
                  </a:lnTo>
                  <a:lnTo>
                    <a:pt x="2495540" y="645361"/>
                  </a:lnTo>
                  <a:lnTo>
                    <a:pt x="2497693" y="650425"/>
                  </a:lnTo>
                  <a:lnTo>
                    <a:pt x="2504152" y="654476"/>
                  </a:lnTo>
                  <a:lnTo>
                    <a:pt x="2510610" y="659540"/>
                  </a:lnTo>
                  <a:lnTo>
                    <a:pt x="2513839" y="665617"/>
                  </a:lnTo>
                  <a:lnTo>
                    <a:pt x="2513839" y="670680"/>
                  </a:lnTo>
                  <a:lnTo>
                    <a:pt x="2510610" y="675744"/>
                  </a:lnTo>
                  <a:lnTo>
                    <a:pt x="2505228" y="679796"/>
                  </a:lnTo>
                  <a:lnTo>
                    <a:pt x="2501999" y="680808"/>
                  </a:lnTo>
                  <a:lnTo>
                    <a:pt x="2499846" y="680808"/>
                  </a:lnTo>
                  <a:lnTo>
                    <a:pt x="2493387" y="676757"/>
                  </a:lnTo>
                  <a:lnTo>
                    <a:pt x="2484776" y="673719"/>
                  </a:lnTo>
                  <a:lnTo>
                    <a:pt x="2477241" y="669668"/>
                  </a:lnTo>
                  <a:lnTo>
                    <a:pt x="2470783" y="666629"/>
                  </a:lnTo>
                  <a:lnTo>
                    <a:pt x="2464324" y="662578"/>
                  </a:lnTo>
                  <a:lnTo>
                    <a:pt x="2461095" y="660553"/>
                  </a:lnTo>
                  <a:lnTo>
                    <a:pt x="2455713" y="659540"/>
                  </a:lnTo>
                  <a:lnTo>
                    <a:pt x="2451407" y="657514"/>
                  </a:lnTo>
                  <a:lnTo>
                    <a:pt x="2443872" y="654476"/>
                  </a:lnTo>
                  <a:lnTo>
                    <a:pt x="2434184" y="651438"/>
                  </a:lnTo>
                  <a:lnTo>
                    <a:pt x="2425573" y="650425"/>
                  </a:lnTo>
                  <a:lnTo>
                    <a:pt x="2418038" y="651438"/>
                  </a:lnTo>
                  <a:lnTo>
                    <a:pt x="2413733" y="655489"/>
                  </a:lnTo>
                  <a:lnTo>
                    <a:pt x="2413733" y="661565"/>
                  </a:lnTo>
                  <a:lnTo>
                    <a:pt x="2415885" y="667642"/>
                  </a:lnTo>
                  <a:lnTo>
                    <a:pt x="2421267" y="674732"/>
                  </a:lnTo>
                  <a:lnTo>
                    <a:pt x="2428802" y="682834"/>
                  </a:lnTo>
                  <a:lnTo>
                    <a:pt x="2434184" y="685872"/>
                  </a:lnTo>
                  <a:lnTo>
                    <a:pt x="2437414" y="690936"/>
                  </a:lnTo>
                  <a:lnTo>
                    <a:pt x="2443872" y="693974"/>
                  </a:lnTo>
                  <a:lnTo>
                    <a:pt x="2448178" y="697013"/>
                  </a:lnTo>
                  <a:lnTo>
                    <a:pt x="2454636" y="700051"/>
                  </a:lnTo>
                  <a:lnTo>
                    <a:pt x="2461095" y="703090"/>
                  </a:lnTo>
                  <a:lnTo>
                    <a:pt x="2467553" y="704102"/>
                  </a:lnTo>
                  <a:lnTo>
                    <a:pt x="2472935" y="705115"/>
                  </a:lnTo>
                  <a:lnTo>
                    <a:pt x="2484776" y="707141"/>
                  </a:lnTo>
                  <a:lnTo>
                    <a:pt x="2493387" y="709166"/>
                  </a:lnTo>
                  <a:lnTo>
                    <a:pt x="2499846" y="713217"/>
                  </a:lnTo>
                  <a:lnTo>
                    <a:pt x="2504152" y="718281"/>
                  </a:lnTo>
                  <a:lnTo>
                    <a:pt x="2511686" y="721320"/>
                  </a:lnTo>
                  <a:lnTo>
                    <a:pt x="2520298" y="723345"/>
                  </a:lnTo>
                  <a:lnTo>
                    <a:pt x="2528909" y="726384"/>
                  </a:lnTo>
                  <a:lnTo>
                    <a:pt x="2534291" y="733473"/>
                  </a:lnTo>
                  <a:lnTo>
                    <a:pt x="2535368" y="739550"/>
                  </a:lnTo>
                  <a:lnTo>
                    <a:pt x="2534291" y="743601"/>
                  </a:lnTo>
                  <a:lnTo>
                    <a:pt x="2534291" y="747652"/>
                  </a:lnTo>
                  <a:lnTo>
                    <a:pt x="2537520" y="756767"/>
                  </a:lnTo>
                  <a:lnTo>
                    <a:pt x="2542903" y="764869"/>
                  </a:lnTo>
                  <a:lnTo>
                    <a:pt x="2545055" y="769933"/>
                  </a:lnTo>
                  <a:lnTo>
                    <a:pt x="2546132" y="774997"/>
                  </a:lnTo>
                  <a:lnTo>
                    <a:pt x="2550438" y="778036"/>
                  </a:lnTo>
                  <a:lnTo>
                    <a:pt x="2554743" y="783100"/>
                  </a:lnTo>
                  <a:lnTo>
                    <a:pt x="2559049" y="787151"/>
                  </a:lnTo>
                  <a:lnTo>
                    <a:pt x="2557973" y="790189"/>
                  </a:lnTo>
                  <a:lnTo>
                    <a:pt x="2551514" y="789176"/>
                  </a:lnTo>
                  <a:lnTo>
                    <a:pt x="2546132" y="785125"/>
                  </a:lnTo>
                  <a:lnTo>
                    <a:pt x="2542903" y="782087"/>
                  </a:lnTo>
                  <a:lnTo>
                    <a:pt x="2536444" y="778036"/>
                  </a:lnTo>
                  <a:lnTo>
                    <a:pt x="2525680" y="778036"/>
                  </a:lnTo>
                  <a:lnTo>
                    <a:pt x="2512763" y="781074"/>
                  </a:lnTo>
                  <a:lnTo>
                    <a:pt x="2504152" y="782087"/>
                  </a:lnTo>
                  <a:lnTo>
                    <a:pt x="2497693" y="782087"/>
                  </a:lnTo>
                  <a:lnTo>
                    <a:pt x="2491235" y="778036"/>
                  </a:lnTo>
                  <a:lnTo>
                    <a:pt x="2485852" y="776010"/>
                  </a:lnTo>
                  <a:lnTo>
                    <a:pt x="2480470" y="774997"/>
                  </a:lnTo>
                  <a:lnTo>
                    <a:pt x="2475088" y="772972"/>
                  </a:lnTo>
                  <a:lnTo>
                    <a:pt x="2468630" y="771959"/>
                  </a:lnTo>
                  <a:lnTo>
                    <a:pt x="2462171" y="769933"/>
                  </a:lnTo>
                  <a:lnTo>
                    <a:pt x="2456789" y="769933"/>
                  </a:lnTo>
                  <a:lnTo>
                    <a:pt x="2452484" y="769933"/>
                  </a:lnTo>
                  <a:lnTo>
                    <a:pt x="2448178" y="769933"/>
                  </a:lnTo>
                  <a:lnTo>
                    <a:pt x="2446025" y="772972"/>
                  </a:lnTo>
                  <a:lnTo>
                    <a:pt x="2450331" y="776010"/>
                  </a:lnTo>
                  <a:lnTo>
                    <a:pt x="2458942" y="780061"/>
                  </a:lnTo>
                  <a:lnTo>
                    <a:pt x="2472935" y="785125"/>
                  </a:lnTo>
                  <a:lnTo>
                    <a:pt x="2482623" y="788163"/>
                  </a:lnTo>
                  <a:lnTo>
                    <a:pt x="2488005" y="790189"/>
                  </a:lnTo>
                  <a:lnTo>
                    <a:pt x="2494464" y="791202"/>
                  </a:lnTo>
                  <a:lnTo>
                    <a:pt x="2497693" y="791202"/>
                  </a:lnTo>
                  <a:lnTo>
                    <a:pt x="2501999" y="792215"/>
                  </a:lnTo>
                  <a:lnTo>
                    <a:pt x="2505228" y="793227"/>
                  </a:lnTo>
                  <a:lnTo>
                    <a:pt x="2508457" y="795253"/>
                  </a:lnTo>
                  <a:lnTo>
                    <a:pt x="2510610" y="797279"/>
                  </a:lnTo>
                  <a:lnTo>
                    <a:pt x="2517069" y="800317"/>
                  </a:lnTo>
                  <a:lnTo>
                    <a:pt x="2525680" y="804368"/>
                  </a:lnTo>
                  <a:lnTo>
                    <a:pt x="2534291" y="807406"/>
                  </a:lnTo>
                  <a:lnTo>
                    <a:pt x="2540750" y="812470"/>
                  </a:lnTo>
                  <a:lnTo>
                    <a:pt x="2541826" y="813483"/>
                  </a:lnTo>
                  <a:lnTo>
                    <a:pt x="2543979" y="816521"/>
                  </a:lnTo>
                  <a:lnTo>
                    <a:pt x="2542903" y="820573"/>
                  </a:lnTo>
                  <a:lnTo>
                    <a:pt x="2534291" y="821585"/>
                  </a:lnTo>
                  <a:lnTo>
                    <a:pt x="2527833" y="821585"/>
                  </a:lnTo>
                  <a:lnTo>
                    <a:pt x="2523527" y="820573"/>
                  </a:lnTo>
                  <a:lnTo>
                    <a:pt x="2518145" y="820573"/>
                  </a:lnTo>
                  <a:lnTo>
                    <a:pt x="2513839" y="821585"/>
                  </a:lnTo>
                  <a:lnTo>
                    <a:pt x="2509534" y="821585"/>
                  </a:lnTo>
                  <a:lnTo>
                    <a:pt x="2505228" y="822598"/>
                  </a:lnTo>
                  <a:lnTo>
                    <a:pt x="2499846" y="823611"/>
                  </a:lnTo>
                  <a:lnTo>
                    <a:pt x="2493387" y="825637"/>
                  </a:lnTo>
                  <a:lnTo>
                    <a:pt x="2485852" y="826649"/>
                  </a:lnTo>
                  <a:lnTo>
                    <a:pt x="2479394" y="827662"/>
                  </a:lnTo>
                  <a:lnTo>
                    <a:pt x="2475088" y="828675"/>
                  </a:lnTo>
                  <a:lnTo>
                    <a:pt x="2469706" y="828675"/>
                  </a:lnTo>
                  <a:lnTo>
                    <a:pt x="2464324" y="828675"/>
                  </a:lnTo>
                  <a:lnTo>
                    <a:pt x="2460018" y="827662"/>
                  </a:lnTo>
                  <a:lnTo>
                    <a:pt x="2454636" y="827662"/>
                  </a:lnTo>
                  <a:lnTo>
                    <a:pt x="2448178" y="826649"/>
                  </a:lnTo>
                  <a:lnTo>
                    <a:pt x="2443872" y="826649"/>
                  </a:lnTo>
                  <a:lnTo>
                    <a:pt x="2438490" y="826649"/>
                  </a:lnTo>
                  <a:lnTo>
                    <a:pt x="2434184" y="827662"/>
                  </a:lnTo>
                  <a:lnTo>
                    <a:pt x="2428802" y="828675"/>
                  </a:lnTo>
                  <a:lnTo>
                    <a:pt x="2423420" y="828675"/>
                  </a:lnTo>
                  <a:lnTo>
                    <a:pt x="2420191" y="828675"/>
                  </a:lnTo>
                  <a:lnTo>
                    <a:pt x="2414809" y="827662"/>
                  </a:lnTo>
                  <a:lnTo>
                    <a:pt x="2411580" y="825637"/>
                  </a:lnTo>
                  <a:lnTo>
                    <a:pt x="2406198" y="819560"/>
                  </a:lnTo>
                  <a:lnTo>
                    <a:pt x="2405121" y="813483"/>
                  </a:lnTo>
                  <a:lnTo>
                    <a:pt x="2400816" y="808419"/>
                  </a:lnTo>
                  <a:lnTo>
                    <a:pt x="2387899" y="805381"/>
                  </a:lnTo>
                  <a:lnTo>
                    <a:pt x="2379287" y="804368"/>
                  </a:lnTo>
                  <a:lnTo>
                    <a:pt x="2371752" y="801330"/>
                  </a:lnTo>
                  <a:lnTo>
                    <a:pt x="2365294" y="799304"/>
                  </a:lnTo>
                  <a:lnTo>
                    <a:pt x="2360988" y="797279"/>
                  </a:lnTo>
                  <a:lnTo>
                    <a:pt x="2356682" y="795253"/>
                  </a:lnTo>
                  <a:lnTo>
                    <a:pt x="2353453" y="792215"/>
                  </a:lnTo>
                  <a:lnTo>
                    <a:pt x="2350224" y="791202"/>
                  </a:lnTo>
                  <a:lnTo>
                    <a:pt x="2346995" y="789176"/>
                  </a:lnTo>
                  <a:lnTo>
                    <a:pt x="2341613" y="785125"/>
                  </a:lnTo>
                  <a:lnTo>
                    <a:pt x="2337307" y="784112"/>
                  </a:lnTo>
                  <a:lnTo>
                    <a:pt x="2330848" y="785125"/>
                  </a:lnTo>
                  <a:lnTo>
                    <a:pt x="2321161" y="790189"/>
                  </a:lnTo>
                  <a:lnTo>
                    <a:pt x="2309320" y="795253"/>
                  </a:lnTo>
                  <a:lnTo>
                    <a:pt x="2300709" y="796266"/>
                  </a:lnTo>
                  <a:lnTo>
                    <a:pt x="2293174" y="798291"/>
                  </a:lnTo>
                  <a:lnTo>
                    <a:pt x="2287792" y="803355"/>
                  </a:lnTo>
                  <a:lnTo>
                    <a:pt x="2280257" y="810445"/>
                  </a:lnTo>
                  <a:lnTo>
                    <a:pt x="2272722" y="814496"/>
                  </a:lnTo>
                  <a:lnTo>
                    <a:pt x="2265187" y="814496"/>
                  </a:lnTo>
                  <a:lnTo>
                    <a:pt x="2257652" y="810445"/>
                  </a:lnTo>
                  <a:lnTo>
                    <a:pt x="2252270" y="806394"/>
                  </a:lnTo>
                  <a:lnTo>
                    <a:pt x="2247964" y="803355"/>
                  </a:lnTo>
                  <a:lnTo>
                    <a:pt x="2242582" y="799304"/>
                  </a:lnTo>
                  <a:lnTo>
                    <a:pt x="2239353" y="796266"/>
                  </a:lnTo>
                  <a:lnTo>
                    <a:pt x="2236124" y="791202"/>
                  </a:lnTo>
                  <a:lnTo>
                    <a:pt x="2236124" y="788163"/>
                  </a:lnTo>
                  <a:lnTo>
                    <a:pt x="2240429" y="783100"/>
                  </a:lnTo>
                  <a:lnTo>
                    <a:pt x="2249041" y="777023"/>
                  </a:lnTo>
                  <a:lnTo>
                    <a:pt x="2258728" y="772972"/>
                  </a:lnTo>
                  <a:lnTo>
                    <a:pt x="2265187" y="769933"/>
                  </a:lnTo>
                  <a:lnTo>
                    <a:pt x="2270569" y="769933"/>
                  </a:lnTo>
                  <a:lnTo>
                    <a:pt x="2273798" y="769933"/>
                  </a:lnTo>
                  <a:lnTo>
                    <a:pt x="2275951" y="769933"/>
                  </a:lnTo>
                  <a:lnTo>
                    <a:pt x="2279180" y="768921"/>
                  </a:lnTo>
                  <a:lnTo>
                    <a:pt x="2283486" y="766895"/>
                  </a:lnTo>
                  <a:lnTo>
                    <a:pt x="2288868" y="761831"/>
                  </a:lnTo>
                  <a:lnTo>
                    <a:pt x="2300709" y="752716"/>
                  </a:lnTo>
                  <a:lnTo>
                    <a:pt x="2311473" y="745627"/>
                  </a:lnTo>
                  <a:lnTo>
                    <a:pt x="2315779" y="739550"/>
                  </a:lnTo>
                  <a:lnTo>
                    <a:pt x="2312549" y="733473"/>
                  </a:lnTo>
                  <a:lnTo>
                    <a:pt x="2302862" y="727396"/>
                  </a:lnTo>
                  <a:lnTo>
                    <a:pt x="2292097" y="724358"/>
                  </a:lnTo>
                  <a:lnTo>
                    <a:pt x="2288868" y="719294"/>
                  </a:lnTo>
                  <a:lnTo>
                    <a:pt x="2293174" y="705115"/>
                  </a:lnTo>
                  <a:lnTo>
                    <a:pt x="2305014" y="689923"/>
                  </a:lnTo>
                  <a:lnTo>
                    <a:pt x="2313626" y="677770"/>
                  </a:lnTo>
                  <a:lnTo>
                    <a:pt x="2312549" y="666629"/>
                  </a:lnTo>
                  <a:lnTo>
                    <a:pt x="2299632" y="649412"/>
                  </a:lnTo>
                  <a:lnTo>
                    <a:pt x="2289945" y="639284"/>
                  </a:lnTo>
                  <a:lnTo>
                    <a:pt x="2280257" y="631182"/>
                  </a:lnTo>
                  <a:lnTo>
                    <a:pt x="2271645" y="624092"/>
                  </a:lnTo>
                  <a:lnTo>
                    <a:pt x="2264111" y="619028"/>
                  </a:lnTo>
                  <a:lnTo>
                    <a:pt x="2255499" y="613964"/>
                  </a:lnTo>
                  <a:lnTo>
                    <a:pt x="2247964" y="610926"/>
                  </a:lnTo>
                  <a:lnTo>
                    <a:pt x="2240429" y="606875"/>
                  </a:lnTo>
                  <a:lnTo>
                    <a:pt x="2231818" y="603837"/>
                  </a:lnTo>
                  <a:lnTo>
                    <a:pt x="2223207" y="599786"/>
                  </a:lnTo>
                  <a:lnTo>
                    <a:pt x="2214595" y="596747"/>
                  </a:lnTo>
                  <a:lnTo>
                    <a:pt x="2205984" y="591683"/>
                  </a:lnTo>
                  <a:lnTo>
                    <a:pt x="2198449" y="586619"/>
                  </a:lnTo>
                  <a:lnTo>
                    <a:pt x="2190914" y="582568"/>
                  </a:lnTo>
                  <a:lnTo>
                    <a:pt x="2184456" y="578517"/>
                  </a:lnTo>
                  <a:lnTo>
                    <a:pt x="2177997" y="575479"/>
                  </a:lnTo>
                  <a:lnTo>
                    <a:pt x="2174768" y="572440"/>
                  </a:lnTo>
                  <a:lnTo>
                    <a:pt x="2166157" y="567376"/>
                  </a:lnTo>
                  <a:lnTo>
                    <a:pt x="2157545" y="562312"/>
                  </a:lnTo>
                  <a:lnTo>
                    <a:pt x="2152163" y="561300"/>
                  </a:lnTo>
                  <a:lnTo>
                    <a:pt x="2153240" y="567376"/>
                  </a:lnTo>
                  <a:lnTo>
                    <a:pt x="2159698" y="576491"/>
                  </a:lnTo>
                  <a:lnTo>
                    <a:pt x="2160774" y="582568"/>
                  </a:lnTo>
                  <a:lnTo>
                    <a:pt x="2157545" y="585607"/>
                  </a:lnTo>
                  <a:lnTo>
                    <a:pt x="2144628" y="585607"/>
                  </a:lnTo>
                  <a:lnTo>
                    <a:pt x="2136017" y="585607"/>
                  </a:lnTo>
                  <a:lnTo>
                    <a:pt x="2131711" y="585607"/>
                  </a:lnTo>
                  <a:lnTo>
                    <a:pt x="2126329" y="586619"/>
                  </a:lnTo>
                  <a:lnTo>
                    <a:pt x="2123100" y="589658"/>
                  </a:lnTo>
                  <a:lnTo>
                    <a:pt x="2118794" y="591683"/>
                  </a:lnTo>
                  <a:lnTo>
                    <a:pt x="2116191" y="592173"/>
                  </a:lnTo>
                  <a:lnTo>
                    <a:pt x="2144897" y="626457"/>
                  </a:lnTo>
                  <a:lnTo>
                    <a:pt x="2127911" y="673271"/>
                  </a:lnTo>
                  <a:lnTo>
                    <a:pt x="2152737" y="743494"/>
                  </a:lnTo>
                  <a:lnTo>
                    <a:pt x="2112232" y="774704"/>
                  </a:lnTo>
                  <a:lnTo>
                    <a:pt x="2033836" y="790309"/>
                  </a:lnTo>
                  <a:lnTo>
                    <a:pt x="2018156" y="852729"/>
                  </a:lnTo>
                  <a:lnTo>
                    <a:pt x="1994637" y="930753"/>
                  </a:lnTo>
                  <a:lnTo>
                    <a:pt x="1971119" y="930753"/>
                  </a:lnTo>
                  <a:lnTo>
                    <a:pt x="1931920" y="954161"/>
                  </a:lnTo>
                  <a:lnTo>
                    <a:pt x="1892722" y="993173"/>
                  </a:lnTo>
                  <a:lnTo>
                    <a:pt x="1830005" y="1181733"/>
                  </a:lnTo>
                  <a:lnTo>
                    <a:pt x="1853524" y="1205141"/>
                  </a:lnTo>
                  <a:lnTo>
                    <a:pt x="1877043" y="1275363"/>
                  </a:lnTo>
                  <a:lnTo>
                    <a:pt x="1908402" y="1275363"/>
                  </a:lnTo>
                  <a:lnTo>
                    <a:pt x="2057354" y="1361191"/>
                  </a:lnTo>
                  <a:lnTo>
                    <a:pt x="2135751" y="1368993"/>
                  </a:lnTo>
                  <a:lnTo>
                    <a:pt x="2152737" y="1509438"/>
                  </a:lnTo>
                  <a:lnTo>
                    <a:pt x="2184095" y="1525043"/>
                  </a:lnTo>
                  <a:lnTo>
                    <a:pt x="2215454" y="1501635"/>
                  </a:lnTo>
                  <a:lnTo>
                    <a:pt x="2199774" y="1384598"/>
                  </a:lnTo>
                  <a:lnTo>
                    <a:pt x="2278171" y="1314376"/>
                  </a:lnTo>
                  <a:lnTo>
                    <a:pt x="2231133" y="1220746"/>
                  </a:lnTo>
                  <a:lnTo>
                    <a:pt x="2238972" y="1189536"/>
                  </a:lnTo>
                  <a:lnTo>
                    <a:pt x="2246812" y="1103709"/>
                  </a:lnTo>
                  <a:lnTo>
                    <a:pt x="2246812" y="1063396"/>
                  </a:lnTo>
                  <a:lnTo>
                    <a:pt x="2246812" y="1024383"/>
                  </a:lnTo>
                  <a:lnTo>
                    <a:pt x="2278171" y="1016581"/>
                  </a:lnTo>
                  <a:lnTo>
                    <a:pt x="2325208" y="1032186"/>
                  </a:lnTo>
                  <a:lnTo>
                    <a:pt x="2364406" y="1024383"/>
                  </a:lnTo>
                  <a:lnTo>
                    <a:pt x="2403605" y="1079001"/>
                  </a:lnTo>
                  <a:lnTo>
                    <a:pt x="2450642" y="1086803"/>
                  </a:lnTo>
                  <a:lnTo>
                    <a:pt x="2450642" y="1197338"/>
                  </a:lnTo>
                  <a:lnTo>
                    <a:pt x="2474161" y="1197338"/>
                  </a:lnTo>
                  <a:lnTo>
                    <a:pt x="2489840" y="1212943"/>
                  </a:lnTo>
                  <a:lnTo>
                    <a:pt x="2544718" y="1197338"/>
                  </a:lnTo>
                  <a:lnTo>
                    <a:pt x="2568237" y="1127116"/>
                  </a:lnTo>
                  <a:lnTo>
                    <a:pt x="2654473" y="1290968"/>
                  </a:lnTo>
                  <a:lnTo>
                    <a:pt x="2654473" y="1322178"/>
                  </a:lnTo>
                  <a:lnTo>
                    <a:pt x="2756388" y="1376796"/>
                  </a:lnTo>
                  <a:lnTo>
                    <a:pt x="2764228" y="1415808"/>
                  </a:lnTo>
                  <a:lnTo>
                    <a:pt x="2795586" y="1493833"/>
                  </a:lnTo>
                  <a:lnTo>
                    <a:pt x="2756388" y="1525043"/>
                  </a:lnTo>
                  <a:lnTo>
                    <a:pt x="2701511" y="1564055"/>
                  </a:lnTo>
                  <a:lnTo>
                    <a:pt x="2630954" y="1571858"/>
                  </a:lnTo>
                  <a:lnTo>
                    <a:pt x="2536878" y="1564055"/>
                  </a:lnTo>
                  <a:lnTo>
                    <a:pt x="2505520" y="1595265"/>
                  </a:lnTo>
                  <a:lnTo>
                    <a:pt x="2450642" y="1626475"/>
                  </a:lnTo>
                  <a:lnTo>
                    <a:pt x="2427123" y="1681093"/>
                  </a:lnTo>
                  <a:lnTo>
                    <a:pt x="2482001" y="1634278"/>
                  </a:lnTo>
                  <a:lnTo>
                    <a:pt x="2591756" y="1610870"/>
                  </a:lnTo>
                  <a:lnTo>
                    <a:pt x="2583916" y="1642080"/>
                  </a:lnTo>
                  <a:lnTo>
                    <a:pt x="2560397" y="1665488"/>
                  </a:lnTo>
                  <a:lnTo>
                    <a:pt x="2591756" y="1712303"/>
                  </a:lnTo>
                  <a:lnTo>
                    <a:pt x="2662313" y="1720105"/>
                  </a:lnTo>
                  <a:lnTo>
                    <a:pt x="2638794" y="1751315"/>
                  </a:lnTo>
                  <a:lnTo>
                    <a:pt x="2568237" y="1805932"/>
                  </a:lnTo>
                  <a:lnTo>
                    <a:pt x="2552557" y="1774722"/>
                  </a:lnTo>
                  <a:lnTo>
                    <a:pt x="2568237" y="1751315"/>
                  </a:lnTo>
                  <a:lnTo>
                    <a:pt x="2544718" y="1743513"/>
                  </a:lnTo>
                  <a:lnTo>
                    <a:pt x="2513359" y="1766920"/>
                  </a:lnTo>
                  <a:lnTo>
                    <a:pt x="2497680" y="1688895"/>
                  </a:lnTo>
                  <a:lnTo>
                    <a:pt x="2495890" y="1688450"/>
                  </a:lnTo>
                  <a:lnTo>
                    <a:pt x="2511424" y="1765675"/>
                  </a:lnTo>
                  <a:lnTo>
                    <a:pt x="2433074" y="1804626"/>
                  </a:lnTo>
                  <a:lnTo>
                    <a:pt x="2433074" y="1868245"/>
                  </a:lnTo>
                  <a:lnTo>
                    <a:pt x="2386065" y="1891616"/>
                  </a:lnTo>
                  <a:lnTo>
                    <a:pt x="2354725" y="1899406"/>
                  </a:lnTo>
                  <a:lnTo>
                    <a:pt x="2339055" y="1938357"/>
                  </a:lnTo>
                  <a:lnTo>
                    <a:pt x="2315550" y="1946147"/>
                  </a:lnTo>
                  <a:lnTo>
                    <a:pt x="2299880" y="1946147"/>
                  </a:lnTo>
                  <a:lnTo>
                    <a:pt x="2307715" y="1977307"/>
                  </a:lnTo>
                  <a:lnTo>
                    <a:pt x="2299880" y="1985097"/>
                  </a:lnTo>
                  <a:lnTo>
                    <a:pt x="2276376" y="1969517"/>
                  </a:lnTo>
                  <a:lnTo>
                    <a:pt x="2284211" y="2016258"/>
                  </a:lnTo>
                  <a:lnTo>
                    <a:pt x="2292045" y="2062999"/>
                  </a:lnTo>
                  <a:lnTo>
                    <a:pt x="2221531" y="2133110"/>
                  </a:lnTo>
                  <a:lnTo>
                    <a:pt x="2182356" y="2148691"/>
                  </a:lnTo>
                  <a:lnTo>
                    <a:pt x="2143182" y="2195432"/>
                  </a:lnTo>
                  <a:lnTo>
                    <a:pt x="2174521" y="2281123"/>
                  </a:lnTo>
                  <a:lnTo>
                    <a:pt x="2182356" y="2359025"/>
                  </a:lnTo>
                  <a:lnTo>
                    <a:pt x="2158851" y="2351235"/>
                  </a:lnTo>
                  <a:lnTo>
                    <a:pt x="2110536" y="2304494"/>
                  </a:lnTo>
                  <a:lnTo>
                    <a:pt x="2094866" y="2249963"/>
                  </a:lnTo>
                  <a:lnTo>
                    <a:pt x="2087031" y="2211012"/>
                  </a:lnTo>
                  <a:lnTo>
                    <a:pt x="2047857" y="2218802"/>
                  </a:lnTo>
                  <a:lnTo>
                    <a:pt x="2008682" y="2218802"/>
                  </a:lnTo>
                  <a:lnTo>
                    <a:pt x="1946002" y="2234382"/>
                  </a:lnTo>
                  <a:lnTo>
                    <a:pt x="1898993" y="2234382"/>
                  </a:lnTo>
                  <a:lnTo>
                    <a:pt x="1820643" y="2226592"/>
                  </a:lnTo>
                  <a:lnTo>
                    <a:pt x="1797138" y="2249963"/>
                  </a:lnTo>
                  <a:lnTo>
                    <a:pt x="1765799" y="2281123"/>
                  </a:lnTo>
                  <a:lnTo>
                    <a:pt x="1765799" y="2335361"/>
                  </a:lnTo>
                  <a:lnTo>
                    <a:pt x="1766357" y="2335472"/>
                  </a:lnTo>
                  <a:lnTo>
                    <a:pt x="1750647" y="2358920"/>
                  </a:lnTo>
                  <a:lnTo>
                    <a:pt x="1758502" y="2460528"/>
                  </a:lnTo>
                  <a:lnTo>
                    <a:pt x="1821341" y="2538689"/>
                  </a:lnTo>
                  <a:lnTo>
                    <a:pt x="1884179" y="2530873"/>
                  </a:lnTo>
                  <a:lnTo>
                    <a:pt x="1923453" y="2476160"/>
                  </a:lnTo>
                  <a:lnTo>
                    <a:pt x="2017711" y="2460528"/>
                  </a:lnTo>
                  <a:lnTo>
                    <a:pt x="2002001" y="2523057"/>
                  </a:lnTo>
                  <a:lnTo>
                    <a:pt x="1978437" y="2538689"/>
                  </a:lnTo>
                  <a:lnTo>
                    <a:pt x="1954872" y="2554321"/>
                  </a:lnTo>
                  <a:lnTo>
                    <a:pt x="1962727" y="2562137"/>
                  </a:lnTo>
                  <a:lnTo>
                    <a:pt x="1923453" y="2562137"/>
                  </a:lnTo>
                  <a:lnTo>
                    <a:pt x="1907743" y="2569953"/>
                  </a:lnTo>
                  <a:lnTo>
                    <a:pt x="1923453" y="2601217"/>
                  </a:lnTo>
                  <a:lnTo>
                    <a:pt x="1899889" y="2601217"/>
                  </a:lnTo>
                  <a:lnTo>
                    <a:pt x="1884179" y="2624665"/>
                  </a:lnTo>
                  <a:lnTo>
                    <a:pt x="1876324" y="2641600"/>
                  </a:lnTo>
                  <a:lnTo>
                    <a:pt x="1837050" y="2609033"/>
                  </a:lnTo>
                  <a:lnTo>
                    <a:pt x="1813486" y="2609033"/>
                  </a:lnTo>
                  <a:lnTo>
                    <a:pt x="1789921" y="2616849"/>
                  </a:lnTo>
                  <a:lnTo>
                    <a:pt x="1703518" y="2593401"/>
                  </a:lnTo>
                  <a:lnTo>
                    <a:pt x="1656390" y="2569953"/>
                  </a:lnTo>
                  <a:lnTo>
                    <a:pt x="1554278" y="2507425"/>
                  </a:lnTo>
                  <a:lnTo>
                    <a:pt x="1554278" y="2483976"/>
                  </a:lnTo>
                  <a:lnTo>
                    <a:pt x="1546423" y="2429264"/>
                  </a:lnTo>
                  <a:lnTo>
                    <a:pt x="1507149" y="2390184"/>
                  </a:lnTo>
                  <a:lnTo>
                    <a:pt x="1491439" y="2366736"/>
                  </a:lnTo>
                  <a:lnTo>
                    <a:pt x="1460020" y="2351104"/>
                  </a:lnTo>
                  <a:lnTo>
                    <a:pt x="1460020" y="2327656"/>
                  </a:lnTo>
                  <a:lnTo>
                    <a:pt x="1420746" y="2304208"/>
                  </a:lnTo>
                  <a:lnTo>
                    <a:pt x="1405037" y="2280759"/>
                  </a:lnTo>
                  <a:lnTo>
                    <a:pt x="1365763" y="2202599"/>
                  </a:lnTo>
                  <a:lnTo>
                    <a:pt x="1326489" y="2186967"/>
                  </a:lnTo>
                  <a:lnTo>
                    <a:pt x="1342198" y="2233863"/>
                  </a:lnTo>
                  <a:lnTo>
                    <a:pt x="1397182" y="2312024"/>
                  </a:lnTo>
                  <a:lnTo>
                    <a:pt x="1428601" y="2382368"/>
                  </a:lnTo>
                  <a:lnTo>
                    <a:pt x="1460020" y="2405816"/>
                  </a:lnTo>
                  <a:lnTo>
                    <a:pt x="1452165" y="2429264"/>
                  </a:lnTo>
                  <a:lnTo>
                    <a:pt x="1420746" y="2398000"/>
                  </a:lnTo>
                  <a:lnTo>
                    <a:pt x="1397182" y="2382368"/>
                  </a:lnTo>
                  <a:lnTo>
                    <a:pt x="1389327" y="2343288"/>
                  </a:lnTo>
                  <a:lnTo>
                    <a:pt x="1334343" y="2304208"/>
                  </a:lnTo>
                  <a:lnTo>
                    <a:pt x="1342198" y="2288576"/>
                  </a:lnTo>
                  <a:lnTo>
                    <a:pt x="1310779" y="2241679"/>
                  </a:lnTo>
                  <a:lnTo>
                    <a:pt x="1263650" y="2155703"/>
                  </a:lnTo>
                  <a:lnTo>
                    <a:pt x="1263954" y="2155665"/>
                  </a:lnTo>
                  <a:lnTo>
                    <a:pt x="1256528" y="2140901"/>
                  </a:lnTo>
                  <a:lnTo>
                    <a:pt x="1186014" y="2094160"/>
                  </a:lnTo>
                  <a:lnTo>
                    <a:pt x="1162509" y="2055209"/>
                  </a:lnTo>
                  <a:lnTo>
                    <a:pt x="1131169" y="2000678"/>
                  </a:lnTo>
                  <a:lnTo>
                    <a:pt x="1091995" y="1922776"/>
                  </a:lnTo>
                  <a:lnTo>
                    <a:pt x="1091995" y="1891616"/>
                  </a:lnTo>
                  <a:lnTo>
                    <a:pt x="1076324" y="1843576"/>
                  </a:lnTo>
                  <a:lnTo>
                    <a:pt x="1091995" y="1781255"/>
                  </a:lnTo>
                  <a:lnTo>
                    <a:pt x="1099830" y="1718934"/>
                  </a:lnTo>
                  <a:lnTo>
                    <a:pt x="1076324" y="1633242"/>
                  </a:lnTo>
                  <a:lnTo>
                    <a:pt x="1123334" y="1648822"/>
                  </a:lnTo>
                  <a:lnTo>
                    <a:pt x="1115500" y="1679983"/>
                  </a:lnTo>
                  <a:lnTo>
                    <a:pt x="1139004" y="1664403"/>
                  </a:lnTo>
                  <a:lnTo>
                    <a:pt x="1131169" y="1617662"/>
                  </a:lnTo>
                  <a:lnTo>
                    <a:pt x="1132077" y="1617662"/>
                  </a:lnTo>
                  <a:lnTo>
                    <a:pt x="1124440" y="1579660"/>
                  </a:lnTo>
                  <a:lnTo>
                    <a:pt x="1038204" y="1525043"/>
                  </a:lnTo>
                  <a:lnTo>
                    <a:pt x="975487" y="1439216"/>
                  </a:lnTo>
                  <a:lnTo>
                    <a:pt x="951968" y="1392401"/>
                  </a:lnTo>
                  <a:lnTo>
                    <a:pt x="959807" y="1329981"/>
                  </a:lnTo>
                  <a:lnTo>
                    <a:pt x="904931" y="1290968"/>
                  </a:lnTo>
                  <a:lnTo>
                    <a:pt x="818695" y="1134919"/>
                  </a:lnTo>
                  <a:lnTo>
                    <a:pt x="755978" y="1166128"/>
                  </a:lnTo>
                  <a:lnTo>
                    <a:pt x="676275" y="1127116"/>
                  </a:lnTo>
                  <a:lnTo>
                    <a:pt x="676275" y="1126457"/>
                  </a:lnTo>
                  <a:lnTo>
                    <a:pt x="558320" y="1103041"/>
                  </a:lnTo>
                  <a:lnTo>
                    <a:pt x="534729" y="1086130"/>
                  </a:lnTo>
                  <a:lnTo>
                    <a:pt x="479684" y="1118652"/>
                  </a:lnTo>
                  <a:lnTo>
                    <a:pt x="432501" y="1157679"/>
                  </a:lnTo>
                  <a:lnTo>
                    <a:pt x="424638" y="1118652"/>
                  </a:lnTo>
                  <a:lnTo>
                    <a:pt x="408911" y="1086130"/>
                  </a:lnTo>
                  <a:lnTo>
                    <a:pt x="346001" y="1165484"/>
                  </a:lnTo>
                  <a:lnTo>
                    <a:pt x="353865" y="1188901"/>
                  </a:lnTo>
                  <a:lnTo>
                    <a:pt x="251637" y="1298176"/>
                  </a:lnTo>
                  <a:lnTo>
                    <a:pt x="117955" y="1368425"/>
                  </a:lnTo>
                  <a:lnTo>
                    <a:pt x="235910" y="1266955"/>
                  </a:lnTo>
                  <a:lnTo>
                    <a:pt x="275228" y="1196706"/>
                  </a:lnTo>
                  <a:lnTo>
                    <a:pt x="204455" y="1196706"/>
                  </a:lnTo>
                  <a:lnTo>
                    <a:pt x="149409" y="1204511"/>
                  </a:lnTo>
                  <a:lnTo>
                    <a:pt x="141546" y="1149874"/>
                  </a:lnTo>
                  <a:lnTo>
                    <a:pt x="102228" y="1134263"/>
                  </a:lnTo>
                  <a:lnTo>
                    <a:pt x="94364" y="1093935"/>
                  </a:lnTo>
                  <a:lnTo>
                    <a:pt x="39318" y="1054908"/>
                  </a:lnTo>
                  <a:lnTo>
                    <a:pt x="47182" y="1015881"/>
                  </a:lnTo>
                  <a:lnTo>
                    <a:pt x="94364" y="984659"/>
                  </a:lnTo>
                  <a:lnTo>
                    <a:pt x="157273" y="961243"/>
                  </a:lnTo>
                  <a:lnTo>
                    <a:pt x="180864" y="906605"/>
                  </a:lnTo>
                  <a:lnTo>
                    <a:pt x="125818" y="898800"/>
                  </a:lnTo>
                  <a:lnTo>
                    <a:pt x="55046" y="898800"/>
                  </a:lnTo>
                  <a:lnTo>
                    <a:pt x="23591" y="867578"/>
                  </a:lnTo>
                  <a:lnTo>
                    <a:pt x="0" y="844162"/>
                  </a:lnTo>
                  <a:lnTo>
                    <a:pt x="78636" y="789524"/>
                  </a:lnTo>
                  <a:lnTo>
                    <a:pt x="117955" y="805135"/>
                  </a:lnTo>
                  <a:lnTo>
                    <a:pt x="149409" y="789524"/>
                  </a:lnTo>
                  <a:lnTo>
                    <a:pt x="149409" y="758303"/>
                  </a:lnTo>
                  <a:lnTo>
                    <a:pt x="102228" y="734887"/>
                  </a:lnTo>
                  <a:lnTo>
                    <a:pt x="55046" y="672443"/>
                  </a:lnTo>
                  <a:lnTo>
                    <a:pt x="55046" y="625611"/>
                  </a:lnTo>
                  <a:lnTo>
                    <a:pt x="117955" y="610000"/>
                  </a:lnTo>
                  <a:lnTo>
                    <a:pt x="149409" y="531946"/>
                  </a:lnTo>
                  <a:lnTo>
                    <a:pt x="196591" y="500725"/>
                  </a:lnTo>
                  <a:lnTo>
                    <a:pt x="259501" y="477308"/>
                  </a:lnTo>
                  <a:lnTo>
                    <a:pt x="298819" y="446087"/>
                  </a:lnTo>
                  <a:lnTo>
                    <a:pt x="369592" y="469503"/>
                  </a:lnTo>
                  <a:lnTo>
                    <a:pt x="377456" y="492919"/>
                  </a:lnTo>
                  <a:lnTo>
                    <a:pt x="416774" y="516335"/>
                  </a:lnTo>
                  <a:lnTo>
                    <a:pt x="463956" y="508530"/>
                  </a:lnTo>
                  <a:lnTo>
                    <a:pt x="566184" y="555362"/>
                  </a:lnTo>
                  <a:lnTo>
                    <a:pt x="636957" y="547557"/>
                  </a:lnTo>
                  <a:lnTo>
                    <a:pt x="660548" y="570973"/>
                  </a:lnTo>
                  <a:lnTo>
                    <a:pt x="676275" y="570973"/>
                  </a:lnTo>
                  <a:lnTo>
                    <a:pt x="676275" y="571839"/>
                  </a:lnTo>
                  <a:lnTo>
                    <a:pt x="724619" y="587444"/>
                  </a:lnTo>
                  <a:lnTo>
                    <a:pt x="763818" y="626457"/>
                  </a:lnTo>
                  <a:lnTo>
                    <a:pt x="826535" y="642061"/>
                  </a:lnTo>
                  <a:lnTo>
                    <a:pt x="865733" y="603049"/>
                  </a:lnTo>
                  <a:lnTo>
                    <a:pt x="1014685" y="532827"/>
                  </a:lnTo>
                  <a:lnTo>
                    <a:pt x="1069562" y="595247"/>
                  </a:lnTo>
                  <a:lnTo>
                    <a:pt x="1124440" y="579642"/>
                  </a:lnTo>
                  <a:lnTo>
                    <a:pt x="1210676" y="603049"/>
                  </a:lnTo>
                  <a:lnTo>
                    <a:pt x="1273393" y="634259"/>
                  </a:lnTo>
                  <a:lnTo>
                    <a:pt x="1328271" y="649864"/>
                  </a:lnTo>
                  <a:lnTo>
                    <a:pt x="1312592" y="681074"/>
                  </a:lnTo>
                  <a:lnTo>
                    <a:pt x="1351790" y="712284"/>
                  </a:lnTo>
                  <a:lnTo>
                    <a:pt x="1438025" y="696679"/>
                  </a:lnTo>
                  <a:lnTo>
                    <a:pt x="1477224" y="743494"/>
                  </a:lnTo>
                  <a:lnTo>
                    <a:pt x="1500741" y="751296"/>
                  </a:lnTo>
                  <a:lnTo>
                    <a:pt x="1492902" y="704481"/>
                  </a:lnTo>
                  <a:lnTo>
                    <a:pt x="1485063" y="681074"/>
                  </a:lnTo>
                  <a:lnTo>
                    <a:pt x="1555619" y="665469"/>
                  </a:lnTo>
                  <a:lnTo>
                    <a:pt x="1602657" y="696679"/>
                  </a:lnTo>
                  <a:lnTo>
                    <a:pt x="1681053" y="696679"/>
                  </a:lnTo>
                  <a:lnTo>
                    <a:pt x="1735930" y="712284"/>
                  </a:lnTo>
                  <a:lnTo>
                    <a:pt x="1748129" y="681931"/>
                  </a:lnTo>
                  <a:lnTo>
                    <a:pt x="1738522" y="676522"/>
                  </a:lnTo>
                  <a:lnTo>
                    <a:pt x="1733103" y="671437"/>
                  </a:lnTo>
                  <a:lnTo>
                    <a:pt x="1726600" y="666351"/>
                  </a:lnTo>
                  <a:lnTo>
                    <a:pt x="1720097" y="661266"/>
                  </a:lnTo>
                  <a:lnTo>
                    <a:pt x="1714677" y="656180"/>
                  </a:lnTo>
                  <a:lnTo>
                    <a:pt x="1711426" y="653129"/>
                  </a:lnTo>
                  <a:lnTo>
                    <a:pt x="1706007" y="649061"/>
                  </a:lnTo>
                  <a:lnTo>
                    <a:pt x="1703839" y="647026"/>
                  </a:lnTo>
                  <a:lnTo>
                    <a:pt x="1701671" y="646009"/>
                  </a:lnTo>
                  <a:lnTo>
                    <a:pt x="1698420" y="644992"/>
                  </a:lnTo>
                  <a:lnTo>
                    <a:pt x="1697336" y="644992"/>
                  </a:lnTo>
                  <a:lnTo>
                    <a:pt x="1694085" y="647026"/>
                  </a:lnTo>
                  <a:lnTo>
                    <a:pt x="1685414" y="653129"/>
                  </a:lnTo>
                  <a:lnTo>
                    <a:pt x="1678911" y="657197"/>
                  </a:lnTo>
                  <a:lnTo>
                    <a:pt x="1670240" y="661266"/>
                  </a:lnTo>
                  <a:lnTo>
                    <a:pt x="1660486" y="664317"/>
                  </a:lnTo>
                  <a:lnTo>
                    <a:pt x="1650731" y="667368"/>
                  </a:lnTo>
                  <a:lnTo>
                    <a:pt x="1639893" y="670420"/>
                  </a:lnTo>
                  <a:lnTo>
                    <a:pt x="1630138" y="671437"/>
                  </a:lnTo>
                  <a:lnTo>
                    <a:pt x="1623635" y="672454"/>
                  </a:lnTo>
                  <a:lnTo>
                    <a:pt x="1619300" y="674488"/>
                  </a:lnTo>
                  <a:lnTo>
                    <a:pt x="1614965" y="674488"/>
                  </a:lnTo>
                  <a:lnTo>
                    <a:pt x="1611713" y="674488"/>
                  </a:lnTo>
                  <a:lnTo>
                    <a:pt x="1606294" y="672454"/>
                  </a:lnTo>
                  <a:lnTo>
                    <a:pt x="1599791" y="670420"/>
                  </a:lnTo>
                  <a:lnTo>
                    <a:pt x="1594372" y="669403"/>
                  </a:lnTo>
                  <a:lnTo>
                    <a:pt x="1588953" y="667368"/>
                  </a:lnTo>
                  <a:lnTo>
                    <a:pt x="1583533" y="666351"/>
                  </a:lnTo>
                  <a:lnTo>
                    <a:pt x="1580282" y="666351"/>
                  </a:lnTo>
                  <a:lnTo>
                    <a:pt x="1577030" y="664317"/>
                  </a:lnTo>
                  <a:lnTo>
                    <a:pt x="1574863" y="661266"/>
                  </a:lnTo>
                  <a:lnTo>
                    <a:pt x="1574863" y="655163"/>
                  </a:lnTo>
                  <a:lnTo>
                    <a:pt x="1573779" y="648043"/>
                  </a:lnTo>
                  <a:lnTo>
                    <a:pt x="1570527" y="638890"/>
                  </a:lnTo>
                  <a:lnTo>
                    <a:pt x="1562941" y="630753"/>
                  </a:lnTo>
                  <a:lnTo>
                    <a:pt x="1554270" y="623633"/>
                  </a:lnTo>
                  <a:lnTo>
                    <a:pt x="1544515" y="617530"/>
                  </a:lnTo>
                  <a:lnTo>
                    <a:pt x="1536928" y="614479"/>
                  </a:lnTo>
                  <a:lnTo>
                    <a:pt x="1530425" y="612445"/>
                  </a:lnTo>
                  <a:lnTo>
                    <a:pt x="1528258" y="607359"/>
                  </a:lnTo>
                  <a:lnTo>
                    <a:pt x="1527174" y="601257"/>
                  </a:lnTo>
                  <a:lnTo>
                    <a:pt x="1527174" y="593120"/>
                  </a:lnTo>
                  <a:lnTo>
                    <a:pt x="1527174" y="586000"/>
                  </a:lnTo>
                  <a:lnTo>
                    <a:pt x="1528258" y="579898"/>
                  </a:lnTo>
                  <a:lnTo>
                    <a:pt x="1532593" y="578881"/>
                  </a:lnTo>
                  <a:lnTo>
                    <a:pt x="1540180" y="578881"/>
                  </a:lnTo>
                  <a:lnTo>
                    <a:pt x="1548851" y="577864"/>
                  </a:lnTo>
                  <a:lnTo>
                    <a:pt x="1556437" y="578881"/>
                  </a:lnTo>
                  <a:lnTo>
                    <a:pt x="1566192" y="581932"/>
                  </a:lnTo>
                  <a:lnTo>
                    <a:pt x="1572695" y="584983"/>
                  </a:lnTo>
                  <a:lnTo>
                    <a:pt x="1580282" y="588035"/>
                  </a:lnTo>
                  <a:lnTo>
                    <a:pt x="1588953" y="592103"/>
                  </a:lnTo>
                  <a:lnTo>
                    <a:pt x="1597623" y="597189"/>
                  </a:lnTo>
                  <a:lnTo>
                    <a:pt x="1605210" y="599223"/>
                  </a:lnTo>
                  <a:lnTo>
                    <a:pt x="1612797" y="601257"/>
                  </a:lnTo>
                  <a:lnTo>
                    <a:pt x="1616048" y="601257"/>
                  </a:lnTo>
                  <a:lnTo>
                    <a:pt x="1619300" y="599223"/>
                  </a:lnTo>
                  <a:lnTo>
                    <a:pt x="1620384" y="591086"/>
                  </a:lnTo>
                  <a:lnTo>
                    <a:pt x="1620384" y="582949"/>
                  </a:lnTo>
                  <a:lnTo>
                    <a:pt x="1614965" y="575829"/>
                  </a:lnTo>
                  <a:lnTo>
                    <a:pt x="1601959" y="570744"/>
                  </a:lnTo>
                  <a:lnTo>
                    <a:pt x="1587869" y="567693"/>
                  </a:lnTo>
                  <a:lnTo>
                    <a:pt x="1581366" y="566676"/>
                  </a:lnTo>
                  <a:lnTo>
                    <a:pt x="1574863" y="566676"/>
                  </a:lnTo>
                  <a:lnTo>
                    <a:pt x="1565108" y="564641"/>
                  </a:lnTo>
                  <a:lnTo>
                    <a:pt x="1553186" y="564641"/>
                  </a:lnTo>
                  <a:lnTo>
                    <a:pt x="1545599" y="564641"/>
                  </a:lnTo>
                  <a:lnTo>
                    <a:pt x="1540180" y="563624"/>
                  </a:lnTo>
                  <a:lnTo>
                    <a:pt x="1535845" y="560573"/>
                  </a:lnTo>
                  <a:lnTo>
                    <a:pt x="1530425" y="553453"/>
                  </a:lnTo>
                  <a:lnTo>
                    <a:pt x="1529342" y="545316"/>
                  </a:lnTo>
                  <a:lnTo>
                    <a:pt x="1529342" y="539214"/>
                  </a:lnTo>
                  <a:lnTo>
                    <a:pt x="1531509" y="535145"/>
                  </a:lnTo>
                  <a:lnTo>
                    <a:pt x="1539096" y="533111"/>
                  </a:lnTo>
                  <a:lnTo>
                    <a:pt x="1548851" y="535145"/>
                  </a:lnTo>
                  <a:lnTo>
                    <a:pt x="1557521" y="533111"/>
                  </a:lnTo>
                  <a:lnTo>
                    <a:pt x="1558605" y="528026"/>
                  </a:lnTo>
                  <a:lnTo>
                    <a:pt x="1555354" y="521923"/>
                  </a:lnTo>
                  <a:lnTo>
                    <a:pt x="1552102" y="519889"/>
                  </a:lnTo>
                  <a:lnTo>
                    <a:pt x="1547767" y="516838"/>
                  </a:lnTo>
                  <a:lnTo>
                    <a:pt x="1541264" y="510735"/>
                  </a:lnTo>
                  <a:lnTo>
                    <a:pt x="1535845" y="502598"/>
                  </a:lnTo>
                  <a:lnTo>
                    <a:pt x="1530425" y="497513"/>
                  </a:lnTo>
                  <a:lnTo>
                    <a:pt x="1530425" y="492427"/>
                  </a:lnTo>
                  <a:lnTo>
                    <a:pt x="1535845" y="487342"/>
                  </a:lnTo>
                  <a:lnTo>
                    <a:pt x="1542348" y="485308"/>
                  </a:lnTo>
                  <a:lnTo>
                    <a:pt x="1547767" y="483273"/>
                  </a:lnTo>
                  <a:lnTo>
                    <a:pt x="1549934" y="481239"/>
                  </a:lnTo>
                  <a:lnTo>
                    <a:pt x="1553186" y="475137"/>
                  </a:lnTo>
                  <a:lnTo>
                    <a:pt x="1554270" y="469034"/>
                  </a:lnTo>
                  <a:lnTo>
                    <a:pt x="1554270" y="465983"/>
                  </a:lnTo>
                  <a:lnTo>
                    <a:pt x="1557521" y="462931"/>
                  </a:lnTo>
                  <a:lnTo>
                    <a:pt x="1562941" y="461914"/>
                  </a:lnTo>
                  <a:lnTo>
                    <a:pt x="1570527" y="460897"/>
                  </a:lnTo>
                  <a:lnTo>
                    <a:pt x="1577030" y="456829"/>
                  </a:lnTo>
                  <a:lnTo>
                    <a:pt x="1582450" y="454795"/>
                  </a:lnTo>
                  <a:lnTo>
                    <a:pt x="1593288" y="452760"/>
                  </a:lnTo>
                  <a:lnTo>
                    <a:pt x="1605210" y="450726"/>
                  </a:lnTo>
                  <a:lnTo>
                    <a:pt x="1614965" y="447675"/>
                  </a:lnTo>
                  <a:lnTo>
                    <a:pt x="1622551" y="450726"/>
                  </a:lnTo>
                  <a:lnTo>
                    <a:pt x="1622551" y="456829"/>
                  </a:lnTo>
                  <a:lnTo>
                    <a:pt x="1619300" y="465983"/>
                  </a:lnTo>
                  <a:lnTo>
                    <a:pt x="1614965" y="471068"/>
                  </a:lnTo>
                  <a:lnTo>
                    <a:pt x="1616048" y="475137"/>
                  </a:lnTo>
                  <a:lnTo>
                    <a:pt x="1622551" y="474119"/>
                  </a:lnTo>
                  <a:lnTo>
                    <a:pt x="1630138" y="471068"/>
                  </a:lnTo>
                  <a:lnTo>
                    <a:pt x="1635557" y="472085"/>
                  </a:lnTo>
                  <a:lnTo>
                    <a:pt x="1637725" y="475137"/>
                  </a:lnTo>
                  <a:lnTo>
                    <a:pt x="1639893" y="482256"/>
                  </a:lnTo>
                  <a:lnTo>
                    <a:pt x="1646396" y="489376"/>
                  </a:lnTo>
                  <a:lnTo>
                    <a:pt x="1653983" y="494461"/>
                  </a:lnTo>
                  <a:lnTo>
                    <a:pt x="1661570" y="495479"/>
                  </a:lnTo>
                  <a:lnTo>
                    <a:pt x="1664821" y="493444"/>
                  </a:lnTo>
                  <a:lnTo>
                    <a:pt x="1664821" y="486325"/>
                  </a:lnTo>
                  <a:lnTo>
                    <a:pt x="1663737" y="479205"/>
                  </a:lnTo>
                  <a:lnTo>
                    <a:pt x="1662653" y="475137"/>
                  </a:lnTo>
                  <a:lnTo>
                    <a:pt x="1666989" y="475137"/>
                  </a:lnTo>
                  <a:lnTo>
                    <a:pt x="1672408" y="481239"/>
                  </a:lnTo>
                  <a:lnTo>
                    <a:pt x="1678911" y="487342"/>
                  </a:lnTo>
                  <a:lnTo>
                    <a:pt x="1684330" y="495479"/>
                  </a:lnTo>
                  <a:lnTo>
                    <a:pt x="1685414" y="506667"/>
                  </a:lnTo>
                  <a:lnTo>
                    <a:pt x="1686498" y="517855"/>
                  </a:lnTo>
                  <a:lnTo>
                    <a:pt x="1687582" y="529043"/>
                  </a:lnTo>
                  <a:lnTo>
                    <a:pt x="1691917" y="532094"/>
                  </a:lnTo>
                  <a:lnTo>
                    <a:pt x="1695168" y="523957"/>
                  </a:lnTo>
                  <a:lnTo>
                    <a:pt x="1698420" y="512769"/>
                  </a:lnTo>
                  <a:lnTo>
                    <a:pt x="1701671" y="505650"/>
                  </a:lnTo>
                  <a:lnTo>
                    <a:pt x="1702755" y="499547"/>
                  </a:lnTo>
                  <a:lnTo>
                    <a:pt x="1700588" y="494461"/>
                  </a:lnTo>
                  <a:lnTo>
                    <a:pt x="1697336" y="487342"/>
                  </a:lnTo>
                  <a:lnTo>
                    <a:pt x="1696252" y="481239"/>
                  </a:lnTo>
                  <a:lnTo>
                    <a:pt x="1697336" y="475137"/>
                  </a:lnTo>
                  <a:lnTo>
                    <a:pt x="1700588" y="470051"/>
                  </a:lnTo>
                  <a:lnTo>
                    <a:pt x="1704923" y="468017"/>
                  </a:lnTo>
                  <a:lnTo>
                    <a:pt x="1710342" y="469034"/>
                  </a:lnTo>
                  <a:lnTo>
                    <a:pt x="1714677" y="471068"/>
                  </a:lnTo>
                  <a:lnTo>
                    <a:pt x="1721180" y="474119"/>
                  </a:lnTo>
                  <a:lnTo>
                    <a:pt x="1723348" y="472085"/>
                  </a:lnTo>
                  <a:lnTo>
                    <a:pt x="1725516" y="470051"/>
                  </a:lnTo>
                  <a:lnTo>
                    <a:pt x="1723348" y="467000"/>
                  </a:lnTo>
                  <a:lnTo>
                    <a:pt x="1723348" y="465983"/>
                  </a:lnTo>
                  <a:lnTo>
                    <a:pt x="1721180" y="462931"/>
                  </a:lnTo>
                  <a:lnTo>
                    <a:pt x="1716845" y="458863"/>
                  </a:lnTo>
                  <a:lnTo>
                    <a:pt x="1713594" y="454795"/>
                  </a:lnTo>
                  <a:lnTo>
                    <a:pt x="1721180" y="452760"/>
                  </a:lnTo>
                  <a:lnTo>
                    <a:pt x="1727683" y="452760"/>
                  </a:lnTo>
                  <a:lnTo>
                    <a:pt x="1735270" y="452760"/>
                  </a:lnTo>
                  <a:lnTo>
                    <a:pt x="1741773" y="452760"/>
                  </a:lnTo>
                  <a:lnTo>
                    <a:pt x="1747193" y="453777"/>
                  </a:lnTo>
                  <a:lnTo>
                    <a:pt x="1752612" y="455812"/>
                  </a:lnTo>
                  <a:lnTo>
                    <a:pt x="1755863" y="458863"/>
                  </a:lnTo>
                  <a:lnTo>
                    <a:pt x="1758031" y="462931"/>
                  </a:lnTo>
                  <a:lnTo>
                    <a:pt x="1755863" y="469034"/>
                  </a:lnTo>
                  <a:lnTo>
                    <a:pt x="1751528" y="479205"/>
                  </a:lnTo>
                  <a:lnTo>
                    <a:pt x="1747193" y="485308"/>
                  </a:lnTo>
                  <a:lnTo>
                    <a:pt x="1742857" y="487342"/>
                  </a:lnTo>
                  <a:lnTo>
                    <a:pt x="1738522" y="490393"/>
                  </a:lnTo>
                  <a:lnTo>
                    <a:pt x="1735270" y="493444"/>
                  </a:lnTo>
                  <a:lnTo>
                    <a:pt x="1736354" y="500564"/>
                  </a:lnTo>
                  <a:lnTo>
                    <a:pt x="1738522" y="508701"/>
                  </a:lnTo>
                  <a:lnTo>
                    <a:pt x="1739606" y="517855"/>
                  </a:lnTo>
                  <a:lnTo>
                    <a:pt x="1741773" y="528026"/>
                  </a:lnTo>
                  <a:lnTo>
                    <a:pt x="1742857" y="538197"/>
                  </a:lnTo>
                  <a:lnTo>
                    <a:pt x="1745025" y="547351"/>
                  </a:lnTo>
                  <a:lnTo>
                    <a:pt x="1745025" y="554470"/>
                  </a:lnTo>
                  <a:lnTo>
                    <a:pt x="1743941" y="559556"/>
                  </a:lnTo>
                  <a:lnTo>
                    <a:pt x="1742857" y="561590"/>
                  </a:lnTo>
                  <a:lnTo>
                    <a:pt x="1741773" y="564641"/>
                  </a:lnTo>
                  <a:lnTo>
                    <a:pt x="1741773" y="571761"/>
                  </a:lnTo>
                  <a:lnTo>
                    <a:pt x="1745025" y="579898"/>
                  </a:lnTo>
                  <a:lnTo>
                    <a:pt x="1749360" y="586000"/>
                  </a:lnTo>
                  <a:lnTo>
                    <a:pt x="1753696" y="591086"/>
                  </a:lnTo>
                  <a:lnTo>
                    <a:pt x="1761282" y="597189"/>
                  </a:lnTo>
                  <a:lnTo>
                    <a:pt x="1769953" y="603291"/>
                  </a:lnTo>
                  <a:lnTo>
                    <a:pt x="1777540" y="608377"/>
                  </a:lnTo>
                  <a:lnTo>
                    <a:pt x="1784043" y="610411"/>
                  </a:lnTo>
                  <a:lnTo>
                    <a:pt x="1786211" y="612445"/>
                  </a:lnTo>
                  <a:lnTo>
                    <a:pt x="1788378" y="614479"/>
                  </a:lnTo>
                  <a:lnTo>
                    <a:pt x="1793797" y="618548"/>
                  </a:lnTo>
                  <a:lnTo>
                    <a:pt x="1797049" y="625667"/>
                  </a:lnTo>
                  <a:lnTo>
                    <a:pt x="1795965" y="632787"/>
                  </a:lnTo>
                  <a:lnTo>
                    <a:pt x="1791630" y="637872"/>
                  </a:lnTo>
                  <a:lnTo>
                    <a:pt x="1786211" y="638890"/>
                  </a:lnTo>
                  <a:lnTo>
                    <a:pt x="1782959" y="637872"/>
                  </a:lnTo>
                  <a:lnTo>
                    <a:pt x="1778624" y="637872"/>
                  </a:lnTo>
                  <a:lnTo>
                    <a:pt x="1775372" y="637872"/>
                  </a:lnTo>
                  <a:lnTo>
                    <a:pt x="1772121" y="637872"/>
                  </a:lnTo>
                  <a:lnTo>
                    <a:pt x="1772121" y="639907"/>
                  </a:lnTo>
                  <a:lnTo>
                    <a:pt x="1774288" y="646009"/>
                  </a:lnTo>
                  <a:lnTo>
                    <a:pt x="1776456" y="655163"/>
                  </a:lnTo>
                  <a:lnTo>
                    <a:pt x="1778624" y="664317"/>
                  </a:lnTo>
                  <a:lnTo>
                    <a:pt x="1777540" y="671437"/>
                  </a:lnTo>
                  <a:lnTo>
                    <a:pt x="1774803" y="673271"/>
                  </a:lnTo>
                  <a:lnTo>
                    <a:pt x="1782968" y="673271"/>
                  </a:lnTo>
                  <a:lnTo>
                    <a:pt x="1806487" y="688876"/>
                  </a:lnTo>
                  <a:lnTo>
                    <a:pt x="1845685" y="649864"/>
                  </a:lnTo>
                  <a:lnTo>
                    <a:pt x="1837845" y="603049"/>
                  </a:lnTo>
                  <a:lnTo>
                    <a:pt x="1782968" y="556234"/>
                  </a:lnTo>
                  <a:lnTo>
                    <a:pt x="1782968" y="517222"/>
                  </a:lnTo>
                  <a:close/>
                  <a:moveTo>
                    <a:pt x="1880953" y="369887"/>
                  </a:moveTo>
                  <a:lnTo>
                    <a:pt x="1883100" y="369887"/>
                  </a:lnTo>
                  <a:lnTo>
                    <a:pt x="1884174" y="369887"/>
                  </a:lnTo>
                  <a:lnTo>
                    <a:pt x="1885248" y="370888"/>
                  </a:lnTo>
                  <a:lnTo>
                    <a:pt x="1889544" y="374891"/>
                  </a:lnTo>
                  <a:lnTo>
                    <a:pt x="1891691" y="378894"/>
                  </a:lnTo>
                  <a:lnTo>
                    <a:pt x="1892765" y="384899"/>
                  </a:lnTo>
                  <a:lnTo>
                    <a:pt x="1892765" y="389903"/>
                  </a:lnTo>
                  <a:lnTo>
                    <a:pt x="1895987" y="393907"/>
                  </a:lnTo>
                  <a:lnTo>
                    <a:pt x="1897061" y="398911"/>
                  </a:lnTo>
                  <a:lnTo>
                    <a:pt x="1897061" y="404916"/>
                  </a:lnTo>
                  <a:lnTo>
                    <a:pt x="1893839" y="409920"/>
                  </a:lnTo>
                  <a:lnTo>
                    <a:pt x="1889544" y="413923"/>
                  </a:lnTo>
                  <a:lnTo>
                    <a:pt x="1884174" y="415925"/>
                  </a:lnTo>
                  <a:lnTo>
                    <a:pt x="1880953" y="413923"/>
                  </a:lnTo>
                  <a:lnTo>
                    <a:pt x="1877731" y="409920"/>
                  </a:lnTo>
                  <a:lnTo>
                    <a:pt x="1873436" y="406917"/>
                  </a:lnTo>
                  <a:lnTo>
                    <a:pt x="1868066" y="404916"/>
                  </a:lnTo>
                  <a:lnTo>
                    <a:pt x="1863771" y="400912"/>
                  </a:lnTo>
                  <a:lnTo>
                    <a:pt x="1860549" y="397910"/>
                  </a:lnTo>
                  <a:lnTo>
                    <a:pt x="1861623" y="392906"/>
                  </a:lnTo>
                  <a:lnTo>
                    <a:pt x="1864844" y="387902"/>
                  </a:lnTo>
                  <a:lnTo>
                    <a:pt x="1868066" y="384899"/>
                  </a:lnTo>
                  <a:lnTo>
                    <a:pt x="1872362" y="381897"/>
                  </a:lnTo>
                  <a:lnTo>
                    <a:pt x="1874509" y="376893"/>
                  </a:lnTo>
                  <a:lnTo>
                    <a:pt x="1875583" y="374891"/>
                  </a:lnTo>
                  <a:lnTo>
                    <a:pt x="1875583" y="373890"/>
                  </a:lnTo>
                  <a:lnTo>
                    <a:pt x="1877731" y="370888"/>
                  </a:lnTo>
                  <a:close/>
                  <a:moveTo>
                    <a:pt x="1509540" y="361950"/>
                  </a:moveTo>
                  <a:lnTo>
                    <a:pt x="1512757" y="361950"/>
                  </a:lnTo>
                  <a:lnTo>
                    <a:pt x="1515975" y="362950"/>
                  </a:lnTo>
                  <a:lnTo>
                    <a:pt x="1521338" y="364951"/>
                  </a:lnTo>
                  <a:lnTo>
                    <a:pt x="1525629" y="368952"/>
                  </a:lnTo>
                  <a:lnTo>
                    <a:pt x="1530992" y="370953"/>
                  </a:lnTo>
                  <a:lnTo>
                    <a:pt x="1537428" y="371953"/>
                  </a:lnTo>
                  <a:lnTo>
                    <a:pt x="1544937" y="373954"/>
                  </a:lnTo>
                  <a:lnTo>
                    <a:pt x="1554590" y="375955"/>
                  </a:lnTo>
                  <a:lnTo>
                    <a:pt x="1558881" y="381957"/>
                  </a:lnTo>
                  <a:lnTo>
                    <a:pt x="1562098" y="387959"/>
                  </a:lnTo>
                  <a:lnTo>
                    <a:pt x="1566389" y="393961"/>
                  </a:lnTo>
                  <a:lnTo>
                    <a:pt x="1571752" y="396962"/>
                  </a:lnTo>
                  <a:lnTo>
                    <a:pt x="1577116" y="394961"/>
                  </a:lnTo>
                  <a:lnTo>
                    <a:pt x="1581406" y="394961"/>
                  </a:lnTo>
                  <a:lnTo>
                    <a:pt x="1587842" y="397962"/>
                  </a:lnTo>
                  <a:lnTo>
                    <a:pt x="1594278" y="405965"/>
                  </a:lnTo>
                  <a:lnTo>
                    <a:pt x="1598568" y="417969"/>
                  </a:lnTo>
                  <a:lnTo>
                    <a:pt x="1599641" y="428973"/>
                  </a:lnTo>
                  <a:lnTo>
                    <a:pt x="1601786" y="432974"/>
                  </a:lnTo>
                  <a:lnTo>
                    <a:pt x="1599641" y="436976"/>
                  </a:lnTo>
                  <a:lnTo>
                    <a:pt x="1597496" y="439977"/>
                  </a:lnTo>
                  <a:lnTo>
                    <a:pt x="1593205" y="443978"/>
                  </a:lnTo>
                  <a:lnTo>
                    <a:pt x="1587842" y="445979"/>
                  </a:lnTo>
                  <a:lnTo>
                    <a:pt x="1580334" y="447979"/>
                  </a:lnTo>
                  <a:lnTo>
                    <a:pt x="1571752" y="450980"/>
                  </a:lnTo>
                  <a:lnTo>
                    <a:pt x="1563171" y="451981"/>
                  </a:lnTo>
                  <a:lnTo>
                    <a:pt x="1554590" y="453981"/>
                  </a:lnTo>
                  <a:lnTo>
                    <a:pt x="1540646" y="457983"/>
                  </a:lnTo>
                  <a:lnTo>
                    <a:pt x="1536355" y="460984"/>
                  </a:lnTo>
                  <a:lnTo>
                    <a:pt x="1536355" y="465985"/>
                  </a:lnTo>
                  <a:lnTo>
                    <a:pt x="1536355" y="472988"/>
                  </a:lnTo>
                  <a:lnTo>
                    <a:pt x="1532065" y="477990"/>
                  </a:lnTo>
                  <a:lnTo>
                    <a:pt x="1523484" y="480991"/>
                  </a:lnTo>
                  <a:lnTo>
                    <a:pt x="1513830" y="485992"/>
                  </a:lnTo>
                  <a:lnTo>
                    <a:pt x="1507395" y="496996"/>
                  </a:lnTo>
                  <a:lnTo>
                    <a:pt x="1502031" y="507000"/>
                  </a:lnTo>
                  <a:lnTo>
                    <a:pt x="1496668" y="508000"/>
                  </a:lnTo>
                  <a:lnTo>
                    <a:pt x="1490232" y="504999"/>
                  </a:lnTo>
                  <a:lnTo>
                    <a:pt x="1484869" y="499997"/>
                  </a:lnTo>
                  <a:lnTo>
                    <a:pt x="1481651" y="498997"/>
                  </a:lnTo>
                  <a:lnTo>
                    <a:pt x="1477361" y="500997"/>
                  </a:lnTo>
                  <a:lnTo>
                    <a:pt x="1471998" y="504999"/>
                  </a:lnTo>
                  <a:lnTo>
                    <a:pt x="1464489" y="508000"/>
                  </a:lnTo>
                  <a:lnTo>
                    <a:pt x="1459126" y="505999"/>
                  </a:lnTo>
                  <a:lnTo>
                    <a:pt x="1458053" y="497996"/>
                  </a:lnTo>
                  <a:lnTo>
                    <a:pt x="1458053" y="484992"/>
                  </a:lnTo>
                  <a:lnTo>
                    <a:pt x="1454835" y="468987"/>
                  </a:lnTo>
                  <a:lnTo>
                    <a:pt x="1449472" y="455982"/>
                  </a:lnTo>
                  <a:lnTo>
                    <a:pt x="1447327" y="452981"/>
                  </a:lnTo>
                  <a:lnTo>
                    <a:pt x="1446254" y="452981"/>
                  </a:lnTo>
                  <a:lnTo>
                    <a:pt x="1443036" y="451981"/>
                  </a:lnTo>
                  <a:lnTo>
                    <a:pt x="1446254" y="443978"/>
                  </a:lnTo>
                  <a:lnTo>
                    <a:pt x="1454835" y="432974"/>
                  </a:lnTo>
                  <a:lnTo>
                    <a:pt x="1464489" y="423971"/>
                  </a:lnTo>
                  <a:lnTo>
                    <a:pt x="1471998" y="416969"/>
                  </a:lnTo>
                  <a:lnTo>
                    <a:pt x="1477361" y="411967"/>
                  </a:lnTo>
                  <a:lnTo>
                    <a:pt x="1488087" y="401964"/>
                  </a:lnTo>
                  <a:lnTo>
                    <a:pt x="1496668" y="392960"/>
                  </a:lnTo>
                  <a:lnTo>
                    <a:pt x="1502031" y="385958"/>
                  </a:lnTo>
                  <a:lnTo>
                    <a:pt x="1504177" y="381957"/>
                  </a:lnTo>
                  <a:lnTo>
                    <a:pt x="1505249" y="376955"/>
                  </a:lnTo>
                  <a:lnTo>
                    <a:pt x="1505249" y="369953"/>
                  </a:lnTo>
                  <a:lnTo>
                    <a:pt x="1507395" y="363950"/>
                  </a:lnTo>
                  <a:close/>
                  <a:moveTo>
                    <a:pt x="1770098" y="320675"/>
                  </a:moveTo>
                  <a:lnTo>
                    <a:pt x="1777592" y="325735"/>
                  </a:lnTo>
                  <a:lnTo>
                    <a:pt x="1785087" y="332819"/>
                  </a:lnTo>
                  <a:lnTo>
                    <a:pt x="1788299" y="336867"/>
                  </a:lnTo>
                  <a:lnTo>
                    <a:pt x="1790440" y="336867"/>
                  </a:lnTo>
                  <a:lnTo>
                    <a:pt x="1793652" y="336867"/>
                  </a:lnTo>
                  <a:lnTo>
                    <a:pt x="1796864" y="335855"/>
                  </a:lnTo>
                  <a:lnTo>
                    <a:pt x="1801146" y="331807"/>
                  </a:lnTo>
                  <a:lnTo>
                    <a:pt x="1804358" y="329783"/>
                  </a:lnTo>
                  <a:lnTo>
                    <a:pt x="1808641" y="331807"/>
                  </a:lnTo>
                  <a:lnTo>
                    <a:pt x="1812923" y="335855"/>
                  </a:lnTo>
                  <a:lnTo>
                    <a:pt x="1817206" y="336867"/>
                  </a:lnTo>
                  <a:lnTo>
                    <a:pt x="1818277" y="333831"/>
                  </a:lnTo>
                  <a:lnTo>
                    <a:pt x="1817206" y="331807"/>
                  </a:lnTo>
                  <a:lnTo>
                    <a:pt x="1815065" y="327759"/>
                  </a:lnTo>
                  <a:lnTo>
                    <a:pt x="1815065" y="323711"/>
                  </a:lnTo>
                  <a:lnTo>
                    <a:pt x="1817206" y="322699"/>
                  </a:lnTo>
                  <a:lnTo>
                    <a:pt x="1820418" y="323711"/>
                  </a:lnTo>
                  <a:lnTo>
                    <a:pt x="1825771" y="328771"/>
                  </a:lnTo>
                  <a:lnTo>
                    <a:pt x="1831124" y="331807"/>
                  </a:lnTo>
                  <a:lnTo>
                    <a:pt x="1834336" y="332819"/>
                  </a:lnTo>
                  <a:lnTo>
                    <a:pt x="1835407" y="330795"/>
                  </a:lnTo>
                  <a:lnTo>
                    <a:pt x="1836478" y="328771"/>
                  </a:lnTo>
                  <a:lnTo>
                    <a:pt x="1842901" y="327759"/>
                  </a:lnTo>
                  <a:lnTo>
                    <a:pt x="1848255" y="329783"/>
                  </a:lnTo>
                  <a:lnTo>
                    <a:pt x="1849325" y="335855"/>
                  </a:lnTo>
                  <a:lnTo>
                    <a:pt x="1848255" y="342939"/>
                  </a:lnTo>
                  <a:lnTo>
                    <a:pt x="1843972" y="352048"/>
                  </a:lnTo>
                  <a:lnTo>
                    <a:pt x="1842901" y="358120"/>
                  </a:lnTo>
                  <a:lnTo>
                    <a:pt x="1843972" y="360144"/>
                  </a:lnTo>
                  <a:lnTo>
                    <a:pt x="1849325" y="363180"/>
                  </a:lnTo>
                  <a:lnTo>
                    <a:pt x="1855749" y="371276"/>
                  </a:lnTo>
                  <a:lnTo>
                    <a:pt x="1858961" y="378360"/>
                  </a:lnTo>
                  <a:lnTo>
                    <a:pt x="1856820" y="379372"/>
                  </a:lnTo>
                  <a:lnTo>
                    <a:pt x="1851466" y="377348"/>
                  </a:lnTo>
                  <a:lnTo>
                    <a:pt x="1847184" y="375324"/>
                  </a:lnTo>
                  <a:lnTo>
                    <a:pt x="1843972" y="375324"/>
                  </a:lnTo>
                  <a:lnTo>
                    <a:pt x="1843972" y="378360"/>
                  </a:lnTo>
                  <a:lnTo>
                    <a:pt x="1847184" y="383420"/>
                  </a:lnTo>
                  <a:lnTo>
                    <a:pt x="1848255" y="385444"/>
                  </a:lnTo>
                  <a:lnTo>
                    <a:pt x="1843972" y="387468"/>
                  </a:lnTo>
                  <a:lnTo>
                    <a:pt x="1835407" y="393541"/>
                  </a:lnTo>
                  <a:lnTo>
                    <a:pt x="1824700" y="398601"/>
                  </a:lnTo>
                  <a:lnTo>
                    <a:pt x="1812923" y="401637"/>
                  </a:lnTo>
                  <a:lnTo>
                    <a:pt x="1807570" y="400625"/>
                  </a:lnTo>
                  <a:lnTo>
                    <a:pt x="1807570" y="394553"/>
                  </a:lnTo>
                  <a:lnTo>
                    <a:pt x="1809712" y="386456"/>
                  </a:lnTo>
                  <a:lnTo>
                    <a:pt x="1811853" y="379372"/>
                  </a:lnTo>
                  <a:lnTo>
                    <a:pt x="1811853" y="375324"/>
                  </a:lnTo>
                  <a:lnTo>
                    <a:pt x="1810782" y="374312"/>
                  </a:lnTo>
                  <a:lnTo>
                    <a:pt x="1807570" y="374312"/>
                  </a:lnTo>
                  <a:lnTo>
                    <a:pt x="1800076" y="375324"/>
                  </a:lnTo>
                  <a:lnTo>
                    <a:pt x="1792581" y="375324"/>
                  </a:lnTo>
                  <a:lnTo>
                    <a:pt x="1790440" y="375324"/>
                  </a:lnTo>
                  <a:lnTo>
                    <a:pt x="1788299" y="373300"/>
                  </a:lnTo>
                  <a:lnTo>
                    <a:pt x="1791511" y="368240"/>
                  </a:lnTo>
                  <a:lnTo>
                    <a:pt x="1792581" y="364192"/>
                  </a:lnTo>
                  <a:lnTo>
                    <a:pt x="1790440" y="363180"/>
                  </a:lnTo>
                  <a:lnTo>
                    <a:pt x="1786157" y="363180"/>
                  </a:lnTo>
                  <a:lnTo>
                    <a:pt x="1782946" y="363180"/>
                  </a:lnTo>
                  <a:lnTo>
                    <a:pt x="1778663" y="362168"/>
                  </a:lnTo>
                  <a:lnTo>
                    <a:pt x="1775451" y="359132"/>
                  </a:lnTo>
                  <a:lnTo>
                    <a:pt x="1772239" y="354072"/>
                  </a:lnTo>
                  <a:lnTo>
                    <a:pt x="1771168" y="347999"/>
                  </a:lnTo>
                  <a:lnTo>
                    <a:pt x="1770098" y="342939"/>
                  </a:lnTo>
                  <a:lnTo>
                    <a:pt x="1769027" y="335855"/>
                  </a:lnTo>
                  <a:lnTo>
                    <a:pt x="1767957" y="329783"/>
                  </a:lnTo>
                  <a:lnTo>
                    <a:pt x="1766886" y="322699"/>
                  </a:lnTo>
                  <a:close/>
                  <a:moveTo>
                    <a:pt x="1648242" y="307975"/>
                  </a:moveTo>
                  <a:lnTo>
                    <a:pt x="1655845" y="307975"/>
                  </a:lnTo>
                  <a:lnTo>
                    <a:pt x="1660189" y="310033"/>
                  </a:lnTo>
                  <a:lnTo>
                    <a:pt x="1661276" y="313121"/>
                  </a:lnTo>
                  <a:lnTo>
                    <a:pt x="1660189" y="316209"/>
                  </a:lnTo>
                  <a:lnTo>
                    <a:pt x="1661276" y="321355"/>
                  </a:lnTo>
                  <a:lnTo>
                    <a:pt x="1665620" y="323414"/>
                  </a:lnTo>
                  <a:lnTo>
                    <a:pt x="1671051" y="327531"/>
                  </a:lnTo>
                  <a:lnTo>
                    <a:pt x="1672137" y="331648"/>
                  </a:lnTo>
                  <a:lnTo>
                    <a:pt x="1672137" y="336794"/>
                  </a:lnTo>
                  <a:lnTo>
                    <a:pt x="1677568" y="339882"/>
                  </a:lnTo>
                  <a:lnTo>
                    <a:pt x="1681913" y="343999"/>
                  </a:lnTo>
                  <a:lnTo>
                    <a:pt x="1685172" y="348116"/>
                  </a:lnTo>
                  <a:lnTo>
                    <a:pt x="1685172" y="353262"/>
                  </a:lnTo>
                  <a:lnTo>
                    <a:pt x="1685172" y="356350"/>
                  </a:lnTo>
                  <a:lnTo>
                    <a:pt x="1687344" y="359437"/>
                  </a:lnTo>
                  <a:lnTo>
                    <a:pt x="1692775" y="361496"/>
                  </a:lnTo>
                  <a:lnTo>
                    <a:pt x="1698206" y="364584"/>
                  </a:lnTo>
                  <a:lnTo>
                    <a:pt x="1704723" y="368701"/>
                  </a:lnTo>
                  <a:lnTo>
                    <a:pt x="1709068" y="368701"/>
                  </a:lnTo>
                  <a:lnTo>
                    <a:pt x="1710154" y="363554"/>
                  </a:lnTo>
                  <a:lnTo>
                    <a:pt x="1710154" y="356350"/>
                  </a:lnTo>
                  <a:lnTo>
                    <a:pt x="1710154" y="351203"/>
                  </a:lnTo>
                  <a:lnTo>
                    <a:pt x="1710154" y="346057"/>
                  </a:lnTo>
                  <a:lnTo>
                    <a:pt x="1710154" y="340911"/>
                  </a:lnTo>
                  <a:lnTo>
                    <a:pt x="1706895" y="338852"/>
                  </a:lnTo>
                  <a:lnTo>
                    <a:pt x="1704723" y="338852"/>
                  </a:lnTo>
                  <a:lnTo>
                    <a:pt x="1703637" y="337823"/>
                  </a:lnTo>
                  <a:lnTo>
                    <a:pt x="1702551" y="332677"/>
                  </a:lnTo>
                  <a:lnTo>
                    <a:pt x="1702551" y="327531"/>
                  </a:lnTo>
                  <a:lnTo>
                    <a:pt x="1702551" y="322384"/>
                  </a:lnTo>
                  <a:lnTo>
                    <a:pt x="1703637" y="319297"/>
                  </a:lnTo>
                  <a:lnTo>
                    <a:pt x="1706895" y="316209"/>
                  </a:lnTo>
                  <a:lnTo>
                    <a:pt x="1713413" y="314150"/>
                  </a:lnTo>
                  <a:lnTo>
                    <a:pt x="1718844" y="312092"/>
                  </a:lnTo>
                  <a:lnTo>
                    <a:pt x="1723188" y="309004"/>
                  </a:lnTo>
                  <a:lnTo>
                    <a:pt x="1724274" y="307975"/>
                  </a:lnTo>
                  <a:lnTo>
                    <a:pt x="1724274" y="312092"/>
                  </a:lnTo>
                  <a:lnTo>
                    <a:pt x="1723188" y="321355"/>
                  </a:lnTo>
                  <a:lnTo>
                    <a:pt x="1723188" y="331648"/>
                  </a:lnTo>
                  <a:lnTo>
                    <a:pt x="1722102" y="338852"/>
                  </a:lnTo>
                  <a:lnTo>
                    <a:pt x="1721016" y="343999"/>
                  </a:lnTo>
                  <a:lnTo>
                    <a:pt x="1721016" y="348116"/>
                  </a:lnTo>
                  <a:lnTo>
                    <a:pt x="1722102" y="353262"/>
                  </a:lnTo>
                  <a:lnTo>
                    <a:pt x="1727533" y="355320"/>
                  </a:lnTo>
                  <a:lnTo>
                    <a:pt x="1731878" y="352233"/>
                  </a:lnTo>
                  <a:lnTo>
                    <a:pt x="1734050" y="346057"/>
                  </a:lnTo>
                  <a:lnTo>
                    <a:pt x="1736223" y="342969"/>
                  </a:lnTo>
                  <a:lnTo>
                    <a:pt x="1742740" y="345028"/>
                  </a:lnTo>
                  <a:lnTo>
                    <a:pt x="1750343" y="351203"/>
                  </a:lnTo>
                  <a:lnTo>
                    <a:pt x="1754688" y="354291"/>
                  </a:lnTo>
                  <a:lnTo>
                    <a:pt x="1755774" y="358408"/>
                  </a:lnTo>
                  <a:lnTo>
                    <a:pt x="1754688" y="363554"/>
                  </a:lnTo>
                  <a:lnTo>
                    <a:pt x="1754688" y="369730"/>
                  </a:lnTo>
                  <a:lnTo>
                    <a:pt x="1754688" y="371788"/>
                  </a:lnTo>
                  <a:lnTo>
                    <a:pt x="1753602" y="375905"/>
                  </a:lnTo>
                  <a:lnTo>
                    <a:pt x="1750343" y="382081"/>
                  </a:lnTo>
                  <a:lnTo>
                    <a:pt x="1744912" y="388257"/>
                  </a:lnTo>
                  <a:lnTo>
                    <a:pt x="1742740" y="392374"/>
                  </a:lnTo>
                  <a:lnTo>
                    <a:pt x="1737309" y="394432"/>
                  </a:lnTo>
                  <a:lnTo>
                    <a:pt x="1727533" y="393403"/>
                  </a:lnTo>
                  <a:lnTo>
                    <a:pt x="1715585" y="391344"/>
                  </a:lnTo>
                  <a:lnTo>
                    <a:pt x="1706895" y="388257"/>
                  </a:lnTo>
                  <a:lnTo>
                    <a:pt x="1701465" y="387227"/>
                  </a:lnTo>
                  <a:lnTo>
                    <a:pt x="1697120" y="390315"/>
                  </a:lnTo>
                  <a:lnTo>
                    <a:pt x="1693861" y="393403"/>
                  </a:lnTo>
                  <a:lnTo>
                    <a:pt x="1689516" y="395461"/>
                  </a:lnTo>
                  <a:lnTo>
                    <a:pt x="1685172" y="398549"/>
                  </a:lnTo>
                  <a:lnTo>
                    <a:pt x="1677568" y="400608"/>
                  </a:lnTo>
                  <a:lnTo>
                    <a:pt x="1669965" y="401637"/>
                  </a:lnTo>
                  <a:lnTo>
                    <a:pt x="1664534" y="401637"/>
                  </a:lnTo>
                  <a:lnTo>
                    <a:pt x="1660189" y="401637"/>
                  </a:lnTo>
                  <a:lnTo>
                    <a:pt x="1653672" y="401637"/>
                  </a:lnTo>
                  <a:lnTo>
                    <a:pt x="1646069" y="399578"/>
                  </a:lnTo>
                  <a:lnTo>
                    <a:pt x="1637380" y="395461"/>
                  </a:lnTo>
                  <a:lnTo>
                    <a:pt x="1630863" y="392374"/>
                  </a:lnTo>
                  <a:lnTo>
                    <a:pt x="1631949" y="388257"/>
                  </a:lnTo>
                  <a:lnTo>
                    <a:pt x="1638466" y="387227"/>
                  </a:lnTo>
                  <a:lnTo>
                    <a:pt x="1646069" y="387227"/>
                  </a:lnTo>
                  <a:lnTo>
                    <a:pt x="1652586" y="387227"/>
                  </a:lnTo>
                  <a:lnTo>
                    <a:pt x="1658017" y="385169"/>
                  </a:lnTo>
                  <a:lnTo>
                    <a:pt x="1663448" y="380023"/>
                  </a:lnTo>
                  <a:lnTo>
                    <a:pt x="1664534" y="373847"/>
                  </a:lnTo>
                  <a:lnTo>
                    <a:pt x="1663448" y="369730"/>
                  </a:lnTo>
                  <a:lnTo>
                    <a:pt x="1656931" y="369730"/>
                  </a:lnTo>
                  <a:lnTo>
                    <a:pt x="1649328" y="374876"/>
                  </a:lnTo>
                  <a:lnTo>
                    <a:pt x="1646069" y="376935"/>
                  </a:lnTo>
                  <a:lnTo>
                    <a:pt x="1640638" y="376935"/>
                  </a:lnTo>
                  <a:lnTo>
                    <a:pt x="1633035" y="371788"/>
                  </a:lnTo>
                  <a:lnTo>
                    <a:pt x="1626518" y="366642"/>
                  </a:lnTo>
                  <a:lnTo>
                    <a:pt x="1620001" y="362525"/>
                  </a:lnTo>
                  <a:lnTo>
                    <a:pt x="1615656" y="360467"/>
                  </a:lnTo>
                  <a:lnTo>
                    <a:pt x="1613484" y="355320"/>
                  </a:lnTo>
                  <a:lnTo>
                    <a:pt x="1611311" y="351203"/>
                  </a:lnTo>
                  <a:lnTo>
                    <a:pt x="1611311" y="347086"/>
                  </a:lnTo>
                  <a:lnTo>
                    <a:pt x="1613484" y="343999"/>
                  </a:lnTo>
                  <a:lnTo>
                    <a:pt x="1620001" y="338852"/>
                  </a:lnTo>
                  <a:lnTo>
                    <a:pt x="1624345" y="333706"/>
                  </a:lnTo>
                  <a:lnTo>
                    <a:pt x="1626518" y="330618"/>
                  </a:lnTo>
                  <a:lnTo>
                    <a:pt x="1627604" y="328560"/>
                  </a:lnTo>
                  <a:lnTo>
                    <a:pt x="1630863" y="322384"/>
                  </a:lnTo>
                  <a:lnTo>
                    <a:pt x="1636293" y="315180"/>
                  </a:lnTo>
                  <a:lnTo>
                    <a:pt x="1638466" y="312092"/>
                  </a:lnTo>
                  <a:lnTo>
                    <a:pt x="1641725" y="309004"/>
                  </a:lnTo>
                  <a:close/>
                  <a:moveTo>
                    <a:pt x="1864918" y="306387"/>
                  </a:moveTo>
                  <a:lnTo>
                    <a:pt x="1871331" y="306387"/>
                  </a:lnTo>
                  <a:lnTo>
                    <a:pt x="1876675" y="307419"/>
                  </a:lnTo>
                  <a:lnTo>
                    <a:pt x="1883088" y="312578"/>
                  </a:lnTo>
                  <a:lnTo>
                    <a:pt x="1887363" y="318769"/>
                  </a:lnTo>
                  <a:lnTo>
                    <a:pt x="1890570" y="323929"/>
                  </a:lnTo>
                  <a:lnTo>
                    <a:pt x="1891677" y="324641"/>
                  </a:lnTo>
                  <a:lnTo>
                    <a:pt x="1892185" y="324167"/>
                  </a:lnTo>
                  <a:lnTo>
                    <a:pt x="1895247" y="323214"/>
                  </a:lnTo>
                  <a:lnTo>
                    <a:pt x="1896267" y="322262"/>
                  </a:lnTo>
                  <a:lnTo>
                    <a:pt x="1897288" y="323214"/>
                  </a:lnTo>
                  <a:lnTo>
                    <a:pt x="1898308" y="325119"/>
                  </a:lnTo>
                  <a:lnTo>
                    <a:pt x="1898308" y="327024"/>
                  </a:lnTo>
                  <a:lnTo>
                    <a:pt x="1898712" y="327778"/>
                  </a:lnTo>
                  <a:lnTo>
                    <a:pt x="1903396" y="327024"/>
                  </a:lnTo>
                  <a:lnTo>
                    <a:pt x="1906602" y="322897"/>
                  </a:lnTo>
                  <a:lnTo>
                    <a:pt x="1908740" y="319801"/>
                  </a:lnTo>
                  <a:lnTo>
                    <a:pt x="1914084" y="318769"/>
                  </a:lnTo>
                  <a:lnTo>
                    <a:pt x="1918359" y="319801"/>
                  </a:lnTo>
                  <a:lnTo>
                    <a:pt x="1922634" y="319801"/>
                  </a:lnTo>
                  <a:lnTo>
                    <a:pt x="1924772" y="322897"/>
                  </a:lnTo>
                  <a:lnTo>
                    <a:pt x="1925841" y="328056"/>
                  </a:lnTo>
                  <a:lnTo>
                    <a:pt x="1929047" y="336311"/>
                  </a:lnTo>
                  <a:lnTo>
                    <a:pt x="1936529" y="343534"/>
                  </a:lnTo>
                  <a:lnTo>
                    <a:pt x="1941873" y="350758"/>
                  </a:lnTo>
                  <a:lnTo>
                    <a:pt x="1945079" y="357981"/>
                  </a:lnTo>
                  <a:lnTo>
                    <a:pt x="1948286" y="361076"/>
                  </a:lnTo>
                  <a:lnTo>
                    <a:pt x="1957905" y="360045"/>
                  </a:lnTo>
                  <a:lnTo>
                    <a:pt x="1969662" y="359013"/>
                  </a:lnTo>
                  <a:lnTo>
                    <a:pt x="1978212" y="360045"/>
                  </a:lnTo>
                  <a:lnTo>
                    <a:pt x="1982488" y="361076"/>
                  </a:lnTo>
                  <a:lnTo>
                    <a:pt x="1987832" y="359013"/>
                  </a:lnTo>
                  <a:lnTo>
                    <a:pt x="1993176" y="353853"/>
                  </a:lnTo>
                  <a:lnTo>
                    <a:pt x="1998520" y="348694"/>
                  </a:lnTo>
                  <a:lnTo>
                    <a:pt x="2003864" y="344566"/>
                  </a:lnTo>
                  <a:lnTo>
                    <a:pt x="2010277" y="339407"/>
                  </a:lnTo>
                  <a:lnTo>
                    <a:pt x="2015621" y="336311"/>
                  </a:lnTo>
                  <a:lnTo>
                    <a:pt x="2028447" y="335279"/>
                  </a:lnTo>
                  <a:lnTo>
                    <a:pt x="2031653" y="336311"/>
                  </a:lnTo>
                  <a:lnTo>
                    <a:pt x="2039135" y="337343"/>
                  </a:lnTo>
                  <a:lnTo>
                    <a:pt x="2047685" y="340439"/>
                  </a:lnTo>
                  <a:lnTo>
                    <a:pt x="2055167" y="344566"/>
                  </a:lnTo>
                  <a:lnTo>
                    <a:pt x="2060511" y="348694"/>
                  </a:lnTo>
                  <a:lnTo>
                    <a:pt x="2062649" y="353853"/>
                  </a:lnTo>
                  <a:lnTo>
                    <a:pt x="2065855" y="360045"/>
                  </a:lnTo>
                  <a:lnTo>
                    <a:pt x="2065855" y="368300"/>
                  </a:lnTo>
                  <a:lnTo>
                    <a:pt x="2065855" y="375523"/>
                  </a:lnTo>
                  <a:lnTo>
                    <a:pt x="2066924" y="377587"/>
                  </a:lnTo>
                  <a:lnTo>
                    <a:pt x="2065855" y="381714"/>
                  </a:lnTo>
                  <a:lnTo>
                    <a:pt x="2060511" y="384810"/>
                  </a:lnTo>
                  <a:lnTo>
                    <a:pt x="2054098" y="389969"/>
                  </a:lnTo>
                  <a:lnTo>
                    <a:pt x="2049823" y="393065"/>
                  </a:lnTo>
                  <a:lnTo>
                    <a:pt x="2043410" y="394097"/>
                  </a:lnTo>
                  <a:lnTo>
                    <a:pt x="2034860" y="394097"/>
                  </a:lnTo>
                  <a:lnTo>
                    <a:pt x="2028447" y="393065"/>
                  </a:lnTo>
                  <a:lnTo>
                    <a:pt x="2025240" y="392033"/>
                  </a:lnTo>
                  <a:lnTo>
                    <a:pt x="2022034" y="393065"/>
                  </a:lnTo>
                  <a:lnTo>
                    <a:pt x="2017759" y="397192"/>
                  </a:lnTo>
                  <a:lnTo>
                    <a:pt x="2013483" y="399256"/>
                  </a:lnTo>
                  <a:lnTo>
                    <a:pt x="2009208" y="400288"/>
                  </a:lnTo>
                  <a:lnTo>
                    <a:pt x="2002795" y="401320"/>
                  </a:lnTo>
                  <a:lnTo>
                    <a:pt x="1996382" y="401320"/>
                  </a:lnTo>
                  <a:lnTo>
                    <a:pt x="1989969" y="402352"/>
                  </a:lnTo>
                  <a:lnTo>
                    <a:pt x="1984625" y="402352"/>
                  </a:lnTo>
                  <a:lnTo>
                    <a:pt x="1979281" y="403384"/>
                  </a:lnTo>
                  <a:lnTo>
                    <a:pt x="1975006" y="405447"/>
                  </a:lnTo>
                  <a:lnTo>
                    <a:pt x="1969662" y="407511"/>
                  </a:lnTo>
                  <a:lnTo>
                    <a:pt x="1964318" y="408543"/>
                  </a:lnTo>
                  <a:lnTo>
                    <a:pt x="1957905" y="409575"/>
                  </a:lnTo>
                  <a:lnTo>
                    <a:pt x="1949355" y="409575"/>
                  </a:lnTo>
                  <a:lnTo>
                    <a:pt x="1940804" y="408543"/>
                  </a:lnTo>
                  <a:lnTo>
                    <a:pt x="1933322" y="408543"/>
                  </a:lnTo>
                  <a:lnTo>
                    <a:pt x="1929047" y="406479"/>
                  </a:lnTo>
                  <a:lnTo>
                    <a:pt x="1923703" y="402352"/>
                  </a:lnTo>
                  <a:lnTo>
                    <a:pt x="1918359" y="399256"/>
                  </a:lnTo>
                  <a:lnTo>
                    <a:pt x="1913015" y="394097"/>
                  </a:lnTo>
                  <a:lnTo>
                    <a:pt x="1907671" y="387905"/>
                  </a:lnTo>
                  <a:lnTo>
                    <a:pt x="1906602" y="379650"/>
                  </a:lnTo>
                  <a:lnTo>
                    <a:pt x="1907671" y="369331"/>
                  </a:lnTo>
                  <a:lnTo>
                    <a:pt x="1907671" y="362108"/>
                  </a:lnTo>
                  <a:lnTo>
                    <a:pt x="1907671" y="355917"/>
                  </a:lnTo>
                  <a:lnTo>
                    <a:pt x="1905533" y="351790"/>
                  </a:lnTo>
                  <a:lnTo>
                    <a:pt x="1903396" y="346630"/>
                  </a:lnTo>
                  <a:lnTo>
                    <a:pt x="1900189" y="342503"/>
                  </a:lnTo>
                  <a:lnTo>
                    <a:pt x="1895914" y="339407"/>
                  </a:lnTo>
                  <a:lnTo>
                    <a:pt x="1889501" y="339407"/>
                  </a:lnTo>
                  <a:lnTo>
                    <a:pt x="1883088" y="340439"/>
                  </a:lnTo>
                  <a:lnTo>
                    <a:pt x="1880951" y="342503"/>
                  </a:lnTo>
                  <a:lnTo>
                    <a:pt x="1876675" y="342503"/>
                  </a:lnTo>
                  <a:lnTo>
                    <a:pt x="1872400" y="338375"/>
                  </a:lnTo>
                  <a:lnTo>
                    <a:pt x="1863850" y="332184"/>
                  </a:lnTo>
                  <a:lnTo>
                    <a:pt x="1856368" y="329088"/>
                  </a:lnTo>
                  <a:lnTo>
                    <a:pt x="1851024" y="322897"/>
                  </a:lnTo>
                  <a:lnTo>
                    <a:pt x="1852093" y="315674"/>
                  </a:lnTo>
                  <a:lnTo>
                    <a:pt x="1858506" y="309482"/>
                  </a:lnTo>
                  <a:close/>
                  <a:moveTo>
                    <a:pt x="1889077" y="268287"/>
                  </a:moveTo>
                  <a:lnTo>
                    <a:pt x="1890151" y="269257"/>
                  </a:lnTo>
                  <a:lnTo>
                    <a:pt x="1892299" y="271197"/>
                  </a:lnTo>
                  <a:lnTo>
                    <a:pt x="1892299" y="274108"/>
                  </a:lnTo>
                  <a:lnTo>
                    <a:pt x="1888003" y="277988"/>
                  </a:lnTo>
                  <a:lnTo>
                    <a:pt x="1881560" y="281869"/>
                  </a:lnTo>
                  <a:lnTo>
                    <a:pt x="1879412" y="283809"/>
                  </a:lnTo>
                  <a:lnTo>
                    <a:pt x="1876190" y="285750"/>
                  </a:lnTo>
                  <a:lnTo>
                    <a:pt x="1868673" y="285750"/>
                  </a:lnTo>
                  <a:lnTo>
                    <a:pt x="1860082" y="283809"/>
                  </a:lnTo>
                  <a:lnTo>
                    <a:pt x="1855786" y="280899"/>
                  </a:lnTo>
                  <a:lnTo>
                    <a:pt x="1855786" y="277018"/>
                  </a:lnTo>
                  <a:lnTo>
                    <a:pt x="1860082" y="275078"/>
                  </a:lnTo>
                  <a:lnTo>
                    <a:pt x="1870821" y="272167"/>
                  </a:lnTo>
                  <a:lnTo>
                    <a:pt x="1879412" y="270227"/>
                  </a:lnTo>
                  <a:lnTo>
                    <a:pt x="1886929" y="269257"/>
                  </a:lnTo>
                  <a:close/>
                  <a:moveTo>
                    <a:pt x="1624012" y="258762"/>
                  </a:moveTo>
                  <a:lnTo>
                    <a:pt x="1632603" y="258762"/>
                  </a:lnTo>
                  <a:lnTo>
                    <a:pt x="1636898" y="258762"/>
                  </a:lnTo>
                  <a:lnTo>
                    <a:pt x="1640120" y="258762"/>
                  </a:lnTo>
                  <a:lnTo>
                    <a:pt x="1644416" y="258762"/>
                  </a:lnTo>
                  <a:lnTo>
                    <a:pt x="1650859" y="258762"/>
                  </a:lnTo>
                  <a:lnTo>
                    <a:pt x="1656228" y="260826"/>
                  </a:lnTo>
                  <a:lnTo>
                    <a:pt x="1660524" y="264953"/>
                  </a:lnTo>
                  <a:lnTo>
                    <a:pt x="1657302" y="269081"/>
                  </a:lnTo>
                  <a:lnTo>
                    <a:pt x="1653007" y="274240"/>
                  </a:lnTo>
                  <a:lnTo>
                    <a:pt x="1650859" y="276304"/>
                  </a:lnTo>
                  <a:lnTo>
                    <a:pt x="1650859" y="278368"/>
                  </a:lnTo>
                  <a:lnTo>
                    <a:pt x="1648711" y="283527"/>
                  </a:lnTo>
                  <a:lnTo>
                    <a:pt x="1646564" y="290750"/>
                  </a:lnTo>
                  <a:lnTo>
                    <a:pt x="1643342" y="294878"/>
                  </a:lnTo>
                  <a:lnTo>
                    <a:pt x="1637972" y="299005"/>
                  </a:lnTo>
                  <a:lnTo>
                    <a:pt x="1632603" y="300037"/>
                  </a:lnTo>
                  <a:lnTo>
                    <a:pt x="1631529" y="301069"/>
                  </a:lnTo>
                  <a:lnTo>
                    <a:pt x="1628307" y="305197"/>
                  </a:lnTo>
                  <a:lnTo>
                    <a:pt x="1624012" y="306228"/>
                  </a:lnTo>
                  <a:lnTo>
                    <a:pt x="1621864" y="302101"/>
                  </a:lnTo>
                  <a:lnTo>
                    <a:pt x="1619716" y="294878"/>
                  </a:lnTo>
                  <a:lnTo>
                    <a:pt x="1616494" y="289718"/>
                  </a:lnTo>
                  <a:lnTo>
                    <a:pt x="1613272" y="286623"/>
                  </a:lnTo>
                  <a:lnTo>
                    <a:pt x="1611125" y="290750"/>
                  </a:lnTo>
                  <a:lnTo>
                    <a:pt x="1610051" y="297973"/>
                  </a:lnTo>
                  <a:lnTo>
                    <a:pt x="1610051" y="304165"/>
                  </a:lnTo>
                  <a:lnTo>
                    <a:pt x="1607903" y="307260"/>
                  </a:lnTo>
                  <a:lnTo>
                    <a:pt x="1602534" y="307260"/>
                  </a:lnTo>
                  <a:lnTo>
                    <a:pt x="1596090" y="307260"/>
                  </a:lnTo>
                  <a:lnTo>
                    <a:pt x="1591795" y="312420"/>
                  </a:lnTo>
                  <a:lnTo>
                    <a:pt x="1591795" y="317579"/>
                  </a:lnTo>
                  <a:lnTo>
                    <a:pt x="1591795" y="320675"/>
                  </a:lnTo>
                  <a:lnTo>
                    <a:pt x="1590721" y="317579"/>
                  </a:lnTo>
                  <a:lnTo>
                    <a:pt x="1586425" y="314484"/>
                  </a:lnTo>
                  <a:lnTo>
                    <a:pt x="1579981" y="310356"/>
                  </a:lnTo>
                  <a:lnTo>
                    <a:pt x="1574612" y="308292"/>
                  </a:lnTo>
                  <a:lnTo>
                    <a:pt x="1567095" y="308292"/>
                  </a:lnTo>
                  <a:lnTo>
                    <a:pt x="1557430" y="308292"/>
                  </a:lnTo>
                  <a:lnTo>
                    <a:pt x="1550986" y="306228"/>
                  </a:lnTo>
                  <a:lnTo>
                    <a:pt x="1555282" y="300037"/>
                  </a:lnTo>
                  <a:lnTo>
                    <a:pt x="1562799" y="293846"/>
                  </a:lnTo>
                  <a:lnTo>
                    <a:pt x="1569242" y="289718"/>
                  </a:lnTo>
                  <a:lnTo>
                    <a:pt x="1575686" y="284559"/>
                  </a:lnTo>
                  <a:lnTo>
                    <a:pt x="1588573" y="278368"/>
                  </a:lnTo>
                  <a:lnTo>
                    <a:pt x="1600386" y="271144"/>
                  </a:lnTo>
                  <a:lnTo>
                    <a:pt x="1610051" y="265985"/>
                  </a:lnTo>
                  <a:lnTo>
                    <a:pt x="1615420" y="260826"/>
                  </a:lnTo>
                  <a:close/>
                  <a:moveTo>
                    <a:pt x="1703386" y="241300"/>
                  </a:moveTo>
                  <a:lnTo>
                    <a:pt x="1708942" y="243359"/>
                  </a:lnTo>
                  <a:lnTo>
                    <a:pt x="1716721" y="245419"/>
                  </a:lnTo>
                  <a:lnTo>
                    <a:pt x="1722277" y="248508"/>
                  </a:lnTo>
                  <a:lnTo>
                    <a:pt x="1725611" y="253657"/>
                  </a:lnTo>
                  <a:lnTo>
                    <a:pt x="1723388" y="261894"/>
                  </a:lnTo>
                  <a:lnTo>
                    <a:pt x="1722277" y="262924"/>
                  </a:lnTo>
                  <a:lnTo>
                    <a:pt x="1720055" y="268073"/>
                  </a:lnTo>
                  <a:lnTo>
                    <a:pt x="1716721" y="272192"/>
                  </a:lnTo>
                  <a:lnTo>
                    <a:pt x="1712276" y="276311"/>
                  </a:lnTo>
                  <a:lnTo>
                    <a:pt x="1707831" y="278370"/>
                  </a:lnTo>
                  <a:lnTo>
                    <a:pt x="1702275" y="279400"/>
                  </a:lnTo>
                  <a:lnTo>
                    <a:pt x="1696718" y="279400"/>
                  </a:lnTo>
                  <a:lnTo>
                    <a:pt x="1695607" y="279400"/>
                  </a:lnTo>
                  <a:lnTo>
                    <a:pt x="1694496" y="278370"/>
                  </a:lnTo>
                  <a:lnTo>
                    <a:pt x="1693385" y="276311"/>
                  </a:lnTo>
                  <a:lnTo>
                    <a:pt x="1691162" y="274251"/>
                  </a:lnTo>
                  <a:lnTo>
                    <a:pt x="1686717" y="270132"/>
                  </a:lnTo>
                  <a:lnTo>
                    <a:pt x="1683383" y="266013"/>
                  </a:lnTo>
                  <a:lnTo>
                    <a:pt x="1681161" y="261894"/>
                  </a:lnTo>
                  <a:lnTo>
                    <a:pt x="1683383" y="258805"/>
                  </a:lnTo>
                  <a:lnTo>
                    <a:pt x="1687828" y="253657"/>
                  </a:lnTo>
                  <a:lnTo>
                    <a:pt x="1694496" y="248508"/>
                  </a:lnTo>
                  <a:lnTo>
                    <a:pt x="1700052" y="244389"/>
                  </a:lnTo>
                  <a:close/>
                  <a:moveTo>
                    <a:pt x="1839678" y="222250"/>
                  </a:moveTo>
                  <a:lnTo>
                    <a:pt x="1843600" y="222250"/>
                  </a:lnTo>
                  <a:lnTo>
                    <a:pt x="1850463" y="227426"/>
                  </a:lnTo>
                  <a:lnTo>
                    <a:pt x="1856347" y="232603"/>
                  </a:lnTo>
                  <a:lnTo>
                    <a:pt x="1858308" y="236744"/>
                  </a:lnTo>
                  <a:lnTo>
                    <a:pt x="1859288" y="237780"/>
                  </a:lnTo>
                  <a:lnTo>
                    <a:pt x="1862230" y="239850"/>
                  </a:lnTo>
                  <a:lnTo>
                    <a:pt x="1866152" y="245027"/>
                  </a:lnTo>
                  <a:lnTo>
                    <a:pt x="1870074" y="250204"/>
                  </a:lnTo>
                  <a:lnTo>
                    <a:pt x="1870074" y="253310"/>
                  </a:lnTo>
                  <a:lnTo>
                    <a:pt x="1867132" y="256416"/>
                  </a:lnTo>
                  <a:lnTo>
                    <a:pt x="1865171" y="261592"/>
                  </a:lnTo>
                  <a:lnTo>
                    <a:pt x="1862230" y="265734"/>
                  </a:lnTo>
                  <a:lnTo>
                    <a:pt x="1857327" y="267804"/>
                  </a:lnTo>
                  <a:lnTo>
                    <a:pt x="1852424" y="269875"/>
                  </a:lnTo>
                  <a:lnTo>
                    <a:pt x="1847522" y="269875"/>
                  </a:lnTo>
                  <a:lnTo>
                    <a:pt x="1843600" y="266769"/>
                  </a:lnTo>
                  <a:lnTo>
                    <a:pt x="1840658" y="259522"/>
                  </a:lnTo>
                  <a:lnTo>
                    <a:pt x="1839678" y="250204"/>
                  </a:lnTo>
                  <a:lnTo>
                    <a:pt x="1837716" y="242956"/>
                  </a:lnTo>
                  <a:lnTo>
                    <a:pt x="1837716" y="237780"/>
                  </a:lnTo>
                  <a:lnTo>
                    <a:pt x="1836736" y="232603"/>
                  </a:lnTo>
                  <a:lnTo>
                    <a:pt x="1837716" y="227426"/>
                  </a:lnTo>
                  <a:close/>
                  <a:moveTo>
                    <a:pt x="1774221" y="200025"/>
                  </a:moveTo>
                  <a:lnTo>
                    <a:pt x="1779422" y="200025"/>
                  </a:lnTo>
                  <a:lnTo>
                    <a:pt x="1784622" y="200025"/>
                  </a:lnTo>
                  <a:lnTo>
                    <a:pt x="1789823" y="202062"/>
                  </a:lnTo>
                  <a:lnTo>
                    <a:pt x="1793983" y="208175"/>
                  </a:lnTo>
                  <a:lnTo>
                    <a:pt x="1799183" y="213270"/>
                  </a:lnTo>
                  <a:lnTo>
                    <a:pt x="1805424" y="215307"/>
                  </a:lnTo>
                  <a:lnTo>
                    <a:pt x="1809584" y="216326"/>
                  </a:lnTo>
                  <a:lnTo>
                    <a:pt x="1811664" y="219383"/>
                  </a:lnTo>
                  <a:lnTo>
                    <a:pt x="1814785" y="224477"/>
                  </a:lnTo>
                  <a:lnTo>
                    <a:pt x="1818945" y="229571"/>
                  </a:lnTo>
                  <a:lnTo>
                    <a:pt x="1823105" y="232628"/>
                  </a:lnTo>
                  <a:lnTo>
                    <a:pt x="1825186" y="234665"/>
                  </a:lnTo>
                  <a:lnTo>
                    <a:pt x="1826226" y="237722"/>
                  </a:lnTo>
                  <a:lnTo>
                    <a:pt x="1829346" y="244854"/>
                  </a:lnTo>
                  <a:lnTo>
                    <a:pt x="1830386" y="254023"/>
                  </a:lnTo>
                  <a:lnTo>
                    <a:pt x="1829346" y="261155"/>
                  </a:lnTo>
                  <a:lnTo>
                    <a:pt x="1826226" y="265230"/>
                  </a:lnTo>
                  <a:lnTo>
                    <a:pt x="1824145" y="267268"/>
                  </a:lnTo>
                  <a:lnTo>
                    <a:pt x="1819985" y="268287"/>
                  </a:lnTo>
                  <a:lnTo>
                    <a:pt x="1815825" y="266249"/>
                  </a:lnTo>
                  <a:lnTo>
                    <a:pt x="1810624" y="263193"/>
                  </a:lnTo>
                  <a:lnTo>
                    <a:pt x="1806464" y="261155"/>
                  </a:lnTo>
                  <a:lnTo>
                    <a:pt x="1803344" y="259117"/>
                  </a:lnTo>
                  <a:lnTo>
                    <a:pt x="1800223" y="254023"/>
                  </a:lnTo>
                  <a:lnTo>
                    <a:pt x="1795023" y="250967"/>
                  </a:lnTo>
                  <a:lnTo>
                    <a:pt x="1787742" y="249948"/>
                  </a:lnTo>
                  <a:lnTo>
                    <a:pt x="1782542" y="247910"/>
                  </a:lnTo>
                  <a:lnTo>
                    <a:pt x="1778382" y="242816"/>
                  </a:lnTo>
                  <a:lnTo>
                    <a:pt x="1779422" y="237722"/>
                  </a:lnTo>
                  <a:lnTo>
                    <a:pt x="1783582" y="237722"/>
                  </a:lnTo>
                  <a:lnTo>
                    <a:pt x="1785662" y="236703"/>
                  </a:lnTo>
                  <a:lnTo>
                    <a:pt x="1783582" y="230590"/>
                  </a:lnTo>
                  <a:lnTo>
                    <a:pt x="1777342" y="220402"/>
                  </a:lnTo>
                  <a:lnTo>
                    <a:pt x="1772141" y="211232"/>
                  </a:lnTo>
                  <a:lnTo>
                    <a:pt x="1770061" y="204100"/>
                  </a:lnTo>
                  <a:close/>
                  <a:moveTo>
                    <a:pt x="3053347" y="145819"/>
                  </a:moveTo>
                  <a:lnTo>
                    <a:pt x="3059596" y="146950"/>
                  </a:lnTo>
                  <a:lnTo>
                    <a:pt x="3063850" y="149037"/>
                  </a:lnTo>
                  <a:lnTo>
                    <a:pt x="3066219" y="152505"/>
                  </a:lnTo>
                  <a:lnTo>
                    <a:pt x="3067402" y="157178"/>
                  </a:lnTo>
                  <a:lnTo>
                    <a:pt x="3066588" y="168683"/>
                  </a:lnTo>
                  <a:lnTo>
                    <a:pt x="3062379" y="181500"/>
                  </a:lnTo>
                  <a:lnTo>
                    <a:pt x="3060380" y="194210"/>
                  </a:lnTo>
                  <a:lnTo>
                    <a:pt x="3064146" y="203201"/>
                  </a:lnTo>
                  <a:lnTo>
                    <a:pt x="3068828" y="212864"/>
                  </a:lnTo>
                  <a:lnTo>
                    <a:pt x="3069685" y="222138"/>
                  </a:lnTo>
                  <a:lnTo>
                    <a:pt x="3067955" y="232972"/>
                  </a:lnTo>
                  <a:lnTo>
                    <a:pt x="3069458" y="244795"/>
                  </a:lnTo>
                  <a:lnTo>
                    <a:pt x="3073544" y="260937"/>
                  </a:lnTo>
                  <a:lnTo>
                    <a:pt x="3078867" y="279025"/>
                  </a:lnTo>
                  <a:lnTo>
                    <a:pt x="3087426" y="292226"/>
                  </a:lnTo>
                  <a:lnTo>
                    <a:pt x="3100516" y="293885"/>
                  </a:lnTo>
                  <a:lnTo>
                    <a:pt x="3106819" y="292289"/>
                  </a:lnTo>
                  <a:lnTo>
                    <a:pt x="3111559" y="293349"/>
                  </a:lnTo>
                  <a:lnTo>
                    <a:pt x="3115113" y="295614"/>
                  </a:lnTo>
                  <a:lnTo>
                    <a:pt x="3117374" y="298657"/>
                  </a:lnTo>
                  <a:lnTo>
                    <a:pt x="3119635" y="301701"/>
                  </a:lnTo>
                  <a:lnTo>
                    <a:pt x="3123297" y="304390"/>
                  </a:lnTo>
                  <a:lnTo>
                    <a:pt x="3127229" y="305203"/>
                  </a:lnTo>
                  <a:lnTo>
                    <a:pt x="3134556" y="304704"/>
                  </a:lnTo>
                  <a:lnTo>
                    <a:pt x="3142368" y="303179"/>
                  </a:lnTo>
                  <a:lnTo>
                    <a:pt x="3148994" y="302857"/>
                  </a:lnTo>
                  <a:lnTo>
                    <a:pt x="3154434" y="303740"/>
                  </a:lnTo>
                  <a:lnTo>
                    <a:pt x="3157881" y="305580"/>
                  </a:lnTo>
                  <a:lnTo>
                    <a:pt x="3158741" y="308978"/>
                  </a:lnTo>
                  <a:lnTo>
                    <a:pt x="3156907" y="313510"/>
                  </a:lnTo>
                  <a:lnTo>
                    <a:pt x="3152379" y="319176"/>
                  </a:lnTo>
                  <a:lnTo>
                    <a:pt x="3145157" y="325976"/>
                  </a:lnTo>
                  <a:lnTo>
                    <a:pt x="3138636" y="332599"/>
                  </a:lnTo>
                  <a:lnTo>
                    <a:pt x="3139225" y="337873"/>
                  </a:lnTo>
                  <a:lnTo>
                    <a:pt x="3144718" y="341907"/>
                  </a:lnTo>
                  <a:lnTo>
                    <a:pt x="3153012" y="345231"/>
                  </a:lnTo>
                  <a:lnTo>
                    <a:pt x="3164701" y="347244"/>
                  </a:lnTo>
                  <a:lnTo>
                    <a:pt x="3176497" y="349682"/>
                  </a:lnTo>
                  <a:lnTo>
                    <a:pt x="3187378" y="351448"/>
                  </a:lnTo>
                  <a:lnTo>
                    <a:pt x="3196158" y="353746"/>
                  </a:lnTo>
                  <a:lnTo>
                    <a:pt x="3201921" y="355903"/>
                  </a:lnTo>
                  <a:lnTo>
                    <a:pt x="3204882" y="358769"/>
                  </a:lnTo>
                  <a:lnTo>
                    <a:pt x="3204934" y="361920"/>
                  </a:lnTo>
                  <a:lnTo>
                    <a:pt x="3204286" y="365248"/>
                  </a:lnTo>
                  <a:lnTo>
                    <a:pt x="3204446" y="368823"/>
                  </a:lnTo>
                  <a:lnTo>
                    <a:pt x="3205091" y="371372"/>
                  </a:lnTo>
                  <a:lnTo>
                    <a:pt x="3209561" y="374308"/>
                  </a:lnTo>
                  <a:lnTo>
                    <a:pt x="3216024" y="376288"/>
                  </a:lnTo>
                  <a:lnTo>
                    <a:pt x="3222595" y="378693"/>
                  </a:lnTo>
                  <a:lnTo>
                    <a:pt x="3225556" y="381559"/>
                  </a:lnTo>
                  <a:lnTo>
                    <a:pt x="3225824" y="385560"/>
                  </a:lnTo>
                  <a:lnTo>
                    <a:pt x="3224690" y="389914"/>
                  </a:lnTo>
                  <a:lnTo>
                    <a:pt x="3222048" y="394199"/>
                  </a:lnTo>
                  <a:lnTo>
                    <a:pt x="3221023" y="398979"/>
                  </a:lnTo>
                  <a:lnTo>
                    <a:pt x="3221290" y="402979"/>
                  </a:lnTo>
                  <a:lnTo>
                    <a:pt x="3223658" y="406447"/>
                  </a:lnTo>
                  <a:lnTo>
                    <a:pt x="3226835" y="410163"/>
                  </a:lnTo>
                  <a:lnTo>
                    <a:pt x="3228125" y="415260"/>
                  </a:lnTo>
                  <a:lnTo>
                    <a:pt x="3227207" y="420465"/>
                  </a:lnTo>
                  <a:lnTo>
                    <a:pt x="3225102" y="426873"/>
                  </a:lnTo>
                  <a:lnTo>
                    <a:pt x="3220574" y="432539"/>
                  </a:lnTo>
                  <a:lnTo>
                    <a:pt x="3216154" y="438630"/>
                  </a:lnTo>
                  <a:lnTo>
                    <a:pt x="3209903" y="443377"/>
                  </a:lnTo>
                  <a:lnTo>
                    <a:pt x="3201928" y="447203"/>
                  </a:lnTo>
                  <a:lnTo>
                    <a:pt x="3196647" y="449896"/>
                  </a:lnTo>
                  <a:lnTo>
                    <a:pt x="3194168" y="451879"/>
                  </a:lnTo>
                  <a:lnTo>
                    <a:pt x="3195406" y="453826"/>
                  </a:lnTo>
                  <a:lnTo>
                    <a:pt x="3198961" y="456090"/>
                  </a:lnTo>
                  <a:lnTo>
                    <a:pt x="3204723" y="458247"/>
                  </a:lnTo>
                  <a:lnTo>
                    <a:pt x="3212102" y="460900"/>
                  </a:lnTo>
                  <a:lnTo>
                    <a:pt x="3221312" y="464896"/>
                  </a:lnTo>
                  <a:lnTo>
                    <a:pt x="3230737" y="469742"/>
                  </a:lnTo>
                  <a:lnTo>
                    <a:pt x="3237145" y="474448"/>
                  </a:lnTo>
                  <a:lnTo>
                    <a:pt x="3237090" y="477174"/>
                  </a:lnTo>
                  <a:lnTo>
                    <a:pt x="3232294" y="478840"/>
                  </a:lnTo>
                  <a:lnTo>
                    <a:pt x="3225668" y="479161"/>
                  </a:lnTo>
                  <a:lnTo>
                    <a:pt x="3216240" y="480192"/>
                  </a:lnTo>
                  <a:lnTo>
                    <a:pt x="3208321" y="481292"/>
                  </a:lnTo>
                  <a:lnTo>
                    <a:pt x="3202017" y="482888"/>
                  </a:lnTo>
                  <a:lnTo>
                    <a:pt x="3198353" y="486076"/>
                  </a:lnTo>
                  <a:lnTo>
                    <a:pt x="3198405" y="489226"/>
                  </a:lnTo>
                  <a:lnTo>
                    <a:pt x="3198835" y="490925"/>
                  </a:lnTo>
                  <a:lnTo>
                    <a:pt x="3199643" y="491173"/>
                  </a:lnTo>
                  <a:lnTo>
                    <a:pt x="3202444" y="490464"/>
                  </a:lnTo>
                  <a:lnTo>
                    <a:pt x="3206647" y="489400"/>
                  </a:lnTo>
                  <a:lnTo>
                    <a:pt x="3213058" y="488229"/>
                  </a:lnTo>
                  <a:lnTo>
                    <a:pt x="3223294" y="487446"/>
                  </a:lnTo>
                  <a:lnTo>
                    <a:pt x="3235253" y="487583"/>
                  </a:lnTo>
                  <a:lnTo>
                    <a:pt x="3248828" y="488215"/>
                  </a:lnTo>
                  <a:lnTo>
                    <a:pt x="3260194" y="488954"/>
                  </a:lnTo>
                  <a:lnTo>
                    <a:pt x="3268866" y="490826"/>
                  </a:lnTo>
                  <a:lnTo>
                    <a:pt x="3277538" y="492699"/>
                  </a:lnTo>
                  <a:lnTo>
                    <a:pt x="3284324" y="495953"/>
                  </a:lnTo>
                  <a:lnTo>
                    <a:pt x="3288901" y="499315"/>
                  </a:lnTo>
                  <a:lnTo>
                    <a:pt x="3293100" y="504128"/>
                  </a:lnTo>
                  <a:lnTo>
                    <a:pt x="3295414" y="510322"/>
                  </a:lnTo>
                  <a:lnTo>
                    <a:pt x="3295626" y="517048"/>
                  </a:lnTo>
                  <a:lnTo>
                    <a:pt x="3291906" y="522962"/>
                  </a:lnTo>
                  <a:lnTo>
                    <a:pt x="3285061" y="528310"/>
                  </a:lnTo>
                  <a:lnTo>
                    <a:pt x="3277895" y="532384"/>
                  </a:lnTo>
                  <a:lnTo>
                    <a:pt x="3269705" y="535361"/>
                  </a:lnTo>
                  <a:lnTo>
                    <a:pt x="3261786" y="536462"/>
                  </a:lnTo>
                  <a:lnTo>
                    <a:pt x="3255537" y="535331"/>
                  </a:lnTo>
                  <a:lnTo>
                    <a:pt x="3251068" y="532395"/>
                  </a:lnTo>
                  <a:lnTo>
                    <a:pt x="3245305" y="530238"/>
                  </a:lnTo>
                  <a:lnTo>
                    <a:pt x="3233776" y="531800"/>
                  </a:lnTo>
                  <a:lnTo>
                    <a:pt x="3219983" y="536195"/>
                  </a:lnTo>
                  <a:lnTo>
                    <a:pt x="3205597" y="541193"/>
                  </a:lnTo>
                  <a:lnTo>
                    <a:pt x="3192934" y="547110"/>
                  </a:lnTo>
                  <a:lnTo>
                    <a:pt x="3183774" y="552141"/>
                  </a:lnTo>
                  <a:lnTo>
                    <a:pt x="3182103" y="554372"/>
                  </a:lnTo>
                  <a:lnTo>
                    <a:pt x="3188514" y="553201"/>
                  </a:lnTo>
                  <a:lnTo>
                    <a:pt x="3204353" y="551000"/>
                  </a:lnTo>
                  <a:lnTo>
                    <a:pt x="3211732" y="553652"/>
                  </a:lnTo>
                  <a:lnTo>
                    <a:pt x="3213830" y="558996"/>
                  </a:lnTo>
                  <a:lnTo>
                    <a:pt x="3212641" y="566077"/>
                  </a:lnTo>
                  <a:lnTo>
                    <a:pt x="3209029" y="572416"/>
                  </a:lnTo>
                  <a:lnTo>
                    <a:pt x="3206494" y="577125"/>
                  </a:lnTo>
                  <a:lnTo>
                    <a:pt x="3206817" y="578399"/>
                  </a:lnTo>
                  <a:lnTo>
                    <a:pt x="3211667" y="574008"/>
                  </a:lnTo>
                  <a:lnTo>
                    <a:pt x="3221799" y="566923"/>
                  </a:lnTo>
                  <a:lnTo>
                    <a:pt x="3235161" y="560829"/>
                  </a:lnTo>
                  <a:lnTo>
                    <a:pt x="3249332" y="554982"/>
                  </a:lnTo>
                  <a:lnTo>
                    <a:pt x="3264741" y="551081"/>
                  </a:lnTo>
                  <a:lnTo>
                    <a:pt x="3277671" y="549164"/>
                  </a:lnTo>
                  <a:lnTo>
                    <a:pt x="3289630" y="549301"/>
                  </a:lnTo>
                  <a:lnTo>
                    <a:pt x="3299110" y="551421"/>
                  </a:lnTo>
                  <a:lnTo>
                    <a:pt x="3302716" y="556836"/>
                  </a:lnTo>
                  <a:lnTo>
                    <a:pt x="3302283" y="561014"/>
                  </a:lnTo>
                  <a:lnTo>
                    <a:pt x="3299156" y="566326"/>
                  </a:lnTo>
                  <a:lnTo>
                    <a:pt x="3294951" y="573266"/>
                  </a:lnTo>
                  <a:lnTo>
                    <a:pt x="3288859" y="581588"/>
                  </a:lnTo>
                  <a:lnTo>
                    <a:pt x="3280666" y="590441"/>
                  </a:lnTo>
                  <a:lnTo>
                    <a:pt x="3271073" y="599650"/>
                  </a:lnTo>
                  <a:lnTo>
                    <a:pt x="3260886" y="609460"/>
                  </a:lnTo>
                  <a:lnTo>
                    <a:pt x="3249999" y="619448"/>
                  </a:lnTo>
                  <a:lnTo>
                    <a:pt x="3239113" y="629435"/>
                  </a:lnTo>
                  <a:lnTo>
                    <a:pt x="3228118" y="638998"/>
                  </a:lnTo>
                  <a:lnTo>
                    <a:pt x="3217717" y="647959"/>
                  </a:lnTo>
                  <a:lnTo>
                    <a:pt x="3208016" y="656742"/>
                  </a:lnTo>
                  <a:lnTo>
                    <a:pt x="3198585" y="663650"/>
                  </a:lnTo>
                  <a:lnTo>
                    <a:pt x="3189855" y="670379"/>
                  </a:lnTo>
                  <a:lnTo>
                    <a:pt x="3183496" y="674701"/>
                  </a:lnTo>
                  <a:lnTo>
                    <a:pt x="3179023" y="677641"/>
                  </a:lnTo>
                  <a:lnTo>
                    <a:pt x="3171641" y="680866"/>
                  </a:lnTo>
                  <a:lnTo>
                    <a:pt x="3166468" y="683983"/>
                  </a:lnTo>
                  <a:lnTo>
                    <a:pt x="3163396" y="686569"/>
                  </a:lnTo>
                  <a:lnTo>
                    <a:pt x="3159246" y="690783"/>
                  </a:lnTo>
                  <a:lnTo>
                    <a:pt x="3156226" y="696519"/>
                  </a:lnTo>
                  <a:lnTo>
                    <a:pt x="3152344" y="704734"/>
                  </a:lnTo>
                  <a:lnTo>
                    <a:pt x="3148298" y="715250"/>
                  </a:lnTo>
                  <a:lnTo>
                    <a:pt x="3143119" y="730121"/>
                  </a:lnTo>
                  <a:lnTo>
                    <a:pt x="3135946" y="745948"/>
                  </a:lnTo>
                  <a:lnTo>
                    <a:pt x="3126727" y="759581"/>
                  </a:lnTo>
                  <a:lnTo>
                    <a:pt x="3115678" y="771870"/>
                  </a:lnTo>
                  <a:lnTo>
                    <a:pt x="3104791" y="781858"/>
                  </a:lnTo>
                  <a:lnTo>
                    <a:pt x="3094282" y="790394"/>
                  </a:lnTo>
                  <a:lnTo>
                    <a:pt x="3083235" y="796806"/>
                  </a:lnTo>
                  <a:lnTo>
                    <a:pt x="3073160" y="801164"/>
                  </a:lnTo>
                  <a:lnTo>
                    <a:pt x="3066263" y="803362"/>
                  </a:lnTo>
                  <a:lnTo>
                    <a:pt x="3058989" y="807011"/>
                  </a:lnTo>
                  <a:lnTo>
                    <a:pt x="3049343" y="813069"/>
                  </a:lnTo>
                  <a:lnTo>
                    <a:pt x="3038942" y="822030"/>
                  </a:lnTo>
                  <a:lnTo>
                    <a:pt x="3028863" y="832265"/>
                  </a:lnTo>
                  <a:lnTo>
                    <a:pt x="3019807" y="843597"/>
                  </a:lnTo>
                  <a:lnTo>
                    <a:pt x="3013552" y="854220"/>
                  </a:lnTo>
                  <a:lnTo>
                    <a:pt x="3010315" y="864983"/>
                  </a:lnTo>
                  <a:lnTo>
                    <a:pt x="3011872" y="874081"/>
                  </a:lnTo>
                  <a:lnTo>
                    <a:pt x="3013537" y="883603"/>
                  </a:lnTo>
                  <a:lnTo>
                    <a:pt x="3011808" y="894437"/>
                  </a:lnTo>
                  <a:lnTo>
                    <a:pt x="3007977" y="905802"/>
                  </a:lnTo>
                  <a:lnTo>
                    <a:pt x="3003446" y="917345"/>
                  </a:lnTo>
                  <a:lnTo>
                    <a:pt x="2996599" y="928570"/>
                  </a:lnTo>
                  <a:lnTo>
                    <a:pt x="2990022" y="937919"/>
                  </a:lnTo>
                  <a:lnTo>
                    <a:pt x="2985117" y="945036"/>
                  </a:lnTo>
                  <a:lnTo>
                    <a:pt x="2981074" y="949675"/>
                  </a:lnTo>
                  <a:lnTo>
                    <a:pt x="2980693" y="957004"/>
                  </a:lnTo>
                  <a:lnTo>
                    <a:pt x="2986075" y="966489"/>
                  </a:lnTo>
                  <a:lnTo>
                    <a:pt x="2990164" y="976754"/>
                  </a:lnTo>
                  <a:lnTo>
                    <a:pt x="2985203" y="986598"/>
                  </a:lnTo>
                  <a:lnTo>
                    <a:pt x="2980352" y="990989"/>
                  </a:lnTo>
                  <a:lnTo>
                    <a:pt x="2977603" y="994849"/>
                  </a:lnTo>
                  <a:lnTo>
                    <a:pt x="2974961" y="999134"/>
                  </a:lnTo>
                  <a:lnTo>
                    <a:pt x="2972535" y="1004268"/>
                  </a:lnTo>
                  <a:lnTo>
                    <a:pt x="2972639" y="1010569"/>
                  </a:lnTo>
                  <a:lnTo>
                    <a:pt x="2972366" y="1018323"/>
                  </a:lnTo>
                  <a:lnTo>
                    <a:pt x="2971930" y="1028377"/>
                  </a:lnTo>
                  <a:lnTo>
                    <a:pt x="2972947" y="1041227"/>
                  </a:lnTo>
                  <a:lnTo>
                    <a:pt x="2971758" y="1048308"/>
                  </a:lnTo>
                  <a:lnTo>
                    <a:pt x="2970139" y="1053690"/>
                  </a:lnTo>
                  <a:lnTo>
                    <a:pt x="2966311" y="1059178"/>
                  </a:lnTo>
                  <a:lnTo>
                    <a:pt x="2961246" y="1062721"/>
                  </a:lnTo>
                  <a:lnTo>
                    <a:pt x="2954779" y="1066617"/>
                  </a:lnTo>
                  <a:lnTo>
                    <a:pt x="2948691" y="1069062"/>
                  </a:lnTo>
                  <a:lnTo>
                    <a:pt x="2941794" y="1071260"/>
                  </a:lnTo>
                  <a:lnTo>
                    <a:pt x="2933983" y="1072786"/>
                  </a:lnTo>
                  <a:lnTo>
                    <a:pt x="2926764" y="1073709"/>
                  </a:lnTo>
                  <a:lnTo>
                    <a:pt x="2920245" y="1074455"/>
                  </a:lnTo>
                  <a:lnTo>
                    <a:pt x="2913404" y="1073927"/>
                  </a:lnTo>
                  <a:lnTo>
                    <a:pt x="2907263" y="1073221"/>
                  </a:lnTo>
                  <a:lnTo>
                    <a:pt x="2901930" y="1072763"/>
                  </a:lnTo>
                  <a:lnTo>
                    <a:pt x="2897783" y="1071101"/>
                  </a:lnTo>
                  <a:lnTo>
                    <a:pt x="2895037" y="1069084"/>
                  </a:lnTo>
                  <a:lnTo>
                    <a:pt x="2893098" y="1067315"/>
                  </a:lnTo>
                  <a:lnTo>
                    <a:pt x="2891107" y="1062395"/>
                  </a:lnTo>
                  <a:lnTo>
                    <a:pt x="2887824" y="1058254"/>
                  </a:lnTo>
                  <a:lnTo>
                    <a:pt x="2882438" y="1054645"/>
                  </a:lnTo>
                  <a:lnTo>
                    <a:pt x="2876460" y="1051639"/>
                  </a:lnTo>
                  <a:lnTo>
                    <a:pt x="2869297" y="1049836"/>
                  </a:lnTo>
                  <a:lnTo>
                    <a:pt x="2860247" y="1049415"/>
                  </a:lnTo>
                  <a:lnTo>
                    <a:pt x="2851519" y="1050268"/>
                  </a:lnTo>
                  <a:lnTo>
                    <a:pt x="2841121" y="1053352"/>
                  </a:lnTo>
                  <a:lnTo>
                    <a:pt x="2829592" y="1054915"/>
                  </a:lnTo>
                  <a:lnTo>
                    <a:pt x="2817903" y="1052901"/>
                  </a:lnTo>
                  <a:lnTo>
                    <a:pt x="2803953" y="1047845"/>
                  </a:lnTo>
                  <a:lnTo>
                    <a:pt x="2792590" y="1041229"/>
                  </a:lnTo>
                  <a:lnTo>
                    <a:pt x="2780797" y="1032915"/>
                  </a:lnTo>
                  <a:lnTo>
                    <a:pt x="2769704" y="1024423"/>
                  </a:lnTo>
                  <a:lnTo>
                    <a:pt x="2760335" y="1016850"/>
                  </a:lnTo>
                  <a:lnTo>
                    <a:pt x="2752796" y="1010623"/>
                  </a:lnTo>
                  <a:lnTo>
                    <a:pt x="2745473" y="1005245"/>
                  </a:lnTo>
                  <a:lnTo>
                    <a:pt x="2737126" y="998770"/>
                  </a:lnTo>
                  <a:lnTo>
                    <a:pt x="2728187" y="992897"/>
                  </a:lnTo>
                  <a:lnTo>
                    <a:pt x="2719840" y="986422"/>
                  </a:lnTo>
                  <a:lnTo>
                    <a:pt x="2712679" y="978742"/>
                  </a:lnTo>
                  <a:lnTo>
                    <a:pt x="2707027" y="971133"/>
                  </a:lnTo>
                  <a:lnTo>
                    <a:pt x="2702560" y="962320"/>
                  </a:lnTo>
                  <a:lnTo>
                    <a:pt x="2702296" y="952443"/>
                  </a:lnTo>
                  <a:lnTo>
                    <a:pt x="2701331" y="942744"/>
                  </a:lnTo>
                  <a:lnTo>
                    <a:pt x="2698265" y="933576"/>
                  </a:lnTo>
                  <a:lnTo>
                    <a:pt x="2691805" y="925719"/>
                  </a:lnTo>
                  <a:lnTo>
                    <a:pt x="2685560" y="918712"/>
                  </a:lnTo>
                  <a:lnTo>
                    <a:pt x="2677914" y="912060"/>
                  </a:lnTo>
                  <a:lnTo>
                    <a:pt x="2671183" y="906080"/>
                  </a:lnTo>
                  <a:lnTo>
                    <a:pt x="2664560" y="900524"/>
                  </a:lnTo>
                  <a:lnTo>
                    <a:pt x="2660953" y="895109"/>
                  </a:lnTo>
                  <a:lnTo>
                    <a:pt x="2658425" y="888066"/>
                  </a:lnTo>
                  <a:lnTo>
                    <a:pt x="2657245" y="877516"/>
                  </a:lnTo>
                  <a:lnTo>
                    <a:pt x="2657629" y="864311"/>
                  </a:lnTo>
                  <a:lnTo>
                    <a:pt x="2657798" y="850257"/>
                  </a:lnTo>
                  <a:lnTo>
                    <a:pt x="2659475" y="836273"/>
                  </a:lnTo>
                  <a:lnTo>
                    <a:pt x="2661960" y="822536"/>
                  </a:lnTo>
                  <a:lnTo>
                    <a:pt x="2665198" y="811773"/>
                  </a:lnTo>
                  <a:lnTo>
                    <a:pt x="2668380" y="803735"/>
                  </a:lnTo>
                  <a:lnTo>
                    <a:pt x="2672908" y="798069"/>
                  </a:lnTo>
                  <a:lnTo>
                    <a:pt x="2679160" y="793323"/>
                  </a:lnTo>
                  <a:lnTo>
                    <a:pt x="2685518" y="789001"/>
                  </a:lnTo>
                  <a:lnTo>
                    <a:pt x="2692578" y="784502"/>
                  </a:lnTo>
                  <a:lnTo>
                    <a:pt x="2699959" y="781278"/>
                  </a:lnTo>
                  <a:lnTo>
                    <a:pt x="2706426" y="777381"/>
                  </a:lnTo>
                  <a:lnTo>
                    <a:pt x="2711599" y="774264"/>
                  </a:lnTo>
                  <a:lnTo>
                    <a:pt x="2715156" y="770651"/>
                  </a:lnTo>
                  <a:lnTo>
                    <a:pt x="2719094" y="759711"/>
                  </a:lnTo>
                  <a:lnTo>
                    <a:pt x="2721364" y="745124"/>
                  </a:lnTo>
                  <a:lnTo>
                    <a:pt x="2720455" y="732699"/>
                  </a:lnTo>
                  <a:lnTo>
                    <a:pt x="2713239" y="727745"/>
                  </a:lnTo>
                  <a:lnTo>
                    <a:pt x="2708228" y="728562"/>
                  </a:lnTo>
                  <a:lnTo>
                    <a:pt x="2704727" y="729448"/>
                  </a:lnTo>
                  <a:lnTo>
                    <a:pt x="2700847" y="731786"/>
                  </a:lnTo>
                  <a:lnTo>
                    <a:pt x="2699176" y="734017"/>
                  </a:lnTo>
                  <a:lnTo>
                    <a:pt x="2696319" y="737452"/>
                  </a:lnTo>
                  <a:lnTo>
                    <a:pt x="2692869" y="741489"/>
                  </a:lnTo>
                  <a:lnTo>
                    <a:pt x="2690928" y="745597"/>
                  </a:lnTo>
                  <a:lnTo>
                    <a:pt x="2686992" y="750661"/>
                  </a:lnTo>
                  <a:lnTo>
                    <a:pt x="2682034" y="754628"/>
                  </a:lnTo>
                  <a:lnTo>
                    <a:pt x="2673630" y="756755"/>
                  </a:lnTo>
                  <a:lnTo>
                    <a:pt x="2665388" y="756581"/>
                  </a:lnTo>
                  <a:lnTo>
                    <a:pt x="2656015" y="754886"/>
                  </a:lnTo>
                  <a:lnTo>
                    <a:pt x="2647128" y="752164"/>
                  </a:lnTo>
                  <a:lnTo>
                    <a:pt x="2639427" y="748237"/>
                  </a:lnTo>
                  <a:lnTo>
                    <a:pt x="2633019" y="743531"/>
                  </a:lnTo>
                  <a:lnTo>
                    <a:pt x="2629412" y="738116"/>
                  </a:lnTo>
                  <a:lnTo>
                    <a:pt x="2630223" y="732487"/>
                  </a:lnTo>
                  <a:lnTo>
                    <a:pt x="2632865" y="728203"/>
                  </a:lnTo>
                  <a:lnTo>
                    <a:pt x="2639439" y="724731"/>
                  </a:lnTo>
                  <a:lnTo>
                    <a:pt x="2646120" y="721683"/>
                  </a:lnTo>
                  <a:lnTo>
                    <a:pt x="2652424" y="720088"/>
                  </a:lnTo>
                  <a:lnTo>
                    <a:pt x="2658942" y="719342"/>
                  </a:lnTo>
                  <a:lnTo>
                    <a:pt x="2663252" y="718703"/>
                  </a:lnTo>
                  <a:lnTo>
                    <a:pt x="2664653" y="718348"/>
                  </a:lnTo>
                  <a:lnTo>
                    <a:pt x="2662930" y="717428"/>
                  </a:lnTo>
                  <a:lnTo>
                    <a:pt x="2658297" y="716793"/>
                  </a:lnTo>
                  <a:lnTo>
                    <a:pt x="2653342" y="714883"/>
                  </a:lnTo>
                  <a:lnTo>
                    <a:pt x="2648280" y="712549"/>
                  </a:lnTo>
                  <a:lnTo>
                    <a:pt x="2644025" y="710462"/>
                  </a:lnTo>
                  <a:lnTo>
                    <a:pt x="2643272" y="707489"/>
                  </a:lnTo>
                  <a:lnTo>
                    <a:pt x="2646937" y="704301"/>
                  </a:lnTo>
                  <a:lnTo>
                    <a:pt x="2656528" y="700969"/>
                  </a:lnTo>
                  <a:lnTo>
                    <a:pt x="2666226" y="698062"/>
                  </a:lnTo>
                  <a:lnTo>
                    <a:pt x="2671291" y="694520"/>
                  </a:lnTo>
                  <a:lnTo>
                    <a:pt x="2672154" y="692042"/>
                  </a:lnTo>
                  <a:lnTo>
                    <a:pt x="2670001" y="689423"/>
                  </a:lnTo>
                  <a:lnTo>
                    <a:pt x="2664238" y="687266"/>
                  </a:lnTo>
                  <a:lnTo>
                    <a:pt x="2657775" y="685286"/>
                  </a:lnTo>
                  <a:lnTo>
                    <a:pt x="2650125" y="684510"/>
                  </a:lnTo>
                  <a:lnTo>
                    <a:pt x="2643177" y="683557"/>
                  </a:lnTo>
                  <a:lnTo>
                    <a:pt x="2637629" y="682250"/>
                  </a:lnTo>
                  <a:lnTo>
                    <a:pt x="2634075" y="679985"/>
                  </a:lnTo>
                  <a:lnTo>
                    <a:pt x="2632999" y="675738"/>
                  </a:lnTo>
                  <a:lnTo>
                    <a:pt x="2632302" y="670038"/>
                  </a:lnTo>
                  <a:lnTo>
                    <a:pt x="2632468" y="661860"/>
                  </a:lnTo>
                  <a:lnTo>
                    <a:pt x="2634197" y="651027"/>
                  </a:lnTo>
                  <a:lnTo>
                    <a:pt x="2635174" y="637220"/>
                  </a:lnTo>
                  <a:lnTo>
                    <a:pt x="2636098" y="620262"/>
                  </a:lnTo>
                  <a:lnTo>
                    <a:pt x="2634922" y="603836"/>
                  </a:lnTo>
                  <a:lnTo>
                    <a:pt x="2630888" y="590846"/>
                  </a:lnTo>
                  <a:lnTo>
                    <a:pt x="2626099" y="580758"/>
                  </a:lnTo>
                  <a:lnTo>
                    <a:pt x="2620124" y="571875"/>
                  </a:lnTo>
                  <a:lnTo>
                    <a:pt x="2612855" y="563771"/>
                  </a:lnTo>
                  <a:lnTo>
                    <a:pt x="2606288" y="555489"/>
                  </a:lnTo>
                  <a:lnTo>
                    <a:pt x="2601013" y="546429"/>
                  </a:lnTo>
                  <a:lnTo>
                    <a:pt x="2596709" y="535314"/>
                  </a:lnTo>
                  <a:lnTo>
                    <a:pt x="2591812" y="524802"/>
                  </a:lnTo>
                  <a:lnTo>
                    <a:pt x="2584651" y="517123"/>
                  </a:lnTo>
                  <a:lnTo>
                    <a:pt x="2575927" y="512099"/>
                  </a:lnTo>
                  <a:lnTo>
                    <a:pt x="2564831" y="509484"/>
                  </a:lnTo>
                  <a:lnTo>
                    <a:pt x="2553357" y="508321"/>
                  </a:lnTo>
                  <a:lnTo>
                    <a:pt x="2540913" y="509211"/>
                  </a:lnTo>
                  <a:lnTo>
                    <a:pt x="2527175" y="510880"/>
                  </a:lnTo>
                  <a:lnTo>
                    <a:pt x="2514246" y="512797"/>
                  </a:lnTo>
                  <a:lnTo>
                    <a:pt x="2501909" y="514112"/>
                  </a:lnTo>
                  <a:lnTo>
                    <a:pt x="2491458" y="514045"/>
                  </a:lnTo>
                  <a:lnTo>
                    <a:pt x="2482786" y="512172"/>
                  </a:lnTo>
                  <a:lnTo>
                    <a:pt x="2475407" y="509520"/>
                  </a:lnTo>
                  <a:lnTo>
                    <a:pt x="2469107" y="505239"/>
                  </a:lnTo>
                  <a:lnTo>
                    <a:pt x="2463992" y="499754"/>
                  </a:lnTo>
                  <a:lnTo>
                    <a:pt x="2458069" y="494021"/>
                  </a:lnTo>
                  <a:lnTo>
                    <a:pt x="2452739" y="487687"/>
                  </a:lnTo>
                  <a:lnTo>
                    <a:pt x="2449618" y="481245"/>
                  </a:lnTo>
                  <a:lnTo>
                    <a:pt x="2449028" y="475970"/>
                  </a:lnTo>
                  <a:lnTo>
                    <a:pt x="2450054" y="471191"/>
                  </a:lnTo>
                  <a:lnTo>
                    <a:pt x="2452481" y="466056"/>
                  </a:lnTo>
                  <a:lnTo>
                    <a:pt x="2454315" y="461524"/>
                  </a:lnTo>
                  <a:lnTo>
                    <a:pt x="2455341" y="456745"/>
                  </a:lnTo>
                  <a:lnTo>
                    <a:pt x="2454643" y="451045"/>
                  </a:lnTo>
                  <a:lnTo>
                    <a:pt x="2451522" y="444604"/>
                  </a:lnTo>
                  <a:lnTo>
                    <a:pt x="2446893" y="438092"/>
                  </a:lnTo>
                  <a:lnTo>
                    <a:pt x="2446788" y="431790"/>
                  </a:lnTo>
                  <a:lnTo>
                    <a:pt x="2447491" y="425736"/>
                  </a:lnTo>
                  <a:lnTo>
                    <a:pt x="2450619" y="420425"/>
                  </a:lnTo>
                  <a:lnTo>
                    <a:pt x="2456170" y="415856"/>
                  </a:lnTo>
                  <a:lnTo>
                    <a:pt x="2464630" y="411002"/>
                  </a:lnTo>
                  <a:lnTo>
                    <a:pt x="2474813" y="407068"/>
                  </a:lnTo>
                  <a:lnTo>
                    <a:pt x="2486612" y="403630"/>
                  </a:lnTo>
                  <a:lnTo>
                    <a:pt x="2499112" y="400014"/>
                  </a:lnTo>
                  <a:lnTo>
                    <a:pt x="2512097" y="395371"/>
                  </a:lnTo>
                  <a:lnTo>
                    <a:pt x="2523359" y="389808"/>
                  </a:lnTo>
                  <a:lnTo>
                    <a:pt x="2533920" y="384423"/>
                  </a:lnTo>
                  <a:lnTo>
                    <a:pt x="2542650" y="377693"/>
                  </a:lnTo>
                  <a:lnTo>
                    <a:pt x="2549765" y="370468"/>
                  </a:lnTo>
                  <a:lnTo>
                    <a:pt x="2553648" y="362254"/>
                  </a:lnTo>
                  <a:lnTo>
                    <a:pt x="2554406" y="353474"/>
                  </a:lnTo>
                  <a:lnTo>
                    <a:pt x="2557374" y="344587"/>
                  </a:lnTo>
                  <a:lnTo>
                    <a:pt x="2564759" y="335486"/>
                  </a:lnTo>
                  <a:lnTo>
                    <a:pt x="2575160" y="326525"/>
                  </a:lnTo>
                  <a:lnTo>
                    <a:pt x="2587878" y="317882"/>
                  </a:lnTo>
                  <a:lnTo>
                    <a:pt x="2600110" y="310265"/>
                  </a:lnTo>
                  <a:lnTo>
                    <a:pt x="2611535" y="302402"/>
                  </a:lnTo>
                  <a:lnTo>
                    <a:pt x="2619565" y="295849"/>
                  </a:lnTo>
                  <a:lnTo>
                    <a:pt x="2624793" y="290006"/>
                  </a:lnTo>
                  <a:lnTo>
                    <a:pt x="2627813" y="284270"/>
                  </a:lnTo>
                  <a:lnTo>
                    <a:pt x="2635843" y="277717"/>
                  </a:lnTo>
                  <a:lnTo>
                    <a:pt x="2645488" y="271660"/>
                  </a:lnTo>
                  <a:lnTo>
                    <a:pt x="2656642" y="265672"/>
                  </a:lnTo>
                  <a:lnTo>
                    <a:pt x="2670113" y="260002"/>
                  </a:lnTo>
                  <a:lnTo>
                    <a:pt x="2683906" y="255607"/>
                  </a:lnTo>
                  <a:lnTo>
                    <a:pt x="2696728" y="253265"/>
                  </a:lnTo>
                  <a:lnTo>
                    <a:pt x="2709172" y="252375"/>
                  </a:lnTo>
                  <a:lnTo>
                    <a:pt x="2719516" y="252017"/>
                  </a:lnTo>
                  <a:lnTo>
                    <a:pt x="2727920" y="249890"/>
                  </a:lnTo>
                  <a:lnTo>
                    <a:pt x="2733901" y="247020"/>
                  </a:lnTo>
                  <a:lnTo>
                    <a:pt x="2738267" y="243655"/>
                  </a:lnTo>
                  <a:lnTo>
                    <a:pt x="2741501" y="238768"/>
                  </a:lnTo>
                  <a:lnTo>
                    <a:pt x="2743335" y="234236"/>
                  </a:lnTo>
                  <a:lnTo>
                    <a:pt x="2745762" y="229102"/>
                  </a:lnTo>
                  <a:lnTo>
                    <a:pt x="2747273" y="223295"/>
                  </a:lnTo>
                  <a:lnTo>
                    <a:pt x="2752502" y="217452"/>
                  </a:lnTo>
                  <a:lnTo>
                    <a:pt x="2762633" y="210368"/>
                  </a:lnTo>
                  <a:lnTo>
                    <a:pt x="2777181" y="203069"/>
                  </a:lnTo>
                  <a:lnTo>
                    <a:pt x="2793023" y="194991"/>
                  </a:lnTo>
                  <a:lnTo>
                    <a:pt x="2809888" y="188010"/>
                  </a:lnTo>
                  <a:lnTo>
                    <a:pt x="2828154" y="180675"/>
                  </a:lnTo>
                  <a:lnTo>
                    <a:pt x="2843618" y="174048"/>
                  </a:lnTo>
                  <a:lnTo>
                    <a:pt x="2855687" y="168733"/>
                  </a:lnTo>
                  <a:lnTo>
                    <a:pt x="2860375" y="166643"/>
                  </a:lnTo>
                  <a:lnTo>
                    <a:pt x="2865278" y="165402"/>
                  </a:lnTo>
                  <a:lnTo>
                    <a:pt x="2870181" y="164161"/>
                  </a:lnTo>
                  <a:lnTo>
                    <a:pt x="2874491" y="163522"/>
                  </a:lnTo>
                  <a:lnTo>
                    <a:pt x="2880416" y="163378"/>
                  </a:lnTo>
                  <a:lnTo>
                    <a:pt x="2885749" y="163836"/>
                  </a:lnTo>
                  <a:lnTo>
                    <a:pt x="2891190" y="164718"/>
                  </a:lnTo>
                  <a:lnTo>
                    <a:pt x="2897223" y="164999"/>
                  </a:lnTo>
                  <a:lnTo>
                    <a:pt x="2903364" y="165705"/>
                  </a:lnTo>
                  <a:lnTo>
                    <a:pt x="2910205" y="166233"/>
                  </a:lnTo>
                  <a:lnTo>
                    <a:pt x="2917531" y="165734"/>
                  </a:lnTo>
                  <a:lnTo>
                    <a:pt x="2926852" y="164279"/>
                  </a:lnTo>
                  <a:lnTo>
                    <a:pt x="2936494" y="164098"/>
                  </a:lnTo>
                  <a:lnTo>
                    <a:pt x="2939563" y="167389"/>
                  </a:lnTo>
                  <a:lnTo>
                    <a:pt x="2938052" y="173196"/>
                  </a:lnTo>
                  <a:lnTo>
                    <a:pt x="2933039" y="179889"/>
                  </a:lnTo>
                  <a:lnTo>
                    <a:pt x="2926732" y="187361"/>
                  </a:lnTo>
                  <a:lnTo>
                    <a:pt x="2921018" y="194231"/>
                  </a:lnTo>
                  <a:lnTo>
                    <a:pt x="2916168" y="198623"/>
                  </a:lnTo>
                  <a:lnTo>
                    <a:pt x="2913689" y="200607"/>
                  </a:lnTo>
                  <a:lnTo>
                    <a:pt x="2927804" y="197485"/>
                  </a:lnTo>
                  <a:lnTo>
                    <a:pt x="2936154" y="198084"/>
                  </a:lnTo>
                  <a:lnTo>
                    <a:pt x="2940623" y="201020"/>
                  </a:lnTo>
                  <a:lnTo>
                    <a:pt x="2942614" y="205940"/>
                  </a:lnTo>
                  <a:lnTo>
                    <a:pt x="2942181" y="210118"/>
                  </a:lnTo>
                  <a:lnTo>
                    <a:pt x="2940833" y="213623"/>
                  </a:lnTo>
                  <a:lnTo>
                    <a:pt x="2941048" y="214473"/>
                  </a:lnTo>
                  <a:lnTo>
                    <a:pt x="2943312" y="211640"/>
                  </a:lnTo>
                  <a:lnTo>
                    <a:pt x="2947247" y="206576"/>
                  </a:lnTo>
                  <a:lnTo>
                    <a:pt x="2951882" y="201335"/>
                  </a:lnTo>
                  <a:lnTo>
                    <a:pt x="2955925" y="196695"/>
                  </a:lnTo>
                  <a:lnTo>
                    <a:pt x="2960182" y="192906"/>
                  </a:lnTo>
                  <a:lnTo>
                    <a:pt x="2964763" y="190390"/>
                  </a:lnTo>
                  <a:lnTo>
                    <a:pt x="2968157" y="189079"/>
                  </a:lnTo>
                  <a:lnTo>
                    <a:pt x="2972089" y="189892"/>
                  </a:lnTo>
                  <a:lnTo>
                    <a:pt x="2975051" y="192758"/>
                  </a:lnTo>
                  <a:lnTo>
                    <a:pt x="2978335" y="196899"/>
                  </a:lnTo>
                  <a:lnTo>
                    <a:pt x="2981188" y="199340"/>
                  </a:lnTo>
                  <a:lnTo>
                    <a:pt x="2984312" y="199905"/>
                  </a:lnTo>
                  <a:lnTo>
                    <a:pt x="2986521" y="199798"/>
                  </a:lnTo>
                  <a:lnTo>
                    <a:pt x="2989916" y="198487"/>
                  </a:lnTo>
                  <a:lnTo>
                    <a:pt x="2993095" y="196326"/>
                  </a:lnTo>
                  <a:lnTo>
                    <a:pt x="2996545" y="192289"/>
                  </a:lnTo>
                  <a:lnTo>
                    <a:pt x="3000265" y="186376"/>
                  </a:lnTo>
                  <a:lnTo>
                    <a:pt x="3003500" y="181489"/>
                  </a:lnTo>
                  <a:lnTo>
                    <a:pt x="3006734" y="176602"/>
                  </a:lnTo>
                  <a:lnTo>
                    <a:pt x="3009054" y="171043"/>
                  </a:lnTo>
                  <a:lnTo>
                    <a:pt x="3012989" y="165979"/>
                  </a:lnTo>
                  <a:lnTo>
                    <a:pt x="3017732" y="161163"/>
                  </a:lnTo>
                  <a:lnTo>
                    <a:pt x="3022475" y="156346"/>
                  </a:lnTo>
                  <a:lnTo>
                    <a:pt x="3028833" y="152025"/>
                  </a:lnTo>
                  <a:lnTo>
                    <a:pt x="3034814" y="149155"/>
                  </a:lnTo>
                  <a:lnTo>
                    <a:pt x="3039017" y="148091"/>
                  </a:lnTo>
                  <a:lnTo>
                    <a:pt x="3043920" y="146850"/>
                  </a:lnTo>
                  <a:lnTo>
                    <a:pt x="3048230" y="146211"/>
                  </a:lnTo>
                  <a:close/>
                  <a:moveTo>
                    <a:pt x="1949844" y="0"/>
                  </a:moveTo>
                  <a:lnTo>
                    <a:pt x="1962733" y="0"/>
                  </a:lnTo>
                  <a:lnTo>
                    <a:pt x="1975623" y="0"/>
                  </a:lnTo>
                  <a:lnTo>
                    <a:pt x="1983142" y="1015"/>
                  </a:lnTo>
                  <a:lnTo>
                    <a:pt x="1989587" y="3045"/>
                  </a:lnTo>
                  <a:lnTo>
                    <a:pt x="1997105" y="7106"/>
                  </a:lnTo>
                  <a:lnTo>
                    <a:pt x="2005698" y="10152"/>
                  </a:lnTo>
                  <a:lnTo>
                    <a:pt x="2013217" y="14213"/>
                  </a:lnTo>
                  <a:lnTo>
                    <a:pt x="2020736" y="15228"/>
                  </a:lnTo>
                  <a:lnTo>
                    <a:pt x="2027181" y="15228"/>
                  </a:lnTo>
                  <a:lnTo>
                    <a:pt x="2034700" y="13197"/>
                  </a:lnTo>
                  <a:lnTo>
                    <a:pt x="2040071" y="13197"/>
                  </a:lnTo>
                  <a:lnTo>
                    <a:pt x="2046515" y="14213"/>
                  </a:lnTo>
                  <a:lnTo>
                    <a:pt x="2051886" y="19289"/>
                  </a:lnTo>
                  <a:lnTo>
                    <a:pt x="2056183" y="25380"/>
                  </a:lnTo>
                  <a:lnTo>
                    <a:pt x="2062627" y="30456"/>
                  </a:lnTo>
                  <a:lnTo>
                    <a:pt x="2063701" y="34517"/>
                  </a:lnTo>
                  <a:lnTo>
                    <a:pt x="2056183" y="40608"/>
                  </a:lnTo>
                  <a:lnTo>
                    <a:pt x="2044367" y="46699"/>
                  </a:lnTo>
                  <a:lnTo>
                    <a:pt x="2036848" y="49745"/>
                  </a:lnTo>
                  <a:lnTo>
                    <a:pt x="2032552" y="53806"/>
                  </a:lnTo>
                  <a:lnTo>
                    <a:pt x="2035774" y="56851"/>
                  </a:lnTo>
                  <a:lnTo>
                    <a:pt x="2041145" y="60912"/>
                  </a:lnTo>
                  <a:lnTo>
                    <a:pt x="2045441" y="63958"/>
                  </a:lnTo>
                  <a:lnTo>
                    <a:pt x="2046515" y="69034"/>
                  </a:lnTo>
                  <a:lnTo>
                    <a:pt x="2046515" y="76140"/>
                  </a:lnTo>
                  <a:lnTo>
                    <a:pt x="2044367" y="82231"/>
                  </a:lnTo>
                  <a:lnTo>
                    <a:pt x="2043293" y="85277"/>
                  </a:lnTo>
                  <a:lnTo>
                    <a:pt x="2043293" y="88323"/>
                  </a:lnTo>
                  <a:lnTo>
                    <a:pt x="2046515" y="93399"/>
                  </a:lnTo>
                  <a:lnTo>
                    <a:pt x="2052960" y="101520"/>
                  </a:lnTo>
                  <a:lnTo>
                    <a:pt x="2060479" y="111672"/>
                  </a:lnTo>
                  <a:lnTo>
                    <a:pt x="2062627" y="123855"/>
                  </a:lnTo>
                  <a:lnTo>
                    <a:pt x="2055108" y="134007"/>
                  </a:lnTo>
                  <a:lnTo>
                    <a:pt x="2041145" y="142128"/>
                  </a:lnTo>
                  <a:lnTo>
                    <a:pt x="2031478" y="148220"/>
                  </a:lnTo>
                  <a:lnTo>
                    <a:pt x="2028255" y="153296"/>
                  </a:lnTo>
                  <a:lnTo>
                    <a:pt x="2031478" y="159387"/>
                  </a:lnTo>
                  <a:lnTo>
                    <a:pt x="2041145" y="165478"/>
                  </a:lnTo>
                  <a:lnTo>
                    <a:pt x="2052960" y="172584"/>
                  </a:lnTo>
                  <a:lnTo>
                    <a:pt x="2060479" y="182736"/>
                  </a:lnTo>
                  <a:lnTo>
                    <a:pt x="2060479" y="191873"/>
                  </a:lnTo>
                  <a:lnTo>
                    <a:pt x="2057257" y="202025"/>
                  </a:lnTo>
                  <a:lnTo>
                    <a:pt x="2059405" y="213193"/>
                  </a:lnTo>
                  <a:lnTo>
                    <a:pt x="2060479" y="222329"/>
                  </a:lnTo>
                  <a:lnTo>
                    <a:pt x="2061553" y="232481"/>
                  </a:lnTo>
                  <a:lnTo>
                    <a:pt x="2062627" y="245679"/>
                  </a:lnTo>
                  <a:lnTo>
                    <a:pt x="2064776" y="257862"/>
                  </a:lnTo>
                  <a:lnTo>
                    <a:pt x="2066924" y="268014"/>
                  </a:lnTo>
                  <a:lnTo>
                    <a:pt x="2061553" y="271059"/>
                  </a:lnTo>
                  <a:lnTo>
                    <a:pt x="2054034" y="269029"/>
                  </a:lnTo>
                  <a:lnTo>
                    <a:pt x="2047590" y="269029"/>
                  </a:lnTo>
                  <a:lnTo>
                    <a:pt x="2047590" y="272074"/>
                  </a:lnTo>
                  <a:lnTo>
                    <a:pt x="2055108" y="283242"/>
                  </a:lnTo>
                  <a:lnTo>
                    <a:pt x="2062627" y="294409"/>
                  </a:lnTo>
                  <a:lnTo>
                    <a:pt x="2064776" y="305576"/>
                  </a:lnTo>
                  <a:lnTo>
                    <a:pt x="2063701" y="313698"/>
                  </a:lnTo>
                  <a:lnTo>
                    <a:pt x="2059405" y="317759"/>
                  </a:lnTo>
                  <a:lnTo>
                    <a:pt x="2057257" y="318774"/>
                  </a:lnTo>
                  <a:lnTo>
                    <a:pt x="2055108" y="318774"/>
                  </a:lnTo>
                  <a:lnTo>
                    <a:pt x="2054034" y="318774"/>
                  </a:lnTo>
                  <a:lnTo>
                    <a:pt x="2051886" y="318774"/>
                  </a:lnTo>
                  <a:lnTo>
                    <a:pt x="2043293" y="317759"/>
                  </a:lnTo>
                  <a:lnTo>
                    <a:pt x="2036848" y="320804"/>
                  </a:lnTo>
                  <a:lnTo>
                    <a:pt x="2031478" y="322835"/>
                  </a:lnTo>
                  <a:lnTo>
                    <a:pt x="2027181" y="323850"/>
                  </a:lnTo>
                  <a:lnTo>
                    <a:pt x="2026107" y="323850"/>
                  </a:lnTo>
                  <a:lnTo>
                    <a:pt x="2023959" y="323850"/>
                  </a:lnTo>
                  <a:lnTo>
                    <a:pt x="2022885" y="322835"/>
                  </a:lnTo>
                  <a:lnTo>
                    <a:pt x="2021810" y="321819"/>
                  </a:lnTo>
                  <a:lnTo>
                    <a:pt x="2018588" y="318774"/>
                  </a:lnTo>
                  <a:lnTo>
                    <a:pt x="2013217" y="317759"/>
                  </a:lnTo>
                  <a:lnTo>
                    <a:pt x="2006773" y="317759"/>
                  </a:lnTo>
                  <a:lnTo>
                    <a:pt x="2000328" y="316743"/>
                  </a:lnTo>
                  <a:lnTo>
                    <a:pt x="1996031" y="315728"/>
                  </a:lnTo>
                  <a:lnTo>
                    <a:pt x="1989587" y="314713"/>
                  </a:lnTo>
                  <a:lnTo>
                    <a:pt x="1986364" y="313698"/>
                  </a:lnTo>
                  <a:lnTo>
                    <a:pt x="1983142" y="309637"/>
                  </a:lnTo>
                  <a:lnTo>
                    <a:pt x="1980994" y="306591"/>
                  </a:lnTo>
                  <a:lnTo>
                    <a:pt x="1978845" y="305576"/>
                  </a:lnTo>
                  <a:lnTo>
                    <a:pt x="1974549" y="305576"/>
                  </a:lnTo>
                  <a:lnTo>
                    <a:pt x="1967030" y="303546"/>
                  </a:lnTo>
                  <a:lnTo>
                    <a:pt x="1958437" y="300500"/>
                  </a:lnTo>
                  <a:lnTo>
                    <a:pt x="1950918" y="297455"/>
                  </a:lnTo>
                  <a:lnTo>
                    <a:pt x="1944473" y="292378"/>
                  </a:lnTo>
                  <a:lnTo>
                    <a:pt x="1939102" y="284257"/>
                  </a:lnTo>
                  <a:lnTo>
                    <a:pt x="1936954" y="276135"/>
                  </a:lnTo>
                  <a:lnTo>
                    <a:pt x="1938028" y="269029"/>
                  </a:lnTo>
                  <a:lnTo>
                    <a:pt x="1938028" y="263953"/>
                  </a:lnTo>
                  <a:lnTo>
                    <a:pt x="1936954" y="262938"/>
                  </a:lnTo>
                  <a:lnTo>
                    <a:pt x="1930509" y="261922"/>
                  </a:lnTo>
                  <a:lnTo>
                    <a:pt x="1922991" y="260907"/>
                  </a:lnTo>
                  <a:lnTo>
                    <a:pt x="1915472" y="256846"/>
                  </a:lnTo>
                  <a:lnTo>
                    <a:pt x="1914398" y="252786"/>
                  </a:lnTo>
                  <a:lnTo>
                    <a:pt x="1912249" y="248725"/>
                  </a:lnTo>
                  <a:lnTo>
                    <a:pt x="1906879" y="245679"/>
                  </a:lnTo>
                  <a:lnTo>
                    <a:pt x="1900434" y="241618"/>
                  </a:lnTo>
                  <a:lnTo>
                    <a:pt x="1897211" y="238573"/>
                  </a:lnTo>
                  <a:lnTo>
                    <a:pt x="1893989" y="233497"/>
                  </a:lnTo>
                  <a:lnTo>
                    <a:pt x="1890767" y="229436"/>
                  </a:lnTo>
                  <a:lnTo>
                    <a:pt x="1888618" y="223345"/>
                  </a:lnTo>
                  <a:lnTo>
                    <a:pt x="1891841" y="215223"/>
                  </a:lnTo>
                  <a:lnTo>
                    <a:pt x="1898286" y="207101"/>
                  </a:lnTo>
                  <a:lnTo>
                    <a:pt x="1901508" y="199995"/>
                  </a:lnTo>
                  <a:lnTo>
                    <a:pt x="1903656" y="193904"/>
                  </a:lnTo>
                  <a:lnTo>
                    <a:pt x="1901508" y="189843"/>
                  </a:lnTo>
                  <a:lnTo>
                    <a:pt x="1899360" y="183752"/>
                  </a:lnTo>
                  <a:lnTo>
                    <a:pt x="1898286" y="178676"/>
                  </a:lnTo>
                  <a:lnTo>
                    <a:pt x="1897211" y="178676"/>
                  </a:lnTo>
                  <a:lnTo>
                    <a:pt x="1891841" y="185782"/>
                  </a:lnTo>
                  <a:lnTo>
                    <a:pt x="1887544" y="195934"/>
                  </a:lnTo>
                  <a:lnTo>
                    <a:pt x="1884322" y="204056"/>
                  </a:lnTo>
                  <a:lnTo>
                    <a:pt x="1881099" y="209132"/>
                  </a:lnTo>
                  <a:lnTo>
                    <a:pt x="1876803" y="208117"/>
                  </a:lnTo>
                  <a:lnTo>
                    <a:pt x="1873581" y="204056"/>
                  </a:lnTo>
                  <a:lnTo>
                    <a:pt x="1868210" y="198980"/>
                  </a:lnTo>
                  <a:lnTo>
                    <a:pt x="1863913" y="193904"/>
                  </a:lnTo>
                  <a:lnTo>
                    <a:pt x="1860691" y="189843"/>
                  </a:lnTo>
                  <a:lnTo>
                    <a:pt x="1858543" y="180706"/>
                  </a:lnTo>
                  <a:lnTo>
                    <a:pt x="1855320" y="168524"/>
                  </a:lnTo>
                  <a:lnTo>
                    <a:pt x="1851024" y="155326"/>
                  </a:lnTo>
                  <a:lnTo>
                    <a:pt x="1851024" y="145174"/>
                  </a:lnTo>
                  <a:lnTo>
                    <a:pt x="1852098" y="137052"/>
                  </a:lnTo>
                  <a:lnTo>
                    <a:pt x="1853172" y="130961"/>
                  </a:lnTo>
                  <a:lnTo>
                    <a:pt x="1857469" y="125885"/>
                  </a:lnTo>
                  <a:lnTo>
                    <a:pt x="1863913" y="122839"/>
                  </a:lnTo>
                  <a:lnTo>
                    <a:pt x="1871432" y="121824"/>
                  </a:lnTo>
                  <a:lnTo>
                    <a:pt x="1875729" y="120809"/>
                  </a:lnTo>
                  <a:lnTo>
                    <a:pt x="1880025" y="120809"/>
                  </a:lnTo>
                  <a:lnTo>
                    <a:pt x="1883248" y="121824"/>
                  </a:lnTo>
                  <a:lnTo>
                    <a:pt x="1884322" y="120809"/>
                  </a:lnTo>
                  <a:lnTo>
                    <a:pt x="1883248" y="115733"/>
                  </a:lnTo>
                  <a:lnTo>
                    <a:pt x="1881099" y="109642"/>
                  </a:lnTo>
                  <a:lnTo>
                    <a:pt x="1876803" y="105581"/>
                  </a:lnTo>
                  <a:lnTo>
                    <a:pt x="1875729" y="101520"/>
                  </a:lnTo>
                  <a:lnTo>
                    <a:pt x="1876803" y="96444"/>
                  </a:lnTo>
                  <a:lnTo>
                    <a:pt x="1881099" y="91368"/>
                  </a:lnTo>
                  <a:lnTo>
                    <a:pt x="1884322" y="86292"/>
                  </a:lnTo>
                  <a:lnTo>
                    <a:pt x="1889693" y="82231"/>
                  </a:lnTo>
                  <a:lnTo>
                    <a:pt x="1898286" y="75125"/>
                  </a:lnTo>
                  <a:lnTo>
                    <a:pt x="1909027" y="72079"/>
                  </a:lnTo>
                  <a:lnTo>
                    <a:pt x="1918694" y="76140"/>
                  </a:lnTo>
                  <a:lnTo>
                    <a:pt x="1926213" y="83247"/>
                  </a:lnTo>
                  <a:lnTo>
                    <a:pt x="1931584" y="88323"/>
                  </a:lnTo>
                  <a:lnTo>
                    <a:pt x="1933732" y="91368"/>
                  </a:lnTo>
                  <a:lnTo>
                    <a:pt x="1939102" y="90353"/>
                  </a:lnTo>
                  <a:lnTo>
                    <a:pt x="1945547" y="86292"/>
                  </a:lnTo>
                  <a:lnTo>
                    <a:pt x="1954140" y="80201"/>
                  </a:lnTo>
                  <a:lnTo>
                    <a:pt x="1962733" y="73094"/>
                  </a:lnTo>
                  <a:lnTo>
                    <a:pt x="1970252" y="63958"/>
                  </a:lnTo>
                  <a:lnTo>
                    <a:pt x="1972400" y="56851"/>
                  </a:lnTo>
                  <a:lnTo>
                    <a:pt x="1972400" y="55836"/>
                  </a:lnTo>
                  <a:lnTo>
                    <a:pt x="1969178" y="57866"/>
                  </a:lnTo>
                  <a:lnTo>
                    <a:pt x="1961659" y="63958"/>
                  </a:lnTo>
                  <a:lnTo>
                    <a:pt x="1950918" y="68018"/>
                  </a:lnTo>
                  <a:lnTo>
                    <a:pt x="1942325" y="68018"/>
                  </a:lnTo>
                  <a:lnTo>
                    <a:pt x="1939102" y="61927"/>
                  </a:lnTo>
                  <a:lnTo>
                    <a:pt x="1941251" y="52790"/>
                  </a:lnTo>
                  <a:lnTo>
                    <a:pt x="1945547" y="49745"/>
                  </a:lnTo>
                  <a:lnTo>
                    <a:pt x="1950918" y="42638"/>
                  </a:lnTo>
                  <a:lnTo>
                    <a:pt x="1955214" y="36547"/>
                  </a:lnTo>
                  <a:lnTo>
                    <a:pt x="1953066" y="29441"/>
                  </a:lnTo>
                  <a:lnTo>
                    <a:pt x="1945547" y="25380"/>
                  </a:lnTo>
                  <a:lnTo>
                    <a:pt x="1939102" y="23350"/>
                  </a:lnTo>
                  <a:lnTo>
                    <a:pt x="1934806" y="18273"/>
                  </a:lnTo>
                  <a:lnTo>
                    <a:pt x="1936954" y="11167"/>
                  </a:lnTo>
                  <a:lnTo>
                    <a:pt x="1939102" y="4061"/>
                  </a:lnTo>
                  <a:lnTo>
                    <a:pt x="1942325" y="101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  <a:scene3d>
              <a:camera prst="orthographicFront"/>
              <a:lightRig rig="contrasting" dir="t"/>
            </a:scene3d>
            <a:sp3d z="63500" prstMaterial="metal">
              <a:bevelB w="0" h="0"/>
            </a:sp3d>
          </p:spPr>
          <p:txBody>
            <a:bodyPr wrap="square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8" name="Freeform 434">
              <a:extLst>
                <a:ext uri="{FF2B5EF4-FFF2-40B4-BE49-F238E27FC236}">
                  <a16:creationId xmlns:a16="http://schemas.microsoft.com/office/drawing/2014/main" id="{43971D2D-B85F-4037-96EA-072287864D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7981" y="1816279"/>
              <a:ext cx="2345004" cy="1951223"/>
            </a:xfrm>
            <a:custGeom>
              <a:avLst/>
              <a:gdLst>
                <a:gd name="connsiteX0" fmla="*/ 1528763 w 1792288"/>
                <a:gd name="connsiteY0" fmla="*/ 1590675 h 1693862"/>
                <a:gd name="connsiteX1" fmla="*/ 1528763 w 1792288"/>
                <a:gd name="connsiteY1" fmla="*/ 1592263 h 1693862"/>
                <a:gd name="connsiteX2" fmla="*/ 1508126 w 1792288"/>
                <a:gd name="connsiteY2" fmla="*/ 1608138 h 1693862"/>
                <a:gd name="connsiteX3" fmla="*/ 1512888 w 1792288"/>
                <a:gd name="connsiteY3" fmla="*/ 1619250 h 1693862"/>
                <a:gd name="connsiteX4" fmla="*/ 1498601 w 1792288"/>
                <a:gd name="connsiteY4" fmla="*/ 1624013 h 1693862"/>
                <a:gd name="connsiteX5" fmla="*/ 1479551 w 1792288"/>
                <a:gd name="connsiteY5" fmla="*/ 1635125 h 1693862"/>
                <a:gd name="connsiteX6" fmla="*/ 1476376 w 1792288"/>
                <a:gd name="connsiteY6" fmla="*/ 1635125 h 1693862"/>
                <a:gd name="connsiteX7" fmla="*/ 1468438 w 1792288"/>
                <a:gd name="connsiteY7" fmla="*/ 1631950 h 1693862"/>
                <a:gd name="connsiteX8" fmla="*/ 1458913 w 1792288"/>
                <a:gd name="connsiteY8" fmla="*/ 1627188 h 1693862"/>
                <a:gd name="connsiteX9" fmla="*/ 1455738 w 1792288"/>
                <a:gd name="connsiteY9" fmla="*/ 1614488 h 1693862"/>
                <a:gd name="connsiteX10" fmla="*/ 1460501 w 1792288"/>
                <a:gd name="connsiteY10" fmla="*/ 1617663 h 1693862"/>
                <a:gd name="connsiteX11" fmla="*/ 1474788 w 1792288"/>
                <a:gd name="connsiteY11" fmla="*/ 1612900 h 1693862"/>
                <a:gd name="connsiteX12" fmla="*/ 1476376 w 1792288"/>
                <a:gd name="connsiteY12" fmla="*/ 1603375 h 1693862"/>
                <a:gd name="connsiteX13" fmla="*/ 1498601 w 1792288"/>
                <a:gd name="connsiteY13" fmla="*/ 1604963 h 1693862"/>
                <a:gd name="connsiteX14" fmla="*/ 1042035 w 1792288"/>
                <a:gd name="connsiteY14" fmla="*/ 1524000 h 1693862"/>
                <a:gd name="connsiteX15" fmla="*/ 1073150 w 1792288"/>
                <a:gd name="connsiteY15" fmla="*/ 1531673 h 1693862"/>
                <a:gd name="connsiteX16" fmla="*/ 1073150 w 1792288"/>
                <a:gd name="connsiteY16" fmla="*/ 1547019 h 1693862"/>
                <a:gd name="connsiteX17" fmla="*/ 1065372 w 1792288"/>
                <a:gd name="connsiteY17" fmla="*/ 1570037 h 1693862"/>
                <a:gd name="connsiteX18" fmla="*/ 1034257 w 1792288"/>
                <a:gd name="connsiteY18" fmla="*/ 1554691 h 1693862"/>
                <a:gd name="connsiteX19" fmla="*/ 995363 w 1792288"/>
                <a:gd name="connsiteY19" fmla="*/ 1539346 h 1693862"/>
                <a:gd name="connsiteX20" fmla="*/ 1333730 w 1792288"/>
                <a:gd name="connsiteY20" fmla="*/ 1444060 h 1693862"/>
                <a:gd name="connsiteX21" fmla="*/ 1291477 w 1792288"/>
                <a:gd name="connsiteY21" fmla="*/ 1458737 h 1693862"/>
                <a:gd name="connsiteX22" fmla="*/ 1313469 w 1792288"/>
                <a:gd name="connsiteY22" fmla="*/ 1479320 h 1693862"/>
                <a:gd name="connsiteX23" fmla="*/ 1316437 w 1792288"/>
                <a:gd name="connsiteY23" fmla="*/ 1495233 h 1693862"/>
                <a:gd name="connsiteX24" fmla="*/ 1340119 w 1792288"/>
                <a:gd name="connsiteY24" fmla="*/ 1509806 h 1693862"/>
                <a:gd name="connsiteX25" fmla="*/ 1332520 w 1792288"/>
                <a:gd name="connsiteY25" fmla="*/ 1501700 h 1693862"/>
                <a:gd name="connsiteX26" fmla="*/ 1300163 w 1792288"/>
                <a:gd name="connsiteY26" fmla="*/ 1459706 h 1693862"/>
                <a:gd name="connsiteX27" fmla="*/ 1309666 w 1792288"/>
                <a:gd name="connsiteY27" fmla="*/ 1454503 h 1693862"/>
                <a:gd name="connsiteX28" fmla="*/ 1323023 w 1792288"/>
                <a:gd name="connsiteY28" fmla="*/ 1449189 h 1693862"/>
                <a:gd name="connsiteX29" fmla="*/ 466321 w 1792288"/>
                <a:gd name="connsiteY29" fmla="*/ 1436961 h 1693862"/>
                <a:gd name="connsiteX30" fmla="*/ 465556 w 1792288"/>
                <a:gd name="connsiteY30" fmla="*/ 1439729 h 1693862"/>
                <a:gd name="connsiteX31" fmla="*/ 460770 w 1792288"/>
                <a:gd name="connsiteY31" fmla="*/ 1457047 h 1693862"/>
                <a:gd name="connsiteX32" fmla="*/ 460430 w 1792288"/>
                <a:gd name="connsiteY32" fmla="*/ 1464211 h 1693862"/>
                <a:gd name="connsiteX33" fmla="*/ 460453 w 1792288"/>
                <a:gd name="connsiteY33" fmla="*/ 1464172 h 1693862"/>
                <a:gd name="connsiteX34" fmla="*/ 462435 w 1792288"/>
                <a:gd name="connsiteY34" fmla="*/ 1454982 h 1693862"/>
                <a:gd name="connsiteX35" fmla="*/ 463452 w 1792288"/>
                <a:gd name="connsiteY35" fmla="*/ 1450609 h 1693862"/>
                <a:gd name="connsiteX36" fmla="*/ 464422 w 1792288"/>
                <a:gd name="connsiteY36" fmla="*/ 1445764 h 1693862"/>
                <a:gd name="connsiteX37" fmla="*/ 1280062 w 1792288"/>
                <a:gd name="connsiteY37" fmla="*/ 1435318 h 1693862"/>
                <a:gd name="connsiteX38" fmla="*/ 1276082 w 1792288"/>
                <a:gd name="connsiteY38" fmla="*/ 1437452 h 1693862"/>
                <a:gd name="connsiteX39" fmla="*/ 1278241 w 1792288"/>
                <a:gd name="connsiteY39" fmla="*/ 1436522 h 1693862"/>
                <a:gd name="connsiteX40" fmla="*/ 931862 w 1792288"/>
                <a:gd name="connsiteY40" fmla="*/ 1435100 h 1693862"/>
                <a:gd name="connsiteX41" fmla="*/ 939800 w 1792288"/>
                <a:gd name="connsiteY41" fmla="*/ 1466056 h 1693862"/>
                <a:gd name="connsiteX42" fmla="*/ 939800 w 1792288"/>
                <a:gd name="connsiteY42" fmla="*/ 1497012 h 1693862"/>
                <a:gd name="connsiteX43" fmla="*/ 908050 w 1792288"/>
                <a:gd name="connsiteY43" fmla="*/ 1497012 h 1693862"/>
                <a:gd name="connsiteX44" fmla="*/ 915987 w 1792288"/>
                <a:gd name="connsiteY44" fmla="*/ 1442839 h 1693862"/>
                <a:gd name="connsiteX45" fmla="*/ 1239876 w 1792288"/>
                <a:gd name="connsiteY45" fmla="*/ 1433970 h 1693862"/>
                <a:gd name="connsiteX46" fmla="*/ 1239876 w 1792288"/>
                <a:gd name="connsiteY46" fmla="*/ 1434378 h 1693862"/>
                <a:gd name="connsiteX47" fmla="*/ 1254125 w 1792288"/>
                <a:gd name="connsiteY47" fmla="*/ 1446501 h 1693862"/>
                <a:gd name="connsiteX48" fmla="*/ 1244194 w 1792288"/>
                <a:gd name="connsiteY48" fmla="*/ 1450398 h 1693862"/>
                <a:gd name="connsiteX49" fmla="*/ 1245046 w 1792288"/>
                <a:gd name="connsiteY49" fmla="*/ 1453388 h 1693862"/>
                <a:gd name="connsiteX50" fmla="*/ 1244603 w 1792288"/>
                <a:gd name="connsiteY50" fmla="*/ 1451012 h 1693862"/>
                <a:gd name="connsiteX51" fmla="*/ 1258962 w 1792288"/>
                <a:gd name="connsiteY51" fmla="*/ 1444826 h 1693862"/>
                <a:gd name="connsiteX52" fmla="*/ 1255134 w 1792288"/>
                <a:gd name="connsiteY52" fmla="*/ 1446212 h 1693862"/>
                <a:gd name="connsiteX53" fmla="*/ 1363053 w 1792288"/>
                <a:gd name="connsiteY53" fmla="*/ 1429086 h 1693862"/>
                <a:gd name="connsiteX54" fmla="*/ 1363473 w 1792288"/>
                <a:gd name="connsiteY54" fmla="*/ 1432004 h 1693862"/>
                <a:gd name="connsiteX55" fmla="*/ 1342656 w 1792288"/>
                <a:gd name="connsiteY55" fmla="*/ 1440959 h 1693862"/>
                <a:gd name="connsiteX56" fmla="*/ 1336772 w 1792288"/>
                <a:gd name="connsiteY56" fmla="*/ 1443003 h 1693862"/>
                <a:gd name="connsiteX57" fmla="*/ 1346491 w 1792288"/>
                <a:gd name="connsiteY57" fmla="*/ 1442608 h 1693862"/>
                <a:gd name="connsiteX58" fmla="*/ 1360149 w 1792288"/>
                <a:gd name="connsiteY58" fmla="*/ 1445390 h 1693862"/>
                <a:gd name="connsiteX59" fmla="*/ 1367646 w 1792288"/>
                <a:gd name="connsiteY59" fmla="*/ 1445390 h 1693862"/>
                <a:gd name="connsiteX60" fmla="*/ 1422081 w 1792288"/>
                <a:gd name="connsiteY60" fmla="*/ 1428864 h 1693862"/>
                <a:gd name="connsiteX61" fmla="*/ 1423009 w 1792288"/>
                <a:gd name="connsiteY61" fmla="*/ 1429784 h 1693862"/>
                <a:gd name="connsiteX62" fmla="*/ 1427636 w 1792288"/>
                <a:gd name="connsiteY62" fmla="*/ 1428864 h 1693862"/>
                <a:gd name="connsiteX63" fmla="*/ 1402409 w 1792288"/>
                <a:gd name="connsiteY63" fmla="*/ 1428864 h 1693862"/>
                <a:gd name="connsiteX64" fmla="*/ 1377602 w 1792288"/>
                <a:gd name="connsiteY64" fmla="*/ 1445390 h 1693862"/>
                <a:gd name="connsiteX65" fmla="*/ 1391579 w 1792288"/>
                <a:gd name="connsiteY65" fmla="*/ 1445390 h 1693862"/>
                <a:gd name="connsiteX66" fmla="*/ 1402673 w 1792288"/>
                <a:gd name="connsiteY66" fmla="*/ 1428864 h 1693862"/>
                <a:gd name="connsiteX67" fmla="*/ 1304769 w 1792288"/>
                <a:gd name="connsiteY67" fmla="*/ 1414714 h 1693862"/>
                <a:gd name="connsiteX68" fmla="*/ 1304925 w 1792288"/>
                <a:gd name="connsiteY68" fmla="*/ 1415393 h 1693862"/>
                <a:gd name="connsiteX69" fmla="*/ 1303158 w 1792288"/>
                <a:gd name="connsiteY69" fmla="*/ 1420045 h 1693862"/>
                <a:gd name="connsiteX70" fmla="*/ 1306093 w 1792288"/>
                <a:gd name="connsiteY70" fmla="*/ 1418104 h 1693862"/>
                <a:gd name="connsiteX71" fmla="*/ 1306878 w 1792288"/>
                <a:gd name="connsiteY71" fmla="*/ 1417874 h 1693862"/>
                <a:gd name="connsiteX72" fmla="*/ 1369287 w 1792288"/>
                <a:gd name="connsiteY72" fmla="*/ 1412466 h 1693862"/>
                <a:gd name="connsiteX73" fmla="*/ 1368645 w 1792288"/>
                <a:gd name="connsiteY73" fmla="*/ 1413691 h 1693862"/>
                <a:gd name="connsiteX74" fmla="*/ 1364970 w 1792288"/>
                <a:gd name="connsiteY74" fmla="*/ 1417138 h 1693862"/>
                <a:gd name="connsiteX75" fmla="*/ 1363731 w 1792288"/>
                <a:gd name="connsiteY75" fmla="*/ 1418986 h 1693862"/>
                <a:gd name="connsiteX76" fmla="*/ 1369219 w 1792288"/>
                <a:gd name="connsiteY76" fmla="*/ 1414113 h 1693862"/>
                <a:gd name="connsiteX77" fmla="*/ 1239838 w 1792288"/>
                <a:gd name="connsiteY77" fmla="*/ 1407383 h 1693862"/>
                <a:gd name="connsiteX78" fmla="*/ 1239298 w 1792288"/>
                <a:gd name="connsiteY78" fmla="*/ 1407747 h 1693862"/>
                <a:gd name="connsiteX79" fmla="*/ 1239838 w 1792288"/>
                <a:gd name="connsiteY79" fmla="*/ 1408763 h 1693862"/>
                <a:gd name="connsiteX80" fmla="*/ 482175 w 1792288"/>
                <a:gd name="connsiteY80" fmla="*/ 1404541 h 1693862"/>
                <a:gd name="connsiteX81" fmla="*/ 474728 w 1792288"/>
                <a:gd name="connsiteY81" fmla="*/ 1414963 h 1693862"/>
                <a:gd name="connsiteX82" fmla="*/ 472068 w 1792288"/>
                <a:gd name="connsiteY82" fmla="*/ 1421284 h 1693862"/>
                <a:gd name="connsiteX83" fmla="*/ 1352971 w 1792288"/>
                <a:gd name="connsiteY83" fmla="*/ 1404520 h 1693862"/>
                <a:gd name="connsiteX84" fmla="*/ 1352921 w 1792288"/>
                <a:gd name="connsiteY84" fmla="*/ 1404536 h 1693862"/>
                <a:gd name="connsiteX85" fmla="*/ 1360729 w 1792288"/>
                <a:gd name="connsiteY85" fmla="*/ 1411059 h 1693862"/>
                <a:gd name="connsiteX86" fmla="*/ 1368338 w 1792288"/>
                <a:gd name="connsiteY86" fmla="*/ 1409652 h 1693862"/>
                <a:gd name="connsiteX87" fmla="*/ 1359142 w 1792288"/>
                <a:gd name="connsiteY87" fmla="*/ 1409564 h 1693862"/>
                <a:gd name="connsiteX88" fmla="*/ 1259038 w 1792288"/>
                <a:gd name="connsiteY88" fmla="*/ 1394468 h 1693862"/>
                <a:gd name="connsiteX89" fmla="*/ 1254418 w 1792288"/>
                <a:gd name="connsiteY89" fmla="*/ 1397576 h 1693862"/>
                <a:gd name="connsiteX90" fmla="*/ 1258887 w 1792288"/>
                <a:gd name="connsiteY90" fmla="*/ 1394994 h 1693862"/>
                <a:gd name="connsiteX91" fmla="*/ 1261976 w 1792288"/>
                <a:gd name="connsiteY91" fmla="*/ 1381134 h 1693862"/>
                <a:gd name="connsiteX92" fmla="*/ 1261620 w 1792288"/>
                <a:gd name="connsiteY92" fmla="*/ 1385428 h 1693862"/>
                <a:gd name="connsiteX93" fmla="*/ 1262675 w 1792288"/>
                <a:gd name="connsiteY93" fmla="*/ 1381736 h 1693862"/>
                <a:gd name="connsiteX94" fmla="*/ 1225574 w 1792288"/>
                <a:gd name="connsiteY94" fmla="*/ 1372571 h 1693862"/>
                <a:gd name="connsiteX95" fmla="*/ 1224156 w 1792288"/>
                <a:gd name="connsiteY95" fmla="*/ 1374430 h 1693862"/>
                <a:gd name="connsiteX96" fmla="*/ 1225820 w 1792288"/>
                <a:gd name="connsiteY96" fmla="*/ 1372783 h 1693862"/>
                <a:gd name="connsiteX97" fmla="*/ 931862 w 1792288"/>
                <a:gd name="connsiteY97" fmla="*/ 1371600 h 1693862"/>
                <a:gd name="connsiteX98" fmla="*/ 939800 w 1792288"/>
                <a:gd name="connsiteY98" fmla="*/ 1402492 h 1693862"/>
                <a:gd name="connsiteX99" fmla="*/ 931862 w 1792288"/>
                <a:gd name="connsiteY99" fmla="*/ 1419225 h 1693862"/>
                <a:gd name="connsiteX100" fmla="*/ 900113 w 1792288"/>
                <a:gd name="connsiteY100" fmla="*/ 1387046 h 1693862"/>
                <a:gd name="connsiteX101" fmla="*/ 498727 w 1792288"/>
                <a:gd name="connsiteY101" fmla="*/ 1368090 h 1693862"/>
                <a:gd name="connsiteX102" fmla="*/ 497010 w 1792288"/>
                <a:gd name="connsiteY102" fmla="*/ 1370209 h 1693862"/>
                <a:gd name="connsiteX103" fmla="*/ 488630 w 1792288"/>
                <a:gd name="connsiteY103" fmla="*/ 1390203 h 1693862"/>
                <a:gd name="connsiteX104" fmla="*/ 488094 w 1792288"/>
                <a:gd name="connsiteY104" fmla="*/ 1392144 h 1693862"/>
                <a:gd name="connsiteX105" fmla="*/ 1205098 w 1792288"/>
                <a:gd name="connsiteY105" fmla="*/ 1345898 h 1693862"/>
                <a:gd name="connsiteX106" fmla="*/ 1200643 w 1792288"/>
                <a:gd name="connsiteY106" fmla="*/ 1348175 h 1693862"/>
                <a:gd name="connsiteX107" fmla="*/ 1201246 w 1792288"/>
                <a:gd name="connsiteY107" fmla="*/ 1348739 h 1693862"/>
                <a:gd name="connsiteX108" fmla="*/ 513735 w 1792288"/>
                <a:gd name="connsiteY108" fmla="*/ 1340404 h 1693862"/>
                <a:gd name="connsiteX109" fmla="*/ 512905 w 1792288"/>
                <a:gd name="connsiteY109" fmla="*/ 1341463 h 1693862"/>
                <a:gd name="connsiteX110" fmla="*/ 512610 w 1792288"/>
                <a:gd name="connsiteY110" fmla="*/ 1342277 h 1693862"/>
                <a:gd name="connsiteX111" fmla="*/ 740577 w 1792288"/>
                <a:gd name="connsiteY111" fmla="*/ 1334713 h 1693862"/>
                <a:gd name="connsiteX112" fmla="*/ 740934 w 1792288"/>
                <a:gd name="connsiteY112" fmla="*/ 1334844 h 1693862"/>
                <a:gd name="connsiteX113" fmla="*/ 748118 w 1792288"/>
                <a:gd name="connsiteY113" fmla="*/ 1338072 h 1693862"/>
                <a:gd name="connsiteX114" fmla="*/ 750784 w 1792288"/>
                <a:gd name="connsiteY114" fmla="*/ 1338447 h 1693862"/>
                <a:gd name="connsiteX115" fmla="*/ 743653 w 1792288"/>
                <a:gd name="connsiteY115" fmla="*/ 1335137 h 1693862"/>
                <a:gd name="connsiteX116" fmla="*/ 680022 w 1792288"/>
                <a:gd name="connsiteY116" fmla="*/ 1318842 h 1693862"/>
                <a:gd name="connsiteX117" fmla="*/ 680099 w 1792288"/>
                <a:gd name="connsiteY117" fmla="*/ 1318983 h 1693862"/>
                <a:gd name="connsiteX118" fmla="*/ 680651 w 1792288"/>
                <a:gd name="connsiteY118" fmla="*/ 1319102 h 1693862"/>
                <a:gd name="connsiteX119" fmla="*/ 684954 w 1792288"/>
                <a:gd name="connsiteY119" fmla="*/ 1320885 h 1693862"/>
                <a:gd name="connsiteX120" fmla="*/ 688278 w 1792288"/>
                <a:gd name="connsiteY120" fmla="*/ 1320747 h 1693862"/>
                <a:gd name="connsiteX121" fmla="*/ 689611 w 1792288"/>
                <a:gd name="connsiteY121" fmla="*/ 1321034 h 1693862"/>
                <a:gd name="connsiteX122" fmla="*/ 706657 w 1792288"/>
                <a:gd name="connsiteY122" fmla="*/ 1322999 h 1693862"/>
                <a:gd name="connsiteX123" fmla="*/ 706145 w 1792288"/>
                <a:gd name="connsiteY123" fmla="*/ 1322762 h 1693862"/>
                <a:gd name="connsiteX124" fmla="*/ 690781 w 1792288"/>
                <a:gd name="connsiteY124" fmla="*/ 1320643 h 1693862"/>
                <a:gd name="connsiteX125" fmla="*/ 688278 w 1792288"/>
                <a:gd name="connsiteY125" fmla="*/ 1320747 h 1693862"/>
                <a:gd name="connsiteX126" fmla="*/ 680651 w 1792288"/>
                <a:gd name="connsiteY126" fmla="*/ 1319102 h 1693862"/>
                <a:gd name="connsiteX127" fmla="*/ 1253936 w 1792288"/>
                <a:gd name="connsiteY127" fmla="*/ 1298501 h 1693862"/>
                <a:gd name="connsiteX128" fmla="*/ 1253999 w 1792288"/>
                <a:gd name="connsiteY128" fmla="*/ 1300103 h 1693862"/>
                <a:gd name="connsiteX129" fmla="*/ 1260088 w 1792288"/>
                <a:gd name="connsiteY129" fmla="*/ 1302100 h 1693862"/>
                <a:gd name="connsiteX130" fmla="*/ 1254250 w 1792288"/>
                <a:gd name="connsiteY130" fmla="*/ 1298952 h 1693862"/>
                <a:gd name="connsiteX131" fmla="*/ 879840 w 1792288"/>
                <a:gd name="connsiteY131" fmla="*/ 1297532 h 1693862"/>
                <a:gd name="connsiteX132" fmla="*/ 879606 w 1792288"/>
                <a:gd name="connsiteY132" fmla="*/ 1298117 h 1693862"/>
                <a:gd name="connsiteX133" fmla="*/ 880965 w 1792288"/>
                <a:gd name="connsiteY133" fmla="*/ 1301151 h 1693862"/>
                <a:gd name="connsiteX134" fmla="*/ 881947 w 1792288"/>
                <a:gd name="connsiteY134" fmla="*/ 1303950 h 1693862"/>
                <a:gd name="connsiteX135" fmla="*/ 1096220 w 1792288"/>
                <a:gd name="connsiteY135" fmla="*/ 1272360 h 1693862"/>
                <a:gd name="connsiteX136" fmla="*/ 1077178 w 1792288"/>
                <a:gd name="connsiteY136" fmla="*/ 1273780 h 1693862"/>
                <a:gd name="connsiteX137" fmla="*/ 1095281 w 1792288"/>
                <a:gd name="connsiteY137" fmla="*/ 1273395 h 1693862"/>
                <a:gd name="connsiteX138" fmla="*/ 899211 w 1792288"/>
                <a:gd name="connsiteY138" fmla="*/ 1259315 h 1693862"/>
                <a:gd name="connsiteX139" fmla="*/ 895632 w 1792288"/>
                <a:gd name="connsiteY139" fmla="*/ 1260475 h 1693862"/>
                <a:gd name="connsiteX140" fmla="*/ 895169 w 1792288"/>
                <a:gd name="connsiteY140" fmla="*/ 1259462 h 1693862"/>
                <a:gd name="connsiteX141" fmla="*/ 894881 w 1792288"/>
                <a:gd name="connsiteY141" fmla="*/ 1261547 h 1693862"/>
                <a:gd name="connsiteX142" fmla="*/ 895638 w 1792288"/>
                <a:gd name="connsiteY142" fmla="*/ 1261547 h 1693862"/>
                <a:gd name="connsiteX143" fmla="*/ 1140413 w 1792288"/>
                <a:gd name="connsiteY143" fmla="*/ 1250611 h 1693862"/>
                <a:gd name="connsiteX144" fmla="*/ 1148175 w 1792288"/>
                <a:gd name="connsiteY144" fmla="*/ 1260403 h 1693862"/>
                <a:gd name="connsiteX145" fmla="*/ 1159279 w 1792288"/>
                <a:gd name="connsiteY145" fmla="*/ 1262172 h 1693862"/>
                <a:gd name="connsiteX146" fmla="*/ 1160788 w 1792288"/>
                <a:gd name="connsiteY146" fmla="*/ 1262685 h 1693862"/>
                <a:gd name="connsiteX147" fmla="*/ 1163970 w 1792288"/>
                <a:gd name="connsiteY147" fmla="*/ 1262919 h 1693862"/>
                <a:gd name="connsiteX148" fmla="*/ 1175210 w 1792288"/>
                <a:gd name="connsiteY148" fmla="*/ 1264709 h 1693862"/>
                <a:gd name="connsiteX149" fmla="*/ 1182993 w 1792288"/>
                <a:gd name="connsiteY149" fmla="*/ 1259802 h 1693862"/>
                <a:gd name="connsiteX150" fmla="*/ 1182900 w 1792288"/>
                <a:gd name="connsiteY150" fmla="*/ 1259385 h 1693862"/>
                <a:gd name="connsiteX151" fmla="*/ 1179600 w 1792288"/>
                <a:gd name="connsiteY151" fmla="*/ 1261743 h 1693862"/>
                <a:gd name="connsiteX152" fmla="*/ 1173909 w 1792288"/>
                <a:gd name="connsiteY152" fmla="*/ 1263650 h 1693862"/>
                <a:gd name="connsiteX153" fmla="*/ 1163970 w 1792288"/>
                <a:gd name="connsiteY153" fmla="*/ 1262919 h 1693862"/>
                <a:gd name="connsiteX154" fmla="*/ 1159279 w 1792288"/>
                <a:gd name="connsiteY154" fmla="*/ 1262172 h 1693862"/>
                <a:gd name="connsiteX155" fmla="*/ 1146702 w 1792288"/>
                <a:gd name="connsiteY155" fmla="*/ 1257897 h 1693862"/>
                <a:gd name="connsiteX156" fmla="*/ 1207815 w 1792288"/>
                <a:gd name="connsiteY156" fmla="*/ 1249970 h 1693862"/>
                <a:gd name="connsiteX157" fmla="*/ 1207109 w 1792288"/>
                <a:gd name="connsiteY157" fmla="*/ 1249972 h 1693862"/>
                <a:gd name="connsiteX158" fmla="*/ 1196470 w 1792288"/>
                <a:gd name="connsiteY158" fmla="*/ 1253697 h 1693862"/>
                <a:gd name="connsiteX159" fmla="*/ 1193944 w 1792288"/>
                <a:gd name="connsiteY159" fmla="*/ 1254642 h 1693862"/>
                <a:gd name="connsiteX160" fmla="*/ 925738 w 1792288"/>
                <a:gd name="connsiteY160" fmla="*/ 1249028 h 1693862"/>
                <a:gd name="connsiteX161" fmla="*/ 929986 w 1792288"/>
                <a:gd name="connsiteY161" fmla="*/ 1253342 h 1693862"/>
                <a:gd name="connsiteX162" fmla="*/ 931425 w 1792288"/>
                <a:gd name="connsiteY162" fmla="*/ 1252855 h 1693862"/>
                <a:gd name="connsiteX163" fmla="*/ 1223220 w 1792288"/>
                <a:gd name="connsiteY163" fmla="*/ 1243553 h 1693862"/>
                <a:gd name="connsiteX164" fmla="*/ 1211555 w 1792288"/>
                <a:gd name="connsiteY164" fmla="*/ 1248710 h 1693862"/>
                <a:gd name="connsiteX165" fmla="*/ 1219045 w 1792288"/>
                <a:gd name="connsiteY165" fmla="*/ 1246187 h 1693862"/>
                <a:gd name="connsiteX166" fmla="*/ 1219161 w 1792288"/>
                <a:gd name="connsiteY166" fmla="*/ 1246325 h 1693862"/>
                <a:gd name="connsiteX167" fmla="*/ 1221110 w 1792288"/>
                <a:gd name="connsiteY167" fmla="*/ 1244966 h 1693862"/>
                <a:gd name="connsiteX168" fmla="*/ 1131119 w 1792288"/>
                <a:gd name="connsiteY168" fmla="*/ 1237547 h 1693862"/>
                <a:gd name="connsiteX169" fmla="*/ 1132399 w 1792288"/>
                <a:gd name="connsiteY169" fmla="*/ 1240501 h 1693862"/>
                <a:gd name="connsiteX170" fmla="*/ 1134799 w 1792288"/>
                <a:gd name="connsiteY170" fmla="*/ 1243529 h 1693862"/>
                <a:gd name="connsiteX171" fmla="*/ 1422215 w 1792288"/>
                <a:gd name="connsiteY171" fmla="*/ 1213400 h 1693862"/>
                <a:gd name="connsiteX172" fmla="*/ 1418079 w 1792288"/>
                <a:gd name="connsiteY172" fmla="*/ 1228378 h 1693862"/>
                <a:gd name="connsiteX173" fmla="*/ 1400939 w 1792288"/>
                <a:gd name="connsiteY173" fmla="*/ 1240325 h 1693862"/>
                <a:gd name="connsiteX174" fmla="*/ 1405148 w 1792288"/>
                <a:gd name="connsiteY174" fmla="*/ 1246696 h 1693862"/>
                <a:gd name="connsiteX175" fmla="*/ 1411051 w 1792288"/>
                <a:gd name="connsiteY175" fmla="*/ 1244122 h 1693862"/>
                <a:gd name="connsiteX176" fmla="*/ 1422790 w 1792288"/>
                <a:gd name="connsiteY176" fmla="*/ 1233444 h 1693862"/>
                <a:gd name="connsiteX177" fmla="*/ 1424869 w 1792288"/>
                <a:gd name="connsiteY177" fmla="*/ 1222038 h 1693862"/>
                <a:gd name="connsiteX178" fmla="*/ 1421243 w 1792288"/>
                <a:gd name="connsiteY178" fmla="*/ 1211281 h 1693862"/>
                <a:gd name="connsiteX179" fmla="*/ 1421963 w 1792288"/>
                <a:gd name="connsiteY179" fmla="*/ 1212580 h 1693862"/>
                <a:gd name="connsiteX180" fmla="*/ 1421812 w 1792288"/>
                <a:gd name="connsiteY180" fmla="*/ 1212088 h 1693862"/>
                <a:gd name="connsiteX181" fmla="*/ 925341 w 1792288"/>
                <a:gd name="connsiteY181" fmla="*/ 1203610 h 1693862"/>
                <a:gd name="connsiteX182" fmla="*/ 912817 w 1792288"/>
                <a:gd name="connsiteY182" fmla="*/ 1204658 h 1693862"/>
                <a:gd name="connsiteX183" fmla="*/ 912306 w 1792288"/>
                <a:gd name="connsiteY183" fmla="*/ 1204373 h 1693862"/>
                <a:gd name="connsiteX184" fmla="*/ 913154 w 1792288"/>
                <a:gd name="connsiteY184" fmla="*/ 1206445 h 1693862"/>
                <a:gd name="connsiteX185" fmla="*/ 940198 w 1792288"/>
                <a:gd name="connsiteY185" fmla="*/ 1202267 h 1693862"/>
                <a:gd name="connsiteX186" fmla="*/ 939968 w 1792288"/>
                <a:gd name="connsiteY186" fmla="*/ 1202288 h 1693862"/>
                <a:gd name="connsiteX187" fmla="*/ 941209 w 1792288"/>
                <a:gd name="connsiteY187" fmla="*/ 1202827 h 1693862"/>
                <a:gd name="connsiteX188" fmla="*/ 908425 w 1792288"/>
                <a:gd name="connsiteY188" fmla="*/ 1194953 h 1693862"/>
                <a:gd name="connsiteX189" fmla="*/ 903540 w 1792288"/>
                <a:gd name="connsiteY189" fmla="*/ 1198751 h 1693862"/>
                <a:gd name="connsiteX190" fmla="*/ 892477 w 1792288"/>
                <a:gd name="connsiteY190" fmla="*/ 1209270 h 1693862"/>
                <a:gd name="connsiteX191" fmla="*/ 887155 w 1792288"/>
                <a:gd name="connsiteY191" fmla="*/ 1214481 h 1693862"/>
                <a:gd name="connsiteX192" fmla="*/ 896032 w 1792288"/>
                <a:gd name="connsiteY192" fmla="*/ 1206048 h 1693862"/>
                <a:gd name="connsiteX193" fmla="*/ 908338 w 1792288"/>
                <a:gd name="connsiteY193" fmla="*/ 1195633 h 1693862"/>
                <a:gd name="connsiteX194" fmla="*/ 908337 w 1792288"/>
                <a:gd name="connsiteY194" fmla="*/ 1195445 h 1693862"/>
                <a:gd name="connsiteX195" fmla="*/ 1042397 w 1792288"/>
                <a:gd name="connsiteY195" fmla="*/ 1194390 h 1693862"/>
                <a:gd name="connsiteX196" fmla="*/ 1037871 w 1792288"/>
                <a:gd name="connsiteY196" fmla="*/ 1201480 h 1693862"/>
                <a:gd name="connsiteX197" fmla="*/ 1022597 w 1792288"/>
                <a:gd name="connsiteY197" fmla="*/ 1202267 h 1693862"/>
                <a:gd name="connsiteX198" fmla="*/ 995138 w 1792288"/>
                <a:gd name="connsiteY198" fmla="*/ 1209876 h 1693862"/>
                <a:gd name="connsiteX199" fmla="*/ 981398 w 1792288"/>
                <a:gd name="connsiteY199" fmla="*/ 1209876 h 1693862"/>
                <a:gd name="connsiteX200" fmla="*/ 974954 w 1792288"/>
                <a:gd name="connsiteY200" fmla="*/ 1210833 h 1693862"/>
                <a:gd name="connsiteX201" fmla="*/ 979495 w 1792288"/>
                <a:gd name="connsiteY201" fmla="*/ 1210833 h 1693862"/>
                <a:gd name="connsiteX202" fmla="*/ 995363 w 1792288"/>
                <a:gd name="connsiteY202" fmla="*/ 1210833 h 1693862"/>
                <a:gd name="connsiteX203" fmla="*/ 1027120 w 1792288"/>
                <a:gd name="connsiteY203" fmla="*/ 1203184 h 1693862"/>
                <a:gd name="connsiteX204" fmla="*/ 1035044 w 1792288"/>
                <a:gd name="connsiteY204" fmla="*/ 1203184 h 1693862"/>
                <a:gd name="connsiteX205" fmla="*/ 1042988 w 1792288"/>
                <a:gd name="connsiteY205" fmla="*/ 1195528 h 1693862"/>
                <a:gd name="connsiteX206" fmla="*/ 1144648 w 1792288"/>
                <a:gd name="connsiteY206" fmla="*/ 1192744 h 1693862"/>
                <a:gd name="connsiteX207" fmla="*/ 1145498 w 1792288"/>
                <a:gd name="connsiteY207" fmla="*/ 1193594 h 1693862"/>
                <a:gd name="connsiteX208" fmla="*/ 1147317 w 1792288"/>
                <a:gd name="connsiteY208" fmla="*/ 1194159 h 1693862"/>
                <a:gd name="connsiteX209" fmla="*/ 1321051 w 1792288"/>
                <a:gd name="connsiteY209" fmla="*/ 1171317 h 1693862"/>
                <a:gd name="connsiteX210" fmla="*/ 1291337 w 1792288"/>
                <a:gd name="connsiteY210" fmla="*/ 1174594 h 1693862"/>
                <a:gd name="connsiteX211" fmla="*/ 1267511 w 1792288"/>
                <a:gd name="connsiteY211" fmla="*/ 1177221 h 1693862"/>
                <a:gd name="connsiteX212" fmla="*/ 1269609 w 1792288"/>
                <a:gd name="connsiteY212" fmla="*/ 1179275 h 1693862"/>
                <a:gd name="connsiteX213" fmla="*/ 1331802 w 1792288"/>
                <a:gd name="connsiteY213" fmla="*/ 1172494 h 1693862"/>
                <a:gd name="connsiteX214" fmla="*/ 1335673 w 1792288"/>
                <a:gd name="connsiteY214" fmla="*/ 1171317 h 1693862"/>
                <a:gd name="connsiteX215" fmla="*/ 1130294 w 1792288"/>
                <a:gd name="connsiteY215" fmla="*/ 1168717 h 1693862"/>
                <a:gd name="connsiteX216" fmla="*/ 1130294 w 1792288"/>
                <a:gd name="connsiteY216" fmla="*/ 1172583 h 1693862"/>
                <a:gd name="connsiteX217" fmla="*/ 1138238 w 1792288"/>
                <a:gd name="connsiteY217" fmla="*/ 1187880 h 1693862"/>
                <a:gd name="connsiteX218" fmla="*/ 1130294 w 1792288"/>
                <a:gd name="connsiteY218" fmla="*/ 1203184 h 1693862"/>
                <a:gd name="connsiteX219" fmla="*/ 1123999 w 1792288"/>
                <a:gd name="connsiteY219" fmla="*/ 1221412 h 1693862"/>
                <a:gd name="connsiteX220" fmla="*/ 1125612 w 1792288"/>
                <a:gd name="connsiteY220" fmla="*/ 1220651 h 1693862"/>
                <a:gd name="connsiteX221" fmla="*/ 1128111 w 1792288"/>
                <a:gd name="connsiteY221" fmla="*/ 1213406 h 1693862"/>
                <a:gd name="connsiteX222" fmla="*/ 1131894 w 1792288"/>
                <a:gd name="connsiteY222" fmla="*/ 1202519 h 1693862"/>
                <a:gd name="connsiteX223" fmla="*/ 1138703 w 1792288"/>
                <a:gd name="connsiteY223" fmla="*/ 1189422 h 1693862"/>
                <a:gd name="connsiteX224" fmla="*/ 1140266 w 1792288"/>
                <a:gd name="connsiteY224" fmla="*/ 1188572 h 1693862"/>
                <a:gd name="connsiteX225" fmla="*/ 1136248 w 1792288"/>
                <a:gd name="connsiteY225" fmla="*/ 1181498 h 1693862"/>
                <a:gd name="connsiteX226" fmla="*/ 1223792 w 1792288"/>
                <a:gd name="connsiteY226" fmla="*/ 1168591 h 1693862"/>
                <a:gd name="connsiteX227" fmla="*/ 1221799 w 1792288"/>
                <a:gd name="connsiteY227" fmla="*/ 1171250 h 1693862"/>
                <a:gd name="connsiteX228" fmla="*/ 1225059 w 1792288"/>
                <a:gd name="connsiteY228" fmla="*/ 1168740 h 1693862"/>
                <a:gd name="connsiteX229" fmla="*/ 1056943 w 1792288"/>
                <a:gd name="connsiteY229" fmla="*/ 1166783 h 1693862"/>
                <a:gd name="connsiteX230" fmla="*/ 1054876 w 1792288"/>
                <a:gd name="connsiteY230" fmla="*/ 1167806 h 1693862"/>
                <a:gd name="connsiteX231" fmla="*/ 1046812 w 1792288"/>
                <a:gd name="connsiteY231" fmla="*/ 1173462 h 1693862"/>
                <a:gd name="connsiteX232" fmla="*/ 1038192 w 1792288"/>
                <a:gd name="connsiteY232" fmla="*/ 1178716 h 1693862"/>
                <a:gd name="connsiteX233" fmla="*/ 1050932 w 1792288"/>
                <a:gd name="connsiteY233" fmla="*/ 1172583 h 1693862"/>
                <a:gd name="connsiteX234" fmla="*/ 1083051 w 1792288"/>
                <a:gd name="connsiteY234" fmla="*/ 1164568 h 1693862"/>
                <a:gd name="connsiteX235" fmla="*/ 1079881 w 1792288"/>
                <a:gd name="connsiteY235" fmla="*/ 1164824 h 1693862"/>
                <a:gd name="connsiteX236" fmla="*/ 1074252 w 1792288"/>
                <a:gd name="connsiteY236" fmla="*/ 1164935 h 1693862"/>
                <a:gd name="connsiteX237" fmla="*/ 1082669 w 1792288"/>
                <a:gd name="connsiteY237" fmla="*/ 1164935 h 1693862"/>
                <a:gd name="connsiteX238" fmla="*/ 1094436 w 1792288"/>
                <a:gd name="connsiteY238" fmla="*/ 1157602 h 1693862"/>
                <a:gd name="connsiteX239" fmla="*/ 1093799 w 1792288"/>
                <a:gd name="connsiteY239" fmla="*/ 1158054 h 1693862"/>
                <a:gd name="connsiteX240" fmla="*/ 1122370 w 1792288"/>
                <a:gd name="connsiteY240" fmla="*/ 1164935 h 1693862"/>
                <a:gd name="connsiteX241" fmla="*/ 1129434 w 1792288"/>
                <a:gd name="connsiteY241" fmla="*/ 1164935 h 1693862"/>
                <a:gd name="connsiteX242" fmla="*/ 1134012 w 1792288"/>
                <a:gd name="connsiteY242" fmla="*/ 1162476 h 1693862"/>
                <a:gd name="connsiteX243" fmla="*/ 1127781 w 1792288"/>
                <a:gd name="connsiteY243" fmla="*/ 1164824 h 1693862"/>
                <a:gd name="connsiteX244" fmla="*/ 1112220 w 1792288"/>
                <a:gd name="connsiteY244" fmla="*/ 1161242 h 1693862"/>
                <a:gd name="connsiteX245" fmla="*/ 1108165 w 1792288"/>
                <a:gd name="connsiteY245" fmla="*/ 1159843 h 1693862"/>
                <a:gd name="connsiteX246" fmla="*/ 1107398 w 1792288"/>
                <a:gd name="connsiteY246" fmla="*/ 1159647 h 1693862"/>
                <a:gd name="connsiteX247" fmla="*/ 1094436 w 1792288"/>
                <a:gd name="connsiteY247" fmla="*/ 1157602 h 1693862"/>
                <a:gd name="connsiteX248" fmla="*/ 1042036 w 1792288"/>
                <a:gd name="connsiteY248" fmla="*/ 1146084 h 1693862"/>
                <a:gd name="connsiteX249" fmla="*/ 1048405 w 1792288"/>
                <a:gd name="connsiteY249" fmla="*/ 1155007 h 1693862"/>
                <a:gd name="connsiteX250" fmla="*/ 1058424 w 1792288"/>
                <a:gd name="connsiteY250" fmla="*/ 1165354 h 1693862"/>
                <a:gd name="connsiteX251" fmla="*/ 1058857 w 1792288"/>
                <a:gd name="connsiteY251" fmla="*/ 1164935 h 1693862"/>
                <a:gd name="connsiteX252" fmla="*/ 1059285 w 1792288"/>
                <a:gd name="connsiteY252" fmla="*/ 1164935 h 1693862"/>
                <a:gd name="connsiteX253" fmla="*/ 1056834 w 1792288"/>
                <a:gd name="connsiteY253" fmla="*/ 1162341 h 1693862"/>
                <a:gd name="connsiteX254" fmla="*/ 1052364 w 1792288"/>
                <a:gd name="connsiteY254" fmla="*/ 1157659 h 1693862"/>
                <a:gd name="connsiteX255" fmla="*/ 1045545 w 1792288"/>
                <a:gd name="connsiteY255" fmla="*/ 1150837 h 1693862"/>
                <a:gd name="connsiteX256" fmla="*/ 871825 w 1792288"/>
                <a:gd name="connsiteY256" fmla="*/ 1119129 h 1693862"/>
                <a:gd name="connsiteX257" fmla="*/ 874804 w 1792288"/>
                <a:gd name="connsiteY257" fmla="*/ 1122748 h 1693862"/>
                <a:gd name="connsiteX258" fmla="*/ 876226 w 1792288"/>
                <a:gd name="connsiteY258" fmla="*/ 1123407 h 1693862"/>
                <a:gd name="connsiteX259" fmla="*/ 876371 w 1792288"/>
                <a:gd name="connsiteY259" fmla="*/ 1123086 h 1693862"/>
                <a:gd name="connsiteX260" fmla="*/ 848970 w 1792288"/>
                <a:gd name="connsiteY260" fmla="*/ 1102428 h 1693862"/>
                <a:gd name="connsiteX261" fmla="*/ 853694 w 1792288"/>
                <a:gd name="connsiteY261" fmla="*/ 1105429 h 1693862"/>
                <a:gd name="connsiteX262" fmla="*/ 858066 w 1792288"/>
                <a:gd name="connsiteY262" fmla="*/ 1108216 h 1693862"/>
                <a:gd name="connsiteX263" fmla="*/ 851953 w 1792288"/>
                <a:gd name="connsiteY263" fmla="*/ 1103909 h 1693862"/>
                <a:gd name="connsiteX264" fmla="*/ 1111321 w 1792288"/>
                <a:gd name="connsiteY264" fmla="*/ 1101881 h 1693862"/>
                <a:gd name="connsiteX265" fmla="*/ 1127466 w 1792288"/>
                <a:gd name="connsiteY265" fmla="*/ 1109938 h 1693862"/>
                <a:gd name="connsiteX266" fmla="*/ 1169988 w 1792288"/>
                <a:gd name="connsiteY266" fmla="*/ 1131140 h 1693862"/>
                <a:gd name="connsiteX267" fmla="*/ 1169904 w 1792288"/>
                <a:gd name="connsiteY267" fmla="*/ 1132133 h 1693862"/>
                <a:gd name="connsiteX268" fmla="*/ 1176522 w 1792288"/>
                <a:gd name="connsiteY268" fmla="*/ 1130582 h 1693862"/>
                <a:gd name="connsiteX269" fmla="*/ 1175237 w 1792288"/>
                <a:gd name="connsiteY269" fmla="*/ 1129945 h 1693862"/>
                <a:gd name="connsiteX270" fmla="*/ 1147814 w 1792288"/>
                <a:gd name="connsiteY270" fmla="*/ 1116352 h 1693862"/>
                <a:gd name="connsiteX271" fmla="*/ 1131287 w 1792288"/>
                <a:gd name="connsiteY271" fmla="*/ 1109799 h 1693862"/>
                <a:gd name="connsiteX272" fmla="*/ 882563 w 1792288"/>
                <a:gd name="connsiteY272" fmla="*/ 1097331 h 1693862"/>
                <a:gd name="connsiteX273" fmla="*/ 884936 w 1792288"/>
                <a:gd name="connsiteY273" fmla="*/ 1104104 h 1693862"/>
                <a:gd name="connsiteX274" fmla="*/ 885278 w 1792288"/>
                <a:gd name="connsiteY274" fmla="*/ 1103345 h 1693862"/>
                <a:gd name="connsiteX275" fmla="*/ 1058520 w 1792288"/>
                <a:gd name="connsiteY275" fmla="*/ 1083345 h 1693862"/>
                <a:gd name="connsiteX276" fmla="*/ 1052467 w 1792288"/>
                <a:gd name="connsiteY276" fmla="*/ 1089322 h 1693862"/>
                <a:gd name="connsiteX277" fmla="*/ 1036337 w 1792288"/>
                <a:gd name="connsiteY277" fmla="*/ 1095736 h 1693862"/>
                <a:gd name="connsiteX278" fmla="*/ 1022597 w 1792288"/>
                <a:gd name="connsiteY278" fmla="*/ 1103345 h 1693862"/>
                <a:gd name="connsiteX279" fmla="*/ 1017640 w 1792288"/>
                <a:gd name="connsiteY279" fmla="*/ 1106826 h 1693862"/>
                <a:gd name="connsiteX280" fmla="*/ 1025057 w 1792288"/>
                <a:gd name="connsiteY280" fmla="*/ 1103124 h 1693862"/>
                <a:gd name="connsiteX281" fmla="*/ 1038710 w 1792288"/>
                <a:gd name="connsiteY281" fmla="*/ 1096311 h 1693862"/>
                <a:gd name="connsiteX282" fmla="*/ 1052364 w 1792288"/>
                <a:gd name="connsiteY282" fmla="*/ 1089489 h 1693862"/>
                <a:gd name="connsiteX283" fmla="*/ 1058524 w 1792288"/>
                <a:gd name="connsiteY283" fmla="*/ 1083347 h 1693862"/>
                <a:gd name="connsiteX284" fmla="*/ 1070667 w 1792288"/>
                <a:gd name="connsiteY284" fmla="*/ 1081996 h 1693862"/>
                <a:gd name="connsiteX285" fmla="*/ 1070667 w 1792288"/>
                <a:gd name="connsiteY285" fmla="*/ 1088127 h 1693862"/>
                <a:gd name="connsiteX286" fmla="*/ 1067860 w 1792288"/>
                <a:gd name="connsiteY286" fmla="*/ 1086998 h 1693862"/>
                <a:gd name="connsiteX287" fmla="*/ 1072852 w 1792288"/>
                <a:gd name="connsiteY287" fmla="*/ 1089489 h 1693862"/>
                <a:gd name="connsiteX288" fmla="*/ 1072852 w 1792288"/>
                <a:gd name="connsiteY288" fmla="*/ 1083079 h 1693862"/>
                <a:gd name="connsiteX289" fmla="*/ 864428 w 1792288"/>
                <a:gd name="connsiteY289" fmla="*/ 1062355 h 1693862"/>
                <a:gd name="connsiteX290" fmla="*/ 865678 w 1792288"/>
                <a:gd name="connsiteY290" fmla="*/ 1062976 h 1693862"/>
                <a:gd name="connsiteX291" fmla="*/ 875759 w 1792288"/>
                <a:gd name="connsiteY291" fmla="*/ 1067005 h 1693862"/>
                <a:gd name="connsiteX292" fmla="*/ 885019 w 1792288"/>
                <a:gd name="connsiteY292" fmla="*/ 1073279 h 1693862"/>
                <a:gd name="connsiteX293" fmla="*/ 880774 w 1792288"/>
                <a:gd name="connsiteY293" fmla="*/ 1069128 h 1693862"/>
                <a:gd name="connsiteX294" fmla="*/ 866920 w 1792288"/>
                <a:gd name="connsiteY294" fmla="*/ 1062355 h 1693862"/>
                <a:gd name="connsiteX295" fmla="*/ 1461135 w 1792288"/>
                <a:gd name="connsiteY295" fmla="*/ 1016706 h 1693862"/>
                <a:gd name="connsiteX296" fmla="*/ 1454572 w 1792288"/>
                <a:gd name="connsiteY296" fmla="*/ 1036500 h 1693862"/>
                <a:gd name="connsiteX297" fmla="*/ 1445946 w 1792288"/>
                <a:gd name="connsiteY297" fmla="*/ 1062515 h 1693862"/>
                <a:gd name="connsiteX298" fmla="*/ 1446269 w 1792288"/>
                <a:gd name="connsiteY298" fmla="*/ 1062595 h 1693862"/>
                <a:gd name="connsiteX299" fmla="*/ 1452872 w 1792288"/>
                <a:gd name="connsiteY299" fmla="*/ 1042938 h 1693862"/>
                <a:gd name="connsiteX300" fmla="*/ 1461684 w 1792288"/>
                <a:gd name="connsiteY300" fmla="*/ 1016706 h 1693862"/>
                <a:gd name="connsiteX301" fmla="*/ 1323784 w 1792288"/>
                <a:gd name="connsiteY301" fmla="*/ 925665 h 1693862"/>
                <a:gd name="connsiteX302" fmla="*/ 1323867 w 1792288"/>
                <a:gd name="connsiteY302" fmla="*/ 927452 h 1693862"/>
                <a:gd name="connsiteX303" fmla="*/ 1321720 w 1792288"/>
                <a:gd name="connsiteY303" fmla="*/ 936086 h 1693862"/>
                <a:gd name="connsiteX304" fmla="*/ 1320800 w 1792288"/>
                <a:gd name="connsiteY304" fmla="*/ 937079 h 1693862"/>
                <a:gd name="connsiteX305" fmla="*/ 1296988 w 1792288"/>
                <a:gd name="connsiteY305" fmla="*/ 937079 h 1693862"/>
                <a:gd name="connsiteX306" fmla="*/ 1281113 w 1792288"/>
                <a:gd name="connsiteY306" fmla="*/ 944789 h 1693862"/>
                <a:gd name="connsiteX307" fmla="*/ 1265238 w 1792288"/>
                <a:gd name="connsiteY307" fmla="*/ 952500 h 1693862"/>
                <a:gd name="connsiteX308" fmla="*/ 1249363 w 1792288"/>
                <a:gd name="connsiteY308" fmla="*/ 937079 h 1693862"/>
                <a:gd name="connsiteX309" fmla="*/ 1248371 w 1792288"/>
                <a:gd name="connsiteY309" fmla="*/ 937079 h 1693862"/>
                <a:gd name="connsiteX310" fmla="*/ 1242140 w 1792288"/>
                <a:gd name="connsiteY310" fmla="*/ 937079 h 1693862"/>
                <a:gd name="connsiteX311" fmla="*/ 1241834 w 1792288"/>
                <a:gd name="connsiteY311" fmla="*/ 937702 h 1693862"/>
                <a:gd name="connsiteX312" fmla="*/ 1241835 w 1792288"/>
                <a:gd name="connsiteY312" fmla="*/ 937702 h 1693862"/>
                <a:gd name="connsiteX313" fmla="*/ 1249670 w 1792288"/>
                <a:gd name="connsiteY313" fmla="*/ 937702 h 1693862"/>
                <a:gd name="connsiteX314" fmla="*/ 1265340 w 1792288"/>
                <a:gd name="connsiteY314" fmla="*/ 961004 h 1693862"/>
                <a:gd name="connsiteX315" fmla="*/ 1273175 w 1792288"/>
                <a:gd name="connsiteY315" fmla="*/ 992074 h 1693862"/>
                <a:gd name="connsiteX316" fmla="*/ 1257505 w 1792288"/>
                <a:gd name="connsiteY316" fmla="*/ 1007609 h 1693862"/>
                <a:gd name="connsiteX317" fmla="*/ 1265340 w 1792288"/>
                <a:gd name="connsiteY317" fmla="*/ 1030911 h 1693862"/>
                <a:gd name="connsiteX318" fmla="*/ 1265340 w 1792288"/>
                <a:gd name="connsiteY318" fmla="*/ 1046446 h 1693862"/>
                <a:gd name="connsiteX319" fmla="*/ 1273175 w 1792288"/>
                <a:gd name="connsiteY319" fmla="*/ 1077515 h 1693862"/>
                <a:gd name="connsiteX320" fmla="*/ 1257505 w 1792288"/>
                <a:gd name="connsiteY320" fmla="*/ 1093050 h 1693862"/>
                <a:gd name="connsiteX321" fmla="*/ 1241835 w 1792288"/>
                <a:gd name="connsiteY321" fmla="*/ 1131887 h 1693862"/>
                <a:gd name="connsiteX322" fmla="*/ 1226165 w 1792288"/>
                <a:gd name="connsiteY322" fmla="*/ 1131887 h 1693862"/>
                <a:gd name="connsiteX323" fmla="*/ 1210495 w 1792288"/>
                <a:gd name="connsiteY323" fmla="*/ 1131887 h 1693862"/>
                <a:gd name="connsiteX324" fmla="*/ 1206583 w 1792288"/>
                <a:gd name="connsiteY324" fmla="*/ 1131887 h 1693862"/>
                <a:gd name="connsiteX325" fmla="*/ 1211524 w 1792288"/>
                <a:gd name="connsiteY325" fmla="*/ 1132964 h 1693862"/>
                <a:gd name="connsiteX326" fmla="*/ 1227138 w 1792288"/>
                <a:gd name="connsiteY326" fmla="*/ 1132964 h 1693862"/>
                <a:gd name="connsiteX327" fmla="*/ 1227138 w 1792288"/>
                <a:gd name="connsiteY327" fmla="*/ 1132488 h 1693862"/>
                <a:gd name="connsiteX328" fmla="*/ 1242790 w 1792288"/>
                <a:gd name="connsiteY328" fmla="*/ 1132488 h 1693862"/>
                <a:gd name="connsiteX329" fmla="*/ 1258443 w 1792288"/>
                <a:gd name="connsiteY329" fmla="*/ 1093659 h 1693862"/>
                <a:gd name="connsiteX330" fmla="*/ 1274095 w 1792288"/>
                <a:gd name="connsiteY330" fmla="*/ 1078127 h 1693862"/>
                <a:gd name="connsiteX331" fmla="*/ 1266269 w 1792288"/>
                <a:gd name="connsiteY331" fmla="*/ 1047064 h 1693862"/>
                <a:gd name="connsiteX332" fmla="*/ 1266667 w 1792288"/>
                <a:gd name="connsiteY332" fmla="*/ 1046866 h 1693862"/>
                <a:gd name="connsiteX333" fmla="*/ 1266667 w 1792288"/>
                <a:gd name="connsiteY333" fmla="*/ 1046030 h 1693862"/>
                <a:gd name="connsiteX334" fmla="*/ 1266667 w 1792288"/>
                <a:gd name="connsiteY334" fmla="*/ 1032345 h 1693862"/>
                <a:gd name="connsiteX335" fmla="*/ 1258888 w 1792288"/>
                <a:gd name="connsiteY335" fmla="*/ 1008886 h 1693862"/>
                <a:gd name="connsiteX336" fmla="*/ 1274446 w 1792288"/>
                <a:gd name="connsiteY336" fmla="*/ 993246 h 1693862"/>
                <a:gd name="connsiteX337" fmla="*/ 1266667 w 1792288"/>
                <a:gd name="connsiteY337" fmla="*/ 961966 h 1693862"/>
                <a:gd name="connsiteX338" fmla="*/ 1266667 w 1792288"/>
                <a:gd name="connsiteY338" fmla="*/ 954146 h 1693862"/>
                <a:gd name="connsiteX339" fmla="*/ 1282224 w 1792288"/>
                <a:gd name="connsiteY339" fmla="*/ 946326 h 1693862"/>
                <a:gd name="connsiteX340" fmla="*/ 1297782 w 1792288"/>
                <a:gd name="connsiteY340" fmla="*/ 938506 h 1693862"/>
                <a:gd name="connsiteX341" fmla="*/ 1321118 w 1792288"/>
                <a:gd name="connsiteY341" fmla="*/ 938506 h 1693862"/>
                <a:gd name="connsiteX342" fmla="*/ 1321720 w 1792288"/>
                <a:gd name="connsiteY342" fmla="*/ 936086 h 1693862"/>
                <a:gd name="connsiteX343" fmla="*/ 1324149 w 1792288"/>
                <a:gd name="connsiteY343" fmla="*/ 933464 h 1693862"/>
                <a:gd name="connsiteX344" fmla="*/ 1323867 w 1792288"/>
                <a:gd name="connsiteY344" fmla="*/ 927452 h 1693862"/>
                <a:gd name="connsiteX345" fmla="*/ 1324035 w 1792288"/>
                <a:gd name="connsiteY345" fmla="*/ 926777 h 1693862"/>
                <a:gd name="connsiteX346" fmla="*/ 1322090 w 1792288"/>
                <a:gd name="connsiteY346" fmla="*/ 918304 h 1693862"/>
                <a:gd name="connsiteX347" fmla="*/ 1322966 w 1792288"/>
                <a:gd name="connsiteY347" fmla="*/ 922046 h 1693862"/>
                <a:gd name="connsiteX348" fmla="*/ 1322212 w 1792288"/>
                <a:gd name="connsiteY348" fmla="*/ 918712 h 1693862"/>
                <a:gd name="connsiteX349" fmla="*/ 1242428 w 1792288"/>
                <a:gd name="connsiteY349" fmla="*/ 908185 h 1693862"/>
                <a:gd name="connsiteX350" fmla="*/ 1249192 w 1792288"/>
                <a:gd name="connsiteY350" fmla="*/ 921988 h 1693862"/>
                <a:gd name="connsiteX351" fmla="*/ 1249363 w 1792288"/>
                <a:gd name="connsiteY351" fmla="*/ 921657 h 1693862"/>
                <a:gd name="connsiteX352" fmla="*/ 1248371 w 1792288"/>
                <a:gd name="connsiteY352" fmla="*/ 919730 h 1693862"/>
                <a:gd name="connsiteX353" fmla="*/ 1235499 w 1792288"/>
                <a:gd name="connsiteY353" fmla="*/ 903357 h 1693862"/>
                <a:gd name="connsiteX354" fmla="*/ 1241527 w 1792288"/>
                <a:gd name="connsiteY354" fmla="*/ 906433 h 1693862"/>
                <a:gd name="connsiteX355" fmla="*/ 1241425 w 1792288"/>
                <a:gd name="connsiteY355" fmla="*/ 906236 h 1693862"/>
                <a:gd name="connsiteX356" fmla="*/ 1239441 w 1792288"/>
                <a:gd name="connsiteY356" fmla="*/ 905272 h 1693862"/>
                <a:gd name="connsiteX357" fmla="*/ 503804 w 1792288"/>
                <a:gd name="connsiteY357" fmla="*/ 890587 h 1693862"/>
                <a:gd name="connsiteX358" fmla="*/ 511628 w 1792288"/>
                <a:gd name="connsiteY358" fmla="*/ 898373 h 1693862"/>
                <a:gd name="connsiteX359" fmla="*/ 527277 w 1792288"/>
                <a:gd name="connsiteY359" fmla="*/ 898373 h 1693862"/>
                <a:gd name="connsiteX360" fmla="*/ 535101 w 1792288"/>
                <a:gd name="connsiteY360" fmla="*/ 913946 h 1693862"/>
                <a:gd name="connsiteX361" fmla="*/ 542925 w 1792288"/>
                <a:gd name="connsiteY361" fmla="*/ 929519 h 1693862"/>
                <a:gd name="connsiteX362" fmla="*/ 527277 w 1792288"/>
                <a:gd name="connsiteY362" fmla="*/ 945091 h 1693862"/>
                <a:gd name="connsiteX363" fmla="*/ 535101 w 1792288"/>
                <a:gd name="connsiteY363" fmla="*/ 976237 h 1693862"/>
                <a:gd name="connsiteX364" fmla="*/ 527277 w 1792288"/>
                <a:gd name="connsiteY364" fmla="*/ 1015168 h 1693862"/>
                <a:gd name="connsiteX365" fmla="*/ 503804 w 1792288"/>
                <a:gd name="connsiteY365" fmla="*/ 1022955 h 1693862"/>
                <a:gd name="connsiteX366" fmla="*/ 456860 w 1792288"/>
                <a:gd name="connsiteY366" fmla="*/ 1054100 h 1693862"/>
                <a:gd name="connsiteX367" fmla="*/ 433388 w 1792288"/>
                <a:gd name="connsiteY367" fmla="*/ 1038527 h 1693862"/>
                <a:gd name="connsiteX368" fmla="*/ 433388 w 1792288"/>
                <a:gd name="connsiteY368" fmla="*/ 1022955 h 1693862"/>
                <a:gd name="connsiteX369" fmla="*/ 441212 w 1792288"/>
                <a:gd name="connsiteY369" fmla="*/ 1015168 h 1693862"/>
                <a:gd name="connsiteX370" fmla="*/ 449036 w 1792288"/>
                <a:gd name="connsiteY370" fmla="*/ 999596 h 1693862"/>
                <a:gd name="connsiteX371" fmla="*/ 449036 w 1792288"/>
                <a:gd name="connsiteY371" fmla="*/ 976237 h 1693862"/>
                <a:gd name="connsiteX372" fmla="*/ 441212 w 1792288"/>
                <a:gd name="connsiteY372" fmla="*/ 968450 h 1693862"/>
                <a:gd name="connsiteX373" fmla="*/ 449036 w 1792288"/>
                <a:gd name="connsiteY373" fmla="*/ 960664 h 1693862"/>
                <a:gd name="connsiteX374" fmla="*/ 441212 w 1792288"/>
                <a:gd name="connsiteY374" fmla="*/ 937305 h 1693862"/>
                <a:gd name="connsiteX375" fmla="*/ 472508 w 1792288"/>
                <a:gd name="connsiteY375" fmla="*/ 929519 h 1693862"/>
                <a:gd name="connsiteX376" fmla="*/ 472508 w 1792288"/>
                <a:gd name="connsiteY376" fmla="*/ 913946 h 1693862"/>
                <a:gd name="connsiteX377" fmla="*/ 1352170 w 1792288"/>
                <a:gd name="connsiteY377" fmla="*/ 875947 h 1693862"/>
                <a:gd name="connsiteX378" fmla="*/ 1350566 w 1792288"/>
                <a:gd name="connsiteY378" fmla="*/ 878284 h 1693862"/>
                <a:gd name="connsiteX379" fmla="*/ 1336675 w 1792288"/>
                <a:gd name="connsiteY379" fmla="*/ 898525 h 1693862"/>
                <a:gd name="connsiteX380" fmla="*/ 1320800 w 1792288"/>
                <a:gd name="connsiteY380" fmla="*/ 913947 h 1693862"/>
                <a:gd name="connsiteX381" fmla="*/ 1321135 w 1792288"/>
                <a:gd name="connsiteY381" fmla="*/ 915030 h 1693862"/>
                <a:gd name="connsiteX382" fmla="*/ 1323063 w 1792288"/>
                <a:gd name="connsiteY382" fmla="*/ 913092 h 1693862"/>
                <a:gd name="connsiteX383" fmla="*/ 1336676 w 1792288"/>
                <a:gd name="connsiteY383" fmla="*/ 899407 h 1693862"/>
                <a:gd name="connsiteX384" fmla="*/ 1352233 w 1792288"/>
                <a:gd name="connsiteY384" fmla="*/ 875947 h 1693862"/>
                <a:gd name="connsiteX385" fmla="*/ 1233488 w 1792288"/>
                <a:gd name="connsiteY385" fmla="*/ 844550 h 1693862"/>
                <a:gd name="connsiteX386" fmla="*/ 1265238 w 1792288"/>
                <a:gd name="connsiteY386" fmla="*/ 844550 h 1693862"/>
                <a:gd name="connsiteX387" fmla="*/ 1296988 w 1792288"/>
                <a:gd name="connsiteY387" fmla="*/ 852261 h 1693862"/>
                <a:gd name="connsiteX388" fmla="*/ 1312863 w 1792288"/>
                <a:gd name="connsiteY388" fmla="*/ 844550 h 1693862"/>
                <a:gd name="connsiteX389" fmla="*/ 1328738 w 1792288"/>
                <a:gd name="connsiteY389" fmla="*/ 859972 h 1693862"/>
                <a:gd name="connsiteX390" fmla="*/ 1344613 w 1792288"/>
                <a:gd name="connsiteY390" fmla="*/ 875393 h 1693862"/>
                <a:gd name="connsiteX391" fmla="*/ 1345605 w 1792288"/>
                <a:gd name="connsiteY391" fmla="*/ 875393 h 1693862"/>
                <a:gd name="connsiteX392" fmla="*/ 1346107 w 1792288"/>
                <a:gd name="connsiteY392" fmla="*/ 875393 h 1693862"/>
                <a:gd name="connsiteX393" fmla="*/ 1347371 w 1792288"/>
                <a:gd name="connsiteY393" fmla="*/ 874969 h 1693862"/>
                <a:gd name="connsiteX394" fmla="*/ 1367791 w 1792288"/>
                <a:gd name="connsiteY394" fmla="*/ 868127 h 1693862"/>
                <a:gd name="connsiteX395" fmla="*/ 1391127 w 1792288"/>
                <a:gd name="connsiteY395" fmla="*/ 852487 h 1693862"/>
                <a:gd name="connsiteX396" fmla="*/ 1414463 w 1792288"/>
                <a:gd name="connsiteY396" fmla="*/ 868127 h 1693862"/>
                <a:gd name="connsiteX397" fmla="*/ 1437799 w 1792288"/>
                <a:gd name="connsiteY397" fmla="*/ 875947 h 1693862"/>
                <a:gd name="connsiteX398" fmla="*/ 1468914 w 1792288"/>
                <a:gd name="connsiteY398" fmla="*/ 938506 h 1693862"/>
                <a:gd name="connsiteX399" fmla="*/ 1492250 w 1792288"/>
                <a:gd name="connsiteY399" fmla="*/ 961966 h 1693862"/>
                <a:gd name="connsiteX400" fmla="*/ 1484472 w 1792288"/>
                <a:gd name="connsiteY400" fmla="*/ 977606 h 1693862"/>
                <a:gd name="connsiteX401" fmla="*/ 1461135 w 1792288"/>
                <a:gd name="connsiteY401" fmla="*/ 985426 h 1693862"/>
                <a:gd name="connsiteX402" fmla="*/ 1464417 w 1792288"/>
                <a:gd name="connsiteY402" fmla="*/ 998622 h 1693862"/>
                <a:gd name="connsiteX403" fmla="*/ 1468739 w 1792288"/>
                <a:gd name="connsiteY403" fmla="*/ 1016000 h 1693862"/>
                <a:gd name="connsiteX404" fmla="*/ 1469747 w 1792288"/>
                <a:gd name="connsiteY404" fmla="*/ 1016000 h 1693862"/>
                <a:gd name="connsiteX405" fmla="*/ 1469747 w 1792288"/>
                <a:gd name="connsiteY405" fmla="*/ 1016654 h 1693862"/>
                <a:gd name="connsiteX406" fmla="*/ 1483971 w 1792288"/>
                <a:gd name="connsiteY406" fmla="*/ 1023766 h 1693862"/>
                <a:gd name="connsiteX407" fmla="*/ 1484867 w 1792288"/>
                <a:gd name="connsiteY407" fmla="*/ 1023766 h 1693862"/>
                <a:gd name="connsiteX408" fmla="*/ 1484313 w 1792288"/>
                <a:gd name="connsiteY408" fmla="*/ 1023541 h 1693862"/>
                <a:gd name="connsiteX409" fmla="*/ 1508126 w 1792288"/>
                <a:gd name="connsiteY409" fmla="*/ 1016000 h 1693862"/>
                <a:gd name="connsiteX410" fmla="*/ 1528178 w 1792288"/>
                <a:gd name="connsiteY410" fmla="*/ 1041400 h 1693862"/>
                <a:gd name="connsiteX411" fmla="*/ 1497357 w 1792288"/>
                <a:gd name="connsiteY411" fmla="*/ 1028851 h 1693862"/>
                <a:gd name="connsiteX412" fmla="*/ 1508511 w 1792288"/>
                <a:gd name="connsiteY412" fmla="*/ 1033595 h 1693862"/>
                <a:gd name="connsiteX413" fmla="*/ 1528842 w 1792288"/>
                <a:gd name="connsiteY413" fmla="*/ 1042241 h 1693862"/>
                <a:gd name="connsiteX414" fmla="*/ 1528178 w 1792288"/>
                <a:gd name="connsiteY414" fmla="*/ 1041400 h 1693862"/>
                <a:gd name="connsiteX415" fmla="*/ 1539875 w 1792288"/>
                <a:gd name="connsiteY415" fmla="*/ 1046162 h 1693862"/>
                <a:gd name="connsiteX416" fmla="*/ 1538062 w 1792288"/>
                <a:gd name="connsiteY416" fmla="*/ 1046162 h 1693862"/>
                <a:gd name="connsiteX417" fmla="*/ 1540182 w 1792288"/>
                <a:gd name="connsiteY417" fmla="*/ 1047064 h 1693862"/>
                <a:gd name="connsiteX418" fmla="*/ 1555834 w 1792288"/>
                <a:gd name="connsiteY418" fmla="*/ 1070361 h 1693862"/>
                <a:gd name="connsiteX419" fmla="*/ 1579312 w 1792288"/>
                <a:gd name="connsiteY419" fmla="*/ 1085893 h 1693862"/>
                <a:gd name="connsiteX420" fmla="*/ 1594964 w 1792288"/>
                <a:gd name="connsiteY420" fmla="*/ 1085893 h 1693862"/>
                <a:gd name="connsiteX421" fmla="*/ 1634095 w 1792288"/>
                <a:gd name="connsiteY421" fmla="*/ 1109191 h 1693862"/>
                <a:gd name="connsiteX422" fmla="*/ 1673225 w 1792288"/>
                <a:gd name="connsiteY422" fmla="*/ 1124722 h 1693862"/>
                <a:gd name="connsiteX423" fmla="*/ 1673225 w 1792288"/>
                <a:gd name="connsiteY423" fmla="*/ 1140254 h 1693862"/>
                <a:gd name="connsiteX424" fmla="*/ 1665399 w 1792288"/>
                <a:gd name="connsiteY424" fmla="*/ 1179083 h 1693862"/>
                <a:gd name="connsiteX425" fmla="*/ 1649747 w 1792288"/>
                <a:gd name="connsiteY425" fmla="*/ 1186849 h 1693862"/>
                <a:gd name="connsiteX426" fmla="*/ 1626269 w 1792288"/>
                <a:gd name="connsiteY426" fmla="*/ 1210147 h 1693862"/>
                <a:gd name="connsiteX427" fmla="*/ 1618443 w 1792288"/>
                <a:gd name="connsiteY427" fmla="*/ 1225678 h 1693862"/>
                <a:gd name="connsiteX428" fmla="*/ 1563660 w 1792288"/>
                <a:gd name="connsiteY428" fmla="*/ 1233444 h 1693862"/>
                <a:gd name="connsiteX429" fmla="*/ 1548008 w 1792288"/>
                <a:gd name="connsiteY429" fmla="*/ 1256742 h 1693862"/>
                <a:gd name="connsiteX430" fmla="*/ 1579312 w 1792288"/>
                <a:gd name="connsiteY430" fmla="*/ 1280040 h 1693862"/>
                <a:gd name="connsiteX431" fmla="*/ 1516703 w 1792288"/>
                <a:gd name="connsiteY431" fmla="*/ 1303337 h 1693862"/>
                <a:gd name="connsiteX432" fmla="*/ 1493225 w 1792288"/>
                <a:gd name="connsiteY432" fmla="*/ 1280040 h 1693862"/>
                <a:gd name="connsiteX433" fmla="*/ 1508877 w 1792288"/>
                <a:gd name="connsiteY433" fmla="*/ 1264508 h 1693862"/>
                <a:gd name="connsiteX434" fmla="*/ 1485399 w 1792288"/>
                <a:gd name="connsiteY434" fmla="*/ 1241210 h 1693862"/>
                <a:gd name="connsiteX435" fmla="*/ 1461921 w 1792288"/>
                <a:gd name="connsiteY435" fmla="*/ 1241210 h 1693862"/>
                <a:gd name="connsiteX436" fmla="*/ 1422790 w 1792288"/>
                <a:gd name="connsiteY436" fmla="*/ 1264508 h 1693862"/>
                <a:gd name="connsiteX437" fmla="*/ 1414964 w 1792288"/>
                <a:gd name="connsiteY437" fmla="*/ 1280040 h 1693862"/>
                <a:gd name="connsiteX438" fmla="*/ 1405059 w 1792288"/>
                <a:gd name="connsiteY438" fmla="*/ 1276763 h 1693862"/>
                <a:gd name="connsiteX439" fmla="*/ 1400938 w 1792288"/>
                <a:gd name="connsiteY439" fmla="*/ 1275400 h 1693862"/>
                <a:gd name="connsiteX440" fmla="*/ 1400928 w 1792288"/>
                <a:gd name="connsiteY440" fmla="*/ 1296268 h 1693862"/>
                <a:gd name="connsiteX441" fmla="*/ 1394970 w 1792288"/>
                <a:gd name="connsiteY441" fmla="*/ 1312397 h 1693862"/>
                <a:gd name="connsiteX442" fmla="*/ 1435599 w 1792288"/>
                <a:gd name="connsiteY442" fmla="*/ 1324423 h 1693862"/>
                <a:gd name="connsiteX443" fmla="*/ 1402409 w 1792288"/>
                <a:gd name="connsiteY443" fmla="*/ 1353910 h 1693862"/>
                <a:gd name="connsiteX444" fmla="*/ 1410716 w 1792288"/>
                <a:gd name="connsiteY444" fmla="*/ 1392002 h 1693862"/>
                <a:gd name="connsiteX445" fmla="*/ 1460500 w 1792288"/>
                <a:gd name="connsiteY445" fmla="*/ 1406752 h 1693862"/>
                <a:gd name="connsiteX446" fmla="*/ 1452194 w 1792288"/>
                <a:gd name="connsiteY446" fmla="*/ 1406752 h 1693862"/>
                <a:gd name="connsiteX447" fmla="*/ 1436995 w 1792288"/>
                <a:gd name="connsiteY447" fmla="*/ 1427004 h 1693862"/>
                <a:gd name="connsiteX448" fmla="*/ 1462273 w 1792288"/>
                <a:gd name="connsiteY448" fmla="*/ 1421980 h 1693862"/>
                <a:gd name="connsiteX449" fmla="*/ 1477988 w 1792288"/>
                <a:gd name="connsiteY449" fmla="*/ 1406392 h 1693862"/>
                <a:gd name="connsiteX450" fmla="*/ 1501584 w 1792288"/>
                <a:gd name="connsiteY450" fmla="*/ 1398588 h 1693862"/>
                <a:gd name="connsiteX451" fmla="*/ 1517299 w 1792288"/>
                <a:gd name="connsiteY451" fmla="*/ 1398588 h 1693862"/>
                <a:gd name="connsiteX452" fmla="*/ 1580159 w 1792288"/>
                <a:gd name="connsiteY452" fmla="*/ 1398588 h 1693862"/>
                <a:gd name="connsiteX453" fmla="*/ 1603708 w 1792288"/>
                <a:gd name="connsiteY453" fmla="*/ 1406392 h 1693862"/>
                <a:gd name="connsiteX454" fmla="*/ 1635138 w 1792288"/>
                <a:gd name="connsiteY454" fmla="*/ 1421980 h 1693862"/>
                <a:gd name="connsiteX455" fmla="*/ 1643019 w 1792288"/>
                <a:gd name="connsiteY455" fmla="*/ 1421980 h 1693862"/>
                <a:gd name="connsiteX456" fmla="*/ 1682283 w 1792288"/>
                <a:gd name="connsiteY456" fmla="*/ 1421980 h 1693862"/>
                <a:gd name="connsiteX457" fmla="*/ 1713713 w 1792288"/>
                <a:gd name="connsiteY457" fmla="*/ 1398588 h 1693862"/>
                <a:gd name="connsiteX458" fmla="*/ 1721594 w 1792288"/>
                <a:gd name="connsiteY458" fmla="*/ 1406392 h 1693862"/>
                <a:gd name="connsiteX459" fmla="*/ 1745143 w 1792288"/>
                <a:gd name="connsiteY459" fmla="*/ 1406392 h 1693862"/>
                <a:gd name="connsiteX460" fmla="*/ 1760858 w 1792288"/>
                <a:gd name="connsiteY460" fmla="*/ 1421980 h 1693862"/>
                <a:gd name="connsiteX461" fmla="*/ 1792288 w 1792288"/>
                <a:gd name="connsiteY461" fmla="*/ 1460979 h 1693862"/>
                <a:gd name="connsiteX462" fmla="*/ 1784454 w 1792288"/>
                <a:gd name="connsiteY462" fmla="*/ 1468783 h 1693862"/>
                <a:gd name="connsiteX463" fmla="*/ 1784454 w 1792288"/>
                <a:gd name="connsiteY463" fmla="*/ 1523388 h 1693862"/>
                <a:gd name="connsiteX464" fmla="*/ 1792288 w 1792288"/>
                <a:gd name="connsiteY464" fmla="*/ 1546781 h 1693862"/>
                <a:gd name="connsiteX465" fmla="*/ 1776573 w 1792288"/>
                <a:gd name="connsiteY465" fmla="*/ 1538977 h 1693862"/>
                <a:gd name="connsiteX466" fmla="*/ 1737309 w 1792288"/>
                <a:gd name="connsiteY466" fmla="*/ 1546781 h 1693862"/>
                <a:gd name="connsiteX467" fmla="*/ 1732112 w 1792288"/>
                <a:gd name="connsiteY467" fmla="*/ 1547812 h 1693862"/>
                <a:gd name="connsiteX468" fmla="*/ 1738313 w 1792288"/>
                <a:gd name="connsiteY468" fmla="*/ 1547812 h 1693862"/>
                <a:gd name="connsiteX469" fmla="*/ 1728788 w 1792288"/>
                <a:gd name="connsiteY469" fmla="*/ 1549717 h 1693862"/>
                <a:gd name="connsiteX470" fmla="*/ 1728788 w 1792288"/>
                <a:gd name="connsiteY470" fmla="*/ 1555499 h 1693862"/>
                <a:gd name="connsiteX471" fmla="*/ 1713165 w 1792288"/>
                <a:gd name="connsiteY471" fmla="*/ 1578559 h 1693862"/>
                <a:gd name="connsiteX472" fmla="*/ 1697541 w 1792288"/>
                <a:gd name="connsiteY472" fmla="*/ 1632367 h 1693862"/>
                <a:gd name="connsiteX473" fmla="*/ 1642858 w 1792288"/>
                <a:gd name="connsiteY473" fmla="*/ 1663115 h 1693862"/>
                <a:gd name="connsiteX474" fmla="*/ 1627234 w 1792288"/>
                <a:gd name="connsiteY474" fmla="*/ 1670802 h 1693862"/>
                <a:gd name="connsiteX475" fmla="*/ 1580363 w 1792288"/>
                <a:gd name="connsiteY475" fmla="*/ 1693862 h 1693862"/>
                <a:gd name="connsiteX476" fmla="*/ 1564739 w 1792288"/>
                <a:gd name="connsiteY476" fmla="*/ 1678488 h 1693862"/>
                <a:gd name="connsiteX477" fmla="*/ 1547813 w 1792288"/>
                <a:gd name="connsiteY477" fmla="*/ 1678488 h 1693862"/>
                <a:gd name="connsiteX478" fmla="*/ 1580363 w 1792288"/>
                <a:gd name="connsiteY478" fmla="*/ 1609307 h 1693862"/>
                <a:gd name="connsiteX479" fmla="*/ 1572551 w 1792288"/>
                <a:gd name="connsiteY479" fmla="*/ 1578559 h 1693862"/>
                <a:gd name="connsiteX480" fmla="*/ 1595986 w 1792288"/>
                <a:gd name="connsiteY480" fmla="*/ 1555499 h 1693862"/>
                <a:gd name="connsiteX481" fmla="*/ 1611610 w 1792288"/>
                <a:gd name="connsiteY481" fmla="*/ 1563186 h 1693862"/>
                <a:gd name="connsiteX482" fmla="*/ 1697541 w 1792288"/>
                <a:gd name="connsiteY482" fmla="*/ 1555499 h 1693862"/>
                <a:gd name="connsiteX483" fmla="*/ 1714898 w 1792288"/>
                <a:gd name="connsiteY483" fmla="*/ 1551229 h 1693862"/>
                <a:gd name="connsiteX484" fmla="*/ 1697998 w 1792288"/>
                <a:gd name="connsiteY484" fmla="*/ 1554584 h 1693862"/>
                <a:gd name="connsiteX485" fmla="*/ 1611589 w 1792288"/>
                <a:gd name="connsiteY485" fmla="*/ 1562369 h 1693862"/>
                <a:gd name="connsiteX486" fmla="*/ 1595874 w 1792288"/>
                <a:gd name="connsiteY486" fmla="*/ 1554584 h 1693862"/>
                <a:gd name="connsiteX487" fmla="*/ 1572278 w 1792288"/>
                <a:gd name="connsiteY487" fmla="*/ 1577976 h 1693862"/>
                <a:gd name="connsiteX488" fmla="*/ 1540848 w 1792288"/>
                <a:gd name="connsiteY488" fmla="*/ 1562369 h 1693862"/>
                <a:gd name="connsiteX489" fmla="*/ 1509418 w 1792288"/>
                <a:gd name="connsiteY489" fmla="*/ 1577976 h 1693862"/>
                <a:gd name="connsiteX490" fmla="*/ 1454439 w 1792288"/>
                <a:gd name="connsiteY490" fmla="*/ 1562369 h 1693862"/>
                <a:gd name="connsiteX491" fmla="*/ 1446558 w 1792288"/>
                <a:gd name="connsiteY491" fmla="*/ 1562369 h 1693862"/>
                <a:gd name="connsiteX492" fmla="*/ 1375864 w 1792288"/>
                <a:gd name="connsiteY492" fmla="*/ 1554584 h 1693862"/>
                <a:gd name="connsiteX493" fmla="*/ 1360149 w 1792288"/>
                <a:gd name="connsiteY493" fmla="*/ 1531174 h 1693862"/>
                <a:gd name="connsiteX494" fmla="*/ 1353047 w 1792288"/>
                <a:gd name="connsiteY494" fmla="*/ 1523598 h 1693862"/>
                <a:gd name="connsiteX495" fmla="*/ 1325337 w 1792288"/>
                <a:gd name="connsiteY495" fmla="*/ 1542957 h 1693862"/>
                <a:gd name="connsiteX496" fmla="*/ 1328301 w 1792288"/>
                <a:gd name="connsiteY496" fmla="*/ 1558855 h 1693862"/>
                <a:gd name="connsiteX497" fmla="*/ 1313725 w 1792288"/>
                <a:gd name="connsiteY497" fmla="*/ 1578040 h 1693862"/>
                <a:gd name="connsiteX498" fmla="*/ 1275623 w 1792288"/>
                <a:gd name="connsiteY498" fmla="*/ 1568678 h 1693862"/>
                <a:gd name="connsiteX499" fmla="*/ 1269691 w 1792288"/>
                <a:gd name="connsiteY499" fmla="*/ 1536868 h 1693862"/>
                <a:gd name="connsiteX500" fmla="*/ 1284285 w 1792288"/>
                <a:gd name="connsiteY500" fmla="*/ 1517696 h 1693862"/>
                <a:gd name="connsiteX501" fmla="*/ 1247683 w 1792288"/>
                <a:gd name="connsiteY501" fmla="*/ 1516288 h 1693862"/>
                <a:gd name="connsiteX502" fmla="*/ 1225672 w 1792288"/>
                <a:gd name="connsiteY502" fmla="*/ 1495693 h 1693862"/>
                <a:gd name="connsiteX503" fmla="*/ 1236426 w 1792288"/>
                <a:gd name="connsiteY503" fmla="*/ 1481566 h 1693862"/>
                <a:gd name="connsiteX504" fmla="*/ 1232103 w 1792288"/>
                <a:gd name="connsiteY504" fmla="*/ 1485900 h 1693862"/>
                <a:gd name="connsiteX505" fmla="*/ 1212241 w 1792288"/>
                <a:gd name="connsiteY505" fmla="*/ 1463386 h 1693862"/>
                <a:gd name="connsiteX506" fmla="*/ 1212241 w 1792288"/>
                <a:gd name="connsiteY506" fmla="*/ 1412730 h 1693862"/>
                <a:gd name="connsiteX507" fmla="*/ 1200430 w 1792288"/>
                <a:gd name="connsiteY507" fmla="*/ 1405541 h 1693862"/>
                <a:gd name="connsiteX508" fmla="*/ 1199825 w 1792288"/>
                <a:gd name="connsiteY508" fmla="*/ 1406335 h 1693862"/>
                <a:gd name="connsiteX509" fmla="*/ 1180484 w 1792288"/>
                <a:gd name="connsiteY509" fmla="*/ 1383612 h 1693862"/>
                <a:gd name="connsiteX510" fmla="*/ 1193152 w 1792288"/>
                <a:gd name="connsiteY510" fmla="*/ 1359861 h 1693862"/>
                <a:gd name="connsiteX511" fmla="*/ 1179059 w 1792288"/>
                <a:gd name="connsiteY511" fmla="*/ 1385887 h 1693862"/>
                <a:gd name="connsiteX512" fmla="*/ 1109663 w 1792288"/>
                <a:gd name="connsiteY512" fmla="*/ 1300503 h 1693862"/>
                <a:gd name="connsiteX513" fmla="*/ 1112239 w 1792288"/>
                <a:gd name="connsiteY513" fmla="*/ 1289584 h 1693862"/>
                <a:gd name="connsiteX514" fmla="*/ 1111429 w 1792288"/>
                <a:gd name="connsiteY514" fmla="*/ 1289004 h 1693862"/>
                <a:gd name="connsiteX515" fmla="*/ 1107995 w 1792288"/>
                <a:gd name="connsiteY515" fmla="*/ 1300876 h 1693862"/>
                <a:gd name="connsiteX516" fmla="*/ 1176757 w 1792288"/>
                <a:gd name="connsiteY516" fmla="*/ 1384300 h 1693862"/>
                <a:gd name="connsiteX517" fmla="*/ 1114221 w 1792288"/>
                <a:gd name="connsiteY517" fmla="*/ 1351560 h 1693862"/>
                <a:gd name="connsiteX518" fmla="*/ 1095065 w 1792288"/>
                <a:gd name="connsiteY518" fmla="*/ 1329867 h 1693862"/>
                <a:gd name="connsiteX519" fmla="*/ 1086249 w 1792288"/>
                <a:gd name="connsiteY519" fmla="*/ 1299101 h 1693862"/>
                <a:gd name="connsiteX520" fmla="*/ 1075917 w 1792288"/>
                <a:gd name="connsiteY520" fmla="*/ 1288766 h 1693862"/>
                <a:gd name="connsiteX521" fmla="*/ 1069597 w 1792288"/>
                <a:gd name="connsiteY521" fmla="*/ 1295163 h 1693862"/>
                <a:gd name="connsiteX522" fmla="*/ 1060753 w 1792288"/>
                <a:gd name="connsiteY522" fmla="*/ 1307651 h 1693862"/>
                <a:gd name="connsiteX523" fmla="*/ 1050925 w 1792288"/>
                <a:gd name="connsiteY523" fmla="*/ 1285832 h 1693862"/>
                <a:gd name="connsiteX524" fmla="*/ 1053024 w 1792288"/>
                <a:gd name="connsiteY524" fmla="*/ 1280010 h 1693862"/>
                <a:gd name="connsiteX525" fmla="*/ 1047173 w 1792288"/>
                <a:gd name="connsiteY525" fmla="*/ 1280010 h 1693862"/>
                <a:gd name="connsiteX526" fmla="*/ 1039091 w 1792288"/>
                <a:gd name="connsiteY526" fmla="*/ 1312832 h 1693862"/>
                <a:gd name="connsiteX527" fmla="*/ 1055255 w 1792288"/>
                <a:gd name="connsiteY527" fmla="*/ 1347705 h 1693862"/>
                <a:gd name="connsiteX528" fmla="*/ 1089603 w 1792288"/>
                <a:gd name="connsiteY528" fmla="*/ 1407195 h 1693862"/>
                <a:gd name="connsiteX529" fmla="*/ 1115868 w 1792288"/>
                <a:gd name="connsiteY529" fmla="*/ 1415400 h 1693862"/>
                <a:gd name="connsiteX530" fmla="*/ 1148196 w 1792288"/>
                <a:gd name="connsiteY530" fmla="*/ 1442068 h 1693862"/>
                <a:gd name="connsiteX531" fmla="*/ 1190625 w 1792288"/>
                <a:gd name="connsiteY531" fmla="*/ 1483096 h 1693862"/>
                <a:gd name="connsiteX532" fmla="*/ 1174462 w 1792288"/>
                <a:gd name="connsiteY532" fmla="*/ 1483096 h 1693862"/>
                <a:gd name="connsiteX533" fmla="*/ 1148196 w 1792288"/>
                <a:gd name="connsiteY533" fmla="*/ 1474890 h 1693862"/>
                <a:gd name="connsiteX534" fmla="*/ 1148196 w 1792288"/>
                <a:gd name="connsiteY534" fmla="*/ 1501558 h 1693862"/>
                <a:gd name="connsiteX535" fmla="*/ 1093643 w 1792288"/>
                <a:gd name="connsiteY535" fmla="*/ 1544637 h 1693862"/>
                <a:gd name="connsiteX536" fmla="*/ 1109807 w 1792288"/>
                <a:gd name="connsiteY536" fmla="*/ 1487199 h 1693862"/>
                <a:gd name="connsiteX537" fmla="*/ 1073439 w 1792288"/>
                <a:gd name="connsiteY537" fmla="*/ 1458479 h 1693862"/>
                <a:gd name="connsiteX538" fmla="*/ 1014846 w 1792288"/>
                <a:gd name="connsiteY538" fmla="*/ 1423606 h 1693862"/>
                <a:gd name="connsiteX539" fmla="*/ 988580 w 1792288"/>
                <a:gd name="connsiteY539" fmla="*/ 1388733 h 1693862"/>
                <a:gd name="connsiteX540" fmla="*/ 964334 w 1792288"/>
                <a:gd name="connsiteY540" fmla="*/ 1339499 h 1693862"/>
                <a:gd name="connsiteX541" fmla="*/ 921904 w 1792288"/>
                <a:gd name="connsiteY541" fmla="*/ 1321037 h 1693862"/>
                <a:gd name="connsiteX542" fmla="*/ 903720 w 1792288"/>
                <a:gd name="connsiteY542" fmla="*/ 1339499 h 1693862"/>
                <a:gd name="connsiteX543" fmla="*/ 895073 w 1792288"/>
                <a:gd name="connsiteY543" fmla="*/ 1329622 h 1693862"/>
                <a:gd name="connsiteX544" fmla="*/ 896927 w 1792288"/>
                <a:gd name="connsiteY544" fmla="*/ 1333147 h 1693862"/>
                <a:gd name="connsiteX545" fmla="*/ 863719 w 1792288"/>
                <a:gd name="connsiteY545" fmla="*/ 1352463 h 1693862"/>
                <a:gd name="connsiteX546" fmla="*/ 844770 w 1792288"/>
                <a:gd name="connsiteY546" fmla="*/ 1346352 h 1693862"/>
                <a:gd name="connsiteX547" fmla="*/ 811004 w 1792288"/>
                <a:gd name="connsiteY547" fmla="*/ 1335055 h 1693862"/>
                <a:gd name="connsiteX548" fmla="*/ 796103 w 1792288"/>
                <a:gd name="connsiteY548" fmla="*/ 1333357 h 1693862"/>
                <a:gd name="connsiteX549" fmla="*/ 781131 w 1792288"/>
                <a:gd name="connsiteY549" fmla="*/ 1347509 h 1693862"/>
                <a:gd name="connsiteX550" fmla="*/ 775918 w 1792288"/>
                <a:gd name="connsiteY550" fmla="*/ 1347477 h 1693862"/>
                <a:gd name="connsiteX551" fmla="*/ 776012 w 1792288"/>
                <a:gd name="connsiteY551" fmla="*/ 1351506 h 1693862"/>
                <a:gd name="connsiteX552" fmla="*/ 776048 w 1792288"/>
                <a:gd name="connsiteY552" fmla="*/ 1383138 h 1693862"/>
                <a:gd name="connsiteX553" fmla="*/ 752689 w 1792288"/>
                <a:gd name="connsiteY553" fmla="*/ 1396758 h 1693862"/>
                <a:gd name="connsiteX554" fmla="*/ 748677 w 1792288"/>
                <a:gd name="connsiteY554" fmla="*/ 1398781 h 1693862"/>
                <a:gd name="connsiteX555" fmla="*/ 743490 w 1792288"/>
                <a:gd name="connsiteY555" fmla="*/ 1400782 h 1693862"/>
                <a:gd name="connsiteX556" fmla="*/ 729330 w 1792288"/>
                <a:gd name="connsiteY556" fmla="*/ 1403707 h 1693862"/>
                <a:gd name="connsiteX557" fmla="*/ 692213 w 1792288"/>
                <a:gd name="connsiteY557" fmla="*/ 1446765 h 1693862"/>
                <a:gd name="connsiteX558" fmla="*/ 688250 w 1792288"/>
                <a:gd name="connsiteY558" fmla="*/ 1465146 h 1693862"/>
                <a:gd name="connsiteX559" fmla="*/ 651919 w 1792288"/>
                <a:gd name="connsiteY559" fmla="*/ 1495839 h 1693862"/>
                <a:gd name="connsiteX560" fmla="*/ 615523 w 1792288"/>
                <a:gd name="connsiteY560" fmla="*/ 1526490 h 1693862"/>
                <a:gd name="connsiteX561" fmla="*/ 556721 w 1792288"/>
                <a:gd name="connsiteY561" fmla="*/ 1523428 h 1693862"/>
                <a:gd name="connsiteX562" fmla="*/ 495932 w 1792288"/>
                <a:gd name="connsiteY562" fmla="*/ 1529584 h 1693862"/>
                <a:gd name="connsiteX563" fmla="*/ 463979 w 1792288"/>
                <a:gd name="connsiteY563" fmla="*/ 1493813 h 1693862"/>
                <a:gd name="connsiteX564" fmla="*/ 445027 w 1792288"/>
                <a:gd name="connsiteY564" fmla="*/ 1489727 h 1693862"/>
                <a:gd name="connsiteX565" fmla="*/ 459601 w 1792288"/>
                <a:gd name="connsiteY565" fmla="*/ 1465584 h 1693862"/>
                <a:gd name="connsiteX566" fmla="*/ 454843 w 1792288"/>
                <a:gd name="connsiteY566" fmla="*/ 1472737 h 1693862"/>
                <a:gd name="connsiteX567" fmla="*/ 449262 w 1792288"/>
                <a:gd name="connsiteY567" fmla="*/ 1481127 h 1693862"/>
                <a:gd name="connsiteX568" fmla="*/ 402803 w 1792288"/>
                <a:gd name="connsiteY568" fmla="*/ 1467499 h 1693862"/>
                <a:gd name="connsiteX569" fmla="*/ 424337 w 1792288"/>
                <a:gd name="connsiteY569" fmla="*/ 1419027 h 1693862"/>
                <a:gd name="connsiteX570" fmla="*/ 412153 w 1792288"/>
                <a:gd name="connsiteY570" fmla="*/ 1417258 h 1693862"/>
                <a:gd name="connsiteX571" fmla="*/ 409289 w 1792288"/>
                <a:gd name="connsiteY571" fmla="*/ 1405539 h 1693862"/>
                <a:gd name="connsiteX572" fmla="*/ 416144 w 1792288"/>
                <a:gd name="connsiteY572" fmla="*/ 1388516 h 1693862"/>
                <a:gd name="connsiteX573" fmla="*/ 438695 w 1792288"/>
                <a:gd name="connsiteY573" fmla="*/ 1367073 h 1693862"/>
                <a:gd name="connsiteX574" fmla="*/ 448267 w 1792288"/>
                <a:gd name="connsiteY574" fmla="*/ 1332437 h 1693862"/>
                <a:gd name="connsiteX575" fmla="*/ 449089 w 1792288"/>
                <a:gd name="connsiteY575" fmla="*/ 1304132 h 1693862"/>
                <a:gd name="connsiteX576" fmla="*/ 444844 w 1792288"/>
                <a:gd name="connsiteY576" fmla="*/ 1306784 h 1693862"/>
                <a:gd name="connsiteX577" fmla="*/ 435812 w 1792288"/>
                <a:gd name="connsiteY577" fmla="*/ 1256692 h 1693862"/>
                <a:gd name="connsiteX578" fmla="*/ 468173 w 1792288"/>
                <a:gd name="connsiteY578" fmla="*/ 1244407 h 1693862"/>
                <a:gd name="connsiteX579" fmla="*/ 489142 w 1792288"/>
                <a:gd name="connsiteY579" fmla="*/ 1239311 h 1693862"/>
                <a:gd name="connsiteX580" fmla="*/ 506077 w 1792288"/>
                <a:gd name="connsiteY580" fmla="*/ 1252580 h 1693862"/>
                <a:gd name="connsiteX581" fmla="*/ 564879 w 1792288"/>
                <a:gd name="connsiteY581" fmla="*/ 1255641 h 1693862"/>
                <a:gd name="connsiteX582" fmla="*/ 670578 w 1792288"/>
                <a:gd name="connsiteY582" fmla="*/ 1299371 h 1693862"/>
                <a:gd name="connsiteX583" fmla="*/ 673041 w 1792288"/>
                <a:gd name="connsiteY583" fmla="*/ 1305019 h 1693862"/>
                <a:gd name="connsiteX584" fmla="*/ 670559 w 1792288"/>
                <a:gd name="connsiteY584" fmla="*/ 1297992 h 1693862"/>
                <a:gd name="connsiteX585" fmla="*/ 673751 w 1792288"/>
                <a:gd name="connsiteY585" fmla="*/ 1290398 h 1693862"/>
                <a:gd name="connsiteX586" fmla="*/ 692828 w 1792288"/>
                <a:gd name="connsiteY586" fmla="*/ 1248914 h 1693862"/>
                <a:gd name="connsiteX587" fmla="*/ 695753 w 1792288"/>
                <a:gd name="connsiteY587" fmla="*/ 1227705 h 1693862"/>
                <a:gd name="connsiteX588" fmla="*/ 689027 w 1792288"/>
                <a:gd name="connsiteY588" fmla="*/ 1219603 h 1693862"/>
                <a:gd name="connsiteX589" fmla="*/ 684255 w 1792288"/>
                <a:gd name="connsiteY589" fmla="*/ 1197332 h 1693862"/>
                <a:gd name="connsiteX590" fmla="*/ 678507 w 1792288"/>
                <a:gd name="connsiteY590" fmla="*/ 1182132 h 1693862"/>
                <a:gd name="connsiteX591" fmla="*/ 679482 w 1792288"/>
                <a:gd name="connsiteY591" fmla="*/ 1175062 h 1693862"/>
                <a:gd name="connsiteX592" fmla="*/ 672790 w 1792288"/>
                <a:gd name="connsiteY592" fmla="*/ 1166935 h 1693862"/>
                <a:gd name="connsiteX593" fmla="*/ 649700 w 1792288"/>
                <a:gd name="connsiteY593" fmla="*/ 1163752 h 1693862"/>
                <a:gd name="connsiteX594" fmla="*/ 630433 w 1792288"/>
                <a:gd name="connsiteY594" fmla="*/ 1141736 h 1693862"/>
                <a:gd name="connsiteX595" fmla="*/ 631983 w 1792288"/>
                <a:gd name="connsiteY595" fmla="*/ 1128045 h 1693862"/>
                <a:gd name="connsiteX596" fmla="*/ 632191 w 1792288"/>
                <a:gd name="connsiteY596" fmla="*/ 1112984 h 1693862"/>
                <a:gd name="connsiteX597" fmla="*/ 652233 w 1792288"/>
                <a:gd name="connsiteY597" fmla="*/ 1112278 h 1693862"/>
                <a:gd name="connsiteX598" fmla="*/ 670936 w 1792288"/>
                <a:gd name="connsiteY598" fmla="*/ 1111062 h 1693862"/>
                <a:gd name="connsiteX599" fmla="*/ 678639 w 1792288"/>
                <a:gd name="connsiteY599" fmla="*/ 1124517 h 1693862"/>
                <a:gd name="connsiteX600" fmla="*/ 701699 w 1792288"/>
                <a:gd name="connsiteY600" fmla="*/ 1127696 h 1693862"/>
                <a:gd name="connsiteX601" fmla="*/ 703545 w 1792288"/>
                <a:gd name="connsiteY601" fmla="*/ 1108088 h 1693862"/>
                <a:gd name="connsiteX602" fmla="*/ 706288 w 1792288"/>
                <a:gd name="connsiteY602" fmla="*/ 1089966 h 1693862"/>
                <a:gd name="connsiteX603" fmla="*/ 718473 w 1792288"/>
                <a:gd name="connsiteY603" fmla="*/ 1092476 h 1693862"/>
                <a:gd name="connsiteX604" fmla="*/ 723603 w 1792288"/>
                <a:gd name="connsiteY604" fmla="*/ 1104598 h 1693862"/>
                <a:gd name="connsiteX605" fmla="*/ 750759 w 1792288"/>
                <a:gd name="connsiteY605" fmla="*/ 1110062 h 1693862"/>
                <a:gd name="connsiteX606" fmla="*/ 769091 w 1792288"/>
                <a:gd name="connsiteY606" fmla="*/ 1093763 h 1693862"/>
                <a:gd name="connsiteX607" fmla="*/ 777758 w 1792288"/>
                <a:gd name="connsiteY607" fmla="*/ 1087784 h 1693862"/>
                <a:gd name="connsiteX608" fmla="*/ 797021 w 1792288"/>
                <a:gd name="connsiteY608" fmla="*/ 1061623 h 1693862"/>
                <a:gd name="connsiteX609" fmla="*/ 813389 w 1792288"/>
                <a:gd name="connsiteY609" fmla="*/ 1056676 h 1693862"/>
                <a:gd name="connsiteX610" fmla="*/ 819136 w 1792288"/>
                <a:gd name="connsiteY610" fmla="*/ 1071877 h 1693862"/>
                <a:gd name="connsiteX611" fmla="*/ 819925 w 1792288"/>
                <a:gd name="connsiteY611" fmla="*/ 1072381 h 1693862"/>
                <a:gd name="connsiteX612" fmla="*/ 814388 w 1792288"/>
                <a:gd name="connsiteY612" fmla="*/ 1056582 h 1693862"/>
                <a:gd name="connsiteX613" fmla="*/ 817634 w 1792288"/>
                <a:gd name="connsiteY613" fmla="*/ 1056157 h 1693862"/>
                <a:gd name="connsiteX614" fmla="*/ 831359 w 1792288"/>
                <a:gd name="connsiteY614" fmla="*/ 1049337 h 1693862"/>
                <a:gd name="connsiteX615" fmla="*/ 838221 w 1792288"/>
                <a:gd name="connsiteY615" fmla="*/ 1056157 h 1693862"/>
                <a:gd name="connsiteX616" fmla="*/ 846726 w 1792288"/>
                <a:gd name="connsiteY616" fmla="*/ 1056157 h 1693862"/>
                <a:gd name="connsiteX617" fmla="*/ 846138 w 1792288"/>
                <a:gd name="connsiteY617" fmla="*/ 1055582 h 1693862"/>
                <a:gd name="connsiteX618" fmla="*/ 859992 w 1792288"/>
                <a:gd name="connsiteY618" fmla="*/ 1042035 h 1693862"/>
                <a:gd name="connsiteX619" fmla="*/ 873847 w 1792288"/>
                <a:gd name="connsiteY619" fmla="*/ 1001395 h 1693862"/>
                <a:gd name="connsiteX620" fmla="*/ 887701 w 1792288"/>
                <a:gd name="connsiteY620" fmla="*/ 1014942 h 1693862"/>
                <a:gd name="connsiteX621" fmla="*/ 887701 w 1792288"/>
                <a:gd name="connsiteY621" fmla="*/ 994622 h 1693862"/>
                <a:gd name="connsiteX622" fmla="*/ 905868 w 1792288"/>
                <a:gd name="connsiteY622" fmla="*/ 988701 h 1693862"/>
                <a:gd name="connsiteX623" fmla="*/ 905868 w 1792288"/>
                <a:gd name="connsiteY623" fmla="*/ 981625 h 1693862"/>
                <a:gd name="connsiteX624" fmla="*/ 905868 w 1792288"/>
                <a:gd name="connsiteY624" fmla="*/ 974016 h 1693862"/>
                <a:gd name="connsiteX625" fmla="*/ 919607 w 1792288"/>
                <a:gd name="connsiteY625" fmla="*/ 974016 h 1693862"/>
                <a:gd name="connsiteX626" fmla="*/ 933327 w 1792288"/>
                <a:gd name="connsiteY626" fmla="*/ 974016 h 1693862"/>
                <a:gd name="connsiteX627" fmla="*/ 940198 w 1792288"/>
                <a:gd name="connsiteY627" fmla="*/ 958797 h 1693862"/>
                <a:gd name="connsiteX628" fmla="*/ 944527 w 1792288"/>
                <a:gd name="connsiteY628" fmla="*/ 939615 h 1693862"/>
                <a:gd name="connsiteX629" fmla="*/ 944315 w 1792288"/>
                <a:gd name="connsiteY629" fmla="*/ 939664 h 1693862"/>
                <a:gd name="connsiteX630" fmla="*/ 944632 w 1792288"/>
                <a:gd name="connsiteY630" fmla="*/ 912283 h 1693862"/>
                <a:gd name="connsiteX631" fmla="*/ 938213 w 1792288"/>
                <a:gd name="connsiteY631" fmla="*/ 907979 h 1693862"/>
                <a:gd name="connsiteX632" fmla="*/ 951051 w 1792288"/>
                <a:gd name="connsiteY632" fmla="*/ 862789 h 1693862"/>
                <a:gd name="connsiteX633" fmla="*/ 968168 w 1792288"/>
                <a:gd name="connsiteY633" fmla="*/ 862789 h 1693862"/>
                <a:gd name="connsiteX634" fmla="*/ 983146 w 1792288"/>
                <a:gd name="connsiteY634" fmla="*/ 847725 h 1693862"/>
                <a:gd name="connsiteX635" fmla="*/ 985286 w 1792288"/>
                <a:gd name="connsiteY635" fmla="*/ 877852 h 1693862"/>
                <a:gd name="connsiteX636" fmla="*/ 987425 w 1792288"/>
                <a:gd name="connsiteY636" fmla="*/ 895068 h 1693862"/>
                <a:gd name="connsiteX637" fmla="*/ 963889 w 1792288"/>
                <a:gd name="connsiteY637" fmla="*/ 920891 h 1693862"/>
                <a:gd name="connsiteX638" fmla="*/ 963889 w 1792288"/>
                <a:gd name="connsiteY638" fmla="*/ 926261 h 1693862"/>
                <a:gd name="connsiteX639" fmla="*/ 967678 w 1792288"/>
                <a:gd name="connsiteY639" fmla="*/ 928359 h 1693862"/>
                <a:gd name="connsiteX640" fmla="*/ 988268 w 1792288"/>
                <a:gd name="connsiteY640" fmla="*/ 935969 h 1693862"/>
                <a:gd name="connsiteX641" fmla="*/ 988268 w 1792288"/>
                <a:gd name="connsiteY641" fmla="*/ 951188 h 1693862"/>
                <a:gd name="connsiteX642" fmla="*/ 1002008 w 1792288"/>
                <a:gd name="connsiteY642" fmla="*/ 958797 h 1693862"/>
                <a:gd name="connsiteX643" fmla="*/ 1029467 w 1792288"/>
                <a:gd name="connsiteY643" fmla="*/ 943578 h 1693862"/>
                <a:gd name="connsiteX644" fmla="*/ 1042754 w 1792288"/>
                <a:gd name="connsiteY644" fmla="*/ 950942 h 1693862"/>
                <a:gd name="connsiteX645" fmla="*/ 1051345 w 1792288"/>
                <a:gd name="connsiteY645" fmla="*/ 946683 h 1693862"/>
                <a:gd name="connsiteX646" fmla="*/ 1069464 w 1792288"/>
                <a:gd name="connsiteY646" fmla="*/ 937702 h 1693862"/>
                <a:gd name="connsiteX647" fmla="*/ 1132144 w 1792288"/>
                <a:gd name="connsiteY647" fmla="*/ 914400 h 1693862"/>
                <a:gd name="connsiteX648" fmla="*/ 1139979 w 1792288"/>
                <a:gd name="connsiteY648" fmla="*/ 914400 h 1693862"/>
                <a:gd name="connsiteX649" fmla="*/ 1147814 w 1792288"/>
                <a:gd name="connsiteY649" fmla="*/ 922168 h 1693862"/>
                <a:gd name="connsiteX650" fmla="*/ 1171319 w 1792288"/>
                <a:gd name="connsiteY650" fmla="*/ 922168 h 1693862"/>
                <a:gd name="connsiteX651" fmla="*/ 1171319 w 1792288"/>
                <a:gd name="connsiteY651" fmla="*/ 914400 h 1693862"/>
                <a:gd name="connsiteX652" fmla="*/ 1173278 w 1792288"/>
                <a:gd name="connsiteY652" fmla="*/ 916342 h 1693862"/>
                <a:gd name="connsiteX653" fmla="*/ 1180321 w 1792288"/>
                <a:gd name="connsiteY653" fmla="*/ 923324 h 1693862"/>
                <a:gd name="connsiteX654" fmla="*/ 1171575 w 1792288"/>
                <a:gd name="connsiteY654" fmla="*/ 914400 h 1693862"/>
                <a:gd name="connsiteX655" fmla="*/ 1179354 w 1792288"/>
                <a:gd name="connsiteY655" fmla="*/ 906462 h 1693862"/>
                <a:gd name="connsiteX656" fmla="*/ 1194689 w 1792288"/>
                <a:gd name="connsiteY656" fmla="*/ 890814 h 1693862"/>
                <a:gd name="connsiteX657" fmla="*/ 1193800 w 1792288"/>
                <a:gd name="connsiteY657" fmla="*/ 890814 h 1693862"/>
                <a:gd name="connsiteX658" fmla="*/ 1201738 w 1792288"/>
                <a:gd name="connsiteY658" fmla="*/ 883104 h 1693862"/>
                <a:gd name="connsiteX659" fmla="*/ 1201738 w 1792288"/>
                <a:gd name="connsiteY659" fmla="*/ 852261 h 1693862"/>
                <a:gd name="connsiteX660" fmla="*/ 1233488 w 1792288"/>
                <a:gd name="connsiteY660" fmla="*/ 844550 h 1693862"/>
                <a:gd name="connsiteX661" fmla="*/ 1335982 w 1792288"/>
                <a:gd name="connsiteY661" fmla="*/ 781734 h 1693862"/>
                <a:gd name="connsiteX662" fmla="*/ 1336676 w 1792288"/>
                <a:gd name="connsiteY662" fmla="*/ 782183 h 1693862"/>
                <a:gd name="connsiteX663" fmla="*/ 1350070 w 1792288"/>
                <a:gd name="connsiteY663" fmla="*/ 788689 h 1693862"/>
                <a:gd name="connsiteX664" fmla="*/ 1352999 w 1792288"/>
                <a:gd name="connsiteY664" fmla="*/ 790112 h 1693862"/>
                <a:gd name="connsiteX665" fmla="*/ 558884 w 1792288"/>
                <a:gd name="connsiteY665" fmla="*/ 741362 h 1693862"/>
                <a:gd name="connsiteX666" fmla="*/ 574599 w 1792288"/>
                <a:gd name="connsiteY666" fmla="*/ 741362 h 1693862"/>
                <a:gd name="connsiteX667" fmla="*/ 598173 w 1792288"/>
                <a:gd name="connsiteY667" fmla="*/ 741362 h 1693862"/>
                <a:gd name="connsiteX668" fmla="*/ 598173 w 1792288"/>
                <a:gd name="connsiteY668" fmla="*/ 749198 h 1693862"/>
                <a:gd name="connsiteX669" fmla="*/ 582457 w 1792288"/>
                <a:gd name="connsiteY669" fmla="*/ 780543 h 1693862"/>
                <a:gd name="connsiteX670" fmla="*/ 590315 w 1792288"/>
                <a:gd name="connsiteY670" fmla="*/ 788379 h 1693862"/>
                <a:gd name="connsiteX671" fmla="*/ 613889 w 1792288"/>
                <a:gd name="connsiteY671" fmla="*/ 780543 h 1693862"/>
                <a:gd name="connsiteX672" fmla="*/ 637463 w 1792288"/>
                <a:gd name="connsiteY672" fmla="*/ 788379 h 1693862"/>
                <a:gd name="connsiteX673" fmla="*/ 629605 w 1792288"/>
                <a:gd name="connsiteY673" fmla="*/ 804051 h 1693862"/>
                <a:gd name="connsiteX674" fmla="*/ 621747 w 1792288"/>
                <a:gd name="connsiteY674" fmla="*/ 827560 h 1693862"/>
                <a:gd name="connsiteX675" fmla="*/ 606031 w 1792288"/>
                <a:gd name="connsiteY675" fmla="*/ 851069 h 1693862"/>
                <a:gd name="connsiteX676" fmla="*/ 606031 w 1792288"/>
                <a:gd name="connsiteY676" fmla="*/ 858905 h 1693862"/>
                <a:gd name="connsiteX677" fmla="*/ 621747 w 1792288"/>
                <a:gd name="connsiteY677" fmla="*/ 866741 h 1693862"/>
                <a:gd name="connsiteX678" fmla="*/ 637463 w 1792288"/>
                <a:gd name="connsiteY678" fmla="*/ 874577 h 1693862"/>
                <a:gd name="connsiteX679" fmla="*/ 653179 w 1792288"/>
                <a:gd name="connsiteY679" fmla="*/ 913758 h 1693862"/>
                <a:gd name="connsiteX680" fmla="*/ 668894 w 1792288"/>
                <a:gd name="connsiteY680" fmla="*/ 929430 h 1693862"/>
                <a:gd name="connsiteX681" fmla="*/ 692468 w 1792288"/>
                <a:gd name="connsiteY681" fmla="*/ 960775 h 1693862"/>
                <a:gd name="connsiteX682" fmla="*/ 684610 w 1792288"/>
                <a:gd name="connsiteY682" fmla="*/ 968611 h 1693862"/>
                <a:gd name="connsiteX683" fmla="*/ 684610 w 1792288"/>
                <a:gd name="connsiteY683" fmla="*/ 976447 h 1693862"/>
                <a:gd name="connsiteX684" fmla="*/ 684610 w 1792288"/>
                <a:gd name="connsiteY684" fmla="*/ 992120 h 1693862"/>
                <a:gd name="connsiteX685" fmla="*/ 700326 w 1792288"/>
                <a:gd name="connsiteY685" fmla="*/ 992120 h 1693862"/>
                <a:gd name="connsiteX686" fmla="*/ 716042 w 1792288"/>
                <a:gd name="connsiteY686" fmla="*/ 992120 h 1693862"/>
                <a:gd name="connsiteX687" fmla="*/ 723900 w 1792288"/>
                <a:gd name="connsiteY687" fmla="*/ 1023464 h 1693862"/>
                <a:gd name="connsiteX688" fmla="*/ 708184 w 1792288"/>
                <a:gd name="connsiteY688" fmla="*/ 1046973 h 1693862"/>
                <a:gd name="connsiteX689" fmla="*/ 708184 w 1792288"/>
                <a:gd name="connsiteY689" fmla="*/ 1054809 h 1693862"/>
                <a:gd name="connsiteX690" fmla="*/ 723900 w 1792288"/>
                <a:gd name="connsiteY690" fmla="*/ 1054809 h 1693862"/>
                <a:gd name="connsiteX691" fmla="*/ 708184 w 1792288"/>
                <a:gd name="connsiteY691" fmla="*/ 1062645 h 1693862"/>
                <a:gd name="connsiteX692" fmla="*/ 668894 w 1792288"/>
                <a:gd name="connsiteY692" fmla="*/ 1078317 h 1693862"/>
                <a:gd name="connsiteX693" fmla="*/ 645321 w 1792288"/>
                <a:gd name="connsiteY693" fmla="*/ 1078317 h 1693862"/>
                <a:gd name="connsiteX694" fmla="*/ 621747 w 1792288"/>
                <a:gd name="connsiteY694" fmla="*/ 1086154 h 1693862"/>
                <a:gd name="connsiteX695" fmla="*/ 606031 w 1792288"/>
                <a:gd name="connsiteY695" fmla="*/ 1078317 h 1693862"/>
                <a:gd name="connsiteX696" fmla="*/ 598173 w 1792288"/>
                <a:gd name="connsiteY696" fmla="*/ 1093990 h 1693862"/>
                <a:gd name="connsiteX697" fmla="*/ 582457 w 1792288"/>
                <a:gd name="connsiteY697" fmla="*/ 1093990 h 1693862"/>
                <a:gd name="connsiteX698" fmla="*/ 566741 w 1792288"/>
                <a:gd name="connsiteY698" fmla="*/ 1093990 h 1693862"/>
                <a:gd name="connsiteX699" fmla="*/ 558884 w 1792288"/>
                <a:gd name="connsiteY699" fmla="*/ 1109662 h 1693862"/>
                <a:gd name="connsiteX700" fmla="*/ 543168 w 1792288"/>
                <a:gd name="connsiteY700" fmla="*/ 1101826 h 1693862"/>
                <a:gd name="connsiteX701" fmla="*/ 551026 w 1792288"/>
                <a:gd name="connsiteY701" fmla="*/ 1086154 h 1693862"/>
                <a:gd name="connsiteX702" fmla="*/ 574599 w 1792288"/>
                <a:gd name="connsiteY702" fmla="*/ 1070481 h 1693862"/>
                <a:gd name="connsiteX703" fmla="*/ 598173 w 1792288"/>
                <a:gd name="connsiteY703" fmla="*/ 1046973 h 1693862"/>
                <a:gd name="connsiteX704" fmla="*/ 582457 w 1792288"/>
                <a:gd name="connsiteY704" fmla="*/ 1039137 h 1693862"/>
                <a:gd name="connsiteX705" fmla="*/ 566741 w 1792288"/>
                <a:gd name="connsiteY705" fmla="*/ 1039137 h 1693862"/>
                <a:gd name="connsiteX706" fmla="*/ 558884 w 1792288"/>
                <a:gd name="connsiteY706" fmla="*/ 1031300 h 1693862"/>
                <a:gd name="connsiteX707" fmla="*/ 582457 w 1792288"/>
                <a:gd name="connsiteY707" fmla="*/ 1015628 h 1693862"/>
                <a:gd name="connsiteX708" fmla="*/ 582457 w 1792288"/>
                <a:gd name="connsiteY708" fmla="*/ 999956 h 1693862"/>
                <a:gd name="connsiteX709" fmla="*/ 566741 w 1792288"/>
                <a:gd name="connsiteY709" fmla="*/ 999956 h 1693862"/>
                <a:gd name="connsiteX710" fmla="*/ 582457 w 1792288"/>
                <a:gd name="connsiteY710" fmla="*/ 976447 h 1693862"/>
                <a:gd name="connsiteX711" fmla="*/ 613889 w 1792288"/>
                <a:gd name="connsiteY711" fmla="*/ 968611 h 1693862"/>
                <a:gd name="connsiteX712" fmla="*/ 606031 w 1792288"/>
                <a:gd name="connsiteY712" fmla="*/ 945103 h 1693862"/>
                <a:gd name="connsiteX713" fmla="*/ 606031 w 1792288"/>
                <a:gd name="connsiteY713" fmla="*/ 937266 h 1693862"/>
                <a:gd name="connsiteX714" fmla="*/ 598173 w 1792288"/>
                <a:gd name="connsiteY714" fmla="*/ 921594 h 1693862"/>
                <a:gd name="connsiteX715" fmla="*/ 598173 w 1792288"/>
                <a:gd name="connsiteY715" fmla="*/ 913758 h 1693862"/>
                <a:gd name="connsiteX716" fmla="*/ 574599 w 1792288"/>
                <a:gd name="connsiteY716" fmla="*/ 913758 h 1693862"/>
                <a:gd name="connsiteX717" fmla="*/ 558884 w 1792288"/>
                <a:gd name="connsiteY717" fmla="*/ 913758 h 1693862"/>
                <a:gd name="connsiteX718" fmla="*/ 558884 w 1792288"/>
                <a:gd name="connsiteY718" fmla="*/ 898086 h 1693862"/>
                <a:gd name="connsiteX719" fmla="*/ 566741 w 1792288"/>
                <a:gd name="connsiteY719" fmla="*/ 866741 h 1693862"/>
                <a:gd name="connsiteX720" fmla="*/ 551026 w 1792288"/>
                <a:gd name="connsiteY720" fmla="*/ 866741 h 1693862"/>
                <a:gd name="connsiteX721" fmla="*/ 543168 w 1792288"/>
                <a:gd name="connsiteY721" fmla="*/ 882413 h 1693862"/>
                <a:gd name="connsiteX722" fmla="*/ 535310 w 1792288"/>
                <a:gd name="connsiteY722" fmla="*/ 866741 h 1693862"/>
                <a:gd name="connsiteX723" fmla="*/ 535310 w 1792288"/>
                <a:gd name="connsiteY723" fmla="*/ 843232 h 1693862"/>
                <a:gd name="connsiteX724" fmla="*/ 535310 w 1792288"/>
                <a:gd name="connsiteY724" fmla="*/ 827560 h 1693862"/>
                <a:gd name="connsiteX725" fmla="*/ 535310 w 1792288"/>
                <a:gd name="connsiteY725" fmla="*/ 804051 h 1693862"/>
                <a:gd name="connsiteX726" fmla="*/ 535310 w 1792288"/>
                <a:gd name="connsiteY726" fmla="*/ 788379 h 1693862"/>
                <a:gd name="connsiteX727" fmla="*/ 543168 w 1792288"/>
                <a:gd name="connsiteY727" fmla="*/ 772707 h 1693862"/>
                <a:gd name="connsiteX728" fmla="*/ 558884 w 1792288"/>
                <a:gd name="connsiteY728" fmla="*/ 741362 h 1693862"/>
                <a:gd name="connsiteX729" fmla="*/ 1311275 w 1792288"/>
                <a:gd name="connsiteY729" fmla="*/ 695325 h 1693862"/>
                <a:gd name="connsiteX730" fmla="*/ 1358901 w 1792288"/>
                <a:gd name="connsiteY730" fmla="*/ 695325 h 1693862"/>
                <a:gd name="connsiteX731" fmla="*/ 1374776 w 1792288"/>
                <a:gd name="connsiteY731" fmla="*/ 695325 h 1693862"/>
                <a:gd name="connsiteX732" fmla="*/ 1382713 w 1792288"/>
                <a:gd name="connsiteY732" fmla="*/ 703140 h 1693862"/>
                <a:gd name="connsiteX733" fmla="*/ 1374776 w 1792288"/>
                <a:gd name="connsiteY733" fmla="*/ 734402 h 1693862"/>
                <a:gd name="connsiteX734" fmla="*/ 1374776 w 1792288"/>
                <a:gd name="connsiteY734" fmla="*/ 750033 h 1693862"/>
                <a:gd name="connsiteX735" fmla="*/ 1366853 w 1792288"/>
                <a:gd name="connsiteY735" fmla="*/ 796841 h 1693862"/>
                <a:gd name="connsiteX736" fmla="*/ 1368426 w 1792288"/>
                <a:gd name="connsiteY736" fmla="*/ 797605 h 1693862"/>
                <a:gd name="connsiteX737" fmla="*/ 1368426 w 1792288"/>
                <a:gd name="connsiteY737" fmla="*/ 805315 h 1693862"/>
                <a:gd name="connsiteX738" fmla="*/ 1384301 w 1792288"/>
                <a:gd name="connsiteY738" fmla="*/ 843869 h 1693862"/>
                <a:gd name="connsiteX739" fmla="*/ 1392238 w 1792288"/>
                <a:gd name="connsiteY739" fmla="*/ 851580 h 1693862"/>
                <a:gd name="connsiteX740" fmla="*/ 1368426 w 1792288"/>
                <a:gd name="connsiteY740" fmla="*/ 867001 h 1693862"/>
                <a:gd name="connsiteX741" fmla="*/ 1344613 w 1792288"/>
                <a:gd name="connsiteY741" fmla="*/ 874712 h 1693862"/>
                <a:gd name="connsiteX742" fmla="*/ 1328738 w 1792288"/>
                <a:gd name="connsiteY742" fmla="*/ 859291 h 1693862"/>
                <a:gd name="connsiteX743" fmla="*/ 1312863 w 1792288"/>
                <a:gd name="connsiteY743" fmla="*/ 843869 h 1693862"/>
                <a:gd name="connsiteX744" fmla="*/ 1296988 w 1792288"/>
                <a:gd name="connsiteY744" fmla="*/ 851580 h 1693862"/>
                <a:gd name="connsiteX745" fmla="*/ 1265238 w 1792288"/>
                <a:gd name="connsiteY745" fmla="*/ 843869 h 1693862"/>
                <a:gd name="connsiteX746" fmla="*/ 1233488 w 1792288"/>
                <a:gd name="connsiteY746" fmla="*/ 843869 h 1693862"/>
                <a:gd name="connsiteX747" fmla="*/ 1201738 w 1792288"/>
                <a:gd name="connsiteY747" fmla="*/ 851580 h 1693862"/>
                <a:gd name="connsiteX748" fmla="*/ 1209676 w 1792288"/>
                <a:gd name="connsiteY748" fmla="*/ 828448 h 1693862"/>
                <a:gd name="connsiteX749" fmla="*/ 1225551 w 1792288"/>
                <a:gd name="connsiteY749" fmla="*/ 789894 h 1693862"/>
                <a:gd name="connsiteX750" fmla="*/ 1241426 w 1792288"/>
                <a:gd name="connsiteY750" fmla="*/ 789894 h 1693862"/>
                <a:gd name="connsiteX751" fmla="*/ 1265238 w 1792288"/>
                <a:gd name="connsiteY751" fmla="*/ 813026 h 1693862"/>
                <a:gd name="connsiteX752" fmla="*/ 1273176 w 1792288"/>
                <a:gd name="connsiteY752" fmla="*/ 805315 h 1693862"/>
                <a:gd name="connsiteX753" fmla="*/ 1281113 w 1792288"/>
                <a:gd name="connsiteY753" fmla="*/ 774473 h 1693862"/>
                <a:gd name="connsiteX754" fmla="*/ 1312863 w 1792288"/>
                <a:gd name="connsiteY754" fmla="*/ 766762 h 1693862"/>
                <a:gd name="connsiteX755" fmla="*/ 1315840 w 1792288"/>
                <a:gd name="connsiteY755" fmla="*/ 768690 h 1693862"/>
                <a:gd name="connsiteX756" fmla="*/ 1319262 w 1792288"/>
                <a:gd name="connsiteY756" fmla="*/ 770906 h 1693862"/>
                <a:gd name="connsiteX757" fmla="*/ 1311275 w 1792288"/>
                <a:gd name="connsiteY757" fmla="*/ 765663 h 1693862"/>
                <a:gd name="connsiteX758" fmla="*/ 1279525 w 1792288"/>
                <a:gd name="connsiteY758" fmla="*/ 773479 h 1693862"/>
                <a:gd name="connsiteX759" fmla="*/ 1287463 w 1792288"/>
                <a:gd name="connsiteY759" fmla="*/ 765663 h 1693862"/>
                <a:gd name="connsiteX760" fmla="*/ 1279525 w 1792288"/>
                <a:gd name="connsiteY760" fmla="*/ 757848 h 1693862"/>
                <a:gd name="connsiteX761" fmla="*/ 1271588 w 1792288"/>
                <a:gd name="connsiteY761" fmla="*/ 750033 h 1693862"/>
                <a:gd name="connsiteX762" fmla="*/ 1263650 w 1792288"/>
                <a:gd name="connsiteY762" fmla="*/ 734402 h 1693862"/>
                <a:gd name="connsiteX763" fmla="*/ 1263650 w 1792288"/>
                <a:gd name="connsiteY763" fmla="*/ 718771 h 1693862"/>
                <a:gd name="connsiteX764" fmla="*/ 16181 w 1792288"/>
                <a:gd name="connsiteY764" fmla="*/ 352425 h 1693862"/>
                <a:gd name="connsiteX765" fmla="*/ 30051 w 1792288"/>
                <a:gd name="connsiteY765" fmla="*/ 365595 h 1693862"/>
                <a:gd name="connsiteX766" fmla="*/ 62414 w 1792288"/>
                <a:gd name="connsiteY766" fmla="*/ 356188 h 1693862"/>
                <a:gd name="connsiteX767" fmla="*/ 101712 w 1792288"/>
                <a:gd name="connsiteY767" fmla="*/ 352425 h 1693862"/>
                <a:gd name="connsiteX768" fmla="*/ 131763 w 1792288"/>
                <a:gd name="connsiteY768" fmla="*/ 369358 h 1693862"/>
                <a:gd name="connsiteX769" fmla="*/ 110958 w 1792288"/>
                <a:gd name="connsiteY769" fmla="*/ 388173 h 1693862"/>
                <a:gd name="connsiteX770" fmla="*/ 78595 w 1792288"/>
                <a:gd name="connsiteY770" fmla="*/ 403225 h 1693862"/>
                <a:gd name="connsiteX771" fmla="*/ 34674 w 1792288"/>
                <a:gd name="connsiteY771" fmla="*/ 391936 h 1693862"/>
                <a:gd name="connsiteX772" fmla="*/ 11558 w 1792288"/>
                <a:gd name="connsiteY772" fmla="*/ 393817 h 1693862"/>
                <a:gd name="connsiteX773" fmla="*/ 30051 w 1792288"/>
                <a:gd name="connsiteY773" fmla="*/ 386292 h 1693862"/>
                <a:gd name="connsiteX774" fmla="*/ 18493 w 1792288"/>
                <a:gd name="connsiteY774" fmla="*/ 373121 h 1693862"/>
                <a:gd name="connsiteX775" fmla="*/ 0 w 1792288"/>
                <a:gd name="connsiteY775" fmla="*/ 367477 h 1693862"/>
                <a:gd name="connsiteX776" fmla="*/ 1117658 w 1792288"/>
                <a:gd name="connsiteY776" fmla="*/ 219075 h 1693862"/>
                <a:gd name="connsiteX777" fmla="*/ 1117144 w 1792288"/>
                <a:gd name="connsiteY777" fmla="*/ 219417 h 1693862"/>
                <a:gd name="connsiteX778" fmla="*/ 1124574 w 1792288"/>
                <a:gd name="connsiteY778" fmla="*/ 219417 h 1693862"/>
                <a:gd name="connsiteX779" fmla="*/ 1124746 w 1792288"/>
                <a:gd name="connsiteY779" fmla="*/ 219075 h 1693862"/>
                <a:gd name="connsiteX780" fmla="*/ 1124503 w 1792288"/>
                <a:gd name="connsiteY780" fmla="*/ 219075 h 1693862"/>
                <a:gd name="connsiteX781" fmla="*/ 1117658 w 1792288"/>
                <a:gd name="connsiteY781" fmla="*/ 219075 h 1693862"/>
                <a:gd name="connsiteX782" fmla="*/ 1141126 w 1792288"/>
                <a:gd name="connsiteY782" fmla="*/ 187778 h 1693862"/>
                <a:gd name="connsiteX783" fmla="*/ 1140909 w 1792288"/>
                <a:gd name="connsiteY783" fmla="*/ 188212 h 1693862"/>
                <a:gd name="connsiteX784" fmla="*/ 1163665 w 1792288"/>
                <a:gd name="connsiteY784" fmla="*/ 188212 h 1693862"/>
                <a:gd name="connsiteX785" fmla="*/ 1179314 w 1792288"/>
                <a:gd name="connsiteY785" fmla="*/ 188212 h 1693862"/>
                <a:gd name="connsiteX786" fmla="*/ 1179314 w 1792288"/>
                <a:gd name="connsiteY786" fmla="*/ 187778 h 1693862"/>
                <a:gd name="connsiteX787" fmla="*/ 1178284 w 1792288"/>
                <a:gd name="connsiteY787" fmla="*/ 187778 h 1693862"/>
                <a:gd name="connsiteX788" fmla="*/ 1164594 w 1792288"/>
                <a:gd name="connsiteY788" fmla="*/ 187778 h 1693862"/>
                <a:gd name="connsiteX789" fmla="*/ 1141126 w 1792288"/>
                <a:gd name="connsiteY789" fmla="*/ 187778 h 1693862"/>
                <a:gd name="connsiteX790" fmla="*/ 1188063 w 1792288"/>
                <a:gd name="connsiteY790" fmla="*/ 148658 h 1693862"/>
                <a:gd name="connsiteX791" fmla="*/ 1187874 w 1792288"/>
                <a:gd name="connsiteY791" fmla="*/ 149225 h 1693862"/>
                <a:gd name="connsiteX792" fmla="*/ 1194963 w 1792288"/>
                <a:gd name="connsiteY792" fmla="*/ 149225 h 1693862"/>
                <a:gd name="connsiteX793" fmla="*/ 1195248 w 1792288"/>
                <a:gd name="connsiteY793" fmla="*/ 149796 h 1693862"/>
                <a:gd name="connsiteX794" fmla="*/ 1201644 w 1792288"/>
                <a:gd name="connsiteY794" fmla="*/ 149796 h 1693862"/>
                <a:gd name="connsiteX795" fmla="*/ 1202216 w 1792288"/>
                <a:gd name="connsiteY795" fmla="*/ 148658 h 1693862"/>
                <a:gd name="connsiteX796" fmla="*/ 1195885 w 1792288"/>
                <a:gd name="connsiteY796" fmla="*/ 148658 h 1693862"/>
                <a:gd name="connsiteX797" fmla="*/ 1188063 w 1792288"/>
                <a:gd name="connsiteY797" fmla="*/ 148658 h 1693862"/>
                <a:gd name="connsiteX798" fmla="*/ 1401117 w 1792288"/>
                <a:gd name="connsiteY798" fmla="*/ 146818 h 1693862"/>
                <a:gd name="connsiteX799" fmla="*/ 1400255 w 1792288"/>
                <a:gd name="connsiteY799" fmla="*/ 147680 h 1693862"/>
                <a:gd name="connsiteX800" fmla="*/ 1399277 w 1792288"/>
                <a:gd name="connsiteY800" fmla="*/ 148658 h 1693862"/>
                <a:gd name="connsiteX801" fmla="*/ 1402930 w 1792288"/>
                <a:gd name="connsiteY801" fmla="*/ 145004 h 1693862"/>
                <a:gd name="connsiteX802" fmla="*/ 1401117 w 1792288"/>
                <a:gd name="connsiteY802" fmla="*/ 146818 h 1693862"/>
                <a:gd name="connsiteX803" fmla="*/ 1401788 w 1792288"/>
                <a:gd name="connsiteY803" fmla="*/ 146146 h 1693862"/>
                <a:gd name="connsiteX804" fmla="*/ 1211531 w 1792288"/>
                <a:gd name="connsiteY804" fmla="*/ 133010 h 1693862"/>
                <a:gd name="connsiteX805" fmla="*/ 1210553 w 1792288"/>
                <a:gd name="connsiteY805" fmla="*/ 134966 h 1693862"/>
                <a:gd name="connsiteX806" fmla="*/ 1210220 w 1792288"/>
                <a:gd name="connsiteY806" fmla="*/ 135632 h 1693862"/>
                <a:gd name="connsiteX807" fmla="*/ 1210469 w 1792288"/>
                <a:gd name="connsiteY807" fmla="*/ 136128 h 1693862"/>
                <a:gd name="connsiteX808" fmla="*/ 1217333 w 1792288"/>
                <a:gd name="connsiteY808" fmla="*/ 149796 h 1693862"/>
                <a:gd name="connsiteX809" fmla="*/ 1233021 w 1792288"/>
                <a:gd name="connsiteY809" fmla="*/ 165417 h 1693862"/>
                <a:gd name="connsiteX810" fmla="*/ 1256553 w 1792288"/>
                <a:gd name="connsiteY810" fmla="*/ 173227 h 1693862"/>
                <a:gd name="connsiteX811" fmla="*/ 1280086 w 1792288"/>
                <a:gd name="connsiteY811" fmla="*/ 165417 h 1693862"/>
                <a:gd name="connsiteX812" fmla="*/ 1287930 w 1792288"/>
                <a:gd name="connsiteY812" fmla="*/ 173227 h 1693862"/>
                <a:gd name="connsiteX813" fmla="*/ 1289396 w 1792288"/>
                <a:gd name="connsiteY813" fmla="*/ 171768 h 1693862"/>
                <a:gd name="connsiteX814" fmla="*/ 1288780 w 1792288"/>
                <a:gd name="connsiteY814" fmla="*/ 171152 h 1693862"/>
                <a:gd name="connsiteX815" fmla="*/ 1281936 w 1792288"/>
                <a:gd name="connsiteY815" fmla="*/ 164306 h 1693862"/>
                <a:gd name="connsiteX816" fmla="*/ 1258467 w 1792288"/>
                <a:gd name="connsiteY816" fmla="*/ 172130 h 1693862"/>
                <a:gd name="connsiteX817" fmla="*/ 1234999 w 1792288"/>
                <a:gd name="connsiteY817" fmla="*/ 164306 h 1693862"/>
                <a:gd name="connsiteX818" fmla="*/ 1219354 w 1792288"/>
                <a:gd name="connsiteY818" fmla="*/ 148658 h 1693862"/>
                <a:gd name="connsiteX819" fmla="*/ 1211531 w 1792288"/>
                <a:gd name="connsiteY819" fmla="*/ 133010 h 1693862"/>
                <a:gd name="connsiteX820" fmla="*/ 1391454 w 1792288"/>
                <a:gd name="connsiteY820" fmla="*/ 0 h 1693862"/>
                <a:gd name="connsiteX821" fmla="*/ 1422745 w 1792288"/>
                <a:gd name="connsiteY821" fmla="*/ 31296 h 1693862"/>
                <a:gd name="connsiteX822" fmla="*/ 1446213 w 1792288"/>
                <a:gd name="connsiteY822" fmla="*/ 46944 h 1693862"/>
                <a:gd name="connsiteX823" fmla="*/ 1422745 w 1792288"/>
                <a:gd name="connsiteY823" fmla="*/ 70417 h 1693862"/>
                <a:gd name="connsiteX824" fmla="*/ 1430568 w 1792288"/>
                <a:gd name="connsiteY824" fmla="*/ 93889 h 1693862"/>
                <a:gd name="connsiteX825" fmla="*/ 1438390 w 1792288"/>
                <a:gd name="connsiteY825" fmla="*/ 101713 h 1693862"/>
                <a:gd name="connsiteX826" fmla="*/ 1430568 w 1792288"/>
                <a:gd name="connsiteY826" fmla="*/ 117361 h 1693862"/>
                <a:gd name="connsiteX827" fmla="*/ 1417367 w 1792288"/>
                <a:gd name="connsiteY827" fmla="*/ 130565 h 1693862"/>
                <a:gd name="connsiteX828" fmla="*/ 1402930 w 1792288"/>
                <a:gd name="connsiteY828" fmla="*/ 145004 h 1693862"/>
                <a:gd name="connsiteX829" fmla="*/ 1405501 w 1792288"/>
                <a:gd name="connsiteY829" fmla="*/ 142432 h 1693862"/>
                <a:gd name="connsiteX830" fmla="*/ 1407099 w 1792288"/>
                <a:gd name="connsiteY830" fmla="*/ 140834 h 1693862"/>
                <a:gd name="connsiteX831" fmla="*/ 1406121 w 1792288"/>
                <a:gd name="connsiteY831" fmla="*/ 141812 h 1693862"/>
                <a:gd name="connsiteX832" fmla="*/ 1405501 w 1792288"/>
                <a:gd name="connsiteY832" fmla="*/ 142432 h 1693862"/>
                <a:gd name="connsiteX833" fmla="*/ 1401788 w 1792288"/>
                <a:gd name="connsiteY833" fmla="*/ 146146 h 1693862"/>
                <a:gd name="connsiteX834" fmla="*/ 1399277 w 1792288"/>
                <a:gd name="connsiteY834" fmla="*/ 148658 h 1693862"/>
                <a:gd name="connsiteX835" fmla="*/ 1407099 w 1792288"/>
                <a:gd name="connsiteY835" fmla="*/ 133010 h 1693862"/>
                <a:gd name="connsiteX836" fmla="*/ 1407099 w 1792288"/>
                <a:gd name="connsiteY836" fmla="*/ 109537 h 1693862"/>
                <a:gd name="connsiteX837" fmla="*/ 1383631 w 1792288"/>
                <a:gd name="connsiteY837" fmla="*/ 86065 h 1693862"/>
                <a:gd name="connsiteX838" fmla="*/ 1344518 w 1792288"/>
                <a:gd name="connsiteY838" fmla="*/ 93889 h 1693862"/>
                <a:gd name="connsiteX839" fmla="*/ 1343396 w 1792288"/>
                <a:gd name="connsiteY839" fmla="*/ 95011 h 1693862"/>
                <a:gd name="connsiteX840" fmla="*/ 1347741 w 1792288"/>
                <a:gd name="connsiteY840" fmla="*/ 94146 h 1693862"/>
                <a:gd name="connsiteX841" fmla="*/ 1382059 w 1792288"/>
                <a:gd name="connsiteY841" fmla="*/ 87312 h 1693862"/>
                <a:gd name="connsiteX842" fmla="*/ 1405591 w 1792288"/>
                <a:gd name="connsiteY842" fmla="*/ 110743 h 1693862"/>
                <a:gd name="connsiteX843" fmla="*/ 1405591 w 1792288"/>
                <a:gd name="connsiteY843" fmla="*/ 134175 h 1693862"/>
                <a:gd name="connsiteX844" fmla="*/ 1397747 w 1792288"/>
                <a:gd name="connsiteY844" fmla="*/ 149796 h 1693862"/>
                <a:gd name="connsiteX845" fmla="*/ 1397747 w 1792288"/>
                <a:gd name="connsiteY845" fmla="*/ 157606 h 1693862"/>
                <a:gd name="connsiteX846" fmla="*/ 1389903 w 1792288"/>
                <a:gd name="connsiteY846" fmla="*/ 165417 h 1693862"/>
                <a:gd name="connsiteX847" fmla="*/ 1389903 w 1792288"/>
                <a:gd name="connsiteY847" fmla="*/ 196659 h 1693862"/>
                <a:gd name="connsiteX848" fmla="*/ 1389903 w 1792288"/>
                <a:gd name="connsiteY848" fmla="*/ 204469 h 1693862"/>
                <a:gd name="connsiteX849" fmla="*/ 1413436 w 1792288"/>
                <a:gd name="connsiteY849" fmla="*/ 220090 h 1693862"/>
                <a:gd name="connsiteX850" fmla="*/ 1429124 w 1792288"/>
                <a:gd name="connsiteY850" fmla="*/ 251333 h 1693862"/>
                <a:gd name="connsiteX851" fmla="*/ 1405591 w 1792288"/>
                <a:gd name="connsiteY851" fmla="*/ 298196 h 1693862"/>
                <a:gd name="connsiteX852" fmla="*/ 1429124 w 1792288"/>
                <a:gd name="connsiteY852" fmla="*/ 368490 h 1693862"/>
                <a:gd name="connsiteX853" fmla="*/ 1413436 w 1792288"/>
                <a:gd name="connsiteY853" fmla="*/ 384111 h 1693862"/>
                <a:gd name="connsiteX854" fmla="*/ 1421280 w 1792288"/>
                <a:gd name="connsiteY854" fmla="*/ 399732 h 1693862"/>
                <a:gd name="connsiteX855" fmla="*/ 1421280 w 1792288"/>
                <a:gd name="connsiteY855" fmla="*/ 415353 h 1693862"/>
                <a:gd name="connsiteX856" fmla="*/ 1429124 w 1792288"/>
                <a:gd name="connsiteY856" fmla="*/ 423164 h 1693862"/>
                <a:gd name="connsiteX857" fmla="*/ 1429124 w 1792288"/>
                <a:gd name="connsiteY857" fmla="*/ 438785 h 1693862"/>
                <a:gd name="connsiteX858" fmla="*/ 1436968 w 1792288"/>
                <a:gd name="connsiteY858" fmla="*/ 454406 h 1693862"/>
                <a:gd name="connsiteX859" fmla="*/ 1429124 w 1792288"/>
                <a:gd name="connsiteY859" fmla="*/ 493458 h 1693862"/>
                <a:gd name="connsiteX860" fmla="*/ 1444812 w 1792288"/>
                <a:gd name="connsiteY860" fmla="*/ 509079 h 1693862"/>
                <a:gd name="connsiteX861" fmla="*/ 1460500 w 1792288"/>
                <a:gd name="connsiteY861" fmla="*/ 516890 h 1693862"/>
                <a:gd name="connsiteX862" fmla="*/ 1460500 w 1792288"/>
                <a:gd name="connsiteY862" fmla="*/ 540321 h 1693862"/>
                <a:gd name="connsiteX863" fmla="*/ 1366371 w 1792288"/>
                <a:gd name="connsiteY863" fmla="*/ 649668 h 1693862"/>
                <a:gd name="connsiteX864" fmla="*/ 1350683 w 1792288"/>
                <a:gd name="connsiteY864" fmla="*/ 649668 h 1693862"/>
                <a:gd name="connsiteX865" fmla="*/ 1287930 w 1792288"/>
                <a:gd name="connsiteY865" fmla="*/ 673100 h 1693862"/>
                <a:gd name="connsiteX866" fmla="*/ 1248709 w 1792288"/>
                <a:gd name="connsiteY866" fmla="*/ 673100 h 1693862"/>
                <a:gd name="connsiteX867" fmla="*/ 1233021 w 1792288"/>
                <a:gd name="connsiteY867" fmla="*/ 657479 h 1693862"/>
                <a:gd name="connsiteX868" fmla="*/ 1217333 w 1792288"/>
                <a:gd name="connsiteY868" fmla="*/ 641858 h 1693862"/>
                <a:gd name="connsiteX869" fmla="*/ 1209488 w 1792288"/>
                <a:gd name="connsiteY869" fmla="*/ 602805 h 1693862"/>
                <a:gd name="connsiteX870" fmla="*/ 1201644 w 1792288"/>
                <a:gd name="connsiteY870" fmla="*/ 540321 h 1693862"/>
                <a:gd name="connsiteX871" fmla="*/ 1225177 w 1792288"/>
                <a:gd name="connsiteY871" fmla="*/ 501269 h 1693862"/>
                <a:gd name="connsiteX872" fmla="*/ 1264397 w 1792288"/>
                <a:gd name="connsiteY872" fmla="*/ 470027 h 1693862"/>
                <a:gd name="connsiteX873" fmla="*/ 1303618 w 1792288"/>
                <a:gd name="connsiteY873" fmla="*/ 399732 h 1693862"/>
                <a:gd name="connsiteX874" fmla="*/ 1287930 w 1792288"/>
                <a:gd name="connsiteY874" fmla="*/ 368490 h 1693862"/>
                <a:gd name="connsiteX875" fmla="*/ 1272241 w 1792288"/>
                <a:gd name="connsiteY875" fmla="*/ 368490 h 1693862"/>
                <a:gd name="connsiteX876" fmla="*/ 1272241 w 1792288"/>
                <a:gd name="connsiteY876" fmla="*/ 367514 h 1693862"/>
                <a:gd name="connsiteX877" fmla="*/ 1272241 w 1792288"/>
                <a:gd name="connsiteY877" fmla="*/ 367349 h 1693862"/>
                <a:gd name="connsiteX878" fmla="*/ 1249702 w 1792288"/>
                <a:gd name="connsiteY878" fmla="*/ 359876 h 1693862"/>
                <a:gd name="connsiteX879" fmla="*/ 1226260 w 1792288"/>
                <a:gd name="connsiteY879" fmla="*/ 391081 h 1693862"/>
                <a:gd name="connsiteX880" fmla="*/ 1210612 w 1792288"/>
                <a:gd name="connsiteY880" fmla="*/ 414503 h 1693862"/>
                <a:gd name="connsiteX881" fmla="*/ 1218436 w 1792288"/>
                <a:gd name="connsiteY881" fmla="*/ 437925 h 1693862"/>
                <a:gd name="connsiteX882" fmla="*/ 1210612 w 1792288"/>
                <a:gd name="connsiteY882" fmla="*/ 461347 h 1693862"/>
                <a:gd name="connsiteX883" fmla="*/ 1163665 w 1792288"/>
                <a:gd name="connsiteY883" fmla="*/ 492552 h 1693862"/>
                <a:gd name="connsiteX884" fmla="*/ 1140223 w 1792288"/>
                <a:gd name="connsiteY884" fmla="*/ 508118 h 1693862"/>
                <a:gd name="connsiteX885" fmla="*/ 1116750 w 1792288"/>
                <a:gd name="connsiteY885" fmla="*/ 547105 h 1693862"/>
                <a:gd name="connsiteX886" fmla="*/ 1116750 w 1792288"/>
                <a:gd name="connsiteY886" fmla="*/ 586167 h 1693862"/>
                <a:gd name="connsiteX887" fmla="*/ 1108926 w 1792288"/>
                <a:gd name="connsiteY887" fmla="*/ 640794 h 1693862"/>
                <a:gd name="connsiteX888" fmla="*/ 1132399 w 1792288"/>
                <a:gd name="connsiteY888" fmla="*/ 656359 h 1693862"/>
                <a:gd name="connsiteX889" fmla="*/ 1140223 w 1792288"/>
                <a:gd name="connsiteY889" fmla="*/ 679781 h 1693862"/>
                <a:gd name="connsiteX890" fmla="*/ 1140223 w 1792288"/>
                <a:gd name="connsiteY890" fmla="*/ 718769 h 1693862"/>
                <a:gd name="connsiteX891" fmla="*/ 1116750 w 1792288"/>
                <a:gd name="connsiteY891" fmla="*/ 726552 h 1693862"/>
                <a:gd name="connsiteX892" fmla="*/ 1101101 w 1792288"/>
                <a:gd name="connsiteY892" fmla="*/ 734408 h 1693862"/>
                <a:gd name="connsiteX893" fmla="*/ 1101101 w 1792288"/>
                <a:gd name="connsiteY893" fmla="*/ 765613 h 1693862"/>
                <a:gd name="connsiteX894" fmla="*/ 1093277 w 1792288"/>
                <a:gd name="connsiteY894" fmla="*/ 820240 h 1693862"/>
                <a:gd name="connsiteX895" fmla="*/ 1077628 w 1792288"/>
                <a:gd name="connsiteY895" fmla="*/ 851445 h 1693862"/>
                <a:gd name="connsiteX896" fmla="*/ 1054186 w 1792288"/>
                <a:gd name="connsiteY896" fmla="*/ 851445 h 1693862"/>
                <a:gd name="connsiteX897" fmla="*/ 1038537 w 1792288"/>
                <a:gd name="connsiteY897" fmla="*/ 867011 h 1693862"/>
                <a:gd name="connsiteX898" fmla="*/ 1030713 w 1792288"/>
                <a:gd name="connsiteY898" fmla="*/ 882650 h 1693862"/>
                <a:gd name="connsiteX899" fmla="*/ 1019137 w 1792288"/>
                <a:gd name="connsiteY899" fmla="*/ 871384 h 1693862"/>
                <a:gd name="connsiteX900" fmla="*/ 1013717 w 1792288"/>
                <a:gd name="connsiteY900" fmla="*/ 867678 h 1693862"/>
                <a:gd name="connsiteX901" fmla="*/ 1010671 w 1792288"/>
                <a:gd name="connsiteY901" fmla="*/ 846701 h 1693862"/>
                <a:gd name="connsiteX902" fmla="*/ 1008298 w 1792288"/>
                <a:gd name="connsiteY902" fmla="*/ 819128 h 1693862"/>
                <a:gd name="connsiteX903" fmla="*/ 983125 w 1792288"/>
                <a:gd name="connsiteY903" fmla="*/ 770653 h 1693862"/>
                <a:gd name="connsiteX904" fmla="*/ 968149 w 1792288"/>
                <a:gd name="connsiteY904" fmla="*/ 765613 h 1693862"/>
                <a:gd name="connsiteX905" fmla="*/ 952500 w 1792288"/>
                <a:gd name="connsiteY905" fmla="*/ 726552 h 1693862"/>
                <a:gd name="connsiteX906" fmla="*/ 953380 w 1792288"/>
                <a:gd name="connsiteY906" fmla="*/ 725676 h 1693862"/>
                <a:gd name="connsiteX907" fmla="*/ 953380 w 1792288"/>
                <a:gd name="connsiteY907" fmla="*/ 719817 h 1693862"/>
                <a:gd name="connsiteX908" fmla="*/ 945557 w 1792288"/>
                <a:gd name="connsiteY908" fmla="*/ 711993 h 1693862"/>
                <a:gd name="connsiteX909" fmla="*/ 922089 w 1792288"/>
                <a:gd name="connsiteY909" fmla="*/ 727641 h 1693862"/>
                <a:gd name="connsiteX910" fmla="*/ 882975 w 1792288"/>
                <a:gd name="connsiteY910" fmla="*/ 758938 h 1693862"/>
                <a:gd name="connsiteX911" fmla="*/ 851684 w 1792288"/>
                <a:gd name="connsiteY911" fmla="*/ 766762 h 1693862"/>
                <a:gd name="connsiteX912" fmla="*/ 820393 w 1792288"/>
                <a:gd name="connsiteY912" fmla="*/ 743290 h 1693862"/>
                <a:gd name="connsiteX913" fmla="*/ 820393 w 1792288"/>
                <a:gd name="connsiteY913" fmla="*/ 711993 h 1693862"/>
                <a:gd name="connsiteX914" fmla="*/ 812570 w 1792288"/>
                <a:gd name="connsiteY914" fmla="*/ 680697 h 1693862"/>
                <a:gd name="connsiteX915" fmla="*/ 804747 w 1792288"/>
                <a:gd name="connsiteY915" fmla="*/ 657224 h 1693862"/>
                <a:gd name="connsiteX916" fmla="*/ 796925 w 1792288"/>
                <a:gd name="connsiteY916" fmla="*/ 618104 h 1693862"/>
                <a:gd name="connsiteX917" fmla="*/ 812570 w 1792288"/>
                <a:gd name="connsiteY917" fmla="*/ 594632 h 1693862"/>
                <a:gd name="connsiteX918" fmla="*/ 820393 w 1792288"/>
                <a:gd name="connsiteY918" fmla="*/ 571159 h 1693862"/>
                <a:gd name="connsiteX919" fmla="*/ 828216 w 1792288"/>
                <a:gd name="connsiteY919" fmla="*/ 555511 h 1693862"/>
                <a:gd name="connsiteX920" fmla="*/ 843861 w 1792288"/>
                <a:gd name="connsiteY920" fmla="*/ 539863 h 1693862"/>
                <a:gd name="connsiteX921" fmla="*/ 859507 w 1792288"/>
                <a:gd name="connsiteY921" fmla="*/ 508566 h 1693862"/>
                <a:gd name="connsiteX922" fmla="*/ 898620 w 1792288"/>
                <a:gd name="connsiteY922" fmla="*/ 492918 h 1693862"/>
                <a:gd name="connsiteX923" fmla="*/ 929911 w 1792288"/>
                <a:gd name="connsiteY923" fmla="*/ 469446 h 1693862"/>
                <a:gd name="connsiteX924" fmla="*/ 976848 w 1792288"/>
                <a:gd name="connsiteY924" fmla="*/ 383381 h 1693862"/>
                <a:gd name="connsiteX925" fmla="*/ 992494 w 1792288"/>
                <a:gd name="connsiteY925" fmla="*/ 359909 h 1693862"/>
                <a:gd name="connsiteX926" fmla="*/ 1000317 w 1792288"/>
                <a:gd name="connsiteY926" fmla="*/ 320788 h 1693862"/>
                <a:gd name="connsiteX927" fmla="*/ 1015962 w 1792288"/>
                <a:gd name="connsiteY927" fmla="*/ 297316 h 1693862"/>
                <a:gd name="connsiteX928" fmla="*/ 1047253 w 1792288"/>
                <a:gd name="connsiteY928" fmla="*/ 242547 h 1693862"/>
                <a:gd name="connsiteX929" fmla="*/ 1047253 w 1792288"/>
                <a:gd name="connsiteY929" fmla="*/ 219075 h 1693862"/>
                <a:gd name="connsiteX930" fmla="*/ 1086367 w 1792288"/>
                <a:gd name="connsiteY930" fmla="*/ 172130 h 1693862"/>
                <a:gd name="connsiteX931" fmla="*/ 1109835 w 1792288"/>
                <a:gd name="connsiteY931" fmla="*/ 172130 h 1693862"/>
                <a:gd name="connsiteX932" fmla="*/ 1117658 w 1792288"/>
                <a:gd name="connsiteY932" fmla="*/ 148658 h 1693862"/>
                <a:gd name="connsiteX933" fmla="*/ 1133303 w 1792288"/>
                <a:gd name="connsiteY933" fmla="*/ 109537 h 1693862"/>
                <a:gd name="connsiteX934" fmla="*/ 1172417 w 1792288"/>
                <a:gd name="connsiteY934" fmla="*/ 101713 h 1693862"/>
                <a:gd name="connsiteX935" fmla="*/ 1188063 w 1792288"/>
                <a:gd name="connsiteY935" fmla="*/ 62593 h 1693862"/>
                <a:gd name="connsiteX936" fmla="*/ 1211531 w 1792288"/>
                <a:gd name="connsiteY936" fmla="*/ 62593 h 1693862"/>
                <a:gd name="connsiteX937" fmla="*/ 1227176 w 1792288"/>
                <a:gd name="connsiteY937" fmla="*/ 46944 h 1693862"/>
                <a:gd name="connsiteX938" fmla="*/ 1234999 w 1792288"/>
                <a:gd name="connsiteY938" fmla="*/ 46944 h 1693862"/>
                <a:gd name="connsiteX939" fmla="*/ 1258467 w 1792288"/>
                <a:gd name="connsiteY939" fmla="*/ 39120 h 1693862"/>
                <a:gd name="connsiteX940" fmla="*/ 1281936 w 1792288"/>
                <a:gd name="connsiteY940" fmla="*/ 7824 h 1693862"/>
                <a:gd name="connsiteX941" fmla="*/ 1313227 w 1792288"/>
                <a:gd name="connsiteY941" fmla="*/ 7824 h 1693862"/>
                <a:gd name="connsiteX942" fmla="*/ 1336695 w 1792288"/>
                <a:gd name="connsiteY942" fmla="*/ 7824 h 1693862"/>
                <a:gd name="connsiteX943" fmla="*/ 1336695 w 1792288"/>
                <a:gd name="connsiteY943" fmla="*/ 15648 h 1693862"/>
                <a:gd name="connsiteX944" fmla="*/ 1360163 w 1792288"/>
                <a:gd name="connsiteY944" fmla="*/ 31296 h 1693862"/>
                <a:gd name="connsiteX945" fmla="*/ 1391454 w 1792288"/>
                <a:gd name="connsiteY945" fmla="*/ 0 h 1693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</a:cxnLst>
              <a:rect l="l" t="t" r="r" b="b"/>
              <a:pathLst>
                <a:path w="1792288" h="1693862">
                  <a:moveTo>
                    <a:pt x="1528763" y="1590675"/>
                  </a:moveTo>
                  <a:lnTo>
                    <a:pt x="1528763" y="1592263"/>
                  </a:lnTo>
                  <a:lnTo>
                    <a:pt x="1508126" y="1608138"/>
                  </a:lnTo>
                  <a:lnTo>
                    <a:pt x="1512888" y="1619250"/>
                  </a:lnTo>
                  <a:lnTo>
                    <a:pt x="1498601" y="1624013"/>
                  </a:lnTo>
                  <a:lnTo>
                    <a:pt x="1479551" y="1635125"/>
                  </a:lnTo>
                  <a:lnTo>
                    <a:pt x="1476376" y="1635125"/>
                  </a:lnTo>
                  <a:lnTo>
                    <a:pt x="1468438" y="1631950"/>
                  </a:lnTo>
                  <a:lnTo>
                    <a:pt x="1458913" y="1627188"/>
                  </a:lnTo>
                  <a:lnTo>
                    <a:pt x="1455738" y="1614488"/>
                  </a:lnTo>
                  <a:lnTo>
                    <a:pt x="1460501" y="1617663"/>
                  </a:lnTo>
                  <a:lnTo>
                    <a:pt x="1474788" y="1612900"/>
                  </a:lnTo>
                  <a:lnTo>
                    <a:pt x="1476376" y="1603375"/>
                  </a:lnTo>
                  <a:lnTo>
                    <a:pt x="1498601" y="1604963"/>
                  </a:lnTo>
                  <a:close/>
                  <a:moveTo>
                    <a:pt x="1042035" y="1524000"/>
                  </a:moveTo>
                  <a:lnTo>
                    <a:pt x="1073150" y="1531673"/>
                  </a:lnTo>
                  <a:lnTo>
                    <a:pt x="1073150" y="1547019"/>
                  </a:lnTo>
                  <a:lnTo>
                    <a:pt x="1065372" y="1570037"/>
                  </a:lnTo>
                  <a:lnTo>
                    <a:pt x="1034257" y="1554691"/>
                  </a:lnTo>
                  <a:lnTo>
                    <a:pt x="995363" y="1539346"/>
                  </a:lnTo>
                  <a:close/>
                  <a:moveTo>
                    <a:pt x="1333730" y="1444060"/>
                  </a:moveTo>
                  <a:lnTo>
                    <a:pt x="1291477" y="1458737"/>
                  </a:lnTo>
                  <a:lnTo>
                    <a:pt x="1313469" y="1479320"/>
                  </a:lnTo>
                  <a:lnTo>
                    <a:pt x="1316437" y="1495233"/>
                  </a:lnTo>
                  <a:lnTo>
                    <a:pt x="1340119" y="1509806"/>
                  </a:lnTo>
                  <a:lnTo>
                    <a:pt x="1332520" y="1501700"/>
                  </a:lnTo>
                  <a:cubicBezTo>
                    <a:pt x="1322507" y="1489789"/>
                    <a:pt x="1305402" y="1464980"/>
                    <a:pt x="1300163" y="1459706"/>
                  </a:cubicBezTo>
                  <a:cubicBezTo>
                    <a:pt x="1300163" y="1457176"/>
                    <a:pt x="1303733" y="1457284"/>
                    <a:pt x="1309666" y="1454503"/>
                  </a:cubicBezTo>
                  <a:cubicBezTo>
                    <a:pt x="1312633" y="1453113"/>
                    <a:pt x="1317872" y="1451221"/>
                    <a:pt x="1323023" y="1449189"/>
                  </a:cubicBezTo>
                  <a:close/>
                  <a:moveTo>
                    <a:pt x="466321" y="1436961"/>
                  </a:moveTo>
                  <a:lnTo>
                    <a:pt x="465556" y="1439729"/>
                  </a:lnTo>
                  <a:lnTo>
                    <a:pt x="460770" y="1457047"/>
                  </a:lnTo>
                  <a:lnTo>
                    <a:pt x="460430" y="1464211"/>
                  </a:lnTo>
                  <a:lnTo>
                    <a:pt x="460453" y="1464172"/>
                  </a:lnTo>
                  <a:lnTo>
                    <a:pt x="462435" y="1454982"/>
                  </a:lnTo>
                  <a:cubicBezTo>
                    <a:pt x="462923" y="1452719"/>
                    <a:pt x="461633" y="1458188"/>
                    <a:pt x="463452" y="1450609"/>
                  </a:cubicBezTo>
                  <a:cubicBezTo>
                    <a:pt x="465270" y="1443030"/>
                    <a:pt x="463589" y="1449628"/>
                    <a:pt x="464422" y="1445764"/>
                  </a:cubicBezTo>
                  <a:close/>
                  <a:moveTo>
                    <a:pt x="1280062" y="1435318"/>
                  </a:moveTo>
                  <a:lnTo>
                    <a:pt x="1276082" y="1437452"/>
                  </a:lnTo>
                  <a:lnTo>
                    <a:pt x="1278241" y="1436522"/>
                  </a:lnTo>
                  <a:close/>
                  <a:moveTo>
                    <a:pt x="931862" y="1435100"/>
                  </a:moveTo>
                  <a:lnTo>
                    <a:pt x="939800" y="1466056"/>
                  </a:lnTo>
                  <a:lnTo>
                    <a:pt x="939800" y="1497012"/>
                  </a:lnTo>
                  <a:lnTo>
                    <a:pt x="908050" y="1497012"/>
                  </a:lnTo>
                  <a:lnTo>
                    <a:pt x="915987" y="1442839"/>
                  </a:lnTo>
                  <a:close/>
                  <a:moveTo>
                    <a:pt x="1239876" y="1433970"/>
                  </a:moveTo>
                  <a:lnTo>
                    <a:pt x="1239876" y="1434378"/>
                  </a:lnTo>
                  <a:lnTo>
                    <a:pt x="1254125" y="1446501"/>
                  </a:lnTo>
                  <a:lnTo>
                    <a:pt x="1244194" y="1450398"/>
                  </a:lnTo>
                  <a:lnTo>
                    <a:pt x="1245046" y="1453388"/>
                  </a:lnTo>
                  <a:lnTo>
                    <a:pt x="1244603" y="1451012"/>
                  </a:lnTo>
                  <a:lnTo>
                    <a:pt x="1258962" y="1444826"/>
                  </a:lnTo>
                  <a:lnTo>
                    <a:pt x="1255134" y="1446212"/>
                  </a:lnTo>
                  <a:close/>
                  <a:moveTo>
                    <a:pt x="1363053" y="1429086"/>
                  </a:moveTo>
                  <a:lnTo>
                    <a:pt x="1363473" y="1432004"/>
                  </a:lnTo>
                  <a:lnTo>
                    <a:pt x="1342656" y="1440959"/>
                  </a:lnTo>
                  <a:lnTo>
                    <a:pt x="1336772" y="1443003"/>
                  </a:lnTo>
                  <a:lnTo>
                    <a:pt x="1346491" y="1442608"/>
                  </a:lnTo>
                  <a:cubicBezTo>
                    <a:pt x="1350750" y="1443632"/>
                    <a:pt x="1355513" y="1445193"/>
                    <a:pt x="1360149" y="1445390"/>
                  </a:cubicBezTo>
                  <a:lnTo>
                    <a:pt x="1367646" y="1445390"/>
                  </a:lnTo>
                  <a:close/>
                  <a:moveTo>
                    <a:pt x="1422081" y="1428864"/>
                  </a:moveTo>
                  <a:lnTo>
                    <a:pt x="1423009" y="1429784"/>
                  </a:lnTo>
                  <a:lnTo>
                    <a:pt x="1427636" y="1428864"/>
                  </a:lnTo>
                  <a:close/>
                  <a:moveTo>
                    <a:pt x="1402409" y="1428864"/>
                  </a:moveTo>
                  <a:lnTo>
                    <a:pt x="1377602" y="1445390"/>
                  </a:lnTo>
                  <a:lnTo>
                    <a:pt x="1391579" y="1445390"/>
                  </a:lnTo>
                  <a:lnTo>
                    <a:pt x="1402673" y="1428864"/>
                  </a:lnTo>
                  <a:close/>
                  <a:moveTo>
                    <a:pt x="1304769" y="1414714"/>
                  </a:moveTo>
                  <a:lnTo>
                    <a:pt x="1304925" y="1415393"/>
                  </a:lnTo>
                  <a:lnTo>
                    <a:pt x="1303158" y="1420045"/>
                  </a:lnTo>
                  <a:lnTo>
                    <a:pt x="1306093" y="1418104"/>
                  </a:lnTo>
                  <a:lnTo>
                    <a:pt x="1306878" y="1417874"/>
                  </a:lnTo>
                  <a:close/>
                  <a:moveTo>
                    <a:pt x="1369287" y="1412466"/>
                  </a:moveTo>
                  <a:lnTo>
                    <a:pt x="1368645" y="1413691"/>
                  </a:lnTo>
                  <a:lnTo>
                    <a:pt x="1364970" y="1417138"/>
                  </a:lnTo>
                  <a:lnTo>
                    <a:pt x="1363731" y="1418986"/>
                  </a:lnTo>
                  <a:lnTo>
                    <a:pt x="1369219" y="1414113"/>
                  </a:lnTo>
                  <a:close/>
                  <a:moveTo>
                    <a:pt x="1239838" y="1407383"/>
                  </a:moveTo>
                  <a:lnTo>
                    <a:pt x="1239298" y="1407747"/>
                  </a:lnTo>
                  <a:lnTo>
                    <a:pt x="1239838" y="1408763"/>
                  </a:lnTo>
                  <a:close/>
                  <a:moveTo>
                    <a:pt x="482175" y="1404541"/>
                  </a:moveTo>
                  <a:lnTo>
                    <a:pt x="474728" y="1414963"/>
                  </a:lnTo>
                  <a:lnTo>
                    <a:pt x="472068" y="1421284"/>
                  </a:lnTo>
                  <a:close/>
                  <a:moveTo>
                    <a:pt x="1352971" y="1404520"/>
                  </a:moveTo>
                  <a:lnTo>
                    <a:pt x="1352921" y="1404536"/>
                  </a:lnTo>
                  <a:lnTo>
                    <a:pt x="1360729" y="1411059"/>
                  </a:lnTo>
                  <a:lnTo>
                    <a:pt x="1368338" y="1409652"/>
                  </a:lnTo>
                  <a:lnTo>
                    <a:pt x="1359142" y="1409564"/>
                  </a:lnTo>
                  <a:close/>
                  <a:moveTo>
                    <a:pt x="1259038" y="1394468"/>
                  </a:moveTo>
                  <a:lnTo>
                    <a:pt x="1254418" y="1397576"/>
                  </a:lnTo>
                  <a:lnTo>
                    <a:pt x="1258887" y="1394994"/>
                  </a:lnTo>
                  <a:close/>
                  <a:moveTo>
                    <a:pt x="1261976" y="1381134"/>
                  </a:moveTo>
                  <a:lnTo>
                    <a:pt x="1261620" y="1385428"/>
                  </a:lnTo>
                  <a:lnTo>
                    <a:pt x="1262675" y="1381736"/>
                  </a:lnTo>
                  <a:close/>
                  <a:moveTo>
                    <a:pt x="1225574" y="1372571"/>
                  </a:moveTo>
                  <a:lnTo>
                    <a:pt x="1224156" y="1374430"/>
                  </a:lnTo>
                  <a:lnTo>
                    <a:pt x="1225820" y="1372783"/>
                  </a:lnTo>
                  <a:close/>
                  <a:moveTo>
                    <a:pt x="931862" y="1371600"/>
                  </a:moveTo>
                  <a:lnTo>
                    <a:pt x="939800" y="1402492"/>
                  </a:lnTo>
                  <a:lnTo>
                    <a:pt x="931862" y="1419225"/>
                  </a:lnTo>
                  <a:lnTo>
                    <a:pt x="900113" y="1387046"/>
                  </a:lnTo>
                  <a:close/>
                  <a:moveTo>
                    <a:pt x="498727" y="1368090"/>
                  </a:moveTo>
                  <a:lnTo>
                    <a:pt x="497010" y="1370209"/>
                  </a:lnTo>
                  <a:cubicBezTo>
                    <a:pt x="494219" y="1376875"/>
                    <a:pt x="491421" y="1383538"/>
                    <a:pt x="488630" y="1390203"/>
                  </a:cubicBezTo>
                  <a:lnTo>
                    <a:pt x="488094" y="1392144"/>
                  </a:lnTo>
                  <a:close/>
                  <a:moveTo>
                    <a:pt x="1205098" y="1345898"/>
                  </a:moveTo>
                  <a:lnTo>
                    <a:pt x="1200643" y="1348175"/>
                  </a:lnTo>
                  <a:lnTo>
                    <a:pt x="1201246" y="1348739"/>
                  </a:lnTo>
                  <a:close/>
                  <a:moveTo>
                    <a:pt x="513735" y="1340404"/>
                  </a:moveTo>
                  <a:lnTo>
                    <a:pt x="512905" y="1341463"/>
                  </a:lnTo>
                  <a:lnTo>
                    <a:pt x="512610" y="1342277"/>
                  </a:lnTo>
                  <a:close/>
                  <a:moveTo>
                    <a:pt x="740577" y="1334713"/>
                  </a:moveTo>
                  <a:lnTo>
                    <a:pt x="740934" y="1334844"/>
                  </a:lnTo>
                  <a:cubicBezTo>
                    <a:pt x="744817" y="1336158"/>
                    <a:pt x="746549" y="1337312"/>
                    <a:pt x="748118" y="1338072"/>
                  </a:cubicBezTo>
                  <a:lnTo>
                    <a:pt x="750784" y="1338447"/>
                  </a:lnTo>
                  <a:lnTo>
                    <a:pt x="743653" y="1335137"/>
                  </a:lnTo>
                  <a:close/>
                  <a:moveTo>
                    <a:pt x="680022" y="1318842"/>
                  </a:moveTo>
                  <a:lnTo>
                    <a:pt x="680099" y="1318983"/>
                  </a:lnTo>
                  <a:lnTo>
                    <a:pt x="680651" y="1319102"/>
                  </a:lnTo>
                  <a:lnTo>
                    <a:pt x="684954" y="1320885"/>
                  </a:lnTo>
                  <a:lnTo>
                    <a:pt x="688278" y="1320747"/>
                  </a:lnTo>
                  <a:lnTo>
                    <a:pt x="689611" y="1321034"/>
                  </a:lnTo>
                  <a:lnTo>
                    <a:pt x="706657" y="1322999"/>
                  </a:lnTo>
                  <a:lnTo>
                    <a:pt x="706145" y="1322762"/>
                  </a:lnTo>
                  <a:cubicBezTo>
                    <a:pt x="701003" y="1322053"/>
                    <a:pt x="695133" y="1321303"/>
                    <a:pt x="690781" y="1320643"/>
                  </a:cubicBezTo>
                  <a:lnTo>
                    <a:pt x="688278" y="1320747"/>
                  </a:lnTo>
                  <a:lnTo>
                    <a:pt x="680651" y="1319102"/>
                  </a:lnTo>
                  <a:close/>
                  <a:moveTo>
                    <a:pt x="1253936" y="1298501"/>
                  </a:moveTo>
                  <a:lnTo>
                    <a:pt x="1253999" y="1300103"/>
                  </a:lnTo>
                  <a:lnTo>
                    <a:pt x="1260088" y="1302100"/>
                  </a:lnTo>
                  <a:lnTo>
                    <a:pt x="1254250" y="1298952"/>
                  </a:lnTo>
                  <a:close/>
                  <a:moveTo>
                    <a:pt x="879840" y="1297532"/>
                  </a:moveTo>
                  <a:lnTo>
                    <a:pt x="879606" y="1298117"/>
                  </a:lnTo>
                  <a:cubicBezTo>
                    <a:pt x="880010" y="1299967"/>
                    <a:pt x="880456" y="1300399"/>
                    <a:pt x="880965" y="1301151"/>
                  </a:cubicBezTo>
                  <a:lnTo>
                    <a:pt x="881947" y="1303950"/>
                  </a:lnTo>
                  <a:close/>
                  <a:moveTo>
                    <a:pt x="1096220" y="1272360"/>
                  </a:moveTo>
                  <a:lnTo>
                    <a:pt x="1077178" y="1273780"/>
                  </a:lnTo>
                  <a:lnTo>
                    <a:pt x="1095281" y="1273395"/>
                  </a:lnTo>
                  <a:close/>
                  <a:moveTo>
                    <a:pt x="899211" y="1259315"/>
                  </a:moveTo>
                  <a:lnTo>
                    <a:pt x="895632" y="1260475"/>
                  </a:lnTo>
                  <a:lnTo>
                    <a:pt x="895169" y="1259462"/>
                  </a:lnTo>
                  <a:lnTo>
                    <a:pt x="894881" y="1261547"/>
                  </a:lnTo>
                  <a:lnTo>
                    <a:pt x="895638" y="1261547"/>
                  </a:lnTo>
                  <a:close/>
                  <a:moveTo>
                    <a:pt x="1140413" y="1250611"/>
                  </a:moveTo>
                  <a:lnTo>
                    <a:pt x="1148175" y="1260403"/>
                  </a:lnTo>
                  <a:lnTo>
                    <a:pt x="1159279" y="1262172"/>
                  </a:lnTo>
                  <a:lnTo>
                    <a:pt x="1160788" y="1262685"/>
                  </a:lnTo>
                  <a:lnTo>
                    <a:pt x="1163970" y="1262919"/>
                  </a:lnTo>
                  <a:lnTo>
                    <a:pt x="1175210" y="1264709"/>
                  </a:lnTo>
                  <a:lnTo>
                    <a:pt x="1182993" y="1259802"/>
                  </a:lnTo>
                  <a:lnTo>
                    <a:pt x="1182900" y="1259385"/>
                  </a:lnTo>
                  <a:lnTo>
                    <a:pt x="1179600" y="1261743"/>
                  </a:lnTo>
                  <a:cubicBezTo>
                    <a:pt x="1178389" y="1262848"/>
                    <a:pt x="1177078" y="1263664"/>
                    <a:pt x="1173909" y="1263650"/>
                  </a:cubicBezTo>
                  <a:lnTo>
                    <a:pt x="1163970" y="1262919"/>
                  </a:lnTo>
                  <a:lnTo>
                    <a:pt x="1159279" y="1262172"/>
                  </a:lnTo>
                  <a:lnTo>
                    <a:pt x="1146702" y="1257897"/>
                  </a:lnTo>
                  <a:close/>
                  <a:moveTo>
                    <a:pt x="1207815" y="1249970"/>
                  </a:moveTo>
                  <a:lnTo>
                    <a:pt x="1207109" y="1249972"/>
                  </a:lnTo>
                  <a:cubicBezTo>
                    <a:pt x="1205109" y="1250653"/>
                    <a:pt x="1200885" y="1252118"/>
                    <a:pt x="1196470" y="1253697"/>
                  </a:cubicBezTo>
                  <a:lnTo>
                    <a:pt x="1193944" y="1254642"/>
                  </a:lnTo>
                  <a:close/>
                  <a:moveTo>
                    <a:pt x="925738" y="1249028"/>
                  </a:moveTo>
                  <a:lnTo>
                    <a:pt x="929986" y="1253342"/>
                  </a:lnTo>
                  <a:lnTo>
                    <a:pt x="931425" y="1252855"/>
                  </a:lnTo>
                  <a:close/>
                  <a:moveTo>
                    <a:pt x="1223220" y="1243553"/>
                  </a:moveTo>
                  <a:lnTo>
                    <a:pt x="1211555" y="1248710"/>
                  </a:lnTo>
                  <a:lnTo>
                    <a:pt x="1219045" y="1246187"/>
                  </a:lnTo>
                  <a:lnTo>
                    <a:pt x="1219161" y="1246325"/>
                  </a:lnTo>
                  <a:lnTo>
                    <a:pt x="1221110" y="1244966"/>
                  </a:lnTo>
                  <a:close/>
                  <a:moveTo>
                    <a:pt x="1131119" y="1237547"/>
                  </a:moveTo>
                  <a:lnTo>
                    <a:pt x="1132399" y="1240501"/>
                  </a:lnTo>
                  <a:lnTo>
                    <a:pt x="1134799" y="1243529"/>
                  </a:lnTo>
                  <a:close/>
                  <a:moveTo>
                    <a:pt x="1422215" y="1213400"/>
                  </a:moveTo>
                  <a:lnTo>
                    <a:pt x="1418079" y="1228378"/>
                  </a:lnTo>
                  <a:cubicBezTo>
                    <a:pt x="1418079" y="1235143"/>
                    <a:pt x="1400939" y="1240325"/>
                    <a:pt x="1400939" y="1240325"/>
                  </a:cubicBezTo>
                  <a:lnTo>
                    <a:pt x="1405148" y="1246696"/>
                  </a:lnTo>
                  <a:lnTo>
                    <a:pt x="1411051" y="1244122"/>
                  </a:lnTo>
                  <a:cubicBezTo>
                    <a:pt x="1416921" y="1241210"/>
                    <a:pt x="1422790" y="1237327"/>
                    <a:pt x="1422790" y="1233444"/>
                  </a:cubicBezTo>
                  <a:cubicBezTo>
                    <a:pt x="1424747" y="1229561"/>
                    <a:pt x="1425236" y="1225679"/>
                    <a:pt x="1424869" y="1222038"/>
                  </a:cubicBezTo>
                  <a:close/>
                  <a:moveTo>
                    <a:pt x="1421243" y="1211281"/>
                  </a:moveTo>
                  <a:lnTo>
                    <a:pt x="1421963" y="1212580"/>
                  </a:lnTo>
                  <a:lnTo>
                    <a:pt x="1421812" y="1212088"/>
                  </a:lnTo>
                  <a:close/>
                  <a:moveTo>
                    <a:pt x="925341" y="1203610"/>
                  </a:moveTo>
                  <a:lnTo>
                    <a:pt x="912817" y="1204658"/>
                  </a:lnTo>
                  <a:lnTo>
                    <a:pt x="912306" y="1204373"/>
                  </a:lnTo>
                  <a:lnTo>
                    <a:pt x="913154" y="1206445"/>
                  </a:lnTo>
                  <a:close/>
                  <a:moveTo>
                    <a:pt x="940198" y="1202267"/>
                  </a:moveTo>
                  <a:lnTo>
                    <a:pt x="939968" y="1202288"/>
                  </a:lnTo>
                  <a:lnTo>
                    <a:pt x="941209" y="1202827"/>
                  </a:lnTo>
                  <a:close/>
                  <a:moveTo>
                    <a:pt x="908425" y="1194953"/>
                  </a:moveTo>
                  <a:lnTo>
                    <a:pt x="903540" y="1198751"/>
                  </a:lnTo>
                  <a:cubicBezTo>
                    <a:pt x="900816" y="1201177"/>
                    <a:pt x="896805" y="1205042"/>
                    <a:pt x="892477" y="1209270"/>
                  </a:cubicBezTo>
                  <a:lnTo>
                    <a:pt x="887155" y="1214481"/>
                  </a:lnTo>
                  <a:lnTo>
                    <a:pt x="896032" y="1206048"/>
                  </a:lnTo>
                  <a:lnTo>
                    <a:pt x="908338" y="1195633"/>
                  </a:lnTo>
                  <a:lnTo>
                    <a:pt x="908337" y="1195445"/>
                  </a:lnTo>
                  <a:close/>
                  <a:moveTo>
                    <a:pt x="1042397" y="1194390"/>
                  </a:moveTo>
                  <a:lnTo>
                    <a:pt x="1037871" y="1201480"/>
                  </a:lnTo>
                  <a:cubicBezTo>
                    <a:pt x="1034525" y="1202879"/>
                    <a:pt x="1029726" y="1200868"/>
                    <a:pt x="1022597" y="1202267"/>
                  </a:cubicBezTo>
                  <a:cubicBezTo>
                    <a:pt x="1015469" y="1203666"/>
                    <a:pt x="1004297" y="1207340"/>
                    <a:pt x="995138" y="1209876"/>
                  </a:cubicBezTo>
                  <a:cubicBezTo>
                    <a:pt x="990558" y="1209876"/>
                    <a:pt x="986376" y="1209468"/>
                    <a:pt x="981398" y="1209876"/>
                  </a:cubicBezTo>
                  <a:lnTo>
                    <a:pt x="974954" y="1210833"/>
                  </a:lnTo>
                  <a:lnTo>
                    <a:pt x="979495" y="1210833"/>
                  </a:lnTo>
                  <a:lnTo>
                    <a:pt x="995363" y="1210833"/>
                  </a:lnTo>
                  <a:lnTo>
                    <a:pt x="1027120" y="1203184"/>
                  </a:lnTo>
                  <a:lnTo>
                    <a:pt x="1035044" y="1203184"/>
                  </a:lnTo>
                  <a:cubicBezTo>
                    <a:pt x="1042988" y="1203184"/>
                    <a:pt x="1042988" y="1195528"/>
                    <a:pt x="1042988" y="1195528"/>
                  </a:cubicBezTo>
                  <a:close/>
                  <a:moveTo>
                    <a:pt x="1144648" y="1192744"/>
                  </a:moveTo>
                  <a:lnTo>
                    <a:pt x="1145498" y="1193594"/>
                  </a:lnTo>
                  <a:lnTo>
                    <a:pt x="1147317" y="1194159"/>
                  </a:lnTo>
                  <a:close/>
                  <a:moveTo>
                    <a:pt x="1321051" y="1171317"/>
                  </a:moveTo>
                  <a:cubicBezTo>
                    <a:pt x="1321051" y="1171317"/>
                    <a:pt x="1321051" y="1171317"/>
                    <a:pt x="1291337" y="1174594"/>
                  </a:cubicBezTo>
                  <a:lnTo>
                    <a:pt x="1267511" y="1177221"/>
                  </a:lnTo>
                  <a:lnTo>
                    <a:pt x="1269609" y="1179275"/>
                  </a:lnTo>
                  <a:cubicBezTo>
                    <a:pt x="1290333" y="1177004"/>
                    <a:pt x="1315788" y="1175624"/>
                    <a:pt x="1331802" y="1172494"/>
                  </a:cubicBezTo>
                  <a:lnTo>
                    <a:pt x="1335673" y="1171317"/>
                  </a:lnTo>
                  <a:close/>
                  <a:moveTo>
                    <a:pt x="1130294" y="1168717"/>
                  </a:moveTo>
                  <a:lnTo>
                    <a:pt x="1130294" y="1172583"/>
                  </a:lnTo>
                  <a:lnTo>
                    <a:pt x="1138238" y="1187880"/>
                  </a:lnTo>
                  <a:lnTo>
                    <a:pt x="1130294" y="1203184"/>
                  </a:lnTo>
                  <a:lnTo>
                    <a:pt x="1123999" y="1221412"/>
                  </a:lnTo>
                  <a:lnTo>
                    <a:pt x="1125612" y="1220651"/>
                  </a:lnTo>
                  <a:lnTo>
                    <a:pt x="1128111" y="1213406"/>
                  </a:lnTo>
                  <a:cubicBezTo>
                    <a:pt x="1129368" y="1209777"/>
                    <a:pt x="1130752" y="1205795"/>
                    <a:pt x="1131894" y="1202519"/>
                  </a:cubicBezTo>
                  <a:cubicBezTo>
                    <a:pt x="1131894" y="1202519"/>
                    <a:pt x="1136433" y="1190908"/>
                    <a:pt x="1138703" y="1189422"/>
                  </a:cubicBezTo>
                  <a:lnTo>
                    <a:pt x="1140266" y="1188572"/>
                  </a:lnTo>
                  <a:lnTo>
                    <a:pt x="1136248" y="1181498"/>
                  </a:lnTo>
                  <a:close/>
                  <a:moveTo>
                    <a:pt x="1223792" y="1168591"/>
                  </a:moveTo>
                  <a:lnTo>
                    <a:pt x="1221799" y="1171250"/>
                  </a:lnTo>
                  <a:lnTo>
                    <a:pt x="1225059" y="1168740"/>
                  </a:lnTo>
                  <a:close/>
                  <a:moveTo>
                    <a:pt x="1056943" y="1166783"/>
                  </a:moveTo>
                  <a:lnTo>
                    <a:pt x="1054876" y="1167806"/>
                  </a:lnTo>
                  <a:cubicBezTo>
                    <a:pt x="1052865" y="1169089"/>
                    <a:pt x="1049779" y="1171538"/>
                    <a:pt x="1046812" y="1173462"/>
                  </a:cubicBezTo>
                  <a:lnTo>
                    <a:pt x="1038192" y="1178716"/>
                  </a:lnTo>
                  <a:lnTo>
                    <a:pt x="1050932" y="1172583"/>
                  </a:lnTo>
                  <a:close/>
                  <a:moveTo>
                    <a:pt x="1083051" y="1164568"/>
                  </a:moveTo>
                  <a:lnTo>
                    <a:pt x="1079881" y="1164824"/>
                  </a:lnTo>
                  <a:lnTo>
                    <a:pt x="1074252" y="1164935"/>
                  </a:lnTo>
                  <a:lnTo>
                    <a:pt x="1082669" y="1164935"/>
                  </a:lnTo>
                  <a:close/>
                  <a:moveTo>
                    <a:pt x="1094436" y="1157602"/>
                  </a:moveTo>
                  <a:lnTo>
                    <a:pt x="1093799" y="1158054"/>
                  </a:lnTo>
                  <a:lnTo>
                    <a:pt x="1122370" y="1164935"/>
                  </a:lnTo>
                  <a:lnTo>
                    <a:pt x="1129434" y="1164935"/>
                  </a:lnTo>
                  <a:lnTo>
                    <a:pt x="1134012" y="1162476"/>
                  </a:lnTo>
                  <a:lnTo>
                    <a:pt x="1127781" y="1164824"/>
                  </a:lnTo>
                  <a:cubicBezTo>
                    <a:pt x="1122704" y="1165168"/>
                    <a:pt x="1115494" y="1162076"/>
                    <a:pt x="1112220" y="1161242"/>
                  </a:cubicBezTo>
                  <a:cubicBezTo>
                    <a:pt x="1108946" y="1160415"/>
                    <a:pt x="1109306" y="1159843"/>
                    <a:pt x="1108165" y="1159843"/>
                  </a:cubicBezTo>
                  <a:cubicBezTo>
                    <a:pt x="1107023" y="1159843"/>
                    <a:pt x="1109682" y="1160023"/>
                    <a:pt x="1107398" y="1159647"/>
                  </a:cubicBezTo>
                  <a:cubicBezTo>
                    <a:pt x="1105115" y="1159270"/>
                    <a:pt x="1099152" y="1158420"/>
                    <a:pt x="1094436" y="1157602"/>
                  </a:cubicBezTo>
                  <a:close/>
                  <a:moveTo>
                    <a:pt x="1042036" y="1146084"/>
                  </a:moveTo>
                  <a:lnTo>
                    <a:pt x="1048405" y="1155007"/>
                  </a:lnTo>
                  <a:lnTo>
                    <a:pt x="1058424" y="1165354"/>
                  </a:lnTo>
                  <a:lnTo>
                    <a:pt x="1058857" y="1164935"/>
                  </a:lnTo>
                  <a:lnTo>
                    <a:pt x="1059285" y="1164935"/>
                  </a:lnTo>
                  <a:lnTo>
                    <a:pt x="1056834" y="1162341"/>
                  </a:lnTo>
                  <a:cubicBezTo>
                    <a:pt x="1055327" y="1160749"/>
                    <a:pt x="1053528" y="1158857"/>
                    <a:pt x="1052364" y="1157659"/>
                  </a:cubicBezTo>
                  <a:cubicBezTo>
                    <a:pt x="1050036" y="1155262"/>
                    <a:pt x="1049090" y="1155180"/>
                    <a:pt x="1045545" y="1150837"/>
                  </a:cubicBezTo>
                  <a:close/>
                  <a:moveTo>
                    <a:pt x="871825" y="1119129"/>
                  </a:moveTo>
                  <a:lnTo>
                    <a:pt x="874804" y="1122748"/>
                  </a:lnTo>
                  <a:lnTo>
                    <a:pt x="876226" y="1123407"/>
                  </a:lnTo>
                  <a:lnTo>
                    <a:pt x="876371" y="1123086"/>
                  </a:lnTo>
                  <a:close/>
                  <a:moveTo>
                    <a:pt x="848970" y="1102428"/>
                  </a:moveTo>
                  <a:lnTo>
                    <a:pt x="853694" y="1105429"/>
                  </a:lnTo>
                  <a:lnTo>
                    <a:pt x="858066" y="1108216"/>
                  </a:lnTo>
                  <a:lnTo>
                    <a:pt x="851953" y="1103909"/>
                  </a:lnTo>
                  <a:close/>
                  <a:moveTo>
                    <a:pt x="1111321" y="1101881"/>
                  </a:moveTo>
                  <a:lnTo>
                    <a:pt x="1127466" y="1109938"/>
                  </a:lnTo>
                  <a:cubicBezTo>
                    <a:pt x="1141645" y="1117006"/>
                    <a:pt x="1165182" y="1124204"/>
                    <a:pt x="1169988" y="1131140"/>
                  </a:cubicBezTo>
                  <a:lnTo>
                    <a:pt x="1169904" y="1132133"/>
                  </a:lnTo>
                  <a:lnTo>
                    <a:pt x="1176522" y="1130582"/>
                  </a:lnTo>
                  <a:lnTo>
                    <a:pt x="1175237" y="1129945"/>
                  </a:lnTo>
                  <a:cubicBezTo>
                    <a:pt x="1171319" y="1128003"/>
                    <a:pt x="1163484" y="1124120"/>
                    <a:pt x="1147814" y="1116352"/>
                  </a:cubicBezTo>
                  <a:cubicBezTo>
                    <a:pt x="1147814" y="1116352"/>
                    <a:pt x="1147814" y="1116352"/>
                    <a:pt x="1131287" y="1109799"/>
                  </a:cubicBezTo>
                  <a:close/>
                  <a:moveTo>
                    <a:pt x="882563" y="1097331"/>
                  </a:moveTo>
                  <a:lnTo>
                    <a:pt x="884936" y="1104104"/>
                  </a:lnTo>
                  <a:lnTo>
                    <a:pt x="885278" y="1103345"/>
                  </a:lnTo>
                  <a:close/>
                  <a:moveTo>
                    <a:pt x="1058520" y="1083345"/>
                  </a:moveTo>
                  <a:cubicBezTo>
                    <a:pt x="1055494" y="1083549"/>
                    <a:pt x="1056171" y="1087252"/>
                    <a:pt x="1052467" y="1089322"/>
                  </a:cubicBezTo>
                  <a:cubicBezTo>
                    <a:pt x="1048763" y="1091392"/>
                    <a:pt x="1041316" y="1093404"/>
                    <a:pt x="1036337" y="1095736"/>
                  </a:cubicBezTo>
                  <a:cubicBezTo>
                    <a:pt x="1031359" y="1098068"/>
                    <a:pt x="1026500" y="1100955"/>
                    <a:pt x="1022597" y="1103345"/>
                  </a:cubicBezTo>
                  <a:lnTo>
                    <a:pt x="1017640" y="1106826"/>
                  </a:lnTo>
                  <a:lnTo>
                    <a:pt x="1025057" y="1103124"/>
                  </a:lnTo>
                  <a:lnTo>
                    <a:pt x="1038710" y="1096311"/>
                  </a:lnTo>
                  <a:lnTo>
                    <a:pt x="1052364" y="1089489"/>
                  </a:lnTo>
                  <a:lnTo>
                    <a:pt x="1058524" y="1083347"/>
                  </a:lnTo>
                  <a:close/>
                  <a:moveTo>
                    <a:pt x="1070667" y="1081996"/>
                  </a:moveTo>
                  <a:lnTo>
                    <a:pt x="1070667" y="1088127"/>
                  </a:lnTo>
                  <a:lnTo>
                    <a:pt x="1067860" y="1086998"/>
                  </a:lnTo>
                  <a:lnTo>
                    <a:pt x="1072852" y="1089489"/>
                  </a:lnTo>
                  <a:lnTo>
                    <a:pt x="1072852" y="1083079"/>
                  </a:lnTo>
                  <a:close/>
                  <a:moveTo>
                    <a:pt x="864428" y="1062355"/>
                  </a:moveTo>
                  <a:lnTo>
                    <a:pt x="865678" y="1062976"/>
                  </a:lnTo>
                  <a:lnTo>
                    <a:pt x="875759" y="1067005"/>
                  </a:lnTo>
                  <a:lnTo>
                    <a:pt x="885019" y="1073279"/>
                  </a:lnTo>
                  <a:lnTo>
                    <a:pt x="880774" y="1069128"/>
                  </a:lnTo>
                  <a:lnTo>
                    <a:pt x="866920" y="1062355"/>
                  </a:lnTo>
                  <a:close/>
                  <a:moveTo>
                    <a:pt x="1461135" y="1016706"/>
                  </a:moveTo>
                  <a:cubicBezTo>
                    <a:pt x="1461135" y="1016706"/>
                    <a:pt x="1461135" y="1016706"/>
                    <a:pt x="1454572" y="1036500"/>
                  </a:cubicBezTo>
                  <a:lnTo>
                    <a:pt x="1445946" y="1062515"/>
                  </a:lnTo>
                  <a:lnTo>
                    <a:pt x="1446269" y="1062595"/>
                  </a:lnTo>
                  <a:cubicBezTo>
                    <a:pt x="1446269" y="1062595"/>
                    <a:pt x="1446269" y="1062595"/>
                    <a:pt x="1452872" y="1042938"/>
                  </a:cubicBezTo>
                  <a:lnTo>
                    <a:pt x="1461684" y="1016706"/>
                  </a:lnTo>
                  <a:close/>
                  <a:moveTo>
                    <a:pt x="1323784" y="925665"/>
                  </a:moveTo>
                  <a:lnTo>
                    <a:pt x="1323867" y="927452"/>
                  </a:lnTo>
                  <a:lnTo>
                    <a:pt x="1321720" y="936086"/>
                  </a:lnTo>
                  <a:lnTo>
                    <a:pt x="1320800" y="937079"/>
                  </a:lnTo>
                  <a:cubicBezTo>
                    <a:pt x="1312863" y="937079"/>
                    <a:pt x="1296988" y="937079"/>
                    <a:pt x="1296988" y="937079"/>
                  </a:cubicBezTo>
                  <a:cubicBezTo>
                    <a:pt x="1296988" y="937079"/>
                    <a:pt x="1296988" y="937079"/>
                    <a:pt x="1281113" y="944789"/>
                  </a:cubicBezTo>
                  <a:cubicBezTo>
                    <a:pt x="1281113" y="944789"/>
                    <a:pt x="1281113" y="944789"/>
                    <a:pt x="1265238" y="952500"/>
                  </a:cubicBezTo>
                  <a:cubicBezTo>
                    <a:pt x="1265238" y="952500"/>
                    <a:pt x="1265238" y="952500"/>
                    <a:pt x="1249363" y="937079"/>
                  </a:cubicBezTo>
                  <a:cubicBezTo>
                    <a:pt x="1249363" y="937079"/>
                    <a:pt x="1249363" y="937079"/>
                    <a:pt x="1248371" y="937079"/>
                  </a:cubicBezTo>
                  <a:lnTo>
                    <a:pt x="1242140" y="937079"/>
                  </a:lnTo>
                  <a:lnTo>
                    <a:pt x="1241834" y="937702"/>
                  </a:lnTo>
                  <a:lnTo>
                    <a:pt x="1241835" y="937702"/>
                  </a:lnTo>
                  <a:cubicBezTo>
                    <a:pt x="1241835" y="937702"/>
                    <a:pt x="1241835" y="937702"/>
                    <a:pt x="1249670" y="937702"/>
                  </a:cubicBezTo>
                  <a:cubicBezTo>
                    <a:pt x="1249670" y="937702"/>
                    <a:pt x="1249670" y="937702"/>
                    <a:pt x="1265340" y="961004"/>
                  </a:cubicBezTo>
                  <a:cubicBezTo>
                    <a:pt x="1265340" y="961004"/>
                    <a:pt x="1265340" y="961004"/>
                    <a:pt x="1273175" y="992074"/>
                  </a:cubicBezTo>
                  <a:cubicBezTo>
                    <a:pt x="1273175" y="992074"/>
                    <a:pt x="1273175" y="992074"/>
                    <a:pt x="1257505" y="1007609"/>
                  </a:cubicBezTo>
                  <a:cubicBezTo>
                    <a:pt x="1257505" y="1007609"/>
                    <a:pt x="1257505" y="1007609"/>
                    <a:pt x="1265340" y="1030911"/>
                  </a:cubicBezTo>
                  <a:cubicBezTo>
                    <a:pt x="1265340" y="1030911"/>
                    <a:pt x="1265340" y="1030911"/>
                    <a:pt x="1265340" y="1046446"/>
                  </a:cubicBezTo>
                  <a:cubicBezTo>
                    <a:pt x="1265340" y="1046446"/>
                    <a:pt x="1265340" y="1046446"/>
                    <a:pt x="1273175" y="1077515"/>
                  </a:cubicBezTo>
                  <a:cubicBezTo>
                    <a:pt x="1273175" y="1077515"/>
                    <a:pt x="1273175" y="1077515"/>
                    <a:pt x="1257505" y="1093050"/>
                  </a:cubicBezTo>
                  <a:cubicBezTo>
                    <a:pt x="1257505" y="1093050"/>
                    <a:pt x="1257505" y="1093050"/>
                    <a:pt x="1241835" y="1131887"/>
                  </a:cubicBezTo>
                  <a:cubicBezTo>
                    <a:pt x="1241835" y="1131887"/>
                    <a:pt x="1241835" y="1131887"/>
                    <a:pt x="1226165" y="1131887"/>
                  </a:cubicBezTo>
                  <a:cubicBezTo>
                    <a:pt x="1226165" y="1131887"/>
                    <a:pt x="1226165" y="1131887"/>
                    <a:pt x="1210495" y="1131887"/>
                  </a:cubicBezTo>
                  <a:lnTo>
                    <a:pt x="1206583" y="1131887"/>
                  </a:lnTo>
                  <a:lnTo>
                    <a:pt x="1211524" y="1132964"/>
                  </a:lnTo>
                  <a:lnTo>
                    <a:pt x="1227138" y="1132964"/>
                  </a:lnTo>
                  <a:lnTo>
                    <a:pt x="1227138" y="1132488"/>
                  </a:lnTo>
                  <a:cubicBezTo>
                    <a:pt x="1227138" y="1132488"/>
                    <a:pt x="1227138" y="1132488"/>
                    <a:pt x="1242790" y="1132488"/>
                  </a:cubicBezTo>
                  <a:cubicBezTo>
                    <a:pt x="1242790" y="1132488"/>
                    <a:pt x="1242790" y="1132488"/>
                    <a:pt x="1258443" y="1093659"/>
                  </a:cubicBezTo>
                  <a:cubicBezTo>
                    <a:pt x="1258443" y="1093659"/>
                    <a:pt x="1258443" y="1093659"/>
                    <a:pt x="1274095" y="1078127"/>
                  </a:cubicBezTo>
                  <a:cubicBezTo>
                    <a:pt x="1274095" y="1078127"/>
                    <a:pt x="1274095" y="1078127"/>
                    <a:pt x="1266269" y="1047064"/>
                  </a:cubicBezTo>
                  <a:lnTo>
                    <a:pt x="1266667" y="1046866"/>
                  </a:lnTo>
                  <a:lnTo>
                    <a:pt x="1266667" y="1046030"/>
                  </a:lnTo>
                  <a:cubicBezTo>
                    <a:pt x="1266667" y="1044075"/>
                    <a:pt x="1266667" y="1040165"/>
                    <a:pt x="1266667" y="1032345"/>
                  </a:cubicBezTo>
                  <a:cubicBezTo>
                    <a:pt x="1266667" y="1032345"/>
                    <a:pt x="1266667" y="1032345"/>
                    <a:pt x="1258888" y="1008886"/>
                  </a:cubicBezTo>
                  <a:cubicBezTo>
                    <a:pt x="1258888" y="1008886"/>
                    <a:pt x="1258888" y="1008886"/>
                    <a:pt x="1274446" y="993246"/>
                  </a:cubicBezTo>
                  <a:cubicBezTo>
                    <a:pt x="1274446" y="993246"/>
                    <a:pt x="1274446" y="993246"/>
                    <a:pt x="1266667" y="961966"/>
                  </a:cubicBezTo>
                  <a:cubicBezTo>
                    <a:pt x="1266667" y="961966"/>
                    <a:pt x="1266667" y="961966"/>
                    <a:pt x="1266667" y="954146"/>
                  </a:cubicBezTo>
                  <a:cubicBezTo>
                    <a:pt x="1266667" y="954146"/>
                    <a:pt x="1266667" y="954146"/>
                    <a:pt x="1282224" y="946326"/>
                  </a:cubicBezTo>
                  <a:cubicBezTo>
                    <a:pt x="1282224" y="946326"/>
                    <a:pt x="1282224" y="946326"/>
                    <a:pt x="1297782" y="938506"/>
                  </a:cubicBezTo>
                  <a:cubicBezTo>
                    <a:pt x="1297782" y="938506"/>
                    <a:pt x="1313339" y="938506"/>
                    <a:pt x="1321118" y="938506"/>
                  </a:cubicBezTo>
                  <a:lnTo>
                    <a:pt x="1321720" y="936086"/>
                  </a:lnTo>
                  <a:lnTo>
                    <a:pt x="1324149" y="933464"/>
                  </a:lnTo>
                  <a:lnTo>
                    <a:pt x="1323867" y="927452"/>
                  </a:lnTo>
                  <a:lnTo>
                    <a:pt x="1324035" y="926777"/>
                  </a:lnTo>
                  <a:close/>
                  <a:moveTo>
                    <a:pt x="1322090" y="918304"/>
                  </a:moveTo>
                  <a:lnTo>
                    <a:pt x="1322966" y="922046"/>
                  </a:lnTo>
                  <a:lnTo>
                    <a:pt x="1322212" y="918712"/>
                  </a:lnTo>
                  <a:close/>
                  <a:moveTo>
                    <a:pt x="1242428" y="908185"/>
                  </a:moveTo>
                  <a:lnTo>
                    <a:pt x="1249192" y="921988"/>
                  </a:lnTo>
                  <a:lnTo>
                    <a:pt x="1249363" y="921657"/>
                  </a:lnTo>
                  <a:cubicBezTo>
                    <a:pt x="1249363" y="921657"/>
                    <a:pt x="1249363" y="921657"/>
                    <a:pt x="1248371" y="919730"/>
                  </a:cubicBezTo>
                  <a:close/>
                  <a:moveTo>
                    <a:pt x="1235499" y="903357"/>
                  </a:moveTo>
                  <a:lnTo>
                    <a:pt x="1241527" y="906433"/>
                  </a:lnTo>
                  <a:lnTo>
                    <a:pt x="1241425" y="906236"/>
                  </a:lnTo>
                  <a:cubicBezTo>
                    <a:pt x="1241425" y="906236"/>
                    <a:pt x="1241425" y="906236"/>
                    <a:pt x="1239441" y="905272"/>
                  </a:cubicBezTo>
                  <a:close/>
                  <a:moveTo>
                    <a:pt x="503804" y="890587"/>
                  </a:moveTo>
                  <a:lnTo>
                    <a:pt x="511628" y="898373"/>
                  </a:lnTo>
                  <a:lnTo>
                    <a:pt x="527277" y="898373"/>
                  </a:lnTo>
                  <a:lnTo>
                    <a:pt x="535101" y="913946"/>
                  </a:lnTo>
                  <a:lnTo>
                    <a:pt x="542925" y="929519"/>
                  </a:lnTo>
                  <a:lnTo>
                    <a:pt x="527277" y="945091"/>
                  </a:lnTo>
                  <a:lnTo>
                    <a:pt x="535101" y="976237"/>
                  </a:lnTo>
                  <a:lnTo>
                    <a:pt x="527277" y="1015168"/>
                  </a:lnTo>
                  <a:lnTo>
                    <a:pt x="503804" y="1022955"/>
                  </a:lnTo>
                  <a:lnTo>
                    <a:pt x="456860" y="1054100"/>
                  </a:lnTo>
                  <a:lnTo>
                    <a:pt x="433388" y="1038527"/>
                  </a:lnTo>
                  <a:lnTo>
                    <a:pt x="433388" y="1022955"/>
                  </a:lnTo>
                  <a:lnTo>
                    <a:pt x="441212" y="1015168"/>
                  </a:lnTo>
                  <a:lnTo>
                    <a:pt x="449036" y="999596"/>
                  </a:lnTo>
                  <a:lnTo>
                    <a:pt x="449036" y="976237"/>
                  </a:lnTo>
                  <a:lnTo>
                    <a:pt x="441212" y="968450"/>
                  </a:lnTo>
                  <a:lnTo>
                    <a:pt x="449036" y="960664"/>
                  </a:lnTo>
                  <a:lnTo>
                    <a:pt x="441212" y="937305"/>
                  </a:lnTo>
                  <a:lnTo>
                    <a:pt x="472508" y="929519"/>
                  </a:lnTo>
                  <a:lnTo>
                    <a:pt x="472508" y="913946"/>
                  </a:lnTo>
                  <a:close/>
                  <a:moveTo>
                    <a:pt x="1352170" y="875947"/>
                  </a:moveTo>
                  <a:lnTo>
                    <a:pt x="1350566" y="878284"/>
                  </a:lnTo>
                  <a:cubicBezTo>
                    <a:pt x="1348581" y="881176"/>
                    <a:pt x="1344613" y="886959"/>
                    <a:pt x="1336675" y="898525"/>
                  </a:cubicBezTo>
                  <a:cubicBezTo>
                    <a:pt x="1336675" y="898525"/>
                    <a:pt x="1336675" y="898525"/>
                    <a:pt x="1320800" y="913947"/>
                  </a:cubicBezTo>
                  <a:lnTo>
                    <a:pt x="1321135" y="915030"/>
                  </a:lnTo>
                  <a:lnTo>
                    <a:pt x="1323063" y="913092"/>
                  </a:lnTo>
                  <a:cubicBezTo>
                    <a:pt x="1325008" y="911137"/>
                    <a:pt x="1328897" y="907227"/>
                    <a:pt x="1336676" y="899407"/>
                  </a:cubicBezTo>
                  <a:cubicBezTo>
                    <a:pt x="1336676" y="899407"/>
                    <a:pt x="1336676" y="899407"/>
                    <a:pt x="1352233" y="875947"/>
                  </a:cubicBezTo>
                  <a:close/>
                  <a:moveTo>
                    <a:pt x="1233488" y="844550"/>
                  </a:moveTo>
                  <a:cubicBezTo>
                    <a:pt x="1233488" y="844550"/>
                    <a:pt x="1233488" y="844550"/>
                    <a:pt x="1265238" y="844550"/>
                  </a:cubicBezTo>
                  <a:cubicBezTo>
                    <a:pt x="1265238" y="844550"/>
                    <a:pt x="1265238" y="844550"/>
                    <a:pt x="1296988" y="852261"/>
                  </a:cubicBezTo>
                  <a:cubicBezTo>
                    <a:pt x="1296988" y="852261"/>
                    <a:pt x="1296988" y="852261"/>
                    <a:pt x="1312863" y="844550"/>
                  </a:cubicBezTo>
                  <a:cubicBezTo>
                    <a:pt x="1312863" y="844550"/>
                    <a:pt x="1312863" y="844550"/>
                    <a:pt x="1328738" y="859972"/>
                  </a:cubicBezTo>
                  <a:cubicBezTo>
                    <a:pt x="1328738" y="859972"/>
                    <a:pt x="1328738" y="859972"/>
                    <a:pt x="1344613" y="875393"/>
                  </a:cubicBezTo>
                  <a:cubicBezTo>
                    <a:pt x="1344613" y="875393"/>
                    <a:pt x="1344613" y="875393"/>
                    <a:pt x="1345605" y="875393"/>
                  </a:cubicBezTo>
                  <a:lnTo>
                    <a:pt x="1346107" y="875393"/>
                  </a:lnTo>
                  <a:lnTo>
                    <a:pt x="1347371" y="874969"/>
                  </a:lnTo>
                  <a:cubicBezTo>
                    <a:pt x="1350288" y="873992"/>
                    <a:pt x="1356122" y="872037"/>
                    <a:pt x="1367791" y="868127"/>
                  </a:cubicBezTo>
                  <a:cubicBezTo>
                    <a:pt x="1367791" y="868127"/>
                    <a:pt x="1367791" y="868127"/>
                    <a:pt x="1391127" y="852487"/>
                  </a:cubicBezTo>
                  <a:cubicBezTo>
                    <a:pt x="1391127" y="852487"/>
                    <a:pt x="1391127" y="852487"/>
                    <a:pt x="1414463" y="868127"/>
                  </a:cubicBezTo>
                  <a:cubicBezTo>
                    <a:pt x="1414463" y="868127"/>
                    <a:pt x="1414463" y="868127"/>
                    <a:pt x="1437799" y="875947"/>
                  </a:cubicBezTo>
                  <a:cubicBezTo>
                    <a:pt x="1437799" y="875947"/>
                    <a:pt x="1437799" y="875947"/>
                    <a:pt x="1468914" y="938506"/>
                  </a:cubicBezTo>
                  <a:cubicBezTo>
                    <a:pt x="1468914" y="938506"/>
                    <a:pt x="1468914" y="938506"/>
                    <a:pt x="1492250" y="961966"/>
                  </a:cubicBezTo>
                  <a:lnTo>
                    <a:pt x="1484472" y="977606"/>
                  </a:lnTo>
                  <a:cubicBezTo>
                    <a:pt x="1484472" y="977606"/>
                    <a:pt x="1484472" y="977606"/>
                    <a:pt x="1461135" y="985426"/>
                  </a:cubicBezTo>
                  <a:cubicBezTo>
                    <a:pt x="1461135" y="985426"/>
                    <a:pt x="1461135" y="985426"/>
                    <a:pt x="1464417" y="998622"/>
                  </a:cubicBezTo>
                  <a:lnTo>
                    <a:pt x="1468739" y="1016000"/>
                  </a:lnTo>
                  <a:lnTo>
                    <a:pt x="1469747" y="1016000"/>
                  </a:lnTo>
                  <a:lnTo>
                    <a:pt x="1469747" y="1016654"/>
                  </a:lnTo>
                  <a:lnTo>
                    <a:pt x="1483971" y="1023766"/>
                  </a:lnTo>
                  <a:lnTo>
                    <a:pt x="1484867" y="1023766"/>
                  </a:lnTo>
                  <a:lnTo>
                    <a:pt x="1484313" y="1023541"/>
                  </a:lnTo>
                  <a:lnTo>
                    <a:pt x="1508126" y="1016000"/>
                  </a:lnTo>
                  <a:lnTo>
                    <a:pt x="1528178" y="1041400"/>
                  </a:lnTo>
                  <a:lnTo>
                    <a:pt x="1497357" y="1028851"/>
                  </a:lnTo>
                  <a:lnTo>
                    <a:pt x="1508511" y="1033595"/>
                  </a:lnTo>
                  <a:lnTo>
                    <a:pt x="1528842" y="1042241"/>
                  </a:lnTo>
                  <a:lnTo>
                    <a:pt x="1528178" y="1041400"/>
                  </a:lnTo>
                  <a:lnTo>
                    <a:pt x="1539875" y="1046162"/>
                  </a:lnTo>
                  <a:lnTo>
                    <a:pt x="1538062" y="1046162"/>
                  </a:lnTo>
                  <a:lnTo>
                    <a:pt x="1540182" y="1047064"/>
                  </a:lnTo>
                  <a:cubicBezTo>
                    <a:pt x="1540182" y="1047064"/>
                    <a:pt x="1540182" y="1047064"/>
                    <a:pt x="1555834" y="1070361"/>
                  </a:cubicBezTo>
                  <a:cubicBezTo>
                    <a:pt x="1555834" y="1070361"/>
                    <a:pt x="1555834" y="1070361"/>
                    <a:pt x="1579312" y="1085893"/>
                  </a:cubicBezTo>
                  <a:cubicBezTo>
                    <a:pt x="1579312" y="1085893"/>
                    <a:pt x="1579312" y="1085893"/>
                    <a:pt x="1594964" y="1085893"/>
                  </a:cubicBezTo>
                  <a:cubicBezTo>
                    <a:pt x="1594964" y="1085893"/>
                    <a:pt x="1594964" y="1085893"/>
                    <a:pt x="1634095" y="1109191"/>
                  </a:cubicBezTo>
                  <a:cubicBezTo>
                    <a:pt x="1634095" y="1109191"/>
                    <a:pt x="1634095" y="1109191"/>
                    <a:pt x="1673225" y="1124722"/>
                  </a:cubicBezTo>
                  <a:cubicBezTo>
                    <a:pt x="1673225" y="1124722"/>
                    <a:pt x="1673225" y="1124722"/>
                    <a:pt x="1673225" y="1140254"/>
                  </a:cubicBezTo>
                  <a:cubicBezTo>
                    <a:pt x="1673225" y="1140254"/>
                    <a:pt x="1673225" y="1140254"/>
                    <a:pt x="1665399" y="1179083"/>
                  </a:cubicBezTo>
                  <a:cubicBezTo>
                    <a:pt x="1665399" y="1179083"/>
                    <a:pt x="1665399" y="1179083"/>
                    <a:pt x="1649747" y="1186849"/>
                  </a:cubicBezTo>
                  <a:lnTo>
                    <a:pt x="1626269" y="1210147"/>
                  </a:lnTo>
                  <a:cubicBezTo>
                    <a:pt x="1626269" y="1210147"/>
                    <a:pt x="1626269" y="1210147"/>
                    <a:pt x="1618443" y="1225678"/>
                  </a:cubicBezTo>
                  <a:cubicBezTo>
                    <a:pt x="1618443" y="1225678"/>
                    <a:pt x="1618443" y="1225678"/>
                    <a:pt x="1563660" y="1233444"/>
                  </a:cubicBezTo>
                  <a:cubicBezTo>
                    <a:pt x="1563660" y="1233444"/>
                    <a:pt x="1563660" y="1233444"/>
                    <a:pt x="1548008" y="1256742"/>
                  </a:cubicBezTo>
                  <a:cubicBezTo>
                    <a:pt x="1548008" y="1256742"/>
                    <a:pt x="1548008" y="1256742"/>
                    <a:pt x="1579312" y="1280040"/>
                  </a:cubicBezTo>
                  <a:cubicBezTo>
                    <a:pt x="1579312" y="1280040"/>
                    <a:pt x="1579312" y="1280040"/>
                    <a:pt x="1516703" y="1303337"/>
                  </a:cubicBezTo>
                  <a:cubicBezTo>
                    <a:pt x="1516703" y="1303337"/>
                    <a:pt x="1516703" y="1303337"/>
                    <a:pt x="1493225" y="1280040"/>
                  </a:cubicBezTo>
                  <a:cubicBezTo>
                    <a:pt x="1493225" y="1280040"/>
                    <a:pt x="1493225" y="1280040"/>
                    <a:pt x="1508877" y="1264508"/>
                  </a:cubicBezTo>
                  <a:cubicBezTo>
                    <a:pt x="1508877" y="1264508"/>
                    <a:pt x="1508877" y="1264508"/>
                    <a:pt x="1485399" y="1241210"/>
                  </a:cubicBezTo>
                  <a:cubicBezTo>
                    <a:pt x="1485399" y="1241210"/>
                    <a:pt x="1485399" y="1241210"/>
                    <a:pt x="1461921" y="1241210"/>
                  </a:cubicBezTo>
                  <a:cubicBezTo>
                    <a:pt x="1461921" y="1241210"/>
                    <a:pt x="1461921" y="1241210"/>
                    <a:pt x="1422790" y="1264508"/>
                  </a:cubicBezTo>
                  <a:cubicBezTo>
                    <a:pt x="1422790" y="1264508"/>
                    <a:pt x="1422790" y="1264508"/>
                    <a:pt x="1414964" y="1280040"/>
                  </a:cubicBezTo>
                  <a:cubicBezTo>
                    <a:pt x="1414964" y="1280040"/>
                    <a:pt x="1414964" y="1280040"/>
                    <a:pt x="1405059" y="1276763"/>
                  </a:cubicBezTo>
                  <a:lnTo>
                    <a:pt x="1400938" y="1275400"/>
                  </a:lnTo>
                  <a:lnTo>
                    <a:pt x="1400928" y="1296268"/>
                  </a:lnTo>
                  <a:lnTo>
                    <a:pt x="1394970" y="1312397"/>
                  </a:lnTo>
                  <a:lnTo>
                    <a:pt x="1435599" y="1324423"/>
                  </a:lnTo>
                  <a:lnTo>
                    <a:pt x="1402409" y="1353910"/>
                  </a:lnTo>
                  <a:cubicBezTo>
                    <a:pt x="1405184" y="1366612"/>
                    <a:pt x="1407941" y="1379300"/>
                    <a:pt x="1410716" y="1392002"/>
                  </a:cubicBezTo>
                  <a:lnTo>
                    <a:pt x="1460500" y="1406752"/>
                  </a:lnTo>
                  <a:lnTo>
                    <a:pt x="1452194" y="1406752"/>
                  </a:lnTo>
                  <a:lnTo>
                    <a:pt x="1436995" y="1427004"/>
                  </a:lnTo>
                  <a:lnTo>
                    <a:pt x="1462273" y="1421980"/>
                  </a:lnTo>
                  <a:lnTo>
                    <a:pt x="1477988" y="1406392"/>
                  </a:lnTo>
                  <a:lnTo>
                    <a:pt x="1501584" y="1398588"/>
                  </a:lnTo>
                  <a:lnTo>
                    <a:pt x="1517299" y="1398588"/>
                  </a:lnTo>
                  <a:lnTo>
                    <a:pt x="1580159" y="1398588"/>
                  </a:lnTo>
                  <a:lnTo>
                    <a:pt x="1603708" y="1406392"/>
                  </a:lnTo>
                  <a:lnTo>
                    <a:pt x="1635138" y="1421980"/>
                  </a:lnTo>
                  <a:lnTo>
                    <a:pt x="1643019" y="1421980"/>
                  </a:lnTo>
                  <a:lnTo>
                    <a:pt x="1682283" y="1421980"/>
                  </a:lnTo>
                  <a:lnTo>
                    <a:pt x="1713713" y="1398588"/>
                  </a:lnTo>
                  <a:cubicBezTo>
                    <a:pt x="1716356" y="1401189"/>
                    <a:pt x="1718952" y="1403790"/>
                    <a:pt x="1721594" y="1406392"/>
                  </a:cubicBezTo>
                  <a:lnTo>
                    <a:pt x="1745143" y="1406392"/>
                  </a:lnTo>
                  <a:lnTo>
                    <a:pt x="1760858" y="1421980"/>
                  </a:lnTo>
                  <a:lnTo>
                    <a:pt x="1792288" y="1460979"/>
                  </a:lnTo>
                  <a:cubicBezTo>
                    <a:pt x="1789692" y="1463580"/>
                    <a:pt x="1787050" y="1466182"/>
                    <a:pt x="1784454" y="1468783"/>
                  </a:cubicBezTo>
                  <a:lnTo>
                    <a:pt x="1784454" y="1523388"/>
                  </a:lnTo>
                  <a:cubicBezTo>
                    <a:pt x="1787050" y="1531192"/>
                    <a:pt x="1789692" y="1538977"/>
                    <a:pt x="1792288" y="1546781"/>
                  </a:cubicBezTo>
                  <a:lnTo>
                    <a:pt x="1776573" y="1538977"/>
                  </a:lnTo>
                  <a:lnTo>
                    <a:pt x="1737309" y="1546781"/>
                  </a:lnTo>
                  <a:lnTo>
                    <a:pt x="1732112" y="1547812"/>
                  </a:lnTo>
                  <a:lnTo>
                    <a:pt x="1738313" y="1547812"/>
                  </a:lnTo>
                  <a:lnTo>
                    <a:pt x="1728788" y="1549717"/>
                  </a:lnTo>
                  <a:lnTo>
                    <a:pt x="1728788" y="1555499"/>
                  </a:lnTo>
                  <a:lnTo>
                    <a:pt x="1713165" y="1578559"/>
                  </a:lnTo>
                  <a:lnTo>
                    <a:pt x="1697541" y="1632367"/>
                  </a:lnTo>
                  <a:lnTo>
                    <a:pt x="1642858" y="1663115"/>
                  </a:lnTo>
                  <a:lnTo>
                    <a:pt x="1627234" y="1670802"/>
                  </a:lnTo>
                  <a:lnTo>
                    <a:pt x="1580363" y="1693862"/>
                  </a:lnTo>
                  <a:lnTo>
                    <a:pt x="1564739" y="1678488"/>
                  </a:lnTo>
                  <a:lnTo>
                    <a:pt x="1547813" y="1678488"/>
                  </a:lnTo>
                  <a:lnTo>
                    <a:pt x="1580363" y="1609307"/>
                  </a:lnTo>
                  <a:lnTo>
                    <a:pt x="1572551" y="1578559"/>
                  </a:lnTo>
                  <a:lnTo>
                    <a:pt x="1595986" y="1555499"/>
                  </a:lnTo>
                  <a:lnTo>
                    <a:pt x="1611610" y="1563186"/>
                  </a:lnTo>
                  <a:lnTo>
                    <a:pt x="1697541" y="1555499"/>
                  </a:lnTo>
                  <a:lnTo>
                    <a:pt x="1714898" y="1551229"/>
                  </a:lnTo>
                  <a:lnTo>
                    <a:pt x="1697998" y="1554584"/>
                  </a:lnTo>
                  <a:lnTo>
                    <a:pt x="1611589" y="1562369"/>
                  </a:lnTo>
                  <a:lnTo>
                    <a:pt x="1595874" y="1554584"/>
                  </a:lnTo>
                  <a:lnTo>
                    <a:pt x="1572278" y="1577976"/>
                  </a:lnTo>
                  <a:lnTo>
                    <a:pt x="1540848" y="1562369"/>
                  </a:lnTo>
                  <a:lnTo>
                    <a:pt x="1509418" y="1577976"/>
                  </a:lnTo>
                  <a:lnTo>
                    <a:pt x="1454439" y="1562369"/>
                  </a:lnTo>
                  <a:lnTo>
                    <a:pt x="1446558" y="1562369"/>
                  </a:lnTo>
                  <a:lnTo>
                    <a:pt x="1375864" y="1554584"/>
                  </a:lnTo>
                  <a:cubicBezTo>
                    <a:pt x="1370626" y="1546781"/>
                    <a:pt x="1367381" y="1539982"/>
                    <a:pt x="1360149" y="1531174"/>
                  </a:cubicBezTo>
                  <a:lnTo>
                    <a:pt x="1353047" y="1523598"/>
                  </a:lnTo>
                  <a:lnTo>
                    <a:pt x="1325337" y="1542957"/>
                  </a:lnTo>
                  <a:lnTo>
                    <a:pt x="1328301" y="1558855"/>
                  </a:lnTo>
                  <a:lnTo>
                    <a:pt x="1313725" y="1578040"/>
                  </a:lnTo>
                  <a:lnTo>
                    <a:pt x="1275623" y="1568678"/>
                  </a:lnTo>
                  <a:lnTo>
                    <a:pt x="1269691" y="1536868"/>
                  </a:lnTo>
                  <a:lnTo>
                    <a:pt x="1284285" y="1517696"/>
                  </a:lnTo>
                  <a:lnTo>
                    <a:pt x="1247683" y="1516288"/>
                  </a:lnTo>
                  <a:lnTo>
                    <a:pt x="1225672" y="1495693"/>
                  </a:lnTo>
                  <a:lnTo>
                    <a:pt x="1236426" y="1481566"/>
                  </a:lnTo>
                  <a:lnTo>
                    <a:pt x="1232103" y="1485900"/>
                  </a:lnTo>
                  <a:lnTo>
                    <a:pt x="1212241" y="1463386"/>
                  </a:lnTo>
                  <a:lnTo>
                    <a:pt x="1212241" y="1412730"/>
                  </a:lnTo>
                  <a:lnTo>
                    <a:pt x="1200430" y="1405541"/>
                  </a:lnTo>
                  <a:lnTo>
                    <a:pt x="1199825" y="1406335"/>
                  </a:lnTo>
                  <a:lnTo>
                    <a:pt x="1180484" y="1383612"/>
                  </a:lnTo>
                  <a:lnTo>
                    <a:pt x="1193152" y="1359861"/>
                  </a:lnTo>
                  <a:lnTo>
                    <a:pt x="1179059" y="1385887"/>
                  </a:lnTo>
                  <a:lnTo>
                    <a:pt x="1109663" y="1300503"/>
                  </a:lnTo>
                  <a:lnTo>
                    <a:pt x="1112239" y="1289584"/>
                  </a:lnTo>
                  <a:lnTo>
                    <a:pt x="1111429" y="1289004"/>
                  </a:lnTo>
                  <a:lnTo>
                    <a:pt x="1107995" y="1300876"/>
                  </a:lnTo>
                  <a:lnTo>
                    <a:pt x="1176757" y="1384300"/>
                  </a:lnTo>
                  <a:cubicBezTo>
                    <a:pt x="1155911" y="1373387"/>
                    <a:pt x="1135468" y="1356431"/>
                    <a:pt x="1114221" y="1351560"/>
                  </a:cubicBezTo>
                  <a:lnTo>
                    <a:pt x="1095065" y="1329867"/>
                  </a:lnTo>
                  <a:lnTo>
                    <a:pt x="1086249" y="1299101"/>
                  </a:lnTo>
                  <a:lnTo>
                    <a:pt x="1075917" y="1288766"/>
                  </a:lnTo>
                  <a:lnTo>
                    <a:pt x="1069597" y="1295163"/>
                  </a:lnTo>
                  <a:lnTo>
                    <a:pt x="1060753" y="1307651"/>
                  </a:lnTo>
                  <a:lnTo>
                    <a:pt x="1050925" y="1285832"/>
                  </a:lnTo>
                  <a:lnTo>
                    <a:pt x="1053024" y="1280010"/>
                  </a:lnTo>
                  <a:lnTo>
                    <a:pt x="1047173" y="1280010"/>
                  </a:lnTo>
                  <a:lnTo>
                    <a:pt x="1039091" y="1312832"/>
                  </a:lnTo>
                  <a:lnTo>
                    <a:pt x="1055255" y="1347705"/>
                  </a:lnTo>
                  <a:lnTo>
                    <a:pt x="1089603" y="1407195"/>
                  </a:lnTo>
                  <a:lnTo>
                    <a:pt x="1115868" y="1415400"/>
                  </a:lnTo>
                  <a:lnTo>
                    <a:pt x="1148196" y="1442068"/>
                  </a:lnTo>
                  <a:lnTo>
                    <a:pt x="1190625" y="1483096"/>
                  </a:lnTo>
                  <a:lnTo>
                    <a:pt x="1174462" y="1483096"/>
                  </a:lnTo>
                  <a:lnTo>
                    <a:pt x="1148196" y="1474890"/>
                  </a:lnTo>
                  <a:lnTo>
                    <a:pt x="1148196" y="1501558"/>
                  </a:lnTo>
                  <a:lnTo>
                    <a:pt x="1093643" y="1544637"/>
                  </a:lnTo>
                  <a:lnTo>
                    <a:pt x="1109807" y="1487199"/>
                  </a:lnTo>
                  <a:lnTo>
                    <a:pt x="1073439" y="1458479"/>
                  </a:lnTo>
                  <a:lnTo>
                    <a:pt x="1014846" y="1423606"/>
                  </a:lnTo>
                  <a:lnTo>
                    <a:pt x="988580" y="1388733"/>
                  </a:lnTo>
                  <a:lnTo>
                    <a:pt x="964334" y="1339499"/>
                  </a:lnTo>
                  <a:lnTo>
                    <a:pt x="921904" y="1321037"/>
                  </a:lnTo>
                  <a:lnTo>
                    <a:pt x="903720" y="1339499"/>
                  </a:lnTo>
                  <a:lnTo>
                    <a:pt x="895073" y="1329622"/>
                  </a:lnTo>
                  <a:lnTo>
                    <a:pt x="896927" y="1333147"/>
                  </a:lnTo>
                  <a:cubicBezTo>
                    <a:pt x="894371" y="1332794"/>
                    <a:pt x="872418" y="1350253"/>
                    <a:pt x="863719" y="1352463"/>
                  </a:cubicBezTo>
                  <a:cubicBezTo>
                    <a:pt x="854990" y="1354669"/>
                    <a:pt x="853561" y="1349254"/>
                    <a:pt x="844770" y="1346352"/>
                  </a:cubicBezTo>
                  <a:cubicBezTo>
                    <a:pt x="835975" y="1343479"/>
                    <a:pt x="819101" y="1337210"/>
                    <a:pt x="811004" y="1335055"/>
                  </a:cubicBezTo>
                  <a:cubicBezTo>
                    <a:pt x="802872" y="1332926"/>
                    <a:pt x="801102" y="1331319"/>
                    <a:pt x="796103" y="1333357"/>
                  </a:cubicBezTo>
                  <a:cubicBezTo>
                    <a:pt x="791130" y="1335428"/>
                    <a:pt x="786183" y="1345537"/>
                    <a:pt x="781131" y="1347509"/>
                  </a:cubicBezTo>
                  <a:lnTo>
                    <a:pt x="775918" y="1347477"/>
                  </a:lnTo>
                  <a:lnTo>
                    <a:pt x="776012" y="1351506"/>
                  </a:lnTo>
                  <a:cubicBezTo>
                    <a:pt x="783118" y="1358727"/>
                    <a:pt x="779923" y="1375598"/>
                    <a:pt x="776048" y="1383138"/>
                  </a:cubicBezTo>
                  <a:cubicBezTo>
                    <a:pt x="772174" y="1390678"/>
                    <a:pt x="757381" y="1395344"/>
                    <a:pt x="752689" y="1396758"/>
                  </a:cubicBezTo>
                  <a:cubicBezTo>
                    <a:pt x="747997" y="1398173"/>
                    <a:pt x="751494" y="1397685"/>
                    <a:pt x="748677" y="1398781"/>
                  </a:cubicBezTo>
                  <a:cubicBezTo>
                    <a:pt x="747622" y="1397861"/>
                    <a:pt x="746036" y="1399743"/>
                    <a:pt x="743490" y="1400782"/>
                  </a:cubicBezTo>
                  <a:cubicBezTo>
                    <a:pt x="740943" y="1401821"/>
                    <a:pt x="743498" y="1400062"/>
                    <a:pt x="729330" y="1403707"/>
                  </a:cubicBezTo>
                  <a:cubicBezTo>
                    <a:pt x="716879" y="1406914"/>
                    <a:pt x="699067" y="1436518"/>
                    <a:pt x="692213" y="1446765"/>
                  </a:cubicBezTo>
                  <a:cubicBezTo>
                    <a:pt x="685358" y="1457013"/>
                    <a:pt x="689571" y="1459019"/>
                    <a:pt x="688250" y="1465146"/>
                  </a:cubicBezTo>
                  <a:lnTo>
                    <a:pt x="651919" y="1495839"/>
                  </a:lnTo>
                  <a:lnTo>
                    <a:pt x="615523" y="1526490"/>
                  </a:lnTo>
                  <a:lnTo>
                    <a:pt x="556721" y="1523428"/>
                  </a:lnTo>
                  <a:lnTo>
                    <a:pt x="495932" y="1529584"/>
                  </a:lnTo>
                  <a:lnTo>
                    <a:pt x="463979" y="1493813"/>
                  </a:lnTo>
                  <a:lnTo>
                    <a:pt x="445027" y="1489727"/>
                  </a:lnTo>
                  <a:lnTo>
                    <a:pt x="459601" y="1465584"/>
                  </a:lnTo>
                  <a:lnTo>
                    <a:pt x="454843" y="1472737"/>
                  </a:lnTo>
                  <a:cubicBezTo>
                    <a:pt x="452983" y="1475034"/>
                    <a:pt x="451123" y="1477331"/>
                    <a:pt x="449262" y="1481127"/>
                  </a:cubicBezTo>
                  <a:lnTo>
                    <a:pt x="402803" y="1467499"/>
                  </a:lnTo>
                  <a:lnTo>
                    <a:pt x="424337" y="1419027"/>
                  </a:lnTo>
                  <a:lnTo>
                    <a:pt x="412153" y="1417258"/>
                  </a:lnTo>
                  <a:lnTo>
                    <a:pt x="409289" y="1405539"/>
                  </a:lnTo>
                  <a:cubicBezTo>
                    <a:pt x="411573" y="1399857"/>
                    <a:pt x="413860" y="1394197"/>
                    <a:pt x="416144" y="1388516"/>
                  </a:cubicBezTo>
                  <a:lnTo>
                    <a:pt x="438695" y="1367073"/>
                  </a:lnTo>
                  <a:lnTo>
                    <a:pt x="448267" y="1332437"/>
                  </a:lnTo>
                  <a:lnTo>
                    <a:pt x="449089" y="1304132"/>
                  </a:lnTo>
                  <a:lnTo>
                    <a:pt x="444844" y="1306784"/>
                  </a:lnTo>
                  <a:lnTo>
                    <a:pt x="435812" y="1256692"/>
                  </a:lnTo>
                  <a:cubicBezTo>
                    <a:pt x="445252" y="1258728"/>
                    <a:pt x="468173" y="1244407"/>
                    <a:pt x="468173" y="1244407"/>
                  </a:cubicBezTo>
                  <a:lnTo>
                    <a:pt x="489142" y="1239311"/>
                  </a:lnTo>
                  <a:lnTo>
                    <a:pt x="506077" y="1252580"/>
                  </a:lnTo>
                  <a:cubicBezTo>
                    <a:pt x="525690" y="1253603"/>
                    <a:pt x="537472" y="1247854"/>
                    <a:pt x="564879" y="1255641"/>
                  </a:cubicBezTo>
                  <a:cubicBezTo>
                    <a:pt x="592286" y="1263428"/>
                    <a:pt x="635347" y="1284785"/>
                    <a:pt x="670578" y="1299371"/>
                  </a:cubicBezTo>
                  <a:lnTo>
                    <a:pt x="673041" y="1305019"/>
                  </a:lnTo>
                  <a:lnTo>
                    <a:pt x="670559" y="1297992"/>
                  </a:lnTo>
                  <a:cubicBezTo>
                    <a:pt x="669558" y="1293259"/>
                    <a:pt x="670050" y="1298574"/>
                    <a:pt x="673751" y="1290398"/>
                  </a:cubicBezTo>
                  <a:cubicBezTo>
                    <a:pt x="677452" y="1282222"/>
                    <a:pt x="689153" y="1259347"/>
                    <a:pt x="692828" y="1248914"/>
                  </a:cubicBezTo>
                  <a:cubicBezTo>
                    <a:pt x="696477" y="1238448"/>
                    <a:pt x="694778" y="1234774"/>
                    <a:pt x="695753" y="1227705"/>
                  </a:cubicBezTo>
                  <a:lnTo>
                    <a:pt x="689027" y="1219603"/>
                  </a:lnTo>
                  <a:cubicBezTo>
                    <a:pt x="687446" y="1212181"/>
                    <a:pt x="685835" y="1204755"/>
                    <a:pt x="684255" y="1197332"/>
                  </a:cubicBezTo>
                  <a:lnTo>
                    <a:pt x="678507" y="1182132"/>
                  </a:lnTo>
                  <a:lnTo>
                    <a:pt x="679482" y="1175062"/>
                  </a:lnTo>
                  <a:lnTo>
                    <a:pt x="672790" y="1166935"/>
                  </a:lnTo>
                  <a:cubicBezTo>
                    <a:pt x="665094" y="1165874"/>
                    <a:pt x="656753" y="1167926"/>
                    <a:pt x="649700" y="1163752"/>
                  </a:cubicBezTo>
                  <a:cubicBezTo>
                    <a:pt x="642651" y="1159548"/>
                    <a:pt x="633380" y="1147686"/>
                    <a:pt x="630433" y="1141736"/>
                  </a:cubicBezTo>
                  <a:cubicBezTo>
                    <a:pt x="627515" y="1135789"/>
                    <a:pt x="631690" y="1132837"/>
                    <a:pt x="631983" y="1128045"/>
                  </a:cubicBezTo>
                  <a:cubicBezTo>
                    <a:pt x="632276" y="1123253"/>
                    <a:pt x="628827" y="1115603"/>
                    <a:pt x="632191" y="1112984"/>
                  </a:cubicBezTo>
                  <a:cubicBezTo>
                    <a:pt x="635555" y="1110364"/>
                    <a:pt x="645785" y="1112605"/>
                    <a:pt x="652233" y="1112278"/>
                  </a:cubicBezTo>
                  <a:cubicBezTo>
                    <a:pt x="658681" y="1111952"/>
                    <a:pt x="666528" y="1109032"/>
                    <a:pt x="670936" y="1111062"/>
                  </a:cubicBezTo>
                  <a:cubicBezTo>
                    <a:pt x="675343" y="1113093"/>
                    <a:pt x="673508" y="1121734"/>
                    <a:pt x="678639" y="1124517"/>
                  </a:cubicBezTo>
                  <a:cubicBezTo>
                    <a:pt x="683770" y="1127300"/>
                    <a:pt x="697552" y="1130445"/>
                    <a:pt x="701699" y="1127696"/>
                  </a:cubicBezTo>
                  <a:cubicBezTo>
                    <a:pt x="705846" y="1124948"/>
                    <a:pt x="702769" y="1114384"/>
                    <a:pt x="703545" y="1108088"/>
                  </a:cubicBezTo>
                  <a:cubicBezTo>
                    <a:pt x="704321" y="1101791"/>
                    <a:pt x="703817" y="1092561"/>
                    <a:pt x="706288" y="1089966"/>
                  </a:cubicBezTo>
                  <a:cubicBezTo>
                    <a:pt x="708790" y="1087376"/>
                    <a:pt x="715593" y="1090034"/>
                    <a:pt x="718473" y="1092476"/>
                  </a:cubicBezTo>
                  <a:cubicBezTo>
                    <a:pt x="721353" y="1094919"/>
                    <a:pt x="718217" y="1101661"/>
                    <a:pt x="723603" y="1104598"/>
                  </a:cubicBezTo>
                  <a:cubicBezTo>
                    <a:pt x="728988" y="1107534"/>
                    <a:pt x="743189" y="1111864"/>
                    <a:pt x="750759" y="1110062"/>
                  </a:cubicBezTo>
                  <a:cubicBezTo>
                    <a:pt x="758330" y="1108259"/>
                    <a:pt x="764597" y="1097472"/>
                    <a:pt x="769091" y="1093763"/>
                  </a:cubicBezTo>
                  <a:cubicBezTo>
                    <a:pt x="773585" y="1090055"/>
                    <a:pt x="774878" y="1089788"/>
                    <a:pt x="777758" y="1087784"/>
                  </a:cubicBezTo>
                  <a:lnTo>
                    <a:pt x="797021" y="1061623"/>
                  </a:lnTo>
                  <a:lnTo>
                    <a:pt x="813389" y="1056676"/>
                  </a:lnTo>
                  <a:lnTo>
                    <a:pt x="819136" y="1071877"/>
                  </a:lnTo>
                  <a:lnTo>
                    <a:pt x="819925" y="1072381"/>
                  </a:lnTo>
                  <a:lnTo>
                    <a:pt x="814388" y="1056582"/>
                  </a:lnTo>
                  <a:lnTo>
                    <a:pt x="817634" y="1056157"/>
                  </a:lnTo>
                  <a:lnTo>
                    <a:pt x="831359" y="1049337"/>
                  </a:lnTo>
                  <a:lnTo>
                    <a:pt x="838221" y="1056157"/>
                  </a:lnTo>
                  <a:lnTo>
                    <a:pt x="846726" y="1056157"/>
                  </a:lnTo>
                  <a:lnTo>
                    <a:pt x="846138" y="1055582"/>
                  </a:lnTo>
                  <a:lnTo>
                    <a:pt x="859992" y="1042035"/>
                  </a:lnTo>
                  <a:lnTo>
                    <a:pt x="873847" y="1001395"/>
                  </a:lnTo>
                  <a:lnTo>
                    <a:pt x="887701" y="1014942"/>
                  </a:lnTo>
                  <a:lnTo>
                    <a:pt x="887701" y="994622"/>
                  </a:lnTo>
                  <a:lnTo>
                    <a:pt x="905868" y="988701"/>
                  </a:lnTo>
                  <a:lnTo>
                    <a:pt x="905868" y="981625"/>
                  </a:lnTo>
                  <a:lnTo>
                    <a:pt x="905868" y="974016"/>
                  </a:lnTo>
                  <a:lnTo>
                    <a:pt x="919607" y="974016"/>
                  </a:lnTo>
                  <a:lnTo>
                    <a:pt x="933327" y="974016"/>
                  </a:lnTo>
                  <a:lnTo>
                    <a:pt x="940198" y="958797"/>
                  </a:lnTo>
                  <a:lnTo>
                    <a:pt x="944527" y="939615"/>
                  </a:lnTo>
                  <a:lnTo>
                    <a:pt x="944315" y="939664"/>
                  </a:lnTo>
                  <a:cubicBezTo>
                    <a:pt x="944420" y="930537"/>
                    <a:pt x="944526" y="921410"/>
                    <a:pt x="944632" y="912283"/>
                  </a:cubicBezTo>
                  <a:lnTo>
                    <a:pt x="938213" y="907979"/>
                  </a:lnTo>
                  <a:lnTo>
                    <a:pt x="951051" y="862789"/>
                  </a:lnTo>
                  <a:lnTo>
                    <a:pt x="968168" y="862789"/>
                  </a:lnTo>
                  <a:lnTo>
                    <a:pt x="983146" y="847725"/>
                  </a:lnTo>
                  <a:lnTo>
                    <a:pt x="985286" y="877852"/>
                  </a:lnTo>
                  <a:lnTo>
                    <a:pt x="987425" y="895068"/>
                  </a:lnTo>
                  <a:lnTo>
                    <a:pt x="963889" y="920891"/>
                  </a:lnTo>
                  <a:lnTo>
                    <a:pt x="963889" y="926261"/>
                  </a:lnTo>
                  <a:lnTo>
                    <a:pt x="967678" y="928359"/>
                  </a:lnTo>
                  <a:lnTo>
                    <a:pt x="988268" y="935969"/>
                  </a:lnTo>
                  <a:lnTo>
                    <a:pt x="988268" y="951188"/>
                  </a:lnTo>
                  <a:cubicBezTo>
                    <a:pt x="995138" y="958797"/>
                    <a:pt x="1002008" y="958797"/>
                    <a:pt x="1002008" y="958797"/>
                  </a:cubicBezTo>
                  <a:lnTo>
                    <a:pt x="1029467" y="943578"/>
                  </a:lnTo>
                  <a:lnTo>
                    <a:pt x="1042754" y="950942"/>
                  </a:lnTo>
                  <a:lnTo>
                    <a:pt x="1051345" y="946683"/>
                  </a:lnTo>
                  <a:cubicBezTo>
                    <a:pt x="1055752" y="944499"/>
                    <a:pt x="1061629" y="941586"/>
                    <a:pt x="1069464" y="937702"/>
                  </a:cubicBezTo>
                  <a:cubicBezTo>
                    <a:pt x="1069464" y="937702"/>
                    <a:pt x="1069464" y="937702"/>
                    <a:pt x="1132144" y="914400"/>
                  </a:cubicBezTo>
                  <a:cubicBezTo>
                    <a:pt x="1132144" y="914400"/>
                    <a:pt x="1132144" y="914400"/>
                    <a:pt x="1139979" y="914400"/>
                  </a:cubicBezTo>
                  <a:cubicBezTo>
                    <a:pt x="1139979" y="914400"/>
                    <a:pt x="1139979" y="922168"/>
                    <a:pt x="1147814" y="922168"/>
                  </a:cubicBezTo>
                  <a:cubicBezTo>
                    <a:pt x="1147814" y="922168"/>
                    <a:pt x="1171319" y="922168"/>
                    <a:pt x="1171319" y="922168"/>
                  </a:cubicBezTo>
                  <a:cubicBezTo>
                    <a:pt x="1171319" y="922168"/>
                    <a:pt x="1171319" y="922168"/>
                    <a:pt x="1171319" y="914400"/>
                  </a:cubicBezTo>
                  <a:cubicBezTo>
                    <a:pt x="1171319" y="914400"/>
                    <a:pt x="1171319" y="914400"/>
                    <a:pt x="1173278" y="916342"/>
                  </a:cubicBezTo>
                  <a:lnTo>
                    <a:pt x="1180321" y="923324"/>
                  </a:lnTo>
                  <a:lnTo>
                    <a:pt x="1171575" y="914400"/>
                  </a:lnTo>
                  <a:lnTo>
                    <a:pt x="1179354" y="906462"/>
                  </a:lnTo>
                  <a:lnTo>
                    <a:pt x="1194689" y="890814"/>
                  </a:lnTo>
                  <a:lnTo>
                    <a:pt x="1193800" y="890814"/>
                  </a:lnTo>
                  <a:cubicBezTo>
                    <a:pt x="1193800" y="890814"/>
                    <a:pt x="1193800" y="890814"/>
                    <a:pt x="1201738" y="883104"/>
                  </a:cubicBezTo>
                  <a:cubicBezTo>
                    <a:pt x="1201738" y="883104"/>
                    <a:pt x="1201738" y="867682"/>
                    <a:pt x="1201738" y="852261"/>
                  </a:cubicBezTo>
                  <a:cubicBezTo>
                    <a:pt x="1201738" y="852261"/>
                    <a:pt x="1201738" y="852261"/>
                    <a:pt x="1233488" y="844550"/>
                  </a:cubicBezTo>
                  <a:close/>
                  <a:moveTo>
                    <a:pt x="1335982" y="781734"/>
                  </a:moveTo>
                  <a:lnTo>
                    <a:pt x="1336676" y="782183"/>
                  </a:lnTo>
                  <a:cubicBezTo>
                    <a:pt x="1336676" y="782183"/>
                    <a:pt x="1336676" y="782183"/>
                    <a:pt x="1350070" y="788689"/>
                  </a:cubicBezTo>
                  <a:lnTo>
                    <a:pt x="1352999" y="790112"/>
                  </a:lnTo>
                  <a:close/>
                  <a:moveTo>
                    <a:pt x="558884" y="741362"/>
                  </a:moveTo>
                  <a:cubicBezTo>
                    <a:pt x="574599" y="741362"/>
                    <a:pt x="574599" y="741362"/>
                    <a:pt x="574599" y="741362"/>
                  </a:cubicBezTo>
                  <a:cubicBezTo>
                    <a:pt x="598173" y="741362"/>
                    <a:pt x="598173" y="741362"/>
                    <a:pt x="598173" y="741362"/>
                  </a:cubicBezTo>
                  <a:cubicBezTo>
                    <a:pt x="598173" y="749198"/>
                    <a:pt x="598173" y="749198"/>
                    <a:pt x="598173" y="749198"/>
                  </a:cubicBezTo>
                  <a:cubicBezTo>
                    <a:pt x="582457" y="780543"/>
                    <a:pt x="582457" y="780543"/>
                    <a:pt x="582457" y="780543"/>
                  </a:cubicBezTo>
                  <a:cubicBezTo>
                    <a:pt x="590315" y="788379"/>
                    <a:pt x="590315" y="788379"/>
                    <a:pt x="590315" y="788379"/>
                  </a:cubicBezTo>
                  <a:cubicBezTo>
                    <a:pt x="613889" y="780543"/>
                    <a:pt x="613889" y="780543"/>
                    <a:pt x="613889" y="780543"/>
                  </a:cubicBezTo>
                  <a:cubicBezTo>
                    <a:pt x="637463" y="788379"/>
                    <a:pt x="637463" y="788379"/>
                    <a:pt x="637463" y="788379"/>
                  </a:cubicBezTo>
                  <a:cubicBezTo>
                    <a:pt x="629605" y="804051"/>
                    <a:pt x="629605" y="804051"/>
                    <a:pt x="629605" y="804051"/>
                  </a:cubicBezTo>
                  <a:cubicBezTo>
                    <a:pt x="621747" y="827560"/>
                    <a:pt x="621747" y="827560"/>
                    <a:pt x="621747" y="827560"/>
                  </a:cubicBezTo>
                  <a:cubicBezTo>
                    <a:pt x="606031" y="851069"/>
                    <a:pt x="606031" y="851069"/>
                    <a:pt x="606031" y="851069"/>
                  </a:cubicBezTo>
                  <a:cubicBezTo>
                    <a:pt x="606031" y="858905"/>
                    <a:pt x="606031" y="858905"/>
                    <a:pt x="606031" y="858905"/>
                  </a:cubicBezTo>
                  <a:cubicBezTo>
                    <a:pt x="621747" y="866741"/>
                    <a:pt x="621747" y="866741"/>
                    <a:pt x="621747" y="866741"/>
                  </a:cubicBezTo>
                  <a:cubicBezTo>
                    <a:pt x="637463" y="874577"/>
                    <a:pt x="637463" y="874577"/>
                    <a:pt x="637463" y="874577"/>
                  </a:cubicBezTo>
                  <a:cubicBezTo>
                    <a:pt x="653179" y="913758"/>
                    <a:pt x="653179" y="913758"/>
                    <a:pt x="653179" y="913758"/>
                  </a:cubicBezTo>
                  <a:cubicBezTo>
                    <a:pt x="668894" y="929430"/>
                    <a:pt x="668894" y="929430"/>
                    <a:pt x="668894" y="929430"/>
                  </a:cubicBezTo>
                  <a:cubicBezTo>
                    <a:pt x="692468" y="960775"/>
                    <a:pt x="692468" y="960775"/>
                    <a:pt x="692468" y="960775"/>
                  </a:cubicBezTo>
                  <a:cubicBezTo>
                    <a:pt x="684610" y="968611"/>
                    <a:pt x="684610" y="968611"/>
                    <a:pt x="684610" y="968611"/>
                  </a:cubicBezTo>
                  <a:cubicBezTo>
                    <a:pt x="684610" y="976447"/>
                    <a:pt x="684610" y="976447"/>
                    <a:pt x="684610" y="976447"/>
                  </a:cubicBezTo>
                  <a:cubicBezTo>
                    <a:pt x="684610" y="992120"/>
                    <a:pt x="684610" y="992120"/>
                    <a:pt x="684610" y="992120"/>
                  </a:cubicBezTo>
                  <a:cubicBezTo>
                    <a:pt x="700326" y="992120"/>
                    <a:pt x="700326" y="992120"/>
                    <a:pt x="700326" y="992120"/>
                  </a:cubicBezTo>
                  <a:cubicBezTo>
                    <a:pt x="716042" y="992120"/>
                    <a:pt x="716042" y="992120"/>
                    <a:pt x="716042" y="992120"/>
                  </a:cubicBezTo>
                  <a:cubicBezTo>
                    <a:pt x="723900" y="1023464"/>
                    <a:pt x="723900" y="1023464"/>
                    <a:pt x="723900" y="1023464"/>
                  </a:cubicBezTo>
                  <a:cubicBezTo>
                    <a:pt x="708184" y="1046973"/>
                    <a:pt x="708184" y="1046973"/>
                    <a:pt x="708184" y="1046973"/>
                  </a:cubicBezTo>
                  <a:cubicBezTo>
                    <a:pt x="708184" y="1054809"/>
                    <a:pt x="708184" y="1054809"/>
                    <a:pt x="708184" y="1054809"/>
                  </a:cubicBezTo>
                  <a:cubicBezTo>
                    <a:pt x="723900" y="1054809"/>
                    <a:pt x="723900" y="1054809"/>
                    <a:pt x="723900" y="1054809"/>
                  </a:cubicBezTo>
                  <a:cubicBezTo>
                    <a:pt x="708184" y="1062645"/>
                    <a:pt x="708184" y="1062645"/>
                    <a:pt x="708184" y="1062645"/>
                  </a:cubicBezTo>
                  <a:cubicBezTo>
                    <a:pt x="668894" y="1078317"/>
                    <a:pt x="668894" y="1078317"/>
                    <a:pt x="668894" y="1078317"/>
                  </a:cubicBezTo>
                  <a:cubicBezTo>
                    <a:pt x="645321" y="1078317"/>
                    <a:pt x="645321" y="1078317"/>
                    <a:pt x="645321" y="1078317"/>
                  </a:cubicBezTo>
                  <a:cubicBezTo>
                    <a:pt x="621747" y="1086154"/>
                    <a:pt x="621747" y="1086154"/>
                    <a:pt x="621747" y="1086154"/>
                  </a:cubicBezTo>
                  <a:cubicBezTo>
                    <a:pt x="621747" y="1086154"/>
                    <a:pt x="613889" y="1078317"/>
                    <a:pt x="606031" y="1078317"/>
                  </a:cubicBezTo>
                  <a:cubicBezTo>
                    <a:pt x="606031" y="1078317"/>
                    <a:pt x="598173" y="1093990"/>
                    <a:pt x="598173" y="1093990"/>
                  </a:cubicBezTo>
                  <a:cubicBezTo>
                    <a:pt x="582457" y="1093990"/>
                    <a:pt x="582457" y="1093990"/>
                    <a:pt x="582457" y="1093990"/>
                  </a:cubicBezTo>
                  <a:cubicBezTo>
                    <a:pt x="566741" y="1093990"/>
                    <a:pt x="566741" y="1093990"/>
                    <a:pt x="566741" y="1093990"/>
                  </a:cubicBezTo>
                  <a:cubicBezTo>
                    <a:pt x="558884" y="1109662"/>
                    <a:pt x="558884" y="1109662"/>
                    <a:pt x="558884" y="1109662"/>
                  </a:cubicBezTo>
                  <a:cubicBezTo>
                    <a:pt x="543168" y="1101826"/>
                    <a:pt x="543168" y="1101826"/>
                    <a:pt x="543168" y="1101826"/>
                  </a:cubicBezTo>
                  <a:cubicBezTo>
                    <a:pt x="551026" y="1086154"/>
                    <a:pt x="551026" y="1086154"/>
                    <a:pt x="551026" y="1086154"/>
                  </a:cubicBezTo>
                  <a:cubicBezTo>
                    <a:pt x="574599" y="1070481"/>
                    <a:pt x="574599" y="1070481"/>
                    <a:pt x="574599" y="1070481"/>
                  </a:cubicBezTo>
                  <a:cubicBezTo>
                    <a:pt x="598173" y="1046973"/>
                    <a:pt x="598173" y="1046973"/>
                    <a:pt x="598173" y="1046973"/>
                  </a:cubicBezTo>
                  <a:cubicBezTo>
                    <a:pt x="582457" y="1039137"/>
                    <a:pt x="582457" y="1039137"/>
                    <a:pt x="582457" y="1039137"/>
                  </a:cubicBezTo>
                  <a:cubicBezTo>
                    <a:pt x="566741" y="1039137"/>
                    <a:pt x="566741" y="1039137"/>
                    <a:pt x="566741" y="1039137"/>
                  </a:cubicBezTo>
                  <a:lnTo>
                    <a:pt x="558884" y="1031300"/>
                  </a:lnTo>
                  <a:cubicBezTo>
                    <a:pt x="582457" y="1015628"/>
                    <a:pt x="582457" y="1015628"/>
                    <a:pt x="582457" y="1015628"/>
                  </a:cubicBezTo>
                  <a:cubicBezTo>
                    <a:pt x="582457" y="999956"/>
                    <a:pt x="582457" y="999956"/>
                    <a:pt x="582457" y="999956"/>
                  </a:cubicBezTo>
                  <a:cubicBezTo>
                    <a:pt x="566741" y="999956"/>
                    <a:pt x="566741" y="999956"/>
                    <a:pt x="566741" y="999956"/>
                  </a:cubicBezTo>
                  <a:cubicBezTo>
                    <a:pt x="582457" y="976447"/>
                    <a:pt x="582457" y="976447"/>
                    <a:pt x="582457" y="976447"/>
                  </a:cubicBezTo>
                  <a:cubicBezTo>
                    <a:pt x="613889" y="968611"/>
                    <a:pt x="613889" y="968611"/>
                    <a:pt x="613889" y="968611"/>
                  </a:cubicBezTo>
                  <a:cubicBezTo>
                    <a:pt x="606031" y="945103"/>
                    <a:pt x="606031" y="945103"/>
                    <a:pt x="606031" y="945103"/>
                  </a:cubicBezTo>
                  <a:cubicBezTo>
                    <a:pt x="606031" y="937266"/>
                    <a:pt x="606031" y="937266"/>
                    <a:pt x="606031" y="937266"/>
                  </a:cubicBezTo>
                  <a:cubicBezTo>
                    <a:pt x="598173" y="921594"/>
                    <a:pt x="598173" y="921594"/>
                    <a:pt x="598173" y="921594"/>
                  </a:cubicBezTo>
                  <a:cubicBezTo>
                    <a:pt x="598173" y="913758"/>
                    <a:pt x="598173" y="913758"/>
                    <a:pt x="598173" y="913758"/>
                  </a:cubicBezTo>
                  <a:cubicBezTo>
                    <a:pt x="574599" y="913758"/>
                    <a:pt x="574599" y="913758"/>
                    <a:pt x="574599" y="913758"/>
                  </a:cubicBezTo>
                  <a:cubicBezTo>
                    <a:pt x="558884" y="913758"/>
                    <a:pt x="558884" y="913758"/>
                    <a:pt x="558884" y="913758"/>
                  </a:cubicBezTo>
                  <a:cubicBezTo>
                    <a:pt x="558884" y="898086"/>
                    <a:pt x="558884" y="898086"/>
                    <a:pt x="558884" y="898086"/>
                  </a:cubicBezTo>
                  <a:cubicBezTo>
                    <a:pt x="566741" y="866741"/>
                    <a:pt x="566741" y="866741"/>
                    <a:pt x="566741" y="866741"/>
                  </a:cubicBezTo>
                  <a:cubicBezTo>
                    <a:pt x="551026" y="866741"/>
                    <a:pt x="551026" y="866741"/>
                    <a:pt x="551026" y="866741"/>
                  </a:cubicBezTo>
                  <a:cubicBezTo>
                    <a:pt x="543168" y="882413"/>
                    <a:pt x="543168" y="882413"/>
                    <a:pt x="543168" y="882413"/>
                  </a:cubicBezTo>
                  <a:cubicBezTo>
                    <a:pt x="543168" y="882413"/>
                    <a:pt x="535310" y="874577"/>
                    <a:pt x="535310" y="866741"/>
                  </a:cubicBezTo>
                  <a:cubicBezTo>
                    <a:pt x="535310" y="858905"/>
                    <a:pt x="535310" y="843232"/>
                    <a:pt x="535310" y="843232"/>
                  </a:cubicBezTo>
                  <a:cubicBezTo>
                    <a:pt x="535310" y="827560"/>
                    <a:pt x="535310" y="827560"/>
                    <a:pt x="535310" y="827560"/>
                  </a:cubicBezTo>
                  <a:cubicBezTo>
                    <a:pt x="535310" y="804051"/>
                    <a:pt x="535310" y="804051"/>
                    <a:pt x="535310" y="804051"/>
                  </a:cubicBezTo>
                  <a:cubicBezTo>
                    <a:pt x="535310" y="788379"/>
                    <a:pt x="535310" y="788379"/>
                    <a:pt x="535310" y="788379"/>
                  </a:cubicBezTo>
                  <a:cubicBezTo>
                    <a:pt x="543168" y="772707"/>
                    <a:pt x="543168" y="772707"/>
                    <a:pt x="543168" y="772707"/>
                  </a:cubicBezTo>
                  <a:cubicBezTo>
                    <a:pt x="558884" y="741362"/>
                    <a:pt x="558884" y="741362"/>
                    <a:pt x="558884" y="741362"/>
                  </a:cubicBezTo>
                  <a:close/>
                  <a:moveTo>
                    <a:pt x="1311275" y="695325"/>
                  </a:moveTo>
                  <a:lnTo>
                    <a:pt x="1358901" y="695325"/>
                  </a:lnTo>
                  <a:lnTo>
                    <a:pt x="1374776" y="695325"/>
                  </a:lnTo>
                  <a:lnTo>
                    <a:pt x="1382713" y="703140"/>
                  </a:lnTo>
                  <a:lnTo>
                    <a:pt x="1374776" y="734402"/>
                  </a:lnTo>
                  <a:lnTo>
                    <a:pt x="1374776" y="750033"/>
                  </a:lnTo>
                  <a:lnTo>
                    <a:pt x="1366853" y="796841"/>
                  </a:lnTo>
                  <a:lnTo>
                    <a:pt x="1368426" y="797605"/>
                  </a:lnTo>
                  <a:cubicBezTo>
                    <a:pt x="1368426" y="797605"/>
                    <a:pt x="1368426" y="797605"/>
                    <a:pt x="1368426" y="805315"/>
                  </a:cubicBezTo>
                  <a:cubicBezTo>
                    <a:pt x="1368426" y="805315"/>
                    <a:pt x="1368426" y="805315"/>
                    <a:pt x="1384301" y="843869"/>
                  </a:cubicBezTo>
                  <a:cubicBezTo>
                    <a:pt x="1384301" y="843869"/>
                    <a:pt x="1384301" y="843869"/>
                    <a:pt x="1392238" y="851580"/>
                  </a:cubicBezTo>
                  <a:cubicBezTo>
                    <a:pt x="1392238" y="851580"/>
                    <a:pt x="1392238" y="851580"/>
                    <a:pt x="1368426" y="867001"/>
                  </a:cubicBezTo>
                  <a:cubicBezTo>
                    <a:pt x="1368426" y="867001"/>
                    <a:pt x="1368426" y="867001"/>
                    <a:pt x="1344613" y="874712"/>
                  </a:cubicBezTo>
                  <a:cubicBezTo>
                    <a:pt x="1344613" y="874712"/>
                    <a:pt x="1344613" y="874712"/>
                    <a:pt x="1328738" y="859291"/>
                  </a:cubicBezTo>
                  <a:cubicBezTo>
                    <a:pt x="1328738" y="859291"/>
                    <a:pt x="1328738" y="859291"/>
                    <a:pt x="1312863" y="843869"/>
                  </a:cubicBezTo>
                  <a:cubicBezTo>
                    <a:pt x="1312863" y="843869"/>
                    <a:pt x="1312863" y="843869"/>
                    <a:pt x="1296988" y="851580"/>
                  </a:cubicBezTo>
                  <a:cubicBezTo>
                    <a:pt x="1296988" y="851580"/>
                    <a:pt x="1296988" y="851580"/>
                    <a:pt x="1265238" y="843869"/>
                  </a:cubicBezTo>
                  <a:lnTo>
                    <a:pt x="1233488" y="843869"/>
                  </a:lnTo>
                  <a:cubicBezTo>
                    <a:pt x="1233488" y="843869"/>
                    <a:pt x="1233488" y="843869"/>
                    <a:pt x="1201738" y="851580"/>
                  </a:cubicBezTo>
                  <a:cubicBezTo>
                    <a:pt x="1201738" y="843869"/>
                    <a:pt x="1209676" y="828448"/>
                    <a:pt x="1209676" y="828448"/>
                  </a:cubicBezTo>
                  <a:cubicBezTo>
                    <a:pt x="1209676" y="820737"/>
                    <a:pt x="1225551" y="789894"/>
                    <a:pt x="1225551" y="789894"/>
                  </a:cubicBezTo>
                  <a:cubicBezTo>
                    <a:pt x="1225551" y="789894"/>
                    <a:pt x="1225551" y="789894"/>
                    <a:pt x="1241426" y="789894"/>
                  </a:cubicBezTo>
                  <a:cubicBezTo>
                    <a:pt x="1241426" y="789894"/>
                    <a:pt x="1241426" y="789894"/>
                    <a:pt x="1265238" y="813026"/>
                  </a:cubicBezTo>
                  <a:cubicBezTo>
                    <a:pt x="1265238" y="813026"/>
                    <a:pt x="1265238" y="813026"/>
                    <a:pt x="1273176" y="805315"/>
                  </a:cubicBezTo>
                  <a:cubicBezTo>
                    <a:pt x="1273176" y="805315"/>
                    <a:pt x="1273176" y="805315"/>
                    <a:pt x="1281113" y="774473"/>
                  </a:cubicBezTo>
                  <a:cubicBezTo>
                    <a:pt x="1281113" y="774473"/>
                    <a:pt x="1281113" y="774473"/>
                    <a:pt x="1312863" y="766762"/>
                  </a:cubicBezTo>
                  <a:cubicBezTo>
                    <a:pt x="1312863" y="766762"/>
                    <a:pt x="1312863" y="766762"/>
                    <a:pt x="1315840" y="768690"/>
                  </a:cubicBezTo>
                  <a:lnTo>
                    <a:pt x="1319262" y="770906"/>
                  </a:lnTo>
                  <a:lnTo>
                    <a:pt x="1311275" y="765663"/>
                  </a:lnTo>
                  <a:lnTo>
                    <a:pt x="1279525" y="773479"/>
                  </a:lnTo>
                  <a:lnTo>
                    <a:pt x="1287463" y="765663"/>
                  </a:lnTo>
                  <a:lnTo>
                    <a:pt x="1279525" y="757848"/>
                  </a:lnTo>
                  <a:lnTo>
                    <a:pt x="1271588" y="750033"/>
                  </a:lnTo>
                  <a:lnTo>
                    <a:pt x="1263650" y="734402"/>
                  </a:lnTo>
                  <a:lnTo>
                    <a:pt x="1263650" y="718771"/>
                  </a:lnTo>
                  <a:close/>
                  <a:moveTo>
                    <a:pt x="16181" y="352425"/>
                  </a:moveTo>
                  <a:lnTo>
                    <a:pt x="30051" y="365595"/>
                  </a:lnTo>
                  <a:lnTo>
                    <a:pt x="62414" y="356188"/>
                  </a:lnTo>
                  <a:lnTo>
                    <a:pt x="101712" y="352425"/>
                  </a:lnTo>
                  <a:lnTo>
                    <a:pt x="131763" y="369358"/>
                  </a:lnTo>
                  <a:lnTo>
                    <a:pt x="110958" y="388173"/>
                  </a:lnTo>
                  <a:lnTo>
                    <a:pt x="78595" y="403225"/>
                  </a:lnTo>
                  <a:lnTo>
                    <a:pt x="34674" y="391936"/>
                  </a:lnTo>
                  <a:lnTo>
                    <a:pt x="11558" y="393817"/>
                  </a:lnTo>
                  <a:lnTo>
                    <a:pt x="30051" y="386292"/>
                  </a:lnTo>
                  <a:lnTo>
                    <a:pt x="18493" y="373121"/>
                  </a:lnTo>
                  <a:lnTo>
                    <a:pt x="0" y="367477"/>
                  </a:lnTo>
                  <a:close/>
                  <a:moveTo>
                    <a:pt x="1117658" y="219075"/>
                  </a:moveTo>
                  <a:lnTo>
                    <a:pt x="1117144" y="219417"/>
                  </a:lnTo>
                  <a:lnTo>
                    <a:pt x="1124574" y="219417"/>
                  </a:lnTo>
                  <a:lnTo>
                    <a:pt x="1124746" y="219075"/>
                  </a:lnTo>
                  <a:lnTo>
                    <a:pt x="1124503" y="219075"/>
                  </a:lnTo>
                  <a:cubicBezTo>
                    <a:pt x="1123525" y="219075"/>
                    <a:pt x="1121569" y="219075"/>
                    <a:pt x="1117658" y="219075"/>
                  </a:cubicBezTo>
                  <a:close/>
                  <a:moveTo>
                    <a:pt x="1141126" y="187778"/>
                  </a:moveTo>
                  <a:lnTo>
                    <a:pt x="1140909" y="188212"/>
                  </a:lnTo>
                  <a:lnTo>
                    <a:pt x="1163665" y="188212"/>
                  </a:lnTo>
                  <a:lnTo>
                    <a:pt x="1179314" y="188212"/>
                  </a:lnTo>
                  <a:lnTo>
                    <a:pt x="1179314" y="187778"/>
                  </a:lnTo>
                  <a:lnTo>
                    <a:pt x="1178284" y="187778"/>
                  </a:lnTo>
                  <a:cubicBezTo>
                    <a:pt x="1176328" y="187778"/>
                    <a:pt x="1172417" y="187778"/>
                    <a:pt x="1164594" y="187778"/>
                  </a:cubicBezTo>
                  <a:cubicBezTo>
                    <a:pt x="1164594" y="187778"/>
                    <a:pt x="1164594" y="187778"/>
                    <a:pt x="1141126" y="187778"/>
                  </a:cubicBezTo>
                  <a:close/>
                  <a:moveTo>
                    <a:pt x="1188063" y="148658"/>
                  </a:moveTo>
                  <a:lnTo>
                    <a:pt x="1187874" y="149225"/>
                  </a:lnTo>
                  <a:lnTo>
                    <a:pt x="1194963" y="149225"/>
                  </a:lnTo>
                  <a:lnTo>
                    <a:pt x="1195248" y="149796"/>
                  </a:lnTo>
                  <a:lnTo>
                    <a:pt x="1201644" y="149796"/>
                  </a:lnTo>
                  <a:lnTo>
                    <a:pt x="1202216" y="148658"/>
                  </a:lnTo>
                  <a:lnTo>
                    <a:pt x="1195885" y="148658"/>
                  </a:lnTo>
                  <a:cubicBezTo>
                    <a:pt x="1195885" y="148658"/>
                    <a:pt x="1195885" y="148658"/>
                    <a:pt x="1188063" y="148658"/>
                  </a:cubicBezTo>
                  <a:close/>
                  <a:moveTo>
                    <a:pt x="1401117" y="146818"/>
                  </a:moveTo>
                  <a:lnTo>
                    <a:pt x="1400255" y="147680"/>
                  </a:lnTo>
                  <a:cubicBezTo>
                    <a:pt x="1399277" y="148658"/>
                    <a:pt x="1399277" y="148658"/>
                    <a:pt x="1399277" y="148658"/>
                  </a:cubicBezTo>
                  <a:close/>
                  <a:moveTo>
                    <a:pt x="1402930" y="145004"/>
                  </a:moveTo>
                  <a:lnTo>
                    <a:pt x="1401117" y="146818"/>
                  </a:lnTo>
                  <a:lnTo>
                    <a:pt x="1401788" y="146146"/>
                  </a:lnTo>
                  <a:close/>
                  <a:moveTo>
                    <a:pt x="1211531" y="133010"/>
                  </a:moveTo>
                  <a:cubicBezTo>
                    <a:pt x="1211531" y="133010"/>
                    <a:pt x="1211531" y="133010"/>
                    <a:pt x="1210553" y="134966"/>
                  </a:cubicBezTo>
                  <a:lnTo>
                    <a:pt x="1210220" y="135632"/>
                  </a:lnTo>
                  <a:lnTo>
                    <a:pt x="1210469" y="136128"/>
                  </a:lnTo>
                  <a:cubicBezTo>
                    <a:pt x="1211449" y="138080"/>
                    <a:pt x="1213411" y="141985"/>
                    <a:pt x="1217333" y="149796"/>
                  </a:cubicBezTo>
                  <a:cubicBezTo>
                    <a:pt x="1217333" y="149796"/>
                    <a:pt x="1217333" y="149796"/>
                    <a:pt x="1233021" y="165417"/>
                  </a:cubicBezTo>
                  <a:cubicBezTo>
                    <a:pt x="1233021" y="165417"/>
                    <a:pt x="1233021" y="165417"/>
                    <a:pt x="1256553" y="173227"/>
                  </a:cubicBezTo>
                  <a:cubicBezTo>
                    <a:pt x="1256553" y="173227"/>
                    <a:pt x="1256553" y="173227"/>
                    <a:pt x="1280086" y="165417"/>
                  </a:cubicBezTo>
                  <a:cubicBezTo>
                    <a:pt x="1280086" y="165417"/>
                    <a:pt x="1280086" y="165417"/>
                    <a:pt x="1287930" y="173227"/>
                  </a:cubicBezTo>
                  <a:lnTo>
                    <a:pt x="1289396" y="171768"/>
                  </a:lnTo>
                  <a:lnTo>
                    <a:pt x="1288780" y="171152"/>
                  </a:lnTo>
                  <a:cubicBezTo>
                    <a:pt x="1287803" y="170174"/>
                    <a:pt x="1285847" y="168218"/>
                    <a:pt x="1281936" y="164306"/>
                  </a:cubicBezTo>
                  <a:cubicBezTo>
                    <a:pt x="1281936" y="164306"/>
                    <a:pt x="1281936" y="164306"/>
                    <a:pt x="1258467" y="172130"/>
                  </a:cubicBezTo>
                  <a:cubicBezTo>
                    <a:pt x="1258467" y="172130"/>
                    <a:pt x="1258467" y="172130"/>
                    <a:pt x="1234999" y="164306"/>
                  </a:cubicBezTo>
                  <a:cubicBezTo>
                    <a:pt x="1234999" y="164306"/>
                    <a:pt x="1234999" y="164306"/>
                    <a:pt x="1219354" y="148658"/>
                  </a:cubicBezTo>
                  <a:cubicBezTo>
                    <a:pt x="1219354" y="148658"/>
                    <a:pt x="1219354" y="148658"/>
                    <a:pt x="1211531" y="133010"/>
                  </a:cubicBezTo>
                  <a:close/>
                  <a:moveTo>
                    <a:pt x="1391454" y="0"/>
                  </a:moveTo>
                  <a:cubicBezTo>
                    <a:pt x="1391454" y="0"/>
                    <a:pt x="1391454" y="0"/>
                    <a:pt x="1422745" y="31296"/>
                  </a:cubicBezTo>
                  <a:cubicBezTo>
                    <a:pt x="1422745" y="31296"/>
                    <a:pt x="1422745" y="31296"/>
                    <a:pt x="1446213" y="46944"/>
                  </a:cubicBezTo>
                  <a:cubicBezTo>
                    <a:pt x="1446213" y="46944"/>
                    <a:pt x="1446213" y="46944"/>
                    <a:pt x="1422745" y="70417"/>
                  </a:cubicBezTo>
                  <a:cubicBezTo>
                    <a:pt x="1422745" y="70417"/>
                    <a:pt x="1422745" y="70417"/>
                    <a:pt x="1430568" y="93889"/>
                  </a:cubicBezTo>
                  <a:cubicBezTo>
                    <a:pt x="1430568" y="93889"/>
                    <a:pt x="1430568" y="93889"/>
                    <a:pt x="1438390" y="101713"/>
                  </a:cubicBezTo>
                  <a:cubicBezTo>
                    <a:pt x="1438390" y="101713"/>
                    <a:pt x="1438390" y="101713"/>
                    <a:pt x="1430568" y="117361"/>
                  </a:cubicBezTo>
                  <a:cubicBezTo>
                    <a:pt x="1430568" y="117361"/>
                    <a:pt x="1430568" y="117361"/>
                    <a:pt x="1417367" y="130565"/>
                  </a:cubicBezTo>
                  <a:lnTo>
                    <a:pt x="1402930" y="145004"/>
                  </a:lnTo>
                  <a:lnTo>
                    <a:pt x="1405501" y="142432"/>
                  </a:lnTo>
                  <a:lnTo>
                    <a:pt x="1407099" y="140834"/>
                  </a:lnTo>
                  <a:cubicBezTo>
                    <a:pt x="1407099" y="140834"/>
                    <a:pt x="1407099" y="140834"/>
                    <a:pt x="1406121" y="141812"/>
                  </a:cubicBezTo>
                  <a:lnTo>
                    <a:pt x="1405501" y="142432"/>
                  </a:lnTo>
                  <a:lnTo>
                    <a:pt x="1401788" y="146146"/>
                  </a:lnTo>
                  <a:lnTo>
                    <a:pt x="1399277" y="148658"/>
                  </a:lnTo>
                  <a:cubicBezTo>
                    <a:pt x="1399277" y="148658"/>
                    <a:pt x="1399277" y="148658"/>
                    <a:pt x="1407099" y="133010"/>
                  </a:cubicBezTo>
                  <a:cubicBezTo>
                    <a:pt x="1407099" y="133010"/>
                    <a:pt x="1407099" y="133010"/>
                    <a:pt x="1407099" y="109537"/>
                  </a:cubicBezTo>
                  <a:cubicBezTo>
                    <a:pt x="1407099" y="109537"/>
                    <a:pt x="1407099" y="109537"/>
                    <a:pt x="1383631" y="86065"/>
                  </a:cubicBezTo>
                  <a:cubicBezTo>
                    <a:pt x="1383631" y="86065"/>
                    <a:pt x="1383631" y="86065"/>
                    <a:pt x="1344518" y="93889"/>
                  </a:cubicBezTo>
                  <a:lnTo>
                    <a:pt x="1343396" y="95011"/>
                  </a:lnTo>
                  <a:lnTo>
                    <a:pt x="1347741" y="94146"/>
                  </a:lnTo>
                  <a:cubicBezTo>
                    <a:pt x="1352644" y="93170"/>
                    <a:pt x="1362449" y="91217"/>
                    <a:pt x="1382059" y="87312"/>
                  </a:cubicBezTo>
                  <a:cubicBezTo>
                    <a:pt x="1382059" y="87312"/>
                    <a:pt x="1382059" y="87312"/>
                    <a:pt x="1405591" y="110743"/>
                  </a:cubicBezTo>
                  <a:cubicBezTo>
                    <a:pt x="1405591" y="110743"/>
                    <a:pt x="1405591" y="110743"/>
                    <a:pt x="1405591" y="134175"/>
                  </a:cubicBezTo>
                  <a:cubicBezTo>
                    <a:pt x="1405591" y="134175"/>
                    <a:pt x="1405591" y="134175"/>
                    <a:pt x="1397747" y="149796"/>
                  </a:cubicBezTo>
                  <a:cubicBezTo>
                    <a:pt x="1397747" y="149796"/>
                    <a:pt x="1397747" y="149796"/>
                    <a:pt x="1397747" y="157606"/>
                  </a:cubicBezTo>
                  <a:cubicBezTo>
                    <a:pt x="1397747" y="157606"/>
                    <a:pt x="1397747" y="157606"/>
                    <a:pt x="1389903" y="165417"/>
                  </a:cubicBezTo>
                  <a:cubicBezTo>
                    <a:pt x="1389903" y="165417"/>
                    <a:pt x="1389903" y="165417"/>
                    <a:pt x="1389903" y="196659"/>
                  </a:cubicBezTo>
                  <a:cubicBezTo>
                    <a:pt x="1389903" y="196659"/>
                    <a:pt x="1389903" y="196659"/>
                    <a:pt x="1389903" y="204469"/>
                  </a:cubicBezTo>
                  <a:cubicBezTo>
                    <a:pt x="1389903" y="204469"/>
                    <a:pt x="1389903" y="204469"/>
                    <a:pt x="1413436" y="220090"/>
                  </a:cubicBezTo>
                  <a:cubicBezTo>
                    <a:pt x="1413436" y="220090"/>
                    <a:pt x="1413436" y="220090"/>
                    <a:pt x="1429124" y="251333"/>
                  </a:cubicBezTo>
                  <a:cubicBezTo>
                    <a:pt x="1429124" y="251333"/>
                    <a:pt x="1429124" y="251333"/>
                    <a:pt x="1405591" y="298196"/>
                  </a:cubicBezTo>
                  <a:cubicBezTo>
                    <a:pt x="1405591" y="298196"/>
                    <a:pt x="1405591" y="298196"/>
                    <a:pt x="1429124" y="368490"/>
                  </a:cubicBezTo>
                  <a:cubicBezTo>
                    <a:pt x="1429124" y="368490"/>
                    <a:pt x="1429124" y="368490"/>
                    <a:pt x="1413436" y="384111"/>
                  </a:cubicBezTo>
                  <a:cubicBezTo>
                    <a:pt x="1413436" y="384111"/>
                    <a:pt x="1413436" y="384111"/>
                    <a:pt x="1421280" y="399732"/>
                  </a:cubicBezTo>
                  <a:cubicBezTo>
                    <a:pt x="1421280" y="399732"/>
                    <a:pt x="1421280" y="399732"/>
                    <a:pt x="1421280" y="415353"/>
                  </a:cubicBezTo>
                  <a:cubicBezTo>
                    <a:pt x="1421280" y="415353"/>
                    <a:pt x="1421280" y="415353"/>
                    <a:pt x="1429124" y="423164"/>
                  </a:cubicBezTo>
                  <a:cubicBezTo>
                    <a:pt x="1429124" y="423164"/>
                    <a:pt x="1421280" y="438785"/>
                    <a:pt x="1429124" y="438785"/>
                  </a:cubicBezTo>
                  <a:cubicBezTo>
                    <a:pt x="1429124" y="446595"/>
                    <a:pt x="1436968" y="454406"/>
                    <a:pt x="1436968" y="454406"/>
                  </a:cubicBezTo>
                  <a:cubicBezTo>
                    <a:pt x="1436968" y="454406"/>
                    <a:pt x="1436968" y="454406"/>
                    <a:pt x="1429124" y="493458"/>
                  </a:cubicBezTo>
                  <a:cubicBezTo>
                    <a:pt x="1429124" y="493458"/>
                    <a:pt x="1429124" y="493458"/>
                    <a:pt x="1444812" y="509079"/>
                  </a:cubicBezTo>
                  <a:cubicBezTo>
                    <a:pt x="1444812" y="509079"/>
                    <a:pt x="1444812" y="509079"/>
                    <a:pt x="1460500" y="516890"/>
                  </a:cubicBezTo>
                  <a:lnTo>
                    <a:pt x="1460500" y="540321"/>
                  </a:lnTo>
                  <a:cubicBezTo>
                    <a:pt x="1460500" y="540321"/>
                    <a:pt x="1460500" y="540321"/>
                    <a:pt x="1366371" y="649668"/>
                  </a:cubicBezTo>
                  <a:cubicBezTo>
                    <a:pt x="1366371" y="649668"/>
                    <a:pt x="1366371" y="649668"/>
                    <a:pt x="1350683" y="649668"/>
                  </a:cubicBezTo>
                  <a:cubicBezTo>
                    <a:pt x="1350683" y="649668"/>
                    <a:pt x="1350683" y="649668"/>
                    <a:pt x="1287930" y="673100"/>
                  </a:cubicBezTo>
                  <a:cubicBezTo>
                    <a:pt x="1287930" y="673100"/>
                    <a:pt x="1287930" y="673100"/>
                    <a:pt x="1248709" y="673100"/>
                  </a:cubicBezTo>
                  <a:cubicBezTo>
                    <a:pt x="1248709" y="673100"/>
                    <a:pt x="1248709" y="673100"/>
                    <a:pt x="1233021" y="657479"/>
                  </a:cubicBezTo>
                  <a:cubicBezTo>
                    <a:pt x="1233021" y="657479"/>
                    <a:pt x="1233021" y="657479"/>
                    <a:pt x="1217333" y="641858"/>
                  </a:cubicBezTo>
                  <a:cubicBezTo>
                    <a:pt x="1217333" y="641858"/>
                    <a:pt x="1217333" y="641858"/>
                    <a:pt x="1209488" y="602805"/>
                  </a:cubicBezTo>
                  <a:cubicBezTo>
                    <a:pt x="1209488" y="602805"/>
                    <a:pt x="1209488" y="602805"/>
                    <a:pt x="1201644" y="540321"/>
                  </a:cubicBezTo>
                  <a:cubicBezTo>
                    <a:pt x="1201644" y="540321"/>
                    <a:pt x="1201644" y="540321"/>
                    <a:pt x="1225177" y="501269"/>
                  </a:cubicBezTo>
                  <a:cubicBezTo>
                    <a:pt x="1225177" y="501269"/>
                    <a:pt x="1225177" y="501269"/>
                    <a:pt x="1264397" y="470027"/>
                  </a:cubicBezTo>
                  <a:cubicBezTo>
                    <a:pt x="1264397" y="470027"/>
                    <a:pt x="1264397" y="470027"/>
                    <a:pt x="1303618" y="399732"/>
                  </a:cubicBezTo>
                  <a:cubicBezTo>
                    <a:pt x="1303618" y="399732"/>
                    <a:pt x="1303618" y="399732"/>
                    <a:pt x="1287930" y="368490"/>
                  </a:cubicBezTo>
                  <a:cubicBezTo>
                    <a:pt x="1287930" y="368490"/>
                    <a:pt x="1287930" y="368490"/>
                    <a:pt x="1272241" y="368490"/>
                  </a:cubicBezTo>
                  <a:cubicBezTo>
                    <a:pt x="1272241" y="368490"/>
                    <a:pt x="1272241" y="368490"/>
                    <a:pt x="1272241" y="367514"/>
                  </a:cubicBezTo>
                  <a:lnTo>
                    <a:pt x="1272241" y="367349"/>
                  </a:lnTo>
                  <a:lnTo>
                    <a:pt x="1249702" y="359876"/>
                  </a:lnTo>
                  <a:lnTo>
                    <a:pt x="1226260" y="391081"/>
                  </a:lnTo>
                  <a:lnTo>
                    <a:pt x="1210612" y="414503"/>
                  </a:lnTo>
                  <a:lnTo>
                    <a:pt x="1218436" y="437925"/>
                  </a:lnTo>
                  <a:lnTo>
                    <a:pt x="1210612" y="461347"/>
                  </a:lnTo>
                  <a:lnTo>
                    <a:pt x="1163665" y="492552"/>
                  </a:lnTo>
                  <a:lnTo>
                    <a:pt x="1140223" y="508118"/>
                  </a:lnTo>
                  <a:lnTo>
                    <a:pt x="1116750" y="547105"/>
                  </a:lnTo>
                  <a:lnTo>
                    <a:pt x="1116750" y="586167"/>
                  </a:lnTo>
                  <a:cubicBezTo>
                    <a:pt x="1114153" y="604400"/>
                    <a:pt x="1111523" y="622560"/>
                    <a:pt x="1108926" y="640794"/>
                  </a:cubicBezTo>
                  <a:lnTo>
                    <a:pt x="1132399" y="656359"/>
                  </a:lnTo>
                  <a:lnTo>
                    <a:pt x="1140223" y="679781"/>
                  </a:lnTo>
                  <a:lnTo>
                    <a:pt x="1140223" y="718769"/>
                  </a:lnTo>
                  <a:lnTo>
                    <a:pt x="1116750" y="726552"/>
                  </a:lnTo>
                  <a:lnTo>
                    <a:pt x="1101101" y="734408"/>
                  </a:lnTo>
                  <a:lnTo>
                    <a:pt x="1101101" y="765613"/>
                  </a:lnTo>
                  <a:cubicBezTo>
                    <a:pt x="1098504" y="783847"/>
                    <a:pt x="1095874" y="802006"/>
                    <a:pt x="1093277" y="820240"/>
                  </a:cubicBezTo>
                  <a:lnTo>
                    <a:pt x="1077628" y="851445"/>
                  </a:lnTo>
                  <a:lnTo>
                    <a:pt x="1054186" y="851445"/>
                  </a:lnTo>
                  <a:lnTo>
                    <a:pt x="1038537" y="867011"/>
                  </a:lnTo>
                  <a:cubicBezTo>
                    <a:pt x="1035940" y="872199"/>
                    <a:pt x="1033952" y="881909"/>
                    <a:pt x="1030713" y="882650"/>
                  </a:cubicBezTo>
                  <a:cubicBezTo>
                    <a:pt x="1027474" y="883391"/>
                    <a:pt x="1021958" y="873904"/>
                    <a:pt x="1019137" y="871384"/>
                  </a:cubicBezTo>
                  <a:cubicBezTo>
                    <a:pt x="1016315" y="868864"/>
                    <a:pt x="1015128" y="871829"/>
                    <a:pt x="1013717" y="867678"/>
                  </a:cubicBezTo>
                  <a:cubicBezTo>
                    <a:pt x="1012306" y="863527"/>
                    <a:pt x="1011569" y="854781"/>
                    <a:pt x="1010671" y="846701"/>
                  </a:cubicBezTo>
                  <a:cubicBezTo>
                    <a:pt x="1009773" y="838622"/>
                    <a:pt x="1012883" y="831803"/>
                    <a:pt x="1008298" y="819128"/>
                  </a:cubicBezTo>
                  <a:cubicBezTo>
                    <a:pt x="1003712" y="806454"/>
                    <a:pt x="989827" y="779548"/>
                    <a:pt x="983125" y="770653"/>
                  </a:cubicBezTo>
                  <a:cubicBezTo>
                    <a:pt x="976423" y="761759"/>
                    <a:pt x="973248" y="772951"/>
                    <a:pt x="968149" y="765613"/>
                  </a:cubicBezTo>
                  <a:cubicBezTo>
                    <a:pt x="963050" y="758275"/>
                    <a:pt x="968149" y="765613"/>
                    <a:pt x="952500" y="726552"/>
                  </a:cubicBezTo>
                  <a:lnTo>
                    <a:pt x="953380" y="725676"/>
                  </a:lnTo>
                  <a:lnTo>
                    <a:pt x="953380" y="719817"/>
                  </a:lnTo>
                  <a:cubicBezTo>
                    <a:pt x="953380" y="719817"/>
                    <a:pt x="953380" y="719817"/>
                    <a:pt x="945557" y="711993"/>
                  </a:cubicBezTo>
                  <a:cubicBezTo>
                    <a:pt x="945557" y="711993"/>
                    <a:pt x="945557" y="711993"/>
                    <a:pt x="922089" y="727641"/>
                  </a:cubicBezTo>
                  <a:cubicBezTo>
                    <a:pt x="922089" y="727641"/>
                    <a:pt x="922089" y="727641"/>
                    <a:pt x="882975" y="758938"/>
                  </a:cubicBezTo>
                  <a:cubicBezTo>
                    <a:pt x="882975" y="758938"/>
                    <a:pt x="882975" y="758938"/>
                    <a:pt x="851684" y="766762"/>
                  </a:cubicBezTo>
                  <a:cubicBezTo>
                    <a:pt x="851684" y="766762"/>
                    <a:pt x="851684" y="766762"/>
                    <a:pt x="820393" y="743290"/>
                  </a:cubicBezTo>
                  <a:cubicBezTo>
                    <a:pt x="820393" y="743290"/>
                    <a:pt x="820393" y="743290"/>
                    <a:pt x="820393" y="711993"/>
                  </a:cubicBezTo>
                  <a:cubicBezTo>
                    <a:pt x="820393" y="711993"/>
                    <a:pt x="820393" y="711993"/>
                    <a:pt x="812570" y="680697"/>
                  </a:cubicBezTo>
                  <a:cubicBezTo>
                    <a:pt x="812570" y="680697"/>
                    <a:pt x="812570" y="680697"/>
                    <a:pt x="804747" y="657224"/>
                  </a:cubicBezTo>
                  <a:cubicBezTo>
                    <a:pt x="804747" y="657224"/>
                    <a:pt x="804747" y="657224"/>
                    <a:pt x="796925" y="618104"/>
                  </a:cubicBezTo>
                  <a:cubicBezTo>
                    <a:pt x="796925" y="618104"/>
                    <a:pt x="796925" y="618104"/>
                    <a:pt x="812570" y="594632"/>
                  </a:cubicBezTo>
                  <a:cubicBezTo>
                    <a:pt x="812570" y="594632"/>
                    <a:pt x="812570" y="594632"/>
                    <a:pt x="820393" y="571159"/>
                  </a:cubicBezTo>
                  <a:cubicBezTo>
                    <a:pt x="820393" y="571159"/>
                    <a:pt x="820393" y="571159"/>
                    <a:pt x="828216" y="555511"/>
                  </a:cubicBezTo>
                  <a:cubicBezTo>
                    <a:pt x="828216" y="555511"/>
                    <a:pt x="828216" y="555511"/>
                    <a:pt x="843861" y="539863"/>
                  </a:cubicBezTo>
                  <a:cubicBezTo>
                    <a:pt x="843861" y="539863"/>
                    <a:pt x="843861" y="539863"/>
                    <a:pt x="859507" y="508566"/>
                  </a:cubicBezTo>
                  <a:cubicBezTo>
                    <a:pt x="859507" y="508566"/>
                    <a:pt x="859507" y="508566"/>
                    <a:pt x="898620" y="492918"/>
                  </a:cubicBezTo>
                  <a:cubicBezTo>
                    <a:pt x="898620" y="492918"/>
                    <a:pt x="898620" y="492918"/>
                    <a:pt x="929911" y="469446"/>
                  </a:cubicBezTo>
                  <a:cubicBezTo>
                    <a:pt x="929911" y="469446"/>
                    <a:pt x="929911" y="469446"/>
                    <a:pt x="976848" y="383381"/>
                  </a:cubicBezTo>
                  <a:cubicBezTo>
                    <a:pt x="976848" y="383381"/>
                    <a:pt x="976848" y="383381"/>
                    <a:pt x="992494" y="359909"/>
                  </a:cubicBezTo>
                  <a:cubicBezTo>
                    <a:pt x="992494" y="359909"/>
                    <a:pt x="992494" y="359909"/>
                    <a:pt x="1000317" y="320788"/>
                  </a:cubicBezTo>
                  <a:cubicBezTo>
                    <a:pt x="1000317" y="320788"/>
                    <a:pt x="1000317" y="320788"/>
                    <a:pt x="1015962" y="297316"/>
                  </a:cubicBezTo>
                  <a:cubicBezTo>
                    <a:pt x="1015962" y="297316"/>
                    <a:pt x="1015962" y="297316"/>
                    <a:pt x="1047253" y="242547"/>
                  </a:cubicBezTo>
                  <a:cubicBezTo>
                    <a:pt x="1047253" y="242547"/>
                    <a:pt x="1047253" y="242547"/>
                    <a:pt x="1047253" y="219075"/>
                  </a:cubicBezTo>
                  <a:cubicBezTo>
                    <a:pt x="1047253" y="219075"/>
                    <a:pt x="1047253" y="219075"/>
                    <a:pt x="1086367" y="172130"/>
                  </a:cubicBezTo>
                  <a:cubicBezTo>
                    <a:pt x="1086367" y="172130"/>
                    <a:pt x="1086367" y="172130"/>
                    <a:pt x="1109835" y="172130"/>
                  </a:cubicBezTo>
                  <a:cubicBezTo>
                    <a:pt x="1109835" y="172130"/>
                    <a:pt x="1109835" y="172130"/>
                    <a:pt x="1117658" y="148658"/>
                  </a:cubicBezTo>
                  <a:cubicBezTo>
                    <a:pt x="1117658" y="148658"/>
                    <a:pt x="1117658" y="148658"/>
                    <a:pt x="1133303" y="109537"/>
                  </a:cubicBezTo>
                  <a:cubicBezTo>
                    <a:pt x="1133303" y="109537"/>
                    <a:pt x="1133303" y="109537"/>
                    <a:pt x="1172417" y="101713"/>
                  </a:cubicBezTo>
                  <a:cubicBezTo>
                    <a:pt x="1172417" y="101713"/>
                    <a:pt x="1172417" y="101713"/>
                    <a:pt x="1188063" y="62593"/>
                  </a:cubicBezTo>
                  <a:cubicBezTo>
                    <a:pt x="1188063" y="62593"/>
                    <a:pt x="1188063" y="62593"/>
                    <a:pt x="1211531" y="62593"/>
                  </a:cubicBezTo>
                  <a:cubicBezTo>
                    <a:pt x="1211531" y="62593"/>
                    <a:pt x="1211531" y="62593"/>
                    <a:pt x="1227176" y="46944"/>
                  </a:cubicBezTo>
                  <a:cubicBezTo>
                    <a:pt x="1227176" y="46944"/>
                    <a:pt x="1227176" y="46944"/>
                    <a:pt x="1234999" y="46944"/>
                  </a:cubicBezTo>
                  <a:cubicBezTo>
                    <a:pt x="1234999" y="46944"/>
                    <a:pt x="1234999" y="46944"/>
                    <a:pt x="1258467" y="39120"/>
                  </a:cubicBezTo>
                  <a:cubicBezTo>
                    <a:pt x="1258467" y="39120"/>
                    <a:pt x="1258467" y="39120"/>
                    <a:pt x="1281936" y="7824"/>
                  </a:cubicBezTo>
                  <a:cubicBezTo>
                    <a:pt x="1281936" y="7824"/>
                    <a:pt x="1281936" y="7824"/>
                    <a:pt x="1313227" y="7824"/>
                  </a:cubicBezTo>
                  <a:cubicBezTo>
                    <a:pt x="1313227" y="7824"/>
                    <a:pt x="1313227" y="7824"/>
                    <a:pt x="1336695" y="7824"/>
                  </a:cubicBezTo>
                  <a:cubicBezTo>
                    <a:pt x="1336695" y="7824"/>
                    <a:pt x="1336695" y="7824"/>
                    <a:pt x="1336695" y="15648"/>
                  </a:cubicBezTo>
                  <a:cubicBezTo>
                    <a:pt x="1336695" y="15648"/>
                    <a:pt x="1336695" y="15648"/>
                    <a:pt x="1360163" y="31296"/>
                  </a:cubicBezTo>
                  <a:cubicBezTo>
                    <a:pt x="1360163" y="31296"/>
                    <a:pt x="1360163" y="31296"/>
                    <a:pt x="1391454" y="0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  <a:scene3d>
              <a:camera prst="orthographicFront"/>
              <a:lightRig rig="contrasting" dir="t"/>
            </a:scene3d>
            <a:sp3d z="63500" prstMaterial="metal">
              <a:bevelB w="0" h="0"/>
            </a:sp3d>
          </p:spPr>
          <p:txBody>
            <a:bodyPr wrap="square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69" name="Freeform 435">
              <a:extLst>
                <a:ext uri="{FF2B5EF4-FFF2-40B4-BE49-F238E27FC236}">
                  <a16:creationId xmlns:a16="http://schemas.microsoft.com/office/drawing/2014/main" id="{23C2005F-FB4A-4689-852C-609E59717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0312" y="3599262"/>
              <a:ext cx="2207918" cy="2187126"/>
            </a:xfrm>
            <a:custGeom>
              <a:avLst/>
              <a:gdLst>
                <a:gd name="connsiteX0" fmla="*/ 941295 w 1687513"/>
                <a:gd name="connsiteY0" fmla="*/ 1538258 h 1898650"/>
                <a:gd name="connsiteX1" fmla="*/ 925668 w 1687513"/>
                <a:gd name="connsiteY1" fmla="*/ 1545999 h 1898650"/>
                <a:gd name="connsiteX2" fmla="*/ 925668 w 1687513"/>
                <a:gd name="connsiteY2" fmla="*/ 1546148 h 1898650"/>
                <a:gd name="connsiteX3" fmla="*/ 941282 w 1687513"/>
                <a:gd name="connsiteY3" fmla="*/ 1538394 h 1898650"/>
                <a:gd name="connsiteX4" fmla="*/ 1122511 w 1687513"/>
                <a:gd name="connsiteY4" fmla="*/ 1530101 h 1898650"/>
                <a:gd name="connsiteX5" fmla="*/ 1122627 w 1687513"/>
                <a:gd name="connsiteY5" fmla="*/ 1530562 h 1898650"/>
                <a:gd name="connsiteX6" fmla="*/ 1159386 w 1687513"/>
                <a:gd name="connsiteY6" fmla="*/ 1545167 h 1898650"/>
                <a:gd name="connsiteX7" fmla="*/ 1159856 w 1687513"/>
                <a:gd name="connsiteY7" fmla="*/ 1544828 h 1898650"/>
                <a:gd name="connsiteX8" fmla="*/ 1159537 w 1687513"/>
                <a:gd name="connsiteY8" fmla="*/ 1544776 h 1898650"/>
                <a:gd name="connsiteX9" fmla="*/ 1142933 w 1687513"/>
                <a:gd name="connsiteY9" fmla="*/ 1538195 h 1898650"/>
                <a:gd name="connsiteX10" fmla="*/ 1098025 w 1687513"/>
                <a:gd name="connsiteY10" fmla="*/ 1497979 h 1898650"/>
                <a:gd name="connsiteX11" fmla="*/ 1098974 w 1687513"/>
                <a:gd name="connsiteY11" fmla="*/ 1499235 h 1898650"/>
                <a:gd name="connsiteX12" fmla="*/ 1112626 w 1687513"/>
                <a:gd name="connsiteY12" fmla="*/ 1499235 h 1898650"/>
                <a:gd name="connsiteX13" fmla="*/ 1112309 w 1687513"/>
                <a:gd name="connsiteY13" fmla="*/ 1497979 h 1898650"/>
                <a:gd name="connsiteX14" fmla="*/ 1110341 w 1687513"/>
                <a:gd name="connsiteY14" fmla="*/ 1497979 h 1898650"/>
                <a:gd name="connsiteX15" fmla="*/ 1049657 w 1687513"/>
                <a:gd name="connsiteY15" fmla="*/ 1435584 h 1898650"/>
                <a:gd name="connsiteX16" fmla="*/ 1051666 w 1687513"/>
                <a:gd name="connsiteY16" fmla="*/ 1436582 h 1898650"/>
                <a:gd name="connsiteX17" fmla="*/ 1057713 w 1687513"/>
                <a:gd name="connsiteY17" fmla="*/ 1436582 h 1898650"/>
                <a:gd name="connsiteX18" fmla="*/ 1057210 w 1687513"/>
                <a:gd name="connsiteY18" fmla="*/ 1435584 h 1898650"/>
                <a:gd name="connsiteX19" fmla="*/ 1056226 w 1687513"/>
                <a:gd name="connsiteY19" fmla="*/ 1435584 h 1898650"/>
                <a:gd name="connsiteX20" fmla="*/ 1065988 w 1687513"/>
                <a:gd name="connsiteY20" fmla="*/ 1427321 h 1898650"/>
                <a:gd name="connsiteX21" fmla="*/ 1050261 w 1687513"/>
                <a:gd name="connsiteY21" fmla="*/ 1435100 h 1898650"/>
                <a:gd name="connsiteX22" fmla="*/ 1048295 w 1687513"/>
                <a:gd name="connsiteY22" fmla="*/ 1434128 h 1898650"/>
                <a:gd name="connsiteX23" fmla="*/ 1039486 w 1687513"/>
                <a:gd name="connsiteY23" fmla="*/ 1429771 h 1898650"/>
                <a:gd name="connsiteX24" fmla="*/ 1037952 w 1687513"/>
                <a:gd name="connsiteY24" fmla="*/ 1429771 h 1898650"/>
                <a:gd name="connsiteX25" fmla="*/ 1049498 w 1687513"/>
                <a:gd name="connsiteY25" fmla="*/ 1435505 h 1898650"/>
                <a:gd name="connsiteX26" fmla="*/ 1051306 w 1687513"/>
                <a:gd name="connsiteY26" fmla="*/ 1434609 h 1898650"/>
                <a:gd name="connsiteX27" fmla="*/ 1065081 w 1687513"/>
                <a:gd name="connsiteY27" fmla="*/ 1427784 h 1898650"/>
                <a:gd name="connsiteX28" fmla="*/ 1096566 w 1687513"/>
                <a:gd name="connsiteY28" fmla="*/ 1435584 h 1898650"/>
                <a:gd name="connsiteX29" fmla="*/ 1097122 w 1687513"/>
                <a:gd name="connsiteY29" fmla="*/ 1435033 h 1898650"/>
                <a:gd name="connsiteX30" fmla="*/ 1078767 w 1687513"/>
                <a:gd name="connsiteY30" fmla="*/ 1431211 h 1898650"/>
                <a:gd name="connsiteX31" fmla="*/ 1065988 w 1687513"/>
                <a:gd name="connsiteY31" fmla="*/ 1427321 h 1898650"/>
                <a:gd name="connsiteX32" fmla="*/ 979990 w 1687513"/>
                <a:gd name="connsiteY32" fmla="*/ 1389420 h 1898650"/>
                <a:gd name="connsiteX33" fmla="*/ 979990 w 1687513"/>
                <a:gd name="connsiteY33" fmla="*/ 1389481 h 1898650"/>
                <a:gd name="connsiteX34" fmla="*/ 995697 w 1687513"/>
                <a:gd name="connsiteY34" fmla="*/ 1420896 h 1898650"/>
                <a:gd name="connsiteX35" fmla="*/ 948574 w 1687513"/>
                <a:gd name="connsiteY35" fmla="*/ 1428750 h 1898650"/>
                <a:gd name="connsiteX36" fmla="*/ 885742 w 1687513"/>
                <a:gd name="connsiteY36" fmla="*/ 1428750 h 1898650"/>
                <a:gd name="connsiteX37" fmla="*/ 870034 w 1687513"/>
                <a:gd name="connsiteY37" fmla="*/ 1420896 h 1898650"/>
                <a:gd name="connsiteX38" fmla="*/ 796373 w 1687513"/>
                <a:gd name="connsiteY38" fmla="*/ 1420896 h 1898650"/>
                <a:gd name="connsiteX39" fmla="*/ 760283 w 1687513"/>
                <a:gd name="connsiteY39" fmla="*/ 1420896 h 1898650"/>
                <a:gd name="connsiteX40" fmla="*/ 761420 w 1687513"/>
                <a:gd name="connsiteY40" fmla="*/ 1422022 h 1898650"/>
                <a:gd name="connsiteX41" fmla="*/ 870919 w 1687513"/>
                <a:gd name="connsiteY41" fmla="*/ 1422022 h 1898650"/>
                <a:gd name="connsiteX42" fmla="*/ 886561 w 1687513"/>
                <a:gd name="connsiteY42" fmla="*/ 1429771 h 1898650"/>
                <a:gd name="connsiteX43" fmla="*/ 949132 w 1687513"/>
                <a:gd name="connsiteY43" fmla="*/ 1429771 h 1898650"/>
                <a:gd name="connsiteX44" fmla="*/ 996060 w 1687513"/>
                <a:gd name="connsiteY44" fmla="*/ 1422022 h 1898650"/>
                <a:gd name="connsiteX45" fmla="*/ 1027346 w 1687513"/>
                <a:gd name="connsiteY45" fmla="*/ 1422022 h 1898650"/>
                <a:gd name="connsiteX46" fmla="*/ 1038043 w 1687513"/>
                <a:gd name="connsiteY46" fmla="*/ 1427321 h 1898650"/>
                <a:gd name="connsiteX47" fmla="*/ 1042397 w 1687513"/>
                <a:gd name="connsiteY47" fmla="*/ 1427321 h 1898650"/>
                <a:gd name="connsiteX48" fmla="*/ 1026670 w 1687513"/>
                <a:gd name="connsiteY48" fmla="*/ 1419543 h 1898650"/>
                <a:gd name="connsiteX49" fmla="*/ 995216 w 1687513"/>
                <a:gd name="connsiteY49" fmla="*/ 1419543 h 1898650"/>
                <a:gd name="connsiteX50" fmla="*/ 988581 w 1687513"/>
                <a:gd name="connsiteY50" fmla="*/ 1406416 h 1898650"/>
                <a:gd name="connsiteX51" fmla="*/ 1184182 w 1687513"/>
                <a:gd name="connsiteY51" fmla="*/ 1365074 h 1898650"/>
                <a:gd name="connsiteX52" fmla="*/ 1183195 w 1687513"/>
                <a:gd name="connsiteY52" fmla="*/ 1366051 h 1898650"/>
                <a:gd name="connsiteX53" fmla="*/ 1182476 w 1687513"/>
                <a:gd name="connsiteY53" fmla="*/ 1366764 h 1898650"/>
                <a:gd name="connsiteX54" fmla="*/ 1176291 w 1687513"/>
                <a:gd name="connsiteY54" fmla="*/ 1372894 h 1898650"/>
                <a:gd name="connsiteX55" fmla="*/ 1176008 w 1687513"/>
                <a:gd name="connsiteY55" fmla="*/ 1372894 h 1898650"/>
                <a:gd name="connsiteX56" fmla="*/ 1173131 w 1687513"/>
                <a:gd name="connsiteY56" fmla="*/ 1373843 h 1898650"/>
                <a:gd name="connsiteX57" fmla="*/ 1152489 w 1687513"/>
                <a:gd name="connsiteY57" fmla="*/ 1380649 h 1898650"/>
                <a:gd name="connsiteX58" fmla="*/ 1152388 w 1687513"/>
                <a:gd name="connsiteY58" fmla="*/ 1380749 h 1898650"/>
                <a:gd name="connsiteX59" fmla="*/ 1154617 w 1687513"/>
                <a:gd name="connsiteY59" fmla="*/ 1380013 h 1898650"/>
                <a:gd name="connsiteX60" fmla="*/ 1175280 w 1687513"/>
                <a:gd name="connsiteY60" fmla="*/ 1373188 h 1898650"/>
                <a:gd name="connsiteX61" fmla="*/ 1238250 w 1687513"/>
                <a:gd name="connsiteY61" fmla="*/ 1396587 h 1898650"/>
                <a:gd name="connsiteX62" fmla="*/ 1238250 w 1687513"/>
                <a:gd name="connsiteY62" fmla="*/ 1427784 h 1898650"/>
                <a:gd name="connsiteX63" fmla="*/ 1238250 w 1687513"/>
                <a:gd name="connsiteY63" fmla="*/ 1466781 h 1898650"/>
                <a:gd name="connsiteX64" fmla="*/ 1222508 w 1687513"/>
                <a:gd name="connsiteY64" fmla="*/ 1529177 h 1898650"/>
                <a:gd name="connsiteX65" fmla="*/ 1215866 w 1687513"/>
                <a:gd name="connsiteY65" fmla="*/ 1539048 h 1898650"/>
                <a:gd name="connsiteX66" fmla="*/ 1206831 w 1687513"/>
                <a:gd name="connsiteY66" fmla="*/ 1552477 h 1898650"/>
                <a:gd name="connsiteX67" fmla="*/ 1206998 w 1687513"/>
                <a:gd name="connsiteY67" fmla="*/ 1552505 h 1898650"/>
                <a:gd name="connsiteX68" fmla="*/ 1199185 w 1687513"/>
                <a:gd name="connsiteY68" fmla="*/ 1560372 h 1898650"/>
                <a:gd name="connsiteX69" fmla="*/ 1206998 w 1687513"/>
                <a:gd name="connsiteY69" fmla="*/ 1552505 h 1898650"/>
                <a:gd name="connsiteX70" fmla="*/ 1207975 w 1687513"/>
                <a:gd name="connsiteY70" fmla="*/ 1552505 h 1898650"/>
                <a:gd name="connsiteX71" fmla="*/ 1208020 w 1687513"/>
                <a:gd name="connsiteY71" fmla="*/ 1552505 h 1898650"/>
                <a:gd name="connsiteX72" fmla="*/ 1209827 w 1687513"/>
                <a:gd name="connsiteY72" fmla="*/ 1549819 h 1898650"/>
                <a:gd name="connsiteX73" fmla="*/ 1223636 w 1687513"/>
                <a:gd name="connsiteY73" fmla="*/ 1529292 h 1898650"/>
                <a:gd name="connsiteX74" fmla="*/ 1239418 w 1687513"/>
                <a:gd name="connsiteY74" fmla="*/ 1466733 h 1898650"/>
                <a:gd name="connsiteX75" fmla="*/ 1239418 w 1687513"/>
                <a:gd name="connsiteY75" fmla="*/ 1427633 h 1898650"/>
                <a:gd name="connsiteX76" fmla="*/ 1239418 w 1687513"/>
                <a:gd name="connsiteY76" fmla="*/ 1396353 h 1898650"/>
                <a:gd name="connsiteX77" fmla="*/ 1176291 w 1687513"/>
                <a:gd name="connsiteY77" fmla="*/ 1372894 h 1898650"/>
                <a:gd name="connsiteX78" fmla="*/ 1177278 w 1687513"/>
                <a:gd name="connsiteY78" fmla="*/ 1371916 h 1898650"/>
                <a:gd name="connsiteX79" fmla="*/ 1182476 w 1687513"/>
                <a:gd name="connsiteY79" fmla="*/ 1366764 h 1898650"/>
                <a:gd name="connsiteX80" fmla="*/ 1238989 w 1687513"/>
                <a:gd name="connsiteY80" fmla="*/ 1333977 h 1898650"/>
                <a:gd name="connsiteX81" fmla="*/ 1168216 w 1687513"/>
                <a:gd name="connsiteY81" fmla="*/ 1365092 h 1898650"/>
                <a:gd name="connsiteX82" fmla="*/ 1168216 w 1687513"/>
                <a:gd name="connsiteY82" fmla="*/ 1372870 h 1898650"/>
                <a:gd name="connsiteX83" fmla="*/ 1168400 w 1687513"/>
                <a:gd name="connsiteY83" fmla="*/ 1372870 h 1898650"/>
                <a:gd name="connsiteX84" fmla="*/ 1168400 w 1687513"/>
                <a:gd name="connsiteY84" fmla="*/ 1371916 h 1898650"/>
                <a:gd name="connsiteX85" fmla="*/ 1168400 w 1687513"/>
                <a:gd name="connsiteY85" fmla="*/ 1365074 h 1898650"/>
                <a:gd name="connsiteX86" fmla="*/ 1198361 w 1687513"/>
                <a:gd name="connsiteY86" fmla="*/ 1351878 h 1898650"/>
                <a:gd name="connsiteX87" fmla="*/ 1238996 w 1687513"/>
                <a:gd name="connsiteY87" fmla="*/ 1333980 h 1898650"/>
                <a:gd name="connsiteX88" fmla="*/ 1641476 w 1687513"/>
                <a:gd name="connsiteY88" fmla="*/ 1285875 h 1898650"/>
                <a:gd name="connsiteX89" fmla="*/ 1665288 w 1687513"/>
                <a:gd name="connsiteY89" fmla="*/ 1317218 h 1898650"/>
                <a:gd name="connsiteX90" fmla="*/ 1665288 w 1687513"/>
                <a:gd name="connsiteY90" fmla="*/ 1372068 h 1898650"/>
                <a:gd name="connsiteX91" fmla="*/ 1665288 w 1687513"/>
                <a:gd name="connsiteY91" fmla="*/ 1404716 h 1898650"/>
                <a:gd name="connsiteX92" fmla="*/ 1601788 w 1687513"/>
                <a:gd name="connsiteY92" fmla="*/ 1616279 h 1898650"/>
                <a:gd name="connsiteX93" fmla="*/ 1570038 w 1687513"/>
                <a:gd name="connsiteY93" fmla="*/ 1624115 h 1898650"/>
                <a:gd name="connsiteX94" fmla="*/ 1538288 w 1687513"/>
                <a:gd name="connsiteY94" fmla="*/ 1631950 h 1898650"/>
                <a:gd name="connsiteX95" fmla="*/ 1506538 w 1687513"/>
                <a:gd name="connsiteY95" fmla="*/ 1608443 h 1898650"/>
                <a:gd name="connsiteX96" fmla="*/ 1506538 w 1687513"/>
                <a:gd name="connsiteY96" fmla="*/ 1569265 h 1898650"/>
                <a:gd name="connsiteX97" fmla="*/ 1498600 w 1687513"/>
                <a:gd name="connsiteY97" fmla="*/ 1537922 h 1898650"/>
                <a:gd name="connsiteX98" fmla="*/ 1514475 w 1687513"/>
                <a:gd name="connsiteY98" fmla="*/ 1506580 h 1898650"/>
                <a:gd name="connsiteX99" fmla="*/ 1530350 w 1687513"/>
                <a:gd name="connsiteY99" fmla="*/ 1467401 h 1898650"/>
                <a:gd name="connsiteX100" fmla="*/ 1514475 w 1687513"/>
                <a:gd name="connsiteY100" fmla="*/ 1404716 h 1898650"/>
                <a:gd name="connsiteX101" fmla="*/ 1538288 w 1687513"/>
                <a:gd name="connsiteY101" fmla="*/ 1387739 h 1898650"/>
                <a:gd name="connsiteX102" fmla="*/ 1570038 w 1687513"/>
                <a:gd name="connsiteY102" fmla="*/ 1364232 h 1898650"/>
                <a:gd name="connsiteX103" fmla="*/ 1601788 w 1687513"/>
                <a:gd name="connsiteY103" fmla="*/ 1317218 h 1898650"/>
                <a:gd name="connsiteX104" fmla="*/ 1294034 w 1687513"/>
                <a:gd name="connsiteY104" fmla="*/ 1271747 h 1898650"/>
                <a:gd name="connsiteX105" fmla="*/ 1294034 w 1687513"/>
                <a:gd name="connsiteY105" fmla="*/ 1310640 h 1898650"/>
                <a:gd name="connsiteX106" fmla="*/ 1317625 w 1687513"/>
                <a:gd name="connsiteY106" fmla="*/ 1349534 h 1898650"/>
                <a:gd name="connsiteX107" fmla="*/ 1317625 w 1687513"/>
                <a:gd name="connsiteY107" fmla="*/ 1372870 h 1898650"/>
                <a:gd name="connsiteX108" fmla="*/ 1307673 w 1687513"/>
                <a:gd name="connsiteY108" fmla="*/ 1379434 h 1898650"/>
                <a:gd name="connsiteX109" fmla="*/ 1294459 w 1687513"/>
                <a:gd name="connsiteY109" fmla="*/ 1388148 h 1898650"/>
                <a:gd name="connsiteX110" fmla="*/ 1294653 w 1687513"/>
                <a:gd name="connsiteY110" fmla="*/ 1388534 h 1898650"/>
                <a:gd name="connsiteX111" fmla="*/ 1318326 w 1687513"/>
                <a:gd name="connsiteY111" fmla="*/ 1372894 h 1898650"/>
                <a:gd name="connsiteX112" fmla="*/ 1318326 w 1687513"/>
                <a:gd name="connsiteY112" fmla="*/ 1349434 h 1898650"/>
                <a:gd name="connsiteX113" fmla="*/ 1294653 w 1687513"/>
                <a:gd name="connsiteY113" fmla="*/ 1310335 h 1898650"/>
                <a:gd name="connsiteX114" fmla="*/ 1294653 w 1687513"/>
                <a:gd name="connsiteY114" fmla="*/ 1293839 h 1898650"/>
                <a:gd name="connsiteX115" fmla="*/ 1294653 w 1687513"/>
                <a:gd name="connsiteY115" fmla="*/ 1271747 h 1898650"/>
                <a:gd name="connsiteX116" fmla="*/ 1175716 w 1687513"/>
                <a:gd name="connsiteY116" fmla="*/ 1185100 h 1898650"/>
                <a:gd name="connsiteX117" fmla="*/ 1173553 w 1687513"/>
                <a:gd name="connsiteY117" fmla="*/ 1185816 h 1898650"/>
                <a:gd name="connsiteX118" fmla="*/ 1152929 w 1687513"/>
                <a:gd name="connsiteY118" fmla="*/ 1192644 h 1898650"/>
                <a:gd name="connsiteX119" fmla="*/ 1152806 w 1687513"/>
                <a:gd name="connsiteY119" fmla="*/ 1193375 h 1898650"/>
                <a:gd name="connsiteX120" fmla="*/ 1152721 w 1687513"/>
                <a:gd name="connsiteY120" fmla="*/ 1193883 h 1898650"/>
                <a:gd name="connsiteX121" fmla="*/ 1155438 w 1687513"/>
                <a:gd name="connsiteY121" fmla="*/ 1192987 h 1898650"/>
                <a:gd name="connsiteX122" fmla="*/ 1176080 w 1687513"/>
                <a:gd name="connsiteY122" fmla="*/ 1186180 h 1898650"/>
                <a:gd name="connsiteX123" fmla="*/ 1175834 w 1687513"/>
                <a:gd name="connsiteY123" fmla="*/ 1185451 h 1898650"/>
                <a:gd name="connsiteX124" fmla="*/ 1168458 w 1687513"/>
                <a:gd name="connsiteY124" fmla="*/ 1092476 h 1898650"/>
                <a:gd name="connsiteX125" fmla="*/ 1168216 w 1687513"/>
                <a:gd name="connsiteY125" fmla="*/ 1092836 h 1898650"/>
                <a:gd name="connsiteX126" fmla="*/ 1183943 w 1687513"/>
                <a:gd name="connsiteY126" fmla="*/ 1155065 h 1898650"/>
                <a:gd name="connsiteX127" fmla="*/ 1199670 w 1687513"/>
                <a:gd name="connsiteY127" fmla="*/ 1193959 h 1898650"/>
                <a:gd name="connsiteX128" fmla="*/ 1238989 w 1687513"/>
                <a:gd name="connsiteY128" fmla="*/ 1209517 h 1898650"/>
                <a:gd name="connsiteX129" fmla="*/ 1278307 w 1687513"/>
                <a:gd name="connsiteY129" fmla="*/ 1217295 h 1898650"/>
                <a:gd name="connsiteX130" fmla="*/ 1286171 w 1687513"/>
                <a:gd name="connsiteY130" fmla="*/ 1232853 h 1898650"/>
                <a:gd name="connsiteX131" fmla="*/ 1292806 w 1687513"/>
                <a:gd name="connsiteY131" fmla="*/ 1249261 h 1898650"/>
                <a:gd name="connsiteX132" fmla="*/ 1301691 w 1687513"/>
                <a:gd name="connsiteY132" fmla="*/ 1271235 h 1898650"/>
                <a:gd name="connsiteX133" fmla="*/ 1302377 w 1687513"/>
                <a:gd name="connsiteY133" fmla="*/ 1271235 h 1898650"/>
                <a:gd name="connsiteX134" fmla="*/ 1300547 w 1687513"/>
                <a:gd name="connsiteY134" fmla="*/ 1266715 h 1898650"/>
                <a:gd name="connsiteX135" fmla="*/ 1286741 w 1687513"/>
                <a:gd name="connsiteY135" fmla="*/ 1232601 h 1898650"/>
                <a:gd name="connsiteX136" fmla="*/ 1278852 w 1687513"/>
                <a:gd name="connsiteY136" fmla="*/ 1217006 h 1898650"/>
                <a:gd name="connsiteX137" fmla="*/ 1239405 w 1687513"/>
                <a:gd name="connsiteY137" fmla="*/ 1209209 h 1898650"/>
                <a:gd name="connsiteX138" fmla="*/ 1199958 w 1687513"/>
                <a:gd name="connsiteY138" fmla="*/ 1193614 h 1898650"/>
                <a:gd name="connsiteX139" fmla="*/ 1184179 w 1687513"/>
                <a:gd name="connsiteY139" fmla="*/ 1154627 h 1898650"/>
                <a:gd name="connsiteX140" fmla="*/ 1177522 w 1687513"/>
                <a:gd name="connsiteY140" fmla="*/ 1128310 h 1898650"/>
                <a:gd name="connsiteX141" fmla="*/ 1176080 w 1687513"/>
                <a:gd name="connsiteY141" fmla="*/ 1015048 h 1898650"/>
                <a:gd name="connsiteX142" fmla="*/ 1179397 w 1687513"/>
                <a:gd name="connsiteY142" fmla="*/ 1038020 h 1898650"/>
                <a:gd name="connsiteX143" fmla="*/ 1183908 w 1687513"/>
                <a:gd name="connsiteY143" fmla="*/ 1069257 h 1898650"/>
                <a:gd name="connsiteX144" fmla="*/ 1184179 w 1687513"/>
                <a:gd name="connsiteY144" fmla="*/ 1068855 h 1898650"/>
                <a:gd name="connsiteX145" fmla="*/ 1180851 w 1687513"/>
                <a:gd name="connsiteY145" fmla="*/ 1045828 h 1898650"/>
                <a:gd name="connsiteX146" fmla="*/ 1176402 w 1687513"/>
                <a:gd name="connsiteY146" fmla="*/ 1015048 h 1898650"/>
                <a:gd name="connsiteX147" fmla="*/ 1270443 w 1687513"/>
                <a:gd name="connsiteY147" fmla="*/ 1007269 h 1898650"/>
                <a:gd name="connsiteX148" fmla="*/ 1262580 w 1687513"/>
                <a:gd name="connsiteY148" fmla="*/ 1022827 h 1898650"/>
                <a:gd name="connsiteX149" fmla="*/ 1262580 w 1687513"/>
                <a:gd name="connsiteY149" fmla="*/ 1032672 h 1898650"/>
                <a:gd name="connsiteX150" fmla="*/ 1262580 w 1687513"/>
                <a:gd name="connsiteY150" fmla="*/ 1045462 h 1898650"/>
                <a:gd name="connsiteX151" fmla="*/ 1263073 w 1687513"/>
                <a:gd name="connsiteY151" fmla="*/ 1045462 h 1898650"/>
                <a:gd name="connsiteX152" fmla="*/ 1263073 w 1687513"/>
                <a:gd name="connsiteY152" fmla="*/ 1022070 h 1898650"/>
                <a:gd name="connsiteX153" fmla="*/ 1264059 w 1687513"/>
                <a:gd name="connsiteY153" fmla="*/ 1020121 h 1898650"/>
                <a:gd name="connsiteX154" fmla="*/ 1270521 w 1687513"/>
                <a:gd name="connsiteY154" fmla="*/ 1007347 h 1898650"/>
                <a:gd name="connsiteX155" fmla="*/ 1191807 w 1687513"/>
                <a:gd name="connsiteY155" fmla="*/ 935852 h 1898650"/>
                <a:gd name="connsiteX156" fmla="*/ 1191722 w 1687513"/>
                <a:gd name="connsiteY156" fmla="*/ 935999 h 1898650"/>
                <a:gd name="connsiteX157" fmla="*/ 1160786 w 1687513"/>
                <a:gd name="connsiteY157" fmla="*/ 989767 h 1898650"/>
                <a:gd name="connsiteX158" fmla="*/ 1145073 w 1687513"/>
                <a:gd name="connsiteY158" fmla="*/ 1044387 h 1898650"/>
                <a:gd name="connsiteX159" fmla="*/ 1145097 w 1687513"/>
                <a:gd name="connsiteY159" fmla="*/ 1044530 h 1898650"/>
                <a:gd name="connsiteX160" fmla="*/ 1146591 w 1687513"/>
                <a:gd name="connsiteY160" fmla="*/ 1039357 h 1898650"/>
                <a:gd name="connsiteX161" fmla="*/ 1160352 w 1687513"/>
                <a:gd name="connsiteY161" fmla="*/ 991712 h 1898650"/>
                <a:gd name="connsiteX162" fmla="*/ 1191807 w 1687513"/>
                <a:gd name="connsiteY162" fmla="*/ 937261 h 1898650"/>
                <a:gd name="connsiteX163" fmla="*/ 778842 w 1687513"/>
                <a:gd name="connsiteY163" fmla="*/ 927254 h 1898650"/>
                <a:gd name="connsiteX164" fmla="*/ 765049 w 1687513"/>
                <a:gd name="connsiteY164" fmla="*/ 935173 h 1898650"/>
                <a:gd name="connsiteX165" fmla="*/ 764204 w 1687513"/>
                <a:gd name="connsiteY165" fmla="*/ 935657 h 1898650"/>
                <a:gd name="connsiteX166" fmla="*/ 776605 w 1687513"/>
                <a:gd name="connsiteY166" fmla="*/ 929482 h 1898650"/>
                <a:gd name="connsiteX167" fmla="*/ 1291630 w 1687513"/>
                <a:gd name="connsiteY167" fmla="*/ 874345 h 1898650"/>
                <a:gd name="connsiteX168" fmla="*/ 1288685 w 1687513"/>
                <a:gd name="connsiteY168" fmla="*/ 875519 h 1898650"/>
                <a:gd name="connsiteX169" fmla="*/ 1254492 w 1687513"/>
                <a:gd name="connsiteY169" fmla="*/ 889150 h 1898650"/>
                <a:gd name="connsiteX170" fmla="*/ 1199784 w 1687513"/>
                <a:gd name="connsiteY170" fmla="*/ 896938 h 1898650"/>
                <a:gd name="connsiteX171" fmla="*/ 1195877 w 1687513"/>
                <a:gd name="connsiteY171" fmla="*/ 894018 h 1898650"/>
                <a:gd name="connsiteX172" fmla="*/ 1193409 w 1687513"/>
                <a:gd name="connsiteY172" fmla="*/ 892173 h 1898650"/>
                <a:gd name="connsiteX173" fmla="*/ 1199670 w 1687513"/>
                <a:gd name="connsiteY173" fmla="*/ 898367 h 1898650"/>
                <a:gd name="connsiteX174" fmla="*/ 1254716 w 1687513"/>
                <a:gd name="connsiteY174" fmla="*/ 890588 h 1898650"/>
                <a:gd name="connsiteX175" fmla="*/ 1270443 w 1687513"/>
                <a:gd name="connsiteY175" fmla="*/ 890588 h 1898650"/>
                <a:gd name="connsiteX176" fmla="*/ 1272409 w 1687513"/>
                <a:gd name="connsiteY176" fmla="*/ 892533 h 1898650"/>
                <a:gd name="connsiteX177" fmla="*/ 1285753 w 1687513"/>
                <a:gd name="connsiteY177" fmla="*/ 905733 h 1898650"/>
                <a:gd name="connsiteX178" fmla="*/ 1285753 w 1687513"/>
                <a:gd name="connsiteY178" fmla="*/ 904347 h 1898650"/>
                <a:gd name="connsiteX179" fmla="*/ 1270000 w 1687513"/>
                <a:gd name="connsiteY179" fmla="*/ 888683 h 1898650"/>
                <a:gd name="connsiteX180" fmla="*/ 1279969 w 1687513"/>
                <a:gd name="connsiteY180" fmla="*/ 882075 h 1898650"/>
                <a:gd name="connsiteX181" fmla="*/ 1317015 w 1687513"/>
                <a:gd name="connsiteY181" fmla="*/ 859118 h 1898650"/>
                <a:gd name="connsiteX182" fmla="*/ 1317015 w 1687513"/>
                <a:gd name="connsiteY182" fmla="*/ 859942 h 1898650"/>
                <a:gd name="connsiteX183" fmla="*/ 1317015 w 1687513"/>
                <a:gd name="connsiteY183" fmla="*/ 873020 h 1898650"/>
                <a:gd name="connsiteX184" fmla="*/ 1317259 w 1687513"/>
                <a:gd name="connsiteY184" fmla="*/ 873020 h 1898650"/>
                <a:gd name="connsiteX185" fmla="*/ 1317259 w 1687513"/>
                <a:gd name="connsiteY185" fmla="*/ 872041 h 1898650"/>
                <a:gd name="connsiteX186" fmla="*/ 1317259 w 1687513"/>
                <a:gd name="connsiteY186" fmla="*/ 867068 h 1898650"/>
                <a:gd name="connsiteX187" fmla="*/ 1317018 w 1687513"/>
                <a:gd name="connsiteY187" fmla="*/ 866987 h 1898650"/>
                <a:gd name="connsiteX188" fmla="*/ 1317018 w 1687513"/>
                <a:gd name="connsiteY188" fmla="*/ 859120 h 1898650"/>
                <a:gd name="connsiteX189" fmla="*/ 659481 w 1687513"/>
                <a:gd name="connsiteY189" fmla="*/ 812398 h 1898650"/>
                <a:gd name="connsiteX190" fmla="*/ 658999 w 1687513"/>
                <a:gd name="connsiteY190" fmla="*/ 813040 h 1898650"/>
                <a:gd name="connsiteX191" fmla="*/ 697310 w 1687513"/>
                <a:gd name="connsiteY191" fmla="*/ 828435 h 1898650"/>
                <a:gd name="connsiteX192" fmla="*/ 697819 w 1687513"/>
                <a:gd name="connsiteY192" fmla="*/ 827720 h 1898650"/>
                <a:gd name="connsiteX193" fmla="*/ 1612119 w 1687513"/>
                <a:gd name="connsiteY193" fmla="*/ 787753 h 1898650"/>
                <a:gd name="connsiteX194" fmla="*/ 1616075 w 1687513"/>
                <a:gd name="connsiteY194" fmla="*/ 788318 h 1898650"/>
                <a:gd name="connsiteX195" fmla="*/ 1589514 w 1687513"/>
                <a:gd name="connsiteY195" fmla="*/ 818188 h 1898650"/>
                <a:gd name="connsiteX196" fmla="*/ 1553856 w 1687513"/>
                <a:gd name="connsiteY196" fmla="*/ 858288 h 1898650"/>
                <a:gd name="connsiteX197" fmla="*/ 1554375 w 1687513"/>
                <a:gd name="connsiteY197" fmla="*/ 858141 h 1898650"/>
                <a:gd name="connsiteX198" fmla="*/ 1617028 w 1687513"/>
                <a:gd name="connsiteY198" fmla="*/ 788446 h 1898650"/>
                <a:gd name="connsiteX199" fmla="*/ 1254492 w 1687513"/>
                <a:gd name="connsiteY199" fmla="*/ 772319 h 1898650"/>
                <a:gd name="connsiteX200" fmla="*/ 1254404 w 1687513"/>
                <a:gd name="connsiteY200" fmla="*/ 772584 h 1898650"/>
                <a:gd name="connsiteX201" fmla="*/ 1256026 w 1687513"/>
                <a:gd name="connsiteY201" fmla="*/ 772584 h 1898650"/>
                <a:gd name="connsiteX202" fmla="*/ 1269798 w 1687513"/>
                <a:gd name="connsiteY202" fmla="*/ 772584 h 1898650"/>
                <a:gd name="connsiteX203" fmla="*/ 1269842 w 1687513"/>
                <a:gd name="connsiteY203" fmla="*/ 772319 h 1898650"/>
                <a:gd name="connsiteX204" fmla="*/ 1268169 w 1687513"/>
                <a:gd name="connsiteY204" fmla="*/ 772319 h 1898650"/>
                <a:gd name="connsiteX205" fmla="*/ 1254492 w 1687513"/>
                <a:gd name="connsiteY205" fmla="*/ 772319 h 1898650"/>
                <a:gd name="connsiteX206" fmla="*/ 776288 w 1687513"/>
                <a:gd name="connsiteY206" fmla="*/ 741948 h 1898650"/>
                <a:gd name="connsiteX207" fmla="*/ 775362 w 1687513"/>
                <a:gd name="connsiteY207" fmla="*/ 742181 h 1898650"/>
                <a:gd name="connsiteX208" fmla="*/ 775362 w 1687513"/>
                <a:gd name="connsiteY208" fmla="*/ 765705 h 1898650"/>
                <a:gd name="connsiteX209" fmla="*/ 798778 w 1687513"/>
                <a:gd name="connsiteY209" fmla="*/ 804911 h 1898650"/>
                <a:gd name="connsiteX210" fmla="*/ 806583 w 1687513"/>
                <a:gd name="connsiteY210" fmla="*/ 804911 h 1898650"/>
                <a:gd name="connsiteX211" fmla="*/ 790973 w 1687513"/>
                <a:gd name="connsiteY211" fmla="*/ 851959 h 1898650"/>
                <a:gd name="connsiteX212" fmla="*/ 806583 w 1687513"/>
                <a:gd name="connsiteY212" fmla="*/ 891165 h 1898650"/>
                <a:gd name="connsiteX213" fmla="*/ 814268 w 1687513"/>
                <a:gd name="connsiteY213" fmla="*/ 906607 h 1898650"/>
                <a:gd name="connsiteX214" fmla="*/ 815658 w 1687513"/>
                <a:gd name="connsiteY214" fmla="*/ 906146 h 1898650"/>
                <a:gd name="connsiteX215" fmla="*/ 846900 w 1687513"/>
                <a:gd name="connsiteY215" fmla="*/ 890588 h 1898650"/>
                <a:gd name="connsiteX216" fmla="*/ 878142 w 1687513"/>
                <a:gd name="connsiteY216" fmla="*/ 890588 h 1898650"/>
                <a:gd name="connsiteX217" fmla="*/ 893168 w 1687513"/>
                <a:gd name="connsiteY217" fmla="*/ 898070 h 1898650"/>
                <a:gd name="connsiteX218" fmla="*/ 893466 w 1687513"/>
                <a:gd name="connsiteY218" fmla="*/ 896883 h 1898650"/>
                <a:gd name="connsiteX219" fmla="*/ 878198 w 1687513"/>
                <a:gd name="connsiteY219" fmla="*/ 889265 h 1898650"/>
                <a:gd name="connsiteX220" fmla="*/ 846913 w 1687513"/>
                <a:gd name="connsiteY220" fmla="*/ 889265 h 1898650"/>
                <a:gd name="connsiteX221" fmla="*/ 815627 w 1687513"/>
                <a:gd name="connsiteY221" fmla="*/ 904875 h 1898650"/>
                <a:gd name="connsiteX222" fmla="*/ 807806 w 1687513"/>
                <a:gd name="connsiteY222" fmla="*/ 889265 h 1898650"/>
                <a:gd name="connsiteX223" fmla="*/ 792163 w 1687513"/>
                <a:gd name="connsiteY223" fmla="*/ 850239 h 1898650"/>
                <a:gd name="connsiteX224" fmla="*/ 807806 w 1687513"/>
                <a:gd name="connsiteY224" fmla="*/ 803408 h 1898650"/>
                <a:gd name="connsiteX225" fmla="*/ 839091 w 1687513"/>
                <a:gd name="connsiteY225" fmla="*/ 795602 h 1898650"/>
                <a:gd name="connsiteX226" fmla="*/ 886019 w 1687513"/>
                <a:gd name="connsiteY226" fmla="*/ 779992 h 1898650"/>
                <a:gd name="connsiteX227" fmla="*/ 893802 w 1687513"/>
                <a:gd name="connsiteY227" fmla="*/ 764458 h 1898650"/>
                <a:gd name="connsiteX228" fmla="*/ 893715 w 1687513"/>
                <a:gd name="connsiteY228" fmla="*/ 764475 h 1898650"/>
                <a:gd name="connsiteX229" fmla="*/ 885874 w 1687513"/>
                <a:gd name="connsiteY229" fmla="*/ 779995 h 1898650"/>
                <a:gd name="connsiteX230" fmla="*/ 838826 w 1687513"/>
                <a:gd name="connsiteY230" fmla="*/ 795515 h 1898650"/>
                <a:gd name="connsiteX231" fmla="*/ 808021 w 1687513"/>
                <a:gd name="connsiteY231" fmla="*/ 803137 h 1898650"/>
                <a:gd name="connsiteX232" fmla="*/ 808038 w 1687513"/>
                <a:gd name="connsiteY232" fmla="*/ 803275 h 1898650"/>
                <a:gd name="connsiteX233" fmla="*/ 807461 w 1687513"/>
                <a:gd name="connsiteY233" fmla="*/ 803275 h 1898650"/>
                <a:gd name="connsiteX234" fmla="*/ 800101 w 1687513"/>
                <a:gd name="connsiteY234" fmla="*/ 803275 h 1898650"/>
                <a:gd name="connsiteX235" fmla="*/ 776288 w 1687513"/>
                <a:gd name="connsiteY235" fmla="*/ 764580 h 1898650"/>
                <a:gd name="connsiteX236" fmla="*/ 353219 w 1687513"/>
                <a:gd name="connsiteY236" fmla="*/ 741523 h 1898650"/>
                <a:gd name="connsiteX237" fmla="*/ 352876 w 1687513"/>
                <a:gd name="connsiteY237" fmla="*/ 741591 h 1898650"/>
                <a:gd name="connsiteX238" fmla="*/ 353219 w 1687513"/>
                <a:gd name="connsiteY238" fmla="*/ 742269 h 1898650"/>
                <a:gd name="connsiteX239" fmla="*/ 266393 w 1687513"/>
                <a:gd name="connsiteY239" fmla="*/ 725585 h 1898650"/>
                <a:gd name="connsiteX240" fmla="*/ 268162 w 1687513"/>
                <a:gd name="connsiteY240" fmla="*/ 726460 h 1898650"/>
                <a:gd name="connsiteX241" fmla="*/ 281906 w 1687513"/>
                <a:gd name="connsiteY241" fmla="*/ 733259 h 1898650"/>
                <a:gd name="connsiteX242" fmla="*/ 281998 w 1687513"/>
                <a:gd name="connsiteY242" fmla="*/ 733259 h 1898650"/>
                <a:gd name="connsiteX243" fmla="*/ 280369 w 1687513"/>
                <a:gd name="connsiteY243" fmla="*/ 732445 h 1898650"/>
                <a:gd name="connsiteX244" fmla="*/ 266639 w 1687513"/>
                <a:gd name="connsiteY244" fmla="*/ 725585 h 1898650"/>
                <a:gd name="connsiteX245" fmla="*/ 454025 w 1687513"/>
                <a:gd name="connsiteY245" fmla="*/ 710634 h 1898650"/>
                <a:gd name="connsiteX246" fmla="*/ 445372 w 1687513"/>
                <a:gd name="connsiteY246" fmla="*/ 713508 h 1898650"/>
                <a:gd name="connsiteX247" fmla="*/ 454025 w 1687513"/>
                <a:gd name="connsiteY247" fmla="*/ 711200 h 1898650"/>
                <a:gd name="connsiteX248" fmla="*/ 438150 w 1687513"/>
                <a:gd name="connsiteY248" fmla="*/ 717550 h 1898650"/>
                <a:gd name="connsiteX249" fmla="*/ 433201 w 1687513"/>
                <a:gd name="connsiteY249" fmla="*/ 717550 h 1898650"/>
                <a:gd name="connsiteX250" fmla="*/ 431271 w 1687513"/>
                <a:gd name="connsiteY250" fmla="*/ 718191 h 1898650"/>
                <a:gd name="connsiteX251" fmla="*/ 430579 w 1687513"/>
                <a:gd name="connsiteY251" fmla="*/ 718191 h 1898650"/>
                <a:gd name="connsiteX252" fmla="*/ 430579 w 1687513"/>
                <a:gd name="connsiteY252" fmla="*/ 718939 h 1898650"/>
                <a:gd name="connsiteX253" fmla="*/ 438150 w 1687513"/>
                <a:gd name="connsiteY253" fmla="*/ 718939 h 1898650"/>
                <a:gd name="connsiteX254" fmla="*/ 454025 w 1687513"/>
                <a:gd name="connsiteY254" fmla="*/ 711201 h 1898650"/>
                <a:gd name="connsiteX255" fmla="*/ 454025 w 1687513"/>
                <a:gd name="connsiteY255" fmla="*/ 711200 h 1898650"/>
                <a:gd name="connsiteX256" fmla="*/ 210399 w 1687513"/>
                <a:gd name="connsiteY256" fmla="*/ 685997 h 1898650"/>
                <a:gd name="connsiteX257" fmla="*/ 211336 w 1687513"/>
                <a:gd name="connsiteY257" fmla="*/ 693473 h 1898650"/>
                <a:gd name="connsiteX258" fmla="*/ 227078 w 1687513"/>
                <a:gd name="connsiteY258" fmla="*/ 732720 h 1898650"/>
                <a:gd name="connsiteX259" fmla="*/ 227127 w 1687513"/>
                <a:gd name="connsiteY259" fmla="*/ 732720 h 1898650"/>
                <a:gd name="connsiteX260" fmla="*/ 225448 w 1687513"/>
                <a:gd name="connsiteY260" fmla="*/ 728525 h 1898650"/>
                <a:gd name="connsiteX261" fmla="*/ 211718 w 1687513"/>
                <a:gd name="connsiteY261" fmla="*/ 694224 h 1898650"/>
                <a:gd name="connsiteX262" fmla="*/ 210737 w 1687513"/>
                <a:gd name="connsiteY262" fmla="*/ 686384 h 1898650"/>
                <a:gd name="connsiteX263" fmla="*/ 791869 w 1687513"/>
                <a:gd name="connsiteY263" fmla="*/ 679838 h 1898650"/>
                <a:gd name="connsiteX264" fmla="*/ 791151 w 1687513"/>
                <a:gd name="connsiteY264" fmla="*/ 680077 h 1898650"/>
                <a:gd name="connsiteX265" fmla="*/ 792498 w 1687513"/>
                <a:gd name="connsiteY265" fmla="*/ 684812 h 1898650"/>
                <a:gd name="connsiteX266" fmla="*/ 140494 w 1687513"/>
                <a:gd name="connsiteY266" fmla="*/ 679450 h 1898650"/>
                <a:gd name="connsiteX267" fmla="*/ 140494 w 1687513"/>
                <a:gd name="connsiteY267" fmla="*/ 685624 h 1898650"/>
                <a:gd name="connsiteX268" fmla="*/ 141105 w 1687513"/>
                <a:gd name="connsiteY268" fmla="*/ 685624 h 1898650"/>
                <a:gd name="connsiteX269" fmla="*/ 141105 w 1687513"/>
                <a:gd name="connsiteY269" fmla="*/ 685403 h 1898650"/>
                <a:gd name="connsiteX270" fmla="*/ 141105 w 1687513"/>
                <a:gd name="connsiteY270" fmla="*/ 679450 h 1898650"/>
                <a:gd name="connsiteX271" fmla="*/ 776483 w 1687513"/>
                <a:gd name="connsiteY271" fmla="*/ 648203 h 1898650"/>
                <a:gd name="connsiteX272" fmla="*/ 776664 w 1687513"/>
                <a:gd name="connsiteY272" fmla="*/ 648475 h 1898650"/>
                <a:gd name="connsiteX273" fmla="*/ 799534 w 1687513"/>
                <a:gd name="connsiteY273" fmla="*/ 656092 h 1898650"/>
                <a:gd name="connsiteX274" fmla="*/ 799620 w 1687513"/>
                <a:gd name="connsiteY274" fmla="*/ 655836 h 1898650"/>
                <a:gd name="connsiteX275" fmla="*/ 767276 w 1687513"/>
                <a:gd name="connsiteY275" fmla="*/ 616873 h 1898650"/>
                <a:gd name="connsiteX276" fmla="*/ 729425 w 1687513"/>
                <a:gd name="connsiteY276" fmla="*/ 648184 h 1898650"/>
                <a:gd name="connsiteX277" fmla="*/ 690055 w 1687513"/>
                <a:gd name="connsiteY277" fmla="*/ 656001 h 1898650"/>
                <a:gd name="connsiteX278" fmla="*/ 642811 w 1687513"/>
                <a:gd name="connsiteY278" fmla="*/ 656001 h 1898650"/>
                <a:gd name="connsiteX279" fmla="*/ 611523 w 1687513"/>
                <a:gd name="connsiteY279" fmla="*/ 671531 h 1898650"/>
                <a:gd name="connsiteX280" fmla="*/ 612608 w 1687513"/>
                <a:gd name="connsiteY280" fmla="*/ 671892 h 1898650"/>
                <a:gd name="connsiteX281" fmla="*/ 643857 w 1687513"/>
                <a:gd name="connsiteY281" fmla="*/ 656280 h 1898650"/>
                <a:gd name="connsiteX282" fmla="*/ 690730 w 1687513"/>
                <a:gd name="connsiteY282" fmla="*/ 656280 h 1898650"/>
                <a:gd name="connsiteX283" fmla="*/ 729791 w 1687513"/>
                <a:gd name="connsiteY283" fmla="*/ 648475 h 1898650"/>
                <a:gd name="connsiteX284" fmla="*/ 766066 w 1687513"/>
                <a:gd name="connsiteY284" fmla="*/ 618270 h 1898650"/>
                <a:gd name="connsiteX285" fmla="*/ 422982 w 1687513"/>
                <a:gd name="connsiteY285" fmla="*/ 608268 h 1898650"/>
                <a:gd name="connsiteX286" fmla="*/ 422822 w 1687513"/>
                <a:gd name="connsiteY286" fmla="*/ 608348 h 1898650"/>
                <a:gd name="connsiteX287" fmla="*/ 376482 w 1687513"/>
                <a:gd name="connsiteY287" fmla="*/ 631501 h 1898650"/>
                <a:gd name="connsiteX288" fmla="*/ 337252 w 1687513"/>
                <a:gd name="connsiteY288" fmla="*/ 662862 h 1898650"/>
                <a:gd name="connsiteX289" fmla="*/ 313714 w 1687513"/>
                <a:gd name="connsiteY289" fmla="*/ 694224 h 1898650"/>
                <a:gd name="connsiteX290" fmla="*/ 305869 w 1687513"/>
                <a:gd name="connsiteY290" fmla="*/ 717745 h 1898650"/>
                <a:gd name="connsiteX291" fmla="*/ 305869 w 1687513"/>
                <a:gd name="connsiteY291" fmla="*/ 733425 h 1898650"/>
                <a:gd name="connsiteX292" fmla="*/ 298023 w 1687513"/>
                <a:gd name="connsiteY292" fmla="*/ 733425 h 1898650"/>
                <a:gd name="connsiteX293" fmla="*/ 297783 w 1687513"/>
                <a:gd name="connsiteY293" fmla="*/ 733425 h 1898650"/>
                <a:gd name="connsiteX294" fmla="*/ 299578 w 1687513"/>
                <a:gd name="connsiteY294" fmla="*/ 735201 h 1898650"/>
                <a:gd name="connsiteX295" fmla="*/ 313322 w 1687513"/>
                <a:gd name="connsiteY295" fmla="*/ 748799 h 1898650"/>
                <a:gd name="connsiteX296" fmla="*/ 313885 w 1687513"/>
                <a:gd name="connsiteY296" fmla="*/ 748688 h 1898650"/>
                <a:gd name="connsiteX297" fmla="*/ 306388 w 1687513"/>
                <a:gd name="connsiteY297" fmla="*/ 733746 h 1898650"/>
                <a:gd name="connsiteX298" fmla="*/ 306388 w 1687513"/>
                <a:gd name="connsiteY298" fmla="*/ 718191 h 1898650"/>
                <a:gd name="connsiteX299" fmla="*/ 314193 w 1687513"/>
                <a:gd name="connsiteY299" fmla="*/ 694859 h 1898650"/>
                <a:gd name="connsiteX300" fmla="*/ 337609 w 1687513"/>
                <a:gd name="connsiteY300" fmla="*/ 663750 h 1898650"/>
                <a:gd name="connsiteX301" fmla="*/ 376635 w 1687513"/>
                <a:gd name="connsiteY301" fmla="*/ 632641 h 1898650"/>
                <a:gd name="connsiteX302" fmla="*/ 423557 w 1687513"/>
                <a:gd name="connsiteY302" fmla="*/ 607980 h 1898650"/>
                <a:gd name="connsiteX303" fmla="*/ 423491 w 1687513"/>
                <a:gd name="connsiteY303" fmla="*/ 608013 h 1898650"/>
                <a:gd name="connsiteX304" fmla="*/ 430316 w 1687513"/>
                <a:gd name="connsiteY304" fmla="*/ 608013 h 1898650"/>
                <a:gd name="connsiteX305" fmla="*/ 430300 w 1687513"/>
                <a:gd name="connsiteY305" fmla="*/ 607980 h 1898650"/>
                <a:gd name="connsiteX306" fmla="*/ 521378 w 1687513"/>
                <a:gd name="connsiteY306" fmla="*/ 593206 h 1898650"/>
                <a:gd name="connsiteX307" fmla="*/ 520502 w 1687513"/>
                <a:gd name="connsiteY307" fmla="*/ 593378 h 1898650"/>
                <a:gd name="connsiteX308" fmla="*/ 519926 w 1687513"/>
                <a:gd name="connsiteY308" fmla="*/ 593491 h 1898650"/>
                <a:gd name="connsiteX309" fmla="*/ 518682 w 1687513"/>
                <a:gd name="connsiteY309" fmla="*/ 597221 h 1898650"/>
                <a:gd name="connsiteX310" fmla="*/ 149309 w 1687513"/>
                <a:gd name="connsiteY310" fmla="*/ 592602 h 1898650"/>
                <a:gd name="connsiteX311" fmla="*/ 149281 w 1687513"/>
                <a:gd name="connsiteY311" fmla="*/ 592630 h 1898650"/>
                <a:gd name="connsiteX312" fmla="*/ 150912 w 1687513"/>
                <a:gd name="connsiteY312" fmla="*/ 594260 h 1898650"/>
                <a:gd name="connsiteX313" fmla="*/ 164642 w 1687513"/>
                <a:gd name="connsiteY313" fmla="*/ 607980 h 1898650"/>
                <a:gd name="connsiteX314" fmla="*/ 164735 w 1687513"/>
                <a:gd name="connsiteY314" fmla="*/ 607888 h 1898650"/>
                <a:gd name="connsiteX315" fmla="*/ 163053 w 1687513"/>
                <a:gd name="connsiteY315" fmla="*/ 606222 h 1898650"/>
                <a:gd name="connsiteX316" fmla="*/ 149309 w 1687513"/>
                <a:gd name="connsiteY316" fmla="*/ 592602 h 1898650"/>
                <a:gd name="connsiteX317" fmla="*/ 93482 w 1687513"/>
                <a:gd name="connsiteY317" fmla="*/ 592097 h 1898650"/>
                <a:gd name="connsiteX318" fmla="*/ 108786 w 1687513"/>
                <a:gd name="connsiteY318" fmla="*/ 607546 h 1898650"/>
                <a:gd name="connsiteX319" fmla="*/ 124326 w 1687513"/>
                <a:gd name="connsiteY319" fmla="*/ 615390 h 1898650"/>
                <a:gd name="connsiteX320" fmla="*/ 124326 w 1687513"/>
                <a:gd name="connsiteY320" fmla="*/ 624541 h 1898650"/>
                <a:gd name="connsiteX321" fmla="*/ 132097 w 1687513"/>
                <a:gd name="connsiteY321" fmla="*/ 648074 h 1898650"/>
                <a:gd name="connsiteX322" fmla="*/ 147189 w 1687513"/>
                <a:gd name="connsiteY322" fmla="*/ 678543 h 1898650"/>
                <a:gd name="connsiteX323" fmla="*/ 148950 w 1687513"/>
                <a:gd name="connsiteY323" fmla="*/ 678543 h 1898650"/>
                <a:gd name="connsiteX324" fmla="*/ 133259 w 1687513"/>
                <a:gd name="connsiteY324" fmla="*/ 647182 h 1898650"/>
                <a:gd name="connsiteX325" fmla="*/ 125413 w 1687513"/>
                <a:gd name="connsiteY325" fmla="*/ 623661 h 1898650"/>
                <a:gd name="connsiteX326" fmla="*/ 125413 w 1687513"/>
                <a:gd name="connsiteY326" fmla="*/ 615821 h 1898650"/>
                <a:gd name="connsiteX327" fmla="*/ 125437 w 1687513"/>
                <a:gd name="connsiteY327" fmla="*/ 615797 h 1898650"/>
                <a:gd name="connsiteX328" fmla="*/ 123783 w 1687513"/>
                <a:gd name="connsiteY328" fmla="*/ 614977 h 1898650"/>
                <a:gd name="connsiteX329" fmla="*/ 110039 w 1687513"/>
                <a:gd name="connsiteY329" fmla="*/ 608168 h 1898650"/>
                <a:gd name="connsiteX330" fmla="*/ 94331 w 1687513"/>
                <a:gd name="connsiteY330" fmla="*/ 592602 h 1898650"/>
                <a:gd name="connsiteX331" fmla="*/ 290661 w 1687513"/>
                <a:gd name="connsiteY331" fmla="*/ 576861 h 1898650"/>
                <a:gd name="connsiteX332" fmla="*/ 290680 w 1687513"/>
                <a:gd name="connsiteY332" fmla="*/ 577037 h 1898650"/>
                <a:gd name="connsiteX333" fmla="*/ 292643 w 1687513"/>
                <a:gd name="connsiteY333" fmla="*/ 578010 h 1898650"/>
                <a:gd name="connsiteX334" fmla="*/ 305780 w 1687513"/>
                <a:gd name="connsiteY334" fmla="*/ 584519 h 1898650"/>
                <a:gd name="connsiteX335" fmla="*/ 305869 w 1687513"/>
                <a:gd name="connsiteY335" fmla="*/ 584459 h 1898650"/>
                <a:gd name="connsiteX336" fmla="*/ 303907 w 1687513"/>
                <a:gd name="connsiteY336" fmla="*/ 583479 h 1898650"/>
                <a:gd name="connsiteX337" fmla="*/ 1339775 w 1687513"/>
                <a:gd name="connsiteY337" fmla="*/ 569549 h 1898650"/>
                <a:gd name="connsiteX338" fmla="*/ 1339484 w 1687513"/>
                <a:gd name="connsiteY338" fmla="*/ 572735 h 1898650"/>
                <a:gd name="connsiteX339" fmla="*/ 1337164 w 1687513"/>
                <a:gd name="connsiteY339" fmla="*/ 598170 h 1898650"/>
                <a:gd name="connsiteX340" fmla="*/ 1332731 w 1687513"/>
                <a:gd name="connsiteY340" fmla="*/ 646766 h 1898650"/>
                <a:gd name="connsiteX341" fmla="*/ 1332758 w 1687513"/>
                <a:gd name="connsiteY341" fmla="*/ 646713 h 1898650"/>
                <a:gd name="connsiteX342" fmla="*/ 1336078 w 1687513"/>
                <a:gd name="connsiteY342" fmla="*/ 610205 h 1898650"/>
                <a:gd name="connsiteX343" fmla="*/ 532575 w 1687513"/>
                <a:gd name="connsiteY343" fmla="*/ 513475 h 1898650"/>
                <a:gd name="connsiteX344" fmla="*/ 532420 w 1687513"/>
                <a:gd name="connsiteY344" fmla="*/ 514877 h 1898650"/>
                <a:gd name="connsiteX345" fmla="*/ 532339 w 1687513"/>
                <a:gd name="connsiteY345" fmla="*/ 515603 h 1898650"/>
                <a:gd name="connsiteX346" fmla="*/ 532575 w 1687513"/>
                <a:gd name="connsiteY346" fmla="*/ 515324 h 1898650"/>
                <a:gd name="connsiteX347" fmla="*/ 722210 w 1687513"/>
                <a:gd name="connsiteY347" fmla="*/ 388395 h 1898650"/>
                <a:gd name="connsiteX348" fmla="*/ 580317 w 1687513"/>
                <a:gd name="connsiteY348" fmla="*/ 481525 h 1898650"/>
                <a:gd name="connsiteX349" fmla="*/ 532985 w 1687513"/>
                <a:gd name="connsiteY349" fmla="*/ 504825 h 1898650"/>
                <a:gd name="connsiteX350" fmla="*/ 509319 w 1687513"/>
                <a:gd name="connsiteY350" fmla="*/ 504825 h 1898650"/>
                <a:gd name="connsiteX351" fmla="*/ 493542 w 1687513"/>
                <a:gd name="connsiteY351" fmla="*/ 489292 h 1898650"/>
                <a:gd name="connsiteX352" fmla="*/ 430095 w 1687513"/>
                <a:gd name="connsiteY352" fmla="*/ 446047 h 1898650"/>
                <a:gd name="connsiteX353" fmla="*/ 494171 w 1687513"/>
                <a:gd name="connsiteY353" fmla="*/ 490375 h 1898650"/>
                <a:gd name="connsiteX354" fmla="*/ 509863 w 1687513"/>
                <a:gd name="connsiteY354" fmla="*/ 506056 h 1898650"/>
                <a:gd name="connsiteX355" fmla="*/ 519793 w 1687513"/>
                <a:gd name="connsiteY355" fmla="*/ 506056 h 1898650"/>
                <a:gd name="connsiteX356" fmla="*/ 532835 w 1687513"/>
                <a:gd name="connsiteY356" fmla="*/ 506056 h 1898650"/>
                <a:gd name="connsiteX357" fmla="*/ 579819 w 1687513"/>
                <a:gd name="connsiteY357" fmla="*/ 482735 h 1898650"/>
                <a:gd name="connsiteX358" fmla="*/ 721551 w 1687513"/>
                <a:gd name="connsiteY358" fmla="*/ 388938 h 1898650"/>
                <a:gd name="connsiteX359" fmla="*/ 783957 w 1687513"/>
                <a:gd name="connsiteY359" fmla="*/ 396682 h 1898650"/>
                <a:gd name="connsiteX360" fmla="*/ 783188 w 1687513"/>
                <a:gd name="connsiteY360" fmla="*/ 395922 h 1898650"/>
                <a:gd name="connsiteX361" fmla="*/ 756605 w 1687513"/>
                <a:gd name="connsiteY361" fmla="*/ 392641 h 1898650"/>
                <a:gd name="connsiteX362" fmla="*/ 712314 w 1687513"/>
                <a:gd name="connsiteY362" fmla="*/ 385556 h 1898650"/>
                <a:gd name="connsiteX363" fmla="*/ 714425 w 1687513"/>
                <a:gd name="connsiteY363" fmla="*/ 388327 h 1898650"/>
                <a:gd name="connsiteX364" fmla="*/ 721659 w 1687513"/>
                <a:gd name="connsiteY364" fmla="*/ 388327 h 1898650"/>
                <a:gd name="connsiteX365" fmla="*/ 720176 w 1687513"/>
                <a:gd name="connsiteY365" fmla="*/ 388144 h 1898650"/>
                <a:gd name="connsiteX366" fmla="*/ 717223 w 1687513"/>
                <a:gd name="connsiteY366" fmla="*/ 387172 h 1898650"/>
                <a:gd name="connsiteX367" fmla="*/ 264777 w 1687513"/>
                <a:gd name="connsiteY367" fmla="*/ 331378 h 1898650"/>
                <a:gd name="connsiteX368" fmla="*/ 287966 w 1687513"/>
                <a:gd name="connsiteY368" fmla="*/ 349250 h 1898650"/>
                <a:gd name="connsiteX369" fmla="*/ 288117 w 1687513"/>
                <a:gd name="connsiteY369" fmla="*/ 349250 h 1898650"/>
                <a:gd name="connsiteX370" fmla="*/ 212964 w 1687513"/>
                <a:gd name="connsiteY370" fmla="*/ 271829 h 1898650"/>
                <a:gd name="connsiteX371" fmla="*/ 212558 w 1687513"/>
                <a:gd name="connsiteY371" fmla="*/ 273050 h 1898650"/>
                <a:gd name="connsiteX372" fmla="*/ 217438 w 1687513"/>
                <a:gd name="connsiteY372" fmla="*/ 273050 h 1898650"/>
                <a:gd name="connsiteX373" fmla="*/ 217438 w 1687513"/>
                <a:gd name="connsiteY373" fmla="*/ 271829 h 1898650"/>
                <a:gd name="connsiteX374" fmla="*/ 641350 w 1687513"/>
                <a:gd name="connsiteY374" fmla="*/ 0 h 1898650"/>
                <a:gd name="connsiteX375" fmla="*/ 643427 w 1687513"/>
                <a:gd name="connsiteY375" fmla="*/ 0 h 1898650"/>
                <a:gd name="connsiteX376" fmla="*/ 657225 w 1687513"/>
                <a:gd name="connsiteY376" fmla="*/ 0 h 1898650"/>
                <a:gd name="connsiteX377" fmla="*/ 688976 w 1687513"/>
                <a:gd name="connsiteY377" fmla="*/ 15494 h 1898650"/>
                <a:gd name="connsiteX378" fmla="*/ 696913 w 1687513"/>
                <a:gd name="connsiteY378" fmla="*/ 46482 h 1898650"/>
                <a:gd name="connsiteX379" fmla="*/ 665163 w 1687513"/>
                <a:gd name="connsiteY379" fmla="*/ 92964 h 1898650"/>
                <a:gd name="connsiteX380" fmla="*/ 688976 w 1687513"/>
                <a:gd name="connsiteY380" fmla="*/ 108458 h 1898650"/>
                <a:gd name="connsiteX381" fmla="*/ 712300 w 1687513"/>
                <a:gd name="connsiteY381" fmla="*/ 116046 h 1898650"/>
                <a:gd name="connsiteX382" fmla="*/ 712300 w 1687513"/>
                <a:gd name="connsiteY382" fmla="*/ 115888 h 1898650"/>
                <a:gd name="connsiteX383" fmla="*/ 751682 w 1687513"/>
                <a:gd name="connsiteY383" fmla="*/ 131445 h 1898650"/>
                <a:gd name="connsiteX384" fmla="*/ 806817 w 1687513"/>
                <a:gd name="connsiteY384" fmla="*/ 139224 h 1898650"/>
                <a:gd name="connsiteX385" fmla="*/ 822570 w 1687513"/>
                <a:gd name="connsiteY385" fmla="*/ 154782 h 1898650"/>
                <a:gd name="connsiteX386" fmla="*/ 846199 w 1687513"/>
                <a:gd name="connsiteY386" fmla="*/ 170339 h 1898650"/>
                <a:gd name="connsiteX387" fmla="*/ 877705 w 1687513"/>
                <a:gd name="connsiteY387" fmla="*/ 193675 h 1898650"/>
                <a:gd name="connsiteX388" fmla="*/ 924964 w 1687513"/>
                <a:gd name="connsiteY388" fmla="*/ 178118 h 1898650"/>
                <a:gd name="connsiteX389" fmla="*/ 924964 w 1687513"/>
                <a:gd name="connsiteY389" fmla="*/ 147003 h 1898650"/>
                <a:gd name="connsiteX390" fmla="*/ 972222 w 1687513"/>
                <a:gd name="connsiteY390" fmla="*/ 131445 h 1898650"/>
                <a:gd name="connsiteX391" fmla="*/ 1003728 w 1687513"/>
                <a:gd name="connsiteY391" fmla="*/ 139224 h 1898650"/>
                <a:gd name="connsiteX392" fmla="*/ 1027357 w 1687513"/>
                <a:gd name="connsiteY392" fmla="*/ 154782 h 1898650"/>
                <a:gd name="connsiteX393" fmla="*/ 1050987 w 1687513"/>
                <a:gd name="connsiteY393" fmla="*/ 162560 h 1898650"/>
                <a:gd name="connsiteX394" fmla="*/ 1043110 w 1687513"/>
                <a:gd name="connsiteY394" fmla="*/ 178118 h 1898650"/>
                <a:gd name="connsiteX395" fmla="*/ 1035234 w 1687513"/>
                <a:gd name="connsiteY395" fmla="*/ 201454 h 1898650"/>
                <a:gd name="connsiteX396" fmla="*/ 1035333 w 1687513"/>
                <a:gd name="connsiteY396" fmla="*/ 201676 h 1898650"/>
                <a:gd name="connsiteX397" fmla="*/ 1042900 w 1687513"/>
                <a:gd name="connsiteY397" fmla="*/ 179116 h 1898650"/>
                <a:gd name="connsiteX398" fmla="*/ 1050749 w 1687513"/>
                <a:gd name="connsiteY398" fmla="*/ 163513 h 1898650"/>
                <a:gd name="connsiteX399" fmla="*/ 1082146 w 1687513"/>
                <a:gd name="connsiteY399" fmla="*/ 163513 h 1898650"/>
                <a:gd name="connsiteX400" fmla="*/ 1129242 w 1687513"/>
                <a:gd name="connsiteY400" fmla="*/ 186917 h 1898650"/>
                <a:gd name="connsiteX401" fmla="*/ 1184187 w 1687513"/>
                <a:gd name="connsiteY401" fmla="*/ 171314 h 1898650"/>
                <a:gd name="connsiteX402" fmla="*/ 1207735 w 1687513"/>
                <a:gd name="connsiteY402" fmla="*/ 179116 h 1898650"/>
                <a:gd name="connsiteX403" fmla="*/ 1254831 w 1687513"/>
                <a:gd name="connsiteY403" fmla="*/ 186917 h 1898650"/>
                <a:gd name="connsiteX404" fmla="*/ 1270529 w 1687513"/>
                <a:gd name="connsiteY404" fmla="*/ 171314 h 1898650"/>
                <a:gd name="connsiteX405" fmla="*/ 1294077 w 1687513"/>
                <a:gd name="connsiteY405" fmla="*/ 233726 h 1898650"/>
                <a:gd name="connsiteX406" fmla="*/ 1301927 w 1687513"/>
                <a:gd name="connsiteY406" fmla="*/ 233726 h 1898650"/>
                <a:gd name="connsiteX407" fmla="*/ 1278379 w 1687513"/>
                <a:gd name="connsiteY407" fmla="*/ 257130 h 1898650"/>
                <a:gd name="connsiteX408" fmla="*/ 1223434 w 1687513"/>
                <a:gd name="connsiteY408" fmla="*/ 225924 h 1898650"/>
                <a:gd name="connsiteX409" fmla="*/ 1262680 w 1687513"/>
                <a:gd name="connsiteY409" fmla="*/ 280534 h 1898650"/>
                <a:gd name="connsiteX410" fmla="*/ 1294077 w 1687513"/>
                <a:gd name="connsiteY410" fmla="*/ 342946 h 1898650"/>
                <a:gd name="connsiteX411" fmla="*/ 1317625 w 1687513"/>
                <a:gd name="connsiteY411" fmla="*/ 397556 h 1898650"/>
                <a:gd name="connsiteX412" fmla="*/ 1301927 w 1687513"/>
                <a:gd name="connsiteY412" fmla="*/ 413159 h 1898650"/>
                <a:gd name="connsiteX413" fmla="*/ 1262680 w 1687513"/>
                <a:gd name="connsiteY413" fmla="*/ 436563 h 1898650"/>
                <a:gd name="connsiteX414" fmla="*/ 1058598 w 1687513"/>
                <a:gd name="connsiteY414" fmla="*/ 436563 h 1898650"/>
                <a:gd name="connsiteX415" fmla="*/ 1058568 w 1687513"/>
                <a:gd name="connsiteY415" fmla="*/ 436563 h 1898650"/>
                <a:gd name="connsiteX416" fmla="*/ 1057879 w 1687513"/>
                <a:gd name="connsiteY416" fmla="*/ 440650 h 1898650"/>
                <a:gd name="connsiteX417" fmla="*/ 1050987 w 1687513"/>
                <a:gd name="connsiteY417" fmla="*/ 481489 h 1898650"/>
                <a:gd name="connsiteX418" fmla="*/ 1027357 w 1687513"/>
                <a:gd name="connsiteY418" fmla="*/ 481489 h 1898650"/>
                <a:gd name="connsiteX419" fmla="*/ 1027357 w 1687513"/>
                <a:gd name="connsiteY419" fmla="*/ 504825 h 1898650"/>
                <a:gd name="connsiteX420" fmla="*/ 1019481 w 1687513"/>
                <a:gd name="connsiteY420" fmla="*/ 497046 h 1898650"/>
                <a:gd name="connsiteX421" fmla="*/ 830446 w 1687513"/>
                <a:gd name="connsiteY421" fmla="*/ 395922 h 1898650"/>
                <a:gd name="connsiteX422" fmla="*/ 817155 w 1687513"/>
                <a:gd name="connsiteY422" fmla="*/ 402486 h 1898650"/>
                <a:gd name="connsiteX423" fmla="*/ 799232 w 1687513"/>
                <a:gd name="connsiteY423" fmla="*/ 411336 h 1898650"/>
                <a:gd name="connsiteX424" fmla="*/ 800291 w 1687513"/>
                <a:gd name="connsiteY424" fmla="*/ 412387 h 1898650"/>
                <a:gd name="connsiteX425" fmla="*/ 800291 w 1687513"/>
                <a:gd name="connsiteY425" fmla="*/ 413651 h 1898650"/>
                <a:gd name="connsiteX426" fmla="*/ 830985 w 1687513"/>
                <a:gd name="connsiteY426" fmla="*/ 398463 h 1898650"/>
                <a:gd name="connsiteX427" fmla="*/ 1019175 w 1687513"/>
                <a:gd name="connsiteY427" fmla="*/ 499343 h 1898650"/>
                <a:gd name="connsiteX428" fmla="*/ 1011334 w 1687513"/>
                <a:gd name="connsiteY428" fmla="*/ 592463 h 1898650"/>
                <a:gd name="connsiteX429" fmla="*/ 987810 w 1687513"/>
                <a:gd name="connsiteY429" fmla="*/ 607983 h 1898650"/>
                <a:gd name="connsiteX430" fmla="*/ 979969 w 1687513"/>
                <a:gd name="connsiteY430" fmla="*/ 648076 h 1898650"/>
                <a:gd name="connsiteX431" fmla="*/ 972128 w 1687513"/>
                <a:gd name="connsiteY431" fmla="*/ 671356 h 1898650"/>
                <a:gd name="connsiteX432" fmla="*/ 995479 w 1687513"/>
                <a:gd name="connsiteY432" fmla="*/ 717575 h 1898650"/>
                <a:gd name="connsiteX433" fmla="*/ 995518 w 1687513"/>
                <a:gd name="connsiteY433" fmla="*/ 717550 h 1898650"/>
                <a:gd name="connsiteX434" fmla="*/ 1011161 w 1687513"/>
                <a:gd name="connsiteY434" fmla="*/ 748771 h 1898650"/>
                <a:gd name="connsiteX435" fmla="*/ 1034625 w 1687513"/>
                <a:gd name="connsiteY435" fmla="*/ 787797 h 1898650"/>
                <a:gd name="connsiteX436" fmla="*/ 1065910 w 1687513"/>
                <a:gd name="connsiteY436" fmla="*/ 803408 h 1898650"/>
                <a:gd name="connsiteX437" fmla="*/ 1112103 w 1687513"/>
                <a:gd name="connsiteY437" fmla="*/ 849505 h 1898650"/>
                <a:gd name="connsiteX438" fmla="*/ 1113000 w 1687513"/>
                <a:gd name="connsiteY438" fmla="*/ 849393 h 1898650"/>
                <a:gd name="connsiteX439" fmla="*/ 1107954 w 1687513"/>
                <a:gd name="connsiteY439" fmla="*/ 844365 h 1898650"/>
                <a:gd name="connsiteX440" fmla="*/ 1066923 w 1687513"/>
                <a:gd name="connsiteY440" fmla="*/ 803474 h 1898650"/>
                <a:gd name="connsiteX441" fmla="*/ 1035661 w 1687513"/>
                <a:gd name="connsiteY441" fmla="*/ 787897 h 1898650"/>
                <a:gd name="connsiteX442" fmla="*/ 1012215 w 1687513"/>
                <a:gd name="connsiteY442" fmla="*/ 748953 h 1898650"/>
                <a:gd name="connsiteX443" fmla="*/ 996584 w 1687513"/>
                <a:gd name="connsiteY443" fmla="*/ 717799 h 1898650"/>
                <a:gd name="connsiteX444" fmla="*/ 973138 w 1687513"/>
                <a:gd name="connsiteY444" fmla="*/ 671067 h 1898650"/>
                <a:gd name="connsiteX445" fmla="*/ 980954 w 1687513"/>
                <a:gd name="connsiteY445" fmla="*/ 647701 h 1898650"/>
                <a:gd name="connsiteX446" fmla="*/ 988769 w 1687513"/>
                <a:gd name="connsiteY446" fmla="*/ 608757 h 1898650"/>
                <a:gd name="connsiteX447" fmla="*/ 1012215 w 1687513"/>
                <a:gd name="connsiteY447" fmla="*/ 593180 h 1898650"/>
                <a:gd name="connsiteX448" fmla="*/ 1020031 w 1687513"/>
                <a:gd name="connsiteY448" fmla="*/ 499716 h 1898650"/>
                <a:gd name="connsiteX449" fmla="*/ 1027846 w 1687513"/>
                <a:gd name="connsiteY449" fmla="*/ 507504 h 1898650"/>
                <a:gd name="connsiteX450" fmla="*/ 1027846 w 1687513"/>
                <a:gd name="connsiteY450" fmla="*/ 484138 h 1898650"/>
                <a:gd name="connsiteX451" fmla="*/ 1051292 w 1687513"/>
                <a:gd name="connsiteY451" fmla="*/ 484138 h 1898650"/>
                <a:gd name="connsiteX452" fmla="*/ 1059107 w 1687513"/>
                <a:gd name="connsiteY452" fmla="*/ 437406 h 1898650"/>
                <a:gd name="connsiteX453" fmla="*/ 1262307 w 1687513"/>
                <a:gd name="connsiteY453" fmla="*/ 437406 h 1898650"/>
                <a:gd name="connsiteX454" fmla="*/ 1301384 w 1687513"/>
                <a:gd name="connsiteY454" fmla="*/ 414040 h 1898650"/>
                <a:gd name="connsiteX455" fmla="*/ 1317015 w 1687513"/>
                <a:gd name="connsiteY455" fmla="*/ 398463 h 1898650"/>
                <a:gd name="connsiteX456" fmla="*/ 1340461 w 1687513"/>
                <a:gd name="connsiteY456" fmla="*/ 429618 h 1898650"/>
                <a:gd name="connsiteX457" fmla="*/ 1363907 w 1687513"/>
                <a:gd name="connsiteY457" fmla="*/ 499716 h 1898650"/>
                <a:gd name="connsiteX458" fmla="*/ 1370502 w 1687513"/>
                <a:gd name="connsiteY458" fmla="*/ 516145 h 1898650"/>
                <a:gd name="connsiteX459" fmla="*/ 1378915 w 1687513"/>
                <a:gd name="connsiteY459" fmla="*/ 537106 h 1898650"/>
                <a:gd name="connsiteX460" fmla="*/ 1379977 w 1687513"/>
                <a:gd name="connsiteY460" fmla="*/ 536575 h 1898650"/>
                <a:gd name="connsiteX461" fmla="*/ 1403587 w 1687513"/>
                <a:gd name="connsiteY461" fmla="*/ 583777 h 1898650"/>
                <a:gd name="connsiteX462" fmla="*/ 1442937 w 1687513"/>
                <a:gd name="connsiteY462" fmla="*/ 599511 h 1898650"/>
                <a:gd name="connsiteX463" fmla="*/ 1505896 w 1687513"/>
                <a:gd name="connsiteY463" fmla="*/ 693914 h 1898650"/>
                <a:gd name="connsiteX464" fmla="*/ 1513766 w 1687513"/>
                <a:gd name="connsiteY464" fmla="*/ 709648 h 1898650"/>
                <a:gd name="connsiteX465" fmla="*/ 1490156 w 1687513"/>
                <a:gd name="connsiteY465" fmla="*/ 725382 h 1898650"/>
                <a:gd name="connsiteX466" fmla="*/ 1505896 w 1687513"/>
                <a:gd name="connsiteY466" fmla="*/ 748983 h 1898650"/>
                <a:gd name="connsiteX467" fmla="*/ 1560986 w 1687513"/>
                <a:gd name="connsiteY467" fmla="*/ 780451 h 1898650"/>
                <a:gd name="connsiteX468" fmla="*/ 1561847 w 1687513"/>
                <a:gd name="connsiteY468" fmla="*/ 780574 h 1898650"/>
                <a:gd name="connsiteX469" fmla="*/ 1562024 w 1687513"/>
                <a:gd name="connsiteY469" fmla="*/ 780599 h 1898650"/>
                <a:gd name="connsiteX470" fmla="*/ 1507385 w 1687513"/>
                <a:gd name="connsiteY470" fmla="*/ 749727 h 1898650"/>
                <a:gd name="connsiteX471" fmla="*/ 1491722 w 1687513"/>
                <a:gd name="connsiteY471" fmla="*/ 726495 h 1898650"/>
                <a:gd name="connsiteX472" fmla="*/ 1515217 w 1687513"/>
                <a:gd name="connsiteY472" fmla="*/ 711007 h 1898650"/>
                <a:gd name="connsiteX473" fmla="*/ 1515217 w 1687513"/>
                <a:gd name="connsiteY473" fmla="*/ 718751 h 1898650"/>
                <a:gd name="connsiteX474" fmla="*/ 1546543 w 1687513"/>
                <a:gd name="connsiteY474" fmla="*/ 726495 h 1898650"/>
                <a:gd name="connsiteX475" fmla="*/ 1687513 w 1687513"/>
                <a:gd name="connsiteY475" fmla="*/ 703263 h 1898650"/>
                <a:gd name="connsiteX476" fmla="*/ 1671850 w 1687513"/>
                <a:gd name="connsiteY476" fmla="*/ 765214 h 1898650"/>
                <a:gd name="connsiteX477" fmla="*/ 1624860 w 1687513"/>
                <a:gd name="connsiteY477" fmla="*/ 873629 h 1898650"/>
                <a:gd name="connsiteX478" fmla="*/ 1570038 w 1687513"/>
                <a:gd name="connsiteY478" fmla="*/ 935580 h 1898650"/>
                <a:gd name="connsiteX479" fmla="*/ 1507385 w 1687513"/>
                <a:gd name="connsiteY479" fmla="*/ 966556 h 1898650"/>
                <a:gd name="connsiteX480" fmla="*/ 1468227 w 1687513"/>
                <a:gd name="connsiteY480" fmla="*/ 1020763 h 1898650"/>
                <a:gd name="connsiteX481" fmla="*/ 1452563 w 1687513"/>
                <a:gd name="connsiteY481" fmla="*/ 997532 h 1898650"/>
                <a:gd name="connsiteX482" fmla="*/ 1452563 w 1687513"/>
                <a:gd name="connsiteY482" fmla="*/ 920093 h 1898650"/>
                <a:gd name="connsiteX483" fmla="*/ 1476058 w 1687513"/>
                <a:gd name="connsiteY483" fmla="*/ 896861 h 1898650"/>
                <a:gd name="connsiteX484" fmla="*/ 1476058 w 1687513"/>
                <a:gd name="connsiteY484" fmla="*/ 889494 h 1898650"/>
                <a:gd name="connsiteX485" fmla="*/ 1474788 w 1687513"/>
                <a:gd name="connsiteY485" fmla="*/ 890340 h 1898650"/>
                <a:gd name="connsiteX486" fmla="*/ 1474788 w 1687513"/>
                <a:gd name="connsiteY486" fmla="*/ 896515 h 1898650"/>
                <a:gd name="connsiteX487" fmla="*/ 1451159 w 1687513"/>
                <a:gd name="connsiteY487" fmla="*/ 920010 h 1898650"/>
                <a:gd name="connsiteX488" fmla="*/ 1451159 w 1687513"/>
                <a:gd name="connsiteY488" fmla="*/ 998327 h 1898650"/>
                <a:gd name="connsiteX489" fmla="*/ 1466912 w 1687513"/>
                <a:gd name="connsiteY489" fmla="*/ 1021822 h 1898650"/>
                <a:gd name="connsiteX490" fmla="*/ 1443282 w 1687513"/>
                <a:gd name="connsiteY490" fmla="*/ 1045317 h 1898650"/>
                <a:gd name="connsiteX491" fmla="*/ 1411777 w 1687513"/>
                <a:gd name="connsiteY491" fmla="*/ 1092307 h 1898650"/>
                <a:gd name="connsiteX492" fmla="*/ 1407839 w 1687513"/>
                <a:gd name="connsiteY492" fmla="*/ 1093286 h 1898650"/>
                <a:gd name="connsiteX493" fmla="*/ 1404241 w 1687513"/>
                <a:gd name="connsiteY493" fmla="*/ 1099546 h 1898650"/>
                <a:gd name="connsiteX494" fmla="*/ 1405082 w 1687513"/>
                <a:gd name="connsiteY494" fmla="*/ 1100045 h 1898650"/>
                <a:gd name="connsiteX495" fmla="*/ 1389303 w 1687513"/>
                <a:gd name="connsiteY495" fmla="*/ 1115639 h 1898650"/>
                <a:gd name="connsiteX496" fmla="*/ 1405082 w 1687513"/>
                <a:gd name="connsiteY496" fmla="*/ 1154627 h 1898650"/>
                <a:gd name="connsiteX497" fmla="*/ 1412971 w 1687513"/>
                <a:gd name="connsiteY497" fmla="*/ 1224804 h 1898650"/>
                <a:gd name="connsiteX498" fmla="*/ 1419628 w 1687513"/>
                <a:gd name="connsiteY498" fmla="*/ 1234672 h 1898650"/>
                <a:gd name="connsiteX499" fmla="*/ 1428527 w 1687513"/>
                <a:gd name="connsiteY499" fmla="*/ 1247865 h 1898650"/>
                <a:gd name="connsiteX500" fmla="*/ 1428797 w 1687513"/>
                <a:gd name="connsiteY500" fmla="*/ 1247775 h 1898650"/>
                <a:gd name="connsiteX501" fmla="*/ 1428797 w 1687513"/>
                <a:gd name="connsiteY501" fmla="*/ 1279055 h 1898650"/>
                <a:gd name="connsiteX502" fmla="*/ 1436688 w 1687513"/>
                <a:gd name="connsiteY502" fmla="*/ 1333794 h 1898650"/>
                <a:gd name="connsiteX503" fmla="*/ 1428797 w 1687513"/>
                <a:gd name="connsiteY503" fmla="*/ 1372894 h 1898650"/>
                <a:gd name="connsiteX504" fmla="*/ 1405125 w 1687513"/>
                <a:gd name="connsiteY504" fmla="*/ 1404173 h 1898650"/>
                <a:gd name="connsiteX505" fmla="*/ 1334108 w 1687513"/>
                <a:gd name="connsiteY505" fmla="*/ 1443273 h 1898650"/>
                <a:gd name="connsiteX506" fmla="*/ 1294653 w 1687513"/>
                <a:gd name="connsiteY506" fmla="*/ 1490192 h 1898650"/>
                <a:gd name="connsiteX507" fmla="*/ 1310435 w 1687513"/>
                <a:gd name="connsiteY507" fmla="*/ 1560572 h 1898650"/>
                <a:gd name="connsiteX508" fmla="*/ 1294653 w 1687513"/>
                <a:gd name="connsiteY508" fmla="*/ 1599671 h 1898650"/>
                <a:gd name="connsiteX509" fmla="*/ 1239418 w 1687513"/>
                <a:gd name="connsiteY509" fmla="*/ 1646591 h 1898650"/>
                <a:gd name="connsiteX510" fmla="*/ 1239418 w 1687513"/>
                <a:gd name="connsiteY510" fmla="*/ 1670050 h 1898650"/>
                <a:gd name="connsiteX511" fmla="*/ 1223636 w 1687513"/>
                <a:gd name="connsiteY511" fmla="*/ 1670050 h 1898650"/>
                <a:gd name="connsiteX512" fmla="*/ 1215745 w 1687513"/>
                <a:gd name="connsiteY512" fmla="*/ 1552752 h 1898650"/>
                <a:gd name="connsiteX513" fmla="*/ 1214828 w 1687513"/>
                <a:gd name="connsiteY513" fmla="*/ 1552752 h 1898650"/>
                <a:gd name="connsiteX514" fmla="*/ 1222624 w 1687513"/>
                <a:gd name="connsiteY514" fmla="*/ 1670509 h 1898650"/>
                <a:gd name="connsiteX515" fmla="*/ 1238250 w 1687513"/>
                <a:gd name="connsiteY515" fmla="*/ 1670509 h 1898650"/>
                <a:gd name="connsiteX516" fmla="*/ 1206998 w 1687513"/>
                <a:gd name="connsiteY516" fmla="*/ 1741312 h 1898650"/>
                <a:gd name="connsiteX517" fmla="*/ 1089804 w 1687513"/>
                <a:gd name="connsiteY517" fmla="*/ 1867183 h 1898650"/>
                <a:gd name="connsiteX518" fmla="*/ 1035113 w 1687513"/>
                <a:gd name="connsiteY518" fmla="*/ 1875049 h 1898650"/>
                <a:gd name="connsiteX519" fmla="*/ 972609 w 1687513"/>
                <a:gd name="connsiteY519" fmla="*/ 1882916 h 1898650"/>
                <a:gd name="connsiteX520" fmla="*/ 910105 w 1687513"/>
                <a:gd name="connsiteY520" fmla="*/ 1898650 h 1898650"/>
                <a:gd name="connsiteX521" fmla="*/ 878853 w 1687513"/>
                <a:gd name="connsiteY521" fmla="*/ 1851449 h 1898650"/>
                <a:gd name="connsiteX522" fmla="*/ 878853 w 1687513"/>
                <a:gd name="connsiteY522" fmla="*/ 1819981 h 1898650"/>
                <a:gd name="connsiteX523" fmla="*/ 855414 w 1687513"/>
                <a:gd name="connsiteY523" fmla="*/ 1757045 h 1898650"/>
                <a:gd name="connsiteX524" fmla="*/ 839788 w 1687513"/>
                <a:gd name="connsiteY524" fmla="*/ 1733445 h 1898650"/>
                <a:gd name="connsiteX525" fmla="*/ 847601 w 1687513"/>
                <a:gd name="connsiteY525" fmla="*/ 1717711 h 1898650"/>
                <a:gd name="connsiteX526" fmla="*/ 886666 w 1687513"/>
                <a:gd name="connsiteY526" fmla="*/ 1733445 h 1898650"/>
                <a:gd name="connsiteX527" fmla="*/ 910105 w 1687513"/>
                <a:gd name="connsiteY527" fmla="*/ 1725578 h 1898650"/>
                <a:gd name="connsiteX528" fmla="*/ 920573 w 1687513"/>
                <a:gd name="connsiteY528" fmla="*/ 1651795 h 1898650"/>
                <a:gd name="connsiteX529" fmla="*/ 925543 w 1687513"/>
                <a:gd name="connsiteY529" fmla="*/ 1616769 h 1898650"/>
                <a:gd name="connsiteX530" fmla="*/ 925524 w 1687513"/>
                <a:gd name="connsiteY530" fmla="*/ 1616732 h 1898650"/>
                <a:gd name="connsiteX531" fmla="*/ 910025 w 1687513"/>
                <a:gd name="connsiteY531" fmla="*/ 1724215 h 1898650"/>
                <a:gd name="connsiteX532" fmla="*/ 886561 w 1687513"/>
                <a:gd name="connsiteY532" fmla="*/ 1731963 h 1898650"/>
                <a:gd name="connsiteX533" fmla="*/ 847455 w 1687513"/>
                <a:gd name="connsiteY533" fmla="*/ 1716466 h 1898650"/>
                <a:gd name="connsiteX534" fmla="*/ 839633 w 1687513"/>
                <a:gd name="connsiteY534" fmla="*/ 1731963 h 1898650"/>
                <a:gd name="connsiteX535" fmla="*/ 800527 w 1687513"/>
                <a:gd name="connsiteY535" fmla="*/ 1693221 h 1898650"/>
                <a:gd name="connsiteX536" fmla="*/ 784884 w 1687513"/>
                <a:gd name="connsiteY536" fmla="*/ 1592490 h 1898650"/>
                <a:gd name="connsiteX537" fmla="*/ 777063 w 1687513"/>
                <a:gd name="connsiteY537" fmla="*/ 1569244 h 1898650"/>
                <a:gd name="connsiteX538" fmla="*/ 722313 w 1687513"/>
                <a:gd name="connsiteY538" fmla="*/ 1460765 h 1898650"/>
                <a:gd name="connsiteX539" fmla="*/ 730135 w 1687513"/>
                <a:gd name="connsiteY539" fmla="*/ 1414274 h 1898650"/>
                <a:gd name="connsiteX540" fmla="*/ 745731 w 1687513"/>
                <a:gd name="connsiteY540" fmla="*/ 1406548 h 1898650"/>
                <a:gd name="connsiteX541" fmla="*/ 744371 w 1687513"/>
                <a:gd name="connsiteY541" fmla="*/ 1405188 h 1898650"/>
                <a:gd name="connsiteX542" fmla="*/ 728663 w 1687513"/>
                <a:gd name="connsiteY542" fmla="*/ 1413042 h 1898650"/>
                <a:gd name="connsiteX543" fmla="*/ 728663 w 1687513"/>
                <a:gd name="connsiteY543" fmla="*/ 1350211 h 1898650"/>
                <a:gd name="connsiteX544" fmla="*/ 760079 w 1687513"/>
                <a:gd name="connsiteY544" fmla="*/ 1295233 h 1898650"/>
                <a:gd name="connsiteX545" fmla="*/ 752225 w 1687513"/>
                <a:gd name="connsiteY545" fmla="*/ 1248109 h 1898650"/>
                <a:gd name="connsiteX546" fmla="*/ 736517 w 1687513"/>
                <a:gd name="connsiteY546" fmla="*/ 1146008 h 1898650"/>
                <a:gd name="connsiteX547" fmla="*/ 760079 w 1687513"/>
                <a:gd name="connsiteY547" fmla="*/ 1130300 h 1898650"/>
                <a:gd name="connsiteX548" fmla="*/ 822911 w 1687513"/>
                <a:gd name="connsiteY548" fmla="*/ 1130300 h 1898650"/>
                <a:gd name="connsiteX549" fmla="*/ 870034 w 1687513"/>
                <a:gd name="connsiteY549" fmla="*/ 1177424 h 1898650"/>
                <a:gd name="connsiteX550" fmla="*/ 893596 w 1687513"/>
                <a:gd name="connsiteY550" fmla="*/ 1177424 h 1898650"/>
                <a:gd name="connsiteX551" fmla="*/ 917158 w 1687513"/>
                <a:gd name="connsiteY551" fmla="*/ 1161716 h 1898650"/>
                <a:gd name="connsiteX552" fmla="*/ 964282 w 1687513"/>
                <a:gd name="connsiteY552" fmla="*/ 1161716 h 1898650"/>
                <a:gd name="connsiteX553" fmla="*/ 979990 w 1687513"/>
                <a:gd name="connsiteY553" fmla="*/ 1255963 h 1898650"/>
                <a:gd name="connsiteX554" fmla="*/ 1027113 w 1687513"/>
                <a:gd name="connsiteY554" fmla="*/ 1263817 h 1898650"/>
                <a:gd name="connsiteX555" fmla="*/ 1027113 w 1687513"/>
                <a:gd name="connsiteY555" fmla="*/ 1263968 h 1898650"/>
                <a:gd name="connsiteX556" fmla="*/ 1031585 w 1687513"/>
                <a:gd name="connsiteY556" fmla="*/ 1263968 h 1898650"/>
                <a:gd name="connsiteX557" fmla="*/ 1065988 w 1687513"/>
                <a:gd name="connsiteY557" fmla="*/ 1263968 h 1898650"/>
                <a:gd name="connsiteX558" fmla="*/ 1113170 w 1687513"/>
                <a:gd name="connsiteY558" fmla="*/ 1287304 h 1898650"/>
                <a:gd name="connsiteX559" fmla="*/ 1160352 w 1687513"/>
                <a:gd name="connsiteY559" fmla="*/ 1310640 h 1898650"/>
                <a:gd name="connsiteX560" fmla="*/ 1160352 w 1687513"/>
                <a:gd name="connsiteY560" fmla="*/ 1309473 h 1898650"/>
                <a:gd name="connsiteX561" fmla="*/ 1160050 w 1687513"/>
                <a:gd name="connsiteY561" fmla="*/ 1309322 h 1898650"/>
                <a:gd name="connsiteX562" fmla="*/ 1113645 w 1687513"/>
                <a:gd name="connsiteY562" fmla="*/ 1286279 h 1898650"/>
                <a:gd name="connsiteX563" fmla="*/ 1066505 w 1687513"/>
                <a:gd name="connsiteY563" fmla="*/ 1262870 h 1898650"/>
                <a:gd name="connsiteX564" fmla="*/ 1027221 w 1687513"/>
                <a:gd name="connsiteY564" fmla="*/ 1262870 h 1898650"/>
                <a:gd name="connsiteX565" fmla="*/ 980080 w 1687513"/>
                <a:gd name="connsiteY565" fmla="*/ 1255067 h 1898650"/>
                <a:gd name="connsiteX566" fmla="*/ 964367 w 1687513"/>
                <a:gd name="connsiteY566" fmla="*/ 1161432 h 1898650"/>
                <a:gd name="connsiteX567" fmla="*/ 917226 w 1687513"/>
                <a:gd name="connsiteY567" fmla="*/ 1161432 h 1898650"/>
                <a:gd name="connsiteX568" fmla="*/ 893656 w 1687513"/>
                <a:gd name="connsiteY568" fmla="*/ 1177038 h 1898650"/>
                <a:gd name="connsiteX569" fmla="*/ 870085 w 1687513"/>
                <a:gd name="connsiteY569" fmla="*/ 1177038 h 1898650"/>
                <a:gd name="connsiteX570" fmla="*/ 822945 w 1687513"/>
                <a:gd name="connsiteY570" fmla="*/ 1130220 h 1898650"/>
                <a:gd name="connsiteX571" fmla="*/ 760090 w 1687513"/>
                <a:gd name="connsiteY571" fmla="*/ 1130220 h 1898650"/>
                <a:gd name="connsiteX572" fmla="*/ 736520 w 1687513"/>
                <a:gd name="connsiteY572" fmla="*/ 1145826 h 1898650"/>
                <a:gd name="connsiteX573" fmla="*/ 728663 w 1687513"/>
                <a:gd name="connsiteY573" fmla="*/ 1122417 h 1898650"/>
                <a:gd name="connsiteX574" fmla="*/ 729219 w 1687513"/>
                <a:gd name="connsiteY574" fmla="*/ 1121865 h 1898650"/>
                <a:gd name="connsiteX575" fmla="*/ 721932 w 1687513"/>
                <a:gd name="connsiteY575" fmla="*/ 1092835 h 1898650"/>
                <a:gd name="connsiteX576" fmla="*/ 698500 w 1687513"/>
                <a:gd name="connsiteY576" fmla="*/ 1069499 h 1898650"/>
                <a:gd name="connsiteX577" fmla="*/ 714121 w 1687513"/>
                <a:gd name="connsiteY577" fmla="*/ 1053942 h 1898650"/>
                <a:gd name="connsiteX578" fmla="*/ 737553 w 1687513"/>
                <a:gd name="connsiteY578" fmla="*/ 1038384 h 1898650"/>
                <a:gd name="connsiteX579" fmla="*/ 760984 w 1687513"/>
                <a:gd name="connsiteY579" fmla="*/ 1038384 h 1898650"/>
                <a:gd name="connsiteX580" fmla="*/ 768795 w 1687513"/>
                <a:gd name="connsiteY580" fmla="*/ 999491 h 1898650"/>
                <a:gd name="connsiteX581" fmla="*/ 776605 w 1687513"/>
                <a:gd name="connsiteY581" fmla="*/ 960597 h 1898650"/>
                <a:gd name="connsiteX582" fmla="*/ 760984 w 1687513"/>
                <a:gd name="connsiteY582" fmla="*/ 952818 h 1898650"/>
                <a:gd name="connsiteX583" fmla="*/ 760984 w 1687513"/>
                <a:gd name="connsiteY583" fmla="*/ 937506 h 1898650"/>
                <a:gd name="connsiteX584" fmla="*/ 759752 w 1687513"/>
                <a:gd name="connsiteY584" fmla="*/ 938213 h 1898650"/>
                <a:gd name="connsiteX585" fmla="*/ 760625 w 1687513"/>
                <a:gd name="connsiteY585" fmla="*/ 938213 h 1898650"/>
                <a:gd name="connsiteX586" fmla="*/ 760625 w 1687513"/>
                <a:gd name="connsiteY586" fmla="*/ 953528 h 1898650"/>
                <a:gd name="connsiteX587" fmla="*/ 776288 w 1687513"/>
                <a:gd name="connsiteY587" fmla="*/ 961185 h 1898650"/>
                <a:gd name="connsiteX588" fmla="*/ 768457 w 1687513"/>
                <a:gd name="connsiteY588" fmla="*/ 999472 h 1898650"/>
                <a:gd name="connsiteX589" fmla="*/ 760625 w 1687513"/>
                <a:gd name="connsiteY589" fmla="*/ 1037759 h 1898650"/>
                <a:gd name="connsiteX590" fmla="*/ 737130 w 1687513"/>
                <a:gd name="connsiteY590" fmla="*/ 1037759 h 1898650"/>
                <a:gd name="connsiteX591" fmla="*/ 713635 w 1687513"/>
                <a:gd name="connsiteY591" fmla="*/ 1053074 h 1898650"/>
                <a:gd name="connsiteX592" fmla="*/ 697972 w 1687513"/>
                <a:gd name="connsiteY592" fmla="*/ 1068388 h 1898650"/>
                <a:gd name="connsiteX593" fmla="*/ 658813 w 1687513"/>
                <a:gd name="connsiteY593" fmla="*/ 1007129 h 1898650"/>
                <a:gd name="connsiteX594" fmla="*/ 658813 w 1687513"/>
                <a:gd name="connsiteY594" fmla="*/ 961185 h 1898650"/>
                <a:gd name="connsiteX595" fmla="*/ 658813 w 1687513"/>
                <a:gd name="connsiteY595" fmla="*/ 938213 h 1898650"/>
                <a:gd name="connsiteX596" fmla="*/ 658284 w 1687513"/>
                <a:gd name="connsiteY596" fmla="*/ 938213 h 1898650"/>
                <a:gd name="connsiteX597" fmla="*/ 650479 w 1687513"/>
                <a:gd name="connsiteY597" fmla="*/ 883324 h 1898650"/>
                <a:gd name="connsiteX598" fmla="*/ 627063 w 1687513"/>
                <a:gd name="connsiteY598" fmla="*/ 883324 h 1898650"/>
                <a:gd name="connsiteX599" fmla="*/ 627246 w 1687513"/>
                <a:gd name="connsiteY599" fmla="*/ 882404 h 1898650"/>
                <a:gd name="connsiteX600" fmla="*/ 596984 w 1687513"/>
                <a:gd name="connsiteY600" fmla="*/ 874844 h 1898650"/>
                <a:gd name="connsiteX601" fmla="*/ 565736 w 1687513"/>
                <a:gd name="connsiteY601" fmla="*/ 867039 h 1898650"/>
                <a:gd name="connsiteX602" fmla="*/ 534487 w 1687513"/>
                <a:gd name="connsiteY602" fmla="*/ 828009 h 1898650"/>
                <a:gd name="connsiteX603" fmla="*/ 503238 w 1687513"/>
                <a:gd name="connsiteY603" fmla="*/ 828009 h 1898650"/>
                <a:gd name="connsiteX604" fmla="*/ 503238 w 1687513"/>
                <a:gd name="connsiteY604" fmla="*/ 788980 h 1898650"/>
                <a:gd name="connsiteX605" fmla="*/ 518863 w 1687513"/>
                <a:gd name="connsiteY605" fmla="*/ 734339 h 1898650"/>
                <a:gd name="connsiteX606" fmla="*/ 518863 w 1687513"/>
                <a:gd name="connsiteY606" fmla="*/ 703116 h 1898650"/>
                <a:gd name="connsiteX607" fmla="*/ 518863 w 1687513"/>
                <a:gd name="connsiteY607" fmla="*/ 679698 h 1898650"/>
                <a:gd name="connsiteX608" fmla="*/ 534487 w 1687513"/>
                <a:gd name="connsiteY608" fmla="*/ 656280 h 1898650"/>
                <a:gd name="connsiteX609" fmla="*/ 564916 w 1687513"/>
                <a:gd name="connsiteY609" fmla="*/ 656280 h 1898650"/>
                <a:gd name="connsiteX610" fmla="*/ 564071 w 1687513"/>
                <a:gd name="connsiteY610" fmla="*/ 656001 h 1898650"/>
                <a:gd name="connsiteX611" fmla="*/ 532575 w 1687513"/>
                <a:gd name="connsiteY611" fmla="*/ 656001 h 1898650"/>
                <a:gd name="connsiteX612" fmla="*/ 517525 w 1687513"/>
                <a:gd name="connsiteY612" fmla="*/ 678411 h 1898650"/>
                <a:gd name="connsiteX613" fmla="*/ 517525 w 1687513"/>
                <a:gd name="connsiteY613" fmla="*/ 701358 h 1898650"/>
                <a:gd name="connsiteX614" fmla="*/ 517525 w 1687513"/>
                <a:gd name="connsiteY614" fmla="*/ 732790 h 1898650"/>
                <a:gd name="connsiteX615" fmla="*/ 501650 w 1687513"/>
                <a:gd name="connsiteY615" fmla="*/ 787797 h 1898650"/>
                <a:gd name="connsiteX616" fmla="*/ 501650 w 1687513"/>
                <a:gd name="connsiteY616" fmla="*/ 827088 h 1898650"/>
                <a:gd name="connsiteX617" fmla="*/ 485775 w 1687513"/>
                <a:gd name="connsiteY617" fmla="*/ 827088 h 1898650"/>
                <a:gd name="connsiteX618" fmla="*/ 461963 w 1687513"/>
                <a:gd name="connsiteY618" fmla="*/ 787797 h 1898650"/>
                <a:gd name="connsiteX619" fmla="*/ 454026 w 1687513"/>
                <a:gd name="connsiteY619" fmla="*/ 732794 h 1898650"/>
                <a:gd name="connsiteX620" fmla="*/ 454026 w 1687513"/>
                <a:gd name="connsiteY620" fmla="*/ 734417 h 1898650"/>
                <a:gd name="connsiteX621" fmla="*/ 461963 w 1687513"/>
                <a:gd name="connsiteY621" fmla="*/ 788591 h 1898650"/>
                <a:gd name="connsiteX622" fmla="*/ 485775 w 1687513"/>
                <a:gd name="connsiteY622" fmla="*/ 827286 h 1898650"/>
                <a:gd name="connsiteX623" fmla="*/ 454026 w 1687513"/>
                <a:gd name="connsiteY623" fmla="*/ 835025 h 1898650"/>
                <a:gd name="connsiteX624" fmla="*/ 453647 w 1687513"/>
                <a:gd name="connsiteY624" fmla="*/ 833919 h 1898650"/>
                <a:gd name="connsiteX625" fmla="*/ 399317 w 1687513"/>
                <a:gd name="connsiteY625" fmla="*/ 849313 h 1898650"/>
                <a:gd name="connsiteX626" fmla="*/ 360277 w 1687513"/>
                <a:gd name="connsiteY626" fmla="*/ 849313 h 1898650"/>
                <a:gd name="connsiteX627" fmla="*/ 360446 w 1687513"/>
                <a:gd name="connsiteY627" fmla="*/ 849814 h 1898650"/>
                <a:gd name="connsiteX628" fmla="*/ 336884 w 1687513"/>
                <a:gd name="connsiteY628" fmla="*/ 849814 h 1898650"/>
                <a:gd name="connsiteX629" fmla="*/ 281906 w 1687513"/>
                <a:gd name="connsiteY629" fmla="*/ 873125 h 1898650"/>
                <a:gd name="connsiteX630" fmla="*/ 250491 w 1687513"/>
                <a:gd name="connsiteY630" fmla="*/ 873125 h 1898650"/>
                <a:gd name="connsiteX631" fmla="*/ 250491 w 1687513"/>
                <a:gd name="connsiteY631" fmla="*/ 849814 h 1898650"/>
                <a:gd name="connsiteX632" fmla="*/ 226929 w 1687513"/>
                <a:gd name="connsiteY632" fmla="*/ 834273 h 1898650"/>
                <a:gd name="connsiteX633" fmla="*/ 226929 w 1687513"/>
                <a:gd name="connsiteY633" fmla="*/ 810962 h 1898650"/>
                <a:gd name="connsiteX634" fmla="*/ 225947 w 1687513"/>
                <a:gd name="connsiteY634" fmla="*/ 809991 h 1898650"/>
                <a:gd name="connsiteX635" fmla="*/ 219238 w 1687513"/>
                <a:gd name="connsiteY635" fmla="*/ 803353 h 1898650"/>
                <a:gd name="connsiteX636" fmla="*/ 219207 w 1687513"/>
                <a:gd name="connsiteY636" fmla="*/ 803364 h 1898650"/>
                <a:gd name="connsiteX637" fmla="*/ 203464 w 1687513"/>
                <a:gd name="connsiteY637" fmla="*/ 811213 h 1898650"/>
                <a:gd name="connsiteX638" fmla="*/ 197708 w 1687513"/>
                <a:gd name="connsiteY638" fmla="*/ 807549 h 1898650"/>
                <a:gd name="connsiteX639" fmla="*/ 198074 w 1687513"/>
                <a:gd name="connsiteY639" fmla="*/ 808145 h 1898650"/>
                <a:gd name="connsiteX640" fmla="*/ 203654 w 1687513"/>
                <a:gd name="connsiteY640" fmla="*/ 811742 h 1898650"/>
                <a:gd name="connsiteX641" fmla="*/ 218848 w 1687513"/>
                <a:gd name="connsiteY641" fmla="*/ 804069 h 1898650"/>
                <a:gd name="connsiteX642" fmla="*/ 226446 w 1687513"/>
                <a:gd name="connsiteY642" fmla="*/ 811742 h 1898650"/>
                <a:gd name="connsiteX643" fmla="*/ 226446 w 1687513"/>
                <a:gd name="connsiteY643" fmla="*/ 834761 h 1898650"/>
                <a:gd name="connsiteX644" fmla="*/ 249238 w 1687513"/>
                <a:gd name="connsiteY644" fmla="*/ 850106 h 1898650"/>
                <a:gd name="connsiteX645" fmla="*/ 249238 w 1687513"/>
                <a:gd name="connsiteY645" fmla="*/ 873125 h 1898650"/>
                <a:gd name="connsiteX646" fmla="*/ 218848 w 1687513"/>
                <a:gd name="connsiteY646" fmla="*/ 873125 h 1898650"/>
                <a:gd name="connsiteX647" fmla="*/ 150472 w 1687513"/>
                <a:gd name="connsiteY647" fmla="*/ 827088 h 1898650"/>
                <a:gd name="connsiteX648" fmla="*/ 142875 w 1687513"/>
                <a:gd name="connsiteY648" fmla="*/ 819415 h 1898650"/>
                <a:gd name="connsiteX649" fmla="*/ 150472 w 1687513"/>
                <a:gd name="connsiteY649" fmla="*/ 804069 h 1898650"/>
                <a:gd name="connsiteX650" fmla="*/ 165667 w 1687513"/>
                <a:gd name="connsiteY650" fmla="*/ 796396 h 1898650"/>
                <a:gd name="connsiteX651" fmla="*/ 173264 w 1687513"/>
                <a:gd name="connsiteY651" fmla="*/ 781050 h 1898650"/>
                <a:gd name="connsiteX652" fmla="*/ 175164 w 1687513"/>
                <a:gd name="connsiteY652" fmla="*/ 782009 h 1898650"/>
                <a:gd name="connsiteX653" fmla="*/ 188031 w 1687513"/>
                <a:gd name="connsiteY653" fmla="*/ 788507 h 1898650"/>
                <a:gd name="connsiteX654" fmla="*/ 187722 w 1687513"/>
                <a:gd name="connsiteY654" fmla="*/ 787665 h 1898650"/>
                <a:gd name="connsiteX655" fmla="*/ 185754 w 1687513"/>
                <a:gd name="connsiteY655" fmla="*/ 786684 h 1898650"/>
                <a:gd name="connsiteX656" fmla="*/ 173035 w 1687513"/>
                <a:gd name="connsiteY656" fmla="*/ 780342 h 1898650"/>
                <a:gd name="connsiteX657" fmla="*/ 173038 w 1687513"/>
                <a:gd name="connsiteY657" fmla="*/ 780345 h 1898650"/>
                <a:gd name="connsiteX658" fmla="*/ 165100 w 1687513"/>
                <a:gd name="connsiteY658" fmla="*/ 795867 h 1898650"/>
                <a:gd name="connsiteX659" fmla="*/ 149225 w 1687513"/>
                <a:gd name="connsiteY659" fmla="*/ 803628 h 1898650"/>
                <a:gd name="connsiteX660" fmla="*/ 141288 w 1687513"/>
                <a:gd name="connsiteY660" fmla="*/ 819150 h 1898650"/>
                <a:gd name="connsiteX661" fmla="*/ 109538 w 1687513"/>
                <a:gd name="connsiteY661" fmla="*/ 788106 h 1898650"/>
                <a:gd name="connsiteX662" fmla="*/ 93663 w 1687513"/>
                <a:gd name="connsiteY662" fmla="*/ 772584 h 1898650"/>
                <a:gd name="connsiteX663" fmla="*/ 109538 w 1687513"/>
                <a:gd name="connsiteY663" fmla="*/ 764822 h 1898650"/>
                <a:gd name="connsiteX664" fmla="*/ 117475 w 1687513"/>
                <a:gd name="connsiteY664" fmla="*/ 749300 h 1898650"/>
                <a:gd name="connsiteX665" fmla="*/ 148955 w 1687513"/>
                <a:gd name="connsiteY665" fmla="*/ 749300 h 1898650"/>
                <a:gd name="connsiteX666" fmla="*/ 148365 w 1687513"/>
                <a:gd name="connsiteY666" fmla="*/ 748419 h 1898650"/>
                <a:gd name="connsiteX667" fmla="*/ 116880 w 1687513"/>
                <a:gd name="connsiteY667" fmla="*/ 748419 h 1898650"/>
                <a:gd name="connsiteX668" fmla="*/ 109009 w 1687513"/>
                <a:gd name="connsiteY668" fmla="*/ 764117 h 1898650"/>
                <a:gd name="connsiteX669" fmla="*/ 93266 w 1687513"/>
                <a:gd name="connsiteY669" fmla="*/ 771967 h 1898650"/>
                <a:gd name="connsiteX670" fmla="*/ 53909 w 1687513"/>
                <a:gd name="connsiteY670" fmla="*/ 717021 h 1898650"/>
                <a:gd name="connsiteX671" fmla="*/ 52925 w 1687513"/>
                <a:gd name="connsiteY671" fmla="*/ 717021 h 1898650"/>
                <a:gd name="connsiteX672" fmla="*/ 47804 w 1687513"/>
                <a:gd name="connsiteY672" fmla="*/ 717021 h 1898650"/>
                <a:gd name="connsiteX673" fmla="*/ 47030 w 1687513"/>
                <a:gd name="connsiteY673" fmla="*/ 717550 h 1898650"/>
                <a:gd name="connsiteX674" fmla="*/ 46720 w 1687513"/>
                <a:gd name="connsiteY674" fmla="*/ 717021 h 1898650"/>
                <a:gd name="connsiteX675" fmla="*/ 46038 w 1687513"/>
                <a:gd name="connsiteY675" fmla="*/ 717021 h 1898650"/>
                <a:gd name="connsiteX676" fmla="*/ 46529 w 1687513"/>
                <a:gd name="connsiteY676" fmla="*/ 716695 h 1898650"/>
                <a:gd name="connsiteX677" fmla="*/ 24742 w 1687513"/>
                <a:gd name="connsiteY677" fmla="*/ 679450 h 1898650"/>
                <a:gd name="connsiteX678" fmla="*/ 23311 w 1687513"/>
                <a:gd name="connsiteY678" fmla="*/ 679450 h 1898650"/>
                <a:gd name="connsiteX679" fmla="*/ 15541 w 1687513"/>
                <a:gd name="connsiteY679" fmla="*/ 679450 h 1898650"/>
                <a:gd name="connsiteX680" fmla="*/ 0 w 1687513"/>
                <a:gd name="connsiteY680" fmla="*/ 624541 h 1898650"/>
                <a:gd name="connsiteX681" fmla="*/ 15541 w 1687513"/>
                <a:gd name="connsiteY681" fmla="*/ 576169 h 1898650"/>
                <a:gd name="connsiteX682" fmla="*/ 16376 w 1687513"/>
                <a:gd name="connsiteY682" fmla="*/ 576169 h 1898650"/>
                <a:gd name="connsiteX683" fmla="*/ 17755 w 1687513"/>
                <a:gd name="connsiteY683" fmla="*/ 574119 h 1898650"/>
                <a:gd name="connsiteX684" fmla="*/ 31500 w 1687513"/>
                <a:gd name="connsiteY684" fmla="*/ 553689 h 1898650"/>
                <a:gd name="connsiteX685" fmla="*/ 31500 w 1687513"/>
                <a:gd name="connsiteY685" fmla="*/ 499211 h 1898650"/>
                <a:gd name="connsiteX686" fmla="*/ 7938 w 1687513"/>
                <a:gd name="connsiteY686" fmla="*/ 452515 h 1898650"/>
                <a:gd name="connsiteX687" fmla="*/ 15792 w 1687513"/>
                <a:gd name="connsiteY687" fmla="*/ 444732 h 1898650"/>
                <a:gd name="connsiteX688" fmla="*/ 110039 w 1687513"/>
                <a:gd name="connsiteY688" fmla="*/ 452515 h 1898650"/>
                <a:gd name="connsiteX689" fmla="*/ 117893 w 1687513"/>
                <a:gd name="connsiteY689" fmla="*/ 398037 h 1898650"/>
                <a:gd name="connsiteX690" fmla="*/ 133601 w 1687513"/>
                <a:gd name="connsiteY690" fmla="*/ 382472 h 1898650"/>
                <a:gd name="connsiteX691" fmla="*/ 141455 w 1687513"/>
                <a:gd name="connsiteY691" fmla="*/ 320211 h 1898650"/>
                <a:gd name="connsiteX692" fmla="*/ 219994 w 1687513"/>
                <a:gd name="connsiteY692" fmla="*/ 320211 h 1898650"/>
                <a:gd name="connsiteX693" fmla="*/ 219994 w 1687513"/>
                <a:gd name="connsiteY693" fmla="*/ 310361 h 1898650"/>
                <a:gd name="connsiteX694" fmla="*/ 219994 w 1687513"/>
                <a:gd name="connsiteY694" fmla="*/ 297086 h 1898650"/>
                <a:gd name="connsiteX695" fmla="*/ 219075 w 1687513"/>
                <a:gd name="connsiteY695" fmla="*/ 296382 h 1898650"/>
                <a:gd name="connsiteX696" fmla="*/ 219075 w 1687513"/>
                <a:gd name="connsiteY696" fmla="*/ 296863 h 1898650"/>
                <a:gd name="connsiteX697" fmla="*/ 219075 w 1687513"/>
                <a:gd name="connsiteY697" fmla="*/ 299140 h 1898650"/>
                <a:gd name="connsiteX698" fmla="*/ 219075 w 1687513"/>
                <a:gd name="connsiteY698" fmla="*/ 319432 h 1898650"/>
                <a:gd name="connsiteX699" fmla="*/ 140311 w 1687513"/>
                <a:gd name="connsiteY699" fmla="*/ 319432 h 1898650"/>
                <a:gd name="connsiteX700" fmla="*/ 132434 w 1687513"/>
                <a:gd name="connsiteY700" fmla="*/ 381276 h 1898650"/>
                <a:gd name="connsiteX701" fmla="*/ 116681 w 1687513"/>
                <a:gd name="connsiteY701" fmla="*/ 396737 h 1898650"/>
                <a:gd name="connsiteX702" fmla="*/ 108805 w 1687513"/>
                <a:gd name="connsiteY702" fmla="*/ 450850 h 1898650"/>
                <a:gd name="connsiteX703" fmla="*/ 14288 w 1687513"/>
                <a:gd name="connsiteY703" fmla="*/ 443119 h 1898650"/>
                <a:gd name="connsiteX704" fmla="*/ 45794 w 1687513"/>
                <a:gd name="connsiteY704" fmla="*/ 373546 h 1898650"/>
                <a:gd name="connsiteX705" fmla="*/ 85176 w 1687513"/>
                <a:gd name="connsiteY705" fmla="*/ 288511 h 1898650"/>
                <a:gd name="connsiteX706" fmla="*/ 100929 w 1687513"/>
                <a:gd name="connsiteY706" fmla="*/ 273050 h 1898650"/>
                <a:gd name="connsiteX707" fmla="*/ 102652 w 1687513"/>
                <a:gd name="connsiteY707" fmla="*/ 273050 h 1898650"/>
                <a:gd name="connsiteX708" fmla="*/ 103188 w 1687513"/>
                <a:gd name="connsiteY708" fmla="*/ 273050 h 1898650"/>
                <a:gd name="connsiteX709" fmla="*/ 118812 w 1687513"/>
                <a:gd name="connsiteY709" fmla="*/ 257394 h 1898650"/>
                <a:gd name="connsiteX710" fmla="*/ 189121 w 1687513"/>
                <a:gd name="connsiteY710" fmla="*/ 226082 h 1898650"/>
                <a:gd name="connsiteX711" fmla="*/ 196934 w 1687513"/>
                <a:gd name="connsiteY711" fmla="*/ 163458 h 1898650"/>
                <a:gd name="connsiteX712" fmla="*/ 228182 w 1687513"/>
                <a:gd name="connsiteY712" fmla="*/ 124318 h 1898650"/>
                <a:gd name="connsiteX713" fmla="*/ 259431 w 1687513"/>
                <a:gd name="connsiteY713" fmla="*/ 93006 h 1898650"/>
                <a:gd name="connsiteX714" fmla="*/ 290680 w 1687513"/>
                <a:gd name="connsiteY714" fmla="*/ 46038 h 1898650"/>
                <a:gd name="connsiteX715" fmla="*/ 321928 w 1687513"/>
                <a:gd name="connsiteY715" fmla="*/ 61694 h 1898650"/>
                <a:gd name="connsiteX716" fmla="*/ 345365 w 1687513"/>
                <a:gd name="connsiteY716" fmla="*/ 61694 h 1898650"/>
                <a:gd name="connsiteX717" fmla="*/ 376613 w 1687513"/>
                <a:gd name="connsiteY717" fmla="*/ 61694 h 1898650"/>
                <a:gd name="connsiteX718" fmla="*/ 383842 w 1687513"/>
                <a:gd name="connsiteY718" fmla="*/ 61694 h 1898650"/>
                <a:gd name="connsiteX719" fmla="*/ 422544 w 1687513"/>
                <a:gd name="connsiteY719" fmla="*/ 38833 h 1898650"/>
                <a:gd name="connsiteX720" fmla="*/ 501431 w 1687513"/>
                <a:gd name="connsiteY720" fmla="*/ 15533 h 1898650"/>
                <a:gd name="connsiteX721" fmla="*/ 588206 w 1687513"/>
                <a:gd name="connsiteY721" fmla="*/ 15533 h 1898650"/>
                <a:gd name="connsiteX722" fmla="*/ 627649 w 1687513"/>
                <a:gd name="connsiteY722" fmla="*/ 7766 h 1898650"/>
                <a:gd name="connsiteX723" fmla="*/ 641350 w 1687513"/>
                <a:gd name="connsiteY723" fmla="*/ 1022 h 189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</a:cxnLst>
              <a:rect l="l" t="t" r="r" b="b"/>
              <a:pathLst>
                <a:path w="1687513" h="1898650">
                  <a:moveTo>
                    <a:pt x="941295" y="1538258"/>
                  </a:moveTo>
                  <a:lnTo>
                    <a:pt x="925668" y="1545999"/>
                  </a:lnTo>
                  <a:lnTo>
                    <a:pt x="925668" y="1546148"/>
                  </a:lnTo>
                  <a:lnTo>
                    <a:pt x="941282" y="1538394"/>
                  </a:lnTo>
                  <a:close/>
                  <a:moveTo>
                    <a:pt x="1122511" y="1530101"/>
                  </a:moveTo>
                  <a:lnTo>
                    <a:pt x="1122627" y="1530562"/>
                  </a:lnTo>
                  <a:lnTo>
                    <a:pt x="1159386" y="1545167"/>
                  </a:lnTo>
                  <a:lnTo>
                    <a:pt x="1159856" y="1544828"/>
                  </a:lnTo>
                  <a:lnTo>
                    <a:pt x="1159537" y="1544776"/>
                  </a:lnTo>
                  <a:cubicBezTo>
                    <a:pt x="1159537" y="1544776"/>
                    <a:pt x="1159537" y="1544776"/>
                    <a:pt x="1142933" y="1538195"/>
                  </a:cubicBezTo>
                  <a:close/>
                  <a:moveTo>
                    <a:pt x="1098025" y="1497979"/>
                  </a:moveTo>
                  <a:lnTo>
                    <a:pt x="1098974" y="1499235"/>
                  </a:lnTo>
                  <a:lnTo>
                    <a:pt x="1112626" y="1499235"/>
                  </a:lnTo>
                  <a:lnTo>
                    <a:pt x="1112309" y="1497979"/>
                  </a:lnTo>
                  <a:cubicBezTo>
                    <a:pt x="1112309" y="1497979"/>
                    <a:pt x="1112309" y="1497979"/>
                    <a:pt x="1110341" y="1497979"/>
                  </a:cubicBezTo>
                  <a:close/>
                  <a:moveTo>
                    <a:pt x="1049657" y="1435584"/>
                  </a:moveTo>
                  <a:lnTo>
                    <a:pt x="1051666" y="1436582"/>
                  </a:lnTo>
                  <a:lnTo>
                    <a:pt x="1057713" y="1436582"/>
                  </a:lnTo>
                  <a:lnTo>
                    <a:pt x="1057210" y="1435584"/>
                  </a:lnTo>
                  <a:cubicBezTo>
                    <a:pt x="1057210" y="1435584"/>
                    <a:pt x="1057210" y="1435584"/>
                    <a:pt x="1056226" y="1435584"/>
                  </a:cubicBezTo>
                  <a:close/>
                  <a:moveTo>
                    <a:pt x="1065988" y="1427321"/>
                  </a:moveTo>
                  <a:cubicBezTo>
                    <a:pt x="1065988" y="1427321"/>
                    <a:pt x="1065988" y="1427321"/>
                    <a:pt x="1050261" y="1435100"/>
                  </a:cubicBezTo>
                  <a:cubicBezTo>
                    <a:pt x="1050261" y="1435100"/>
                    <a:pt x="1050261" y="1435100"/>
                    <a:pt x="1048295" y="1434128"/>
                  </a:cubicBezTo>
                  <a:lnTo>
                    <a:pt x="1039486" y="1429771"/>
                  </a:lnTo>
                  <a:lnTo>
                    <a:pt x="1037952" y="1429771"/>
                  </a:lnTo>
                  <a:lnTo>
                    <a:pt x="1049498" y="1435505"/>
                  </a:lnTo>
                  <a:lnTo>
                    <a:pt x="1051306" y="1434609"/>
                  </a:lnTo>
                  <a:cubicBezTo>
                    <a:pt x="1053274" y="1433634"/>
                    <a:pt x="1057209" y="1431684"/>
                    <a:pt x="1065081" y="1427784"/>
                  </a:cubicBezTo>
                  <a:cubicBezTo>
                    <a:pt x="1065081" y="1427784"/>
                    <a:pt x="1088695" y="1435584"/>
                    <a:pt x="1096566" y="1435584"/>
                  </a:cubicBezTo>
                  <a:lnTo>
                    <a:pt x="1097122" y="1435033"/>
                  </a:lnTo>
                  <a:lnTo>
                    <a:pt x="1078767" y="1431211"/>
                  </a:lnTo>
                  <a:cubicBezTo>
                    <a:pt x="1071886" y="1429266"/>
                    <a:pt x="1065988" y="1427321"/>
                    <a:pt x="1065988" y="1427321"/>
                  </a:cubicBezTo>
                  <a:close/>
                  <a:moveTo>
                    <a:pt x="979990" y="1389420"/>
                  </a:moveTo>
                  <a:lnTo>
                    <a:pt x="979990" y="1389481"/>
                  </a:lnTo>
                  <a:cubicBezTo>
                    <a:pt x="979990" y="1389481"/>
                    <a:pt x="979990" y="1389481"/>
                    <a:pt x="995697" y="1420896"/>
                  </a:cubicBezTo>
                  <a:cubicBezTo>
                    <a:pt x="995697" y="1420896"/>
                    <a:pt x="995697" y="1420896"/>
                    <a:pt x="948574" y="1428750"/>
                  </a:cubicBezTo>
                  <a:cubicBezTo>
                    <a:pt x="948574" y="1428750"/>
                    <a:pt x="948574" y="1428750"/>
                    <a:pt x="885742" y="1428750"/>
                  </a:cubicBezTo>
                  <a:cubicBezTo>
                    <a:pt x="885742" y="1428750"/>
                    <a:pt x="885742" y="1428750"/>
                    <a:pt x="870034" y="1420896"/>
                  </a:cubicBezTo>
                  <a:cubicBezTo>
                    <a:pt x="870034" y="1420896"/>
                    <a:pt x="870034" y="1420896"/>
                    <a:pt x="796373" y="1420896"/>
                  </a:cubicBezTo>
                  <a:lnTo>
                    <a:pt x="760283" y="1420896"/>
                  </a:lnTo>
                  <a:lnTo>
                    <a:pt x="761420" y="1422022"/>
                  </a:lnTo>
                  <a:lnTo>
                    <a:pt x="870919" y="1422022"/>
                  </a:lnTo>
                  <a:lnTo>
                    <a:pt x="886561" y="1429771"/>
                  </a:lnTo>
                  <a:lnTo>
                    <a:pt x="949132" y="1429771"/>
                  </a:lnTo>
                  <a:lnTo>
                    <a:pt x="996060" y="1422022"/>
                  </a:lnTo>
                  <a:lnTo>
                    <a:pt x="1027346" y="1422022"/>
                  </a:lnTo>
                  <a:lnTo>
                    <a:pt x="1038043" y="1427321"/>
                  </a:lnTo>
                  <a:lnTo>
                    <a:pt x="1042397" y="1427321"/>
                  </a:lnTo>
                  <a:cubicBezTo>
                    <a:pt x="1042397" y="1427321"/>
                    <a:pt x="1042397" y="1427321"/>
                    <a:pt x="1026670" y="1419543"/>
                  </a:cubicBezTo>
                  <a:cubicBezTo>
                    <a:pt x="1026670" y="1419543"/>
                    <a:pt x="1026670" y="1419543"/>
                    <a:pt x="995216" y="1419543"/>
                  </a:cubicBezTo>
                  <a:cubicBezTo>
                    <a:pt x="995216" y="1419543"/>
                    <a:pt x="995216" y="1419543"/>
                    <a:pt x="988581" y="1406416"/>
                  </a:cubicBezTo>
                  <a:close/>
                  <a:moveTo>
                    <a:pt x="1184182" y="1365074"/>
                  </a:moveTo>
                  <a:cubicBezTo>
                    <a:pt x="1184182" y="1365074"/>
                    <a:pt x="1184182" y="1365074"/>
                    <a:pt x="1183195" y="1366051"/>
                  </a:cubicBezTo>
                  <a:lnTo>
                    <a:pt x="1182476" y="1366764"/>
                  </a:lnTo>
                  <a:lnTo>
                    <a:pt x="1176291" y="1372894"/>
                  </a:lnTo>
                  <a:lnTo>
                    <a:pt x="1176008" y="1372894"/>
                  </a:lnTo>
                  <a:lnTo>
                    <a:pt x="1173131" y="1373843"/>
                  </a:lnTo>
                  <a:cubicBezTo>
                    <a:pt x="1170182" y="1374815"/>
                    <a:pt x="1164284" y="1376760"/>
                    <a:pt x="1152489" y="1380649"/>
                  </a:cubicBezTo>
                  <a:lnTo>
                    <a:pt x="1152388" y="1380749"/>
                  </a:lnTo>
                  <a:lnTo>
                    <a:pt x="1154617" y="1380013"/>
                  </a:lnTo>
                  <a:cubicBezTo>
                    <a:pt x="1157569" y="1379038"/>
                    <a:pt x="1163473" y="1377088"/>
                    <a:pt x="1175280" y="1373188"/>
                  </a:cubicBezTo>
                  <a:cubicBezTo>
                    <a:pt x="1175280" y="1373188"/>
                    <a:pt x="1175280" y="1373188"/>
                    <a:pt x="1238250" y="1396587"/>
                  </a:cubicBezTo>
                  <a:cubicBezTo>
                    <a:pt x="1238250" y="1396587"/>
                    <a:pt x="1238250" y="1396587"/>
                    <a:pt x="1238250" y="1427784"/>
                  </a:cubicBezTo>
                  <a:cubicBezTo>
                    <a:pt x="1238250" y="1427784"/>
                    <a:pt x="1238250" y="1427784"/>
                    <a:pt x="1238250" y="1466781"/>
                  </a:cubicBezTo>
                  <a:cubicBezTo>
                    <a:pt x="1238250" y="1466781"/>
                    <a:pt x="1238250" y="1466781"/>
                    <a:pt x="1222508" y="1529177"/>
                  </a:cubicBezTo>
                  <a:cubicBezTo>
                    <a:pt x="1222508" y="1529177"/>
                    <a:pt x="1222508" y="1529177"/>
                    <a:pt x="1215866" y="1539048"/>
                  </a:cubicBezTo>
                  <a:lnTo>
                    <a:pt x="1206831" y="1552477"/>
                  </a:lnTo>
                  <a:lnTo>
                    <a:pt x="1206998" y="1552505"/>
                  </a:lnTo>
                  <a:cubicBezTo>
                    <a:pt x="1199185" y="1560372"/>
                    <a:pt x="1199185" y="1560372"/>
                    <a:pt x="1199185" y="1560372"/>
                  </a:cubicBezTo>
                  <a:cubicBezTo>
                    <a:pt x="1206998" y="1552505"/>
                    <a:pt x="1206998" y="1552505"/>
                    <a:pt x="1206998" y="1552505"/>
                  </a:cubicBezTo>
                  <a:cubicBezTo>
                    <a:pt x="1206998" y="1552505"/>
                    <a:pt x="1206998" y="1552505"/>
                    <a:pt x="1207975" y="1552505"/>
                  </a:cubicBezTo>
                  <a:lnTo>
                    <a:pt x="1208020" y="1552505"/>
                  </a:lnTo>
                  <a:lnTo>
                    <a:pt x="1209827" y="1549819"/>
                  </a:lnTo>
                  <a:cubicBezTo>
                    <a:pt x="1211800" y="1546887"/>
                    <a:pt x="1215745" y="1541022"/>
                    <a:pt x="1223636" y="1529292"/>
                  </a:cubicBezTo>
                  <a:cubicBezTo>
                    <a:pt x="1223636" y="1529292"/>
                    <a:pt x="1223636" y="1529292"/>
                    <a:pt x="1239418" y="1466733"/>
                  </a:cubicBezTo>
                  <a:cubicBezTo>
                    <a:pt x="1239418" y="1466733"/>
                    <a:pt x="1239418" y="1466733"/>
                    <a:pt x="1239418" y="1427633"/>
                  </a:cubicBezTo>
                  <a:cubicBezTo>
                    <a:pt x="1239418" y="1427633"/>
                    <a:pt x="1239418" y="1427633"/>
                    <a:pt x="1239418" y="1396353"/>
                  </a:cubicBezTo>
                  <a:cubicBezTo>
                    <a:pt x="1239418" y="1396353"/>
                    <a:pt x="1239418" y="1396353"/>
                    <a:pt x="1176291" y="1372894"/>
                  </a:cubicBezTo>
                  <a:cubicBezTo>
                    <a:pt x="1176291" y="1372894"/>
                    <a:pt x="1176291" y="1372894"/>
                    <a:pt x="1177278" y="1371916"/>
                  </a:cubicBezTo>
                  <a:lnTo>
                    <a:pt x="1182476" y="1366764"/>
                  </a:lnTo>
                  <a:close/>
                  <a:moveTo>
                    <a:pt x="1238989" y="1333977"/>
                  </a:moveTo>
                  <a:cubicBezTo>
                    <a:pt x="1238989" y="1333977"/>
                    <a:pt x="1238989" y="1333977"/>
                    <a:pt x="1168216" y="1365092"/>
                  </a:cubicBezTo>
                  <a:cubicBezTo>
                    <a:pt x="1168216" y="1365092"/>
                    <a:pt x="1168216" y="1365092"/>
                    <a:pt x="1168216" y="1372870"/>
                  </a:cubicBezTo>
                  <a:lnTo>
                    <a:pt x="1168400" y="1372870"/>
                  </a:lnTo>
                  <a:lnTo>
                    <a:pt x="1168400" y="1371916"/>
                  </a:lnTo>
                  <a:cubicBezTo>
                    <a:pt x="1168400" y="1370939"/>
                    <a:pt x="1168400" y="1368984"/>
                    <a:pt x="1168400" y="1365074"/>
                  </a:cubicBezTo>
                  <a:cubicBezTo>
                    <a:pt x="1168400" y="1365074"/>
                    <a:pt x="1168400" y="1365074"/>
                    <a:pt x="1198361" y="1351878"/>
                  </a:cubicBezTo>
                  <a:lnTo>
                    <a:pt x="1238996" y="1333980"/>
                  </a:lnTo>
                  <a:close/>
                  <a:moveTo>
                    <a:pt x="1641476" y="1285875"/>
                  </a:moveTo>
                  <a:lnTo>
                    <a:pt x="1665288" y="1317218"/>
                  </a:lnTo>
                  <a:lnTo>
                    <a:pt x="1665288" y="1372068"/>
                  </a:lnTo>
                  <a:lnTo>
                    <a:pt x="1665288" y="1404716"/>
                  </a:lnTo>
                  <a:lnTo>
                    <a:pt x="1601788" y="1616279"/>
                  </a:lnTo>
                  <a:lnTo>
                    <a:pt x="1570038" y="1624115"/>
                  </a:lnTo>
                  <a:lnTo>
                    <a:pt x="1538288" y="1631950"/>
                  </a:lnTo>
                  <a:lnTo>
                    <a:pt x="1506538" y="1608443"/>
                  </a:lnTo>
                  <a:lnTo>
                    <a:pt x="1506538" y="1569265"/>
                  </a:lnTo>
                  <a:lnTo>
                    <a:pt x="1498600" y="1537922"/>
                  </a:lnTo>
                  <a:lnTo>
                    <a:pt x="1514475" y="1506580"/>
                  </a:lnTo>
                  <a:lnTo>
                    <a:pt x="1530350" y="1467401"/>
                  </a:lnTo>
                  <a:lnTo>
                    <a:pt x="1514475" y="1404716"/>
                  </a:lnTo>
                  <a:lnTo>
                    <a:pt x="1538288" y="1387739"/>
                  </a:lnTo>
                  <a:lnTo>
                    <a:pt x="1570038" y="1364232"/>
                  </a:lnTo>
                  <a:lnTo>
                    <a:pt x="1601788" y="1317218"/>
                  </a:lnTo>
                  <a:close/>
                  <a:moveTo>
                    <a:pt x="1294034" y="1271747"/>
                  </a:moveTo>
                  <a:cubicBezTo>
                    <a:pt x="1294034" y="1271747"/>
                    <a:pt x="1294034" y="1271747"/>
                    <a:pt x="1294034" y="1310640"/>
                  </a:cubicBezTo>
                  <a:cubicBezTo>
                    <a:pt x="1294034" y="1310640"/>
                    <a:pt x="1294034" y="1310640"/>
                    <a:pt x="1317625" y="1349534"/>
                  </a:cubicBezTo>
                  <a:cubicBezTo>
                    <a:pt x="1317625" y="1349534"/>
                    <a:pt x="1317625" y="1349534"/>
                    <a:pt x="1317625" y="1372870"/>
                  </a:cubicBezTo>
                  <a:cubicBezTo>
                    <a:pt x="1317625" y="1372870"/>
                    <a:pt x="1317625" y="1372870"/>
                    <a:pt x="1307673" y="1379434"/>
                  </a:cubicBezTo>
                  <a:lnTo>
                    <a:pt x="1294459" y="1388148"/>
                  </a:lnTo>
                  <a:lnTo>
                    <a:pt x="1294653" y="1388534"/>
                  </a:lnTo>
                  <a:cubicBezTo>
                    <a:pt x="1294653" y="1388534"/>
                    <a:pt x="1294653" y="1388534"/>
                    <a:pt x="1318326" y="1372894"/>
                  </a:cubicBezTo>
                  <a:cubicBezTo>
                    <a:pt x="1318326" y="1372894"/>
                    <a:pt x="1318326" y="1372894"/>
                    <a:pt x="1318326" y="1349434"/>
                  </a:cubicBezTo>
                  <a:cubicBezTo>
                    <a:pt x="1318326" y="1349434"/>
                    <a:pt x="1318326" y="1349434"/>
                    <a:pt x="1294653" y="1310335"/>
                  </a:cubicBezTo>
                  <a:cubicBezTo>
                    <a:pt x="1294653" y="1310335"/>
                    <a:pt x="1294653" y="1310335"/>
                    <a:pt x="1294653" y="1293839"/>
                  </a:cubicBezTo>
                  <a:lnTo>
                    <a:pt x="1294653" y="1271747"/>
                  </a:lnTo>
                  <a:close/>
                  <a:moveTo>
                    <a:pt x="1175716" y="1185100"/>
                  </a:moveTo>
                  <a:lnTo>
                    <a:pt x="1173553" y="1185816"/>
                  </a:lnTo>
                  <a:cubicBezTo>
                    <a:pt x="1170607" y="1186792"/>
                    <a:pt x="1164714" y="1188742"/>
                    <a:pt x="1152929" y="1192644"/>
                  </a:cubicBezTo>
                  <a:cubicBezTo>
                    <a:pt x="1152929" y="1192644"/>
                    <a:pt x="1152929" y="1192644"/>
                    <a:pt x="1152806" y="1193375"/>
                  </a:cubicBezTo>
                  <a:lnTo>
                    <a:pt x="1152721" y="1193883"/>
                  </a:lnTo>
                  <a:lnTo>
                    <a:pt x="1155438" y="1192987"/>
                  </a:lnTo>
                  <a:cubicBezTo>
                    <a:pt x="1158386" y="1192014"/>
                    <a:pt x="1164284" y="1190070"/>
                    <a:pt x="1176080" y="1186180"/>
                  </a:cubicBezTo>
                  <a:cubicBezTo>
                    <a:pt x="1176080" y="1186180"/>
                    <a:pt x="1176080" y="1186180"/>
                    <a:pt x="1175834" y="1185451"/>
                  </a:cubicBezTo>
                  <a:close/>
                  <a:moveTo>
                    <a:pt x="1168458" y="1092476"/>
                  </a:moveTo>
                  <a:lnTo>
                    <a:pt x="1168216" y="1092836"/>
                  </a:lnTo>
                  <a:cubicBezTo>
                    <a:pt x="1168216" y="1092836"/>
                    <a:pt x="1168216" y="1092836"/>
                    <a:pt x="1183943" y="1155065"/>
                  </a:cubicBezTo>
                  <a:cubicBezTo>
                    <a:pt x="1183943" y="1155065"/>
                    <a:pt x="1183943" y="1155065"/>
                    <a:pt x="1199670" y="1193959"/>
                  </a:cubicBezTo>
                  <a:cubicBezTo>
                    <a:pt x="1199670" y="1193959"/>
                    <a:pt x="1231125" y="1209517"/>
                    <a:pt x="1238989" y="1209517"/>
                  </a:cubicBezTo>
                  <a:cubicBezTo>
                    <a:pt x="1238989" y="1209517"/>
                    <a:pt x="1278307" y="1217295"/>
                    <a:pt x="1278307" y="1217295"/>
                  </a:cubicBezTo>
                  <a:cubicBezTo>
                    <a:pt x="1278307" y="1217295"/>
                    <a:pt x="1278307" y="1217295"/>
                    <a:pt x="1286171" y="1232853"/>
                  </a:cubicBezTo>
                  <a:cubicBezTo>
                    <a:pt x="1286171" y="1232853"/>
                    <a:pt x="1286171" y="1232853"/>
                    <a:pt x="1292806" y="1249261"/>
                  </a:cubicBezTo>
                  <a:lnTo>
                    <a:pt x="1301691" y="1271235"/>
                  </a:lnTo>
                  <a:lnTo>
                    <a:pt x="1302377" y="1271235"/>
                  </a:lnTo>
                  <a:lnTo>
                    <a:pt x="1300547" y="1266715"/>
                  </a:lnTo>
                  <a:cubicBezTo>
                    <a:pt x="1298575" y="1261842"/>
                    <a:pt x="1294630" y="1252095"/>
                    <a:pt x="1286741" y="1232601"/>
                  </a:cubicBezTo>
                  <a:cubicBezTo>
                    <a:pt x="1286741" y="1232601"/>
                    <a:pt x="1286741" y="1232601"/>
                    <a:pt x="1278852" y="1217006"/>
                  </a:cubicBezTo>
                  <a:cubicBezTo>
                    <a:pt x="1278852" y="1217006"/>
                    <a:pt x="1239405" y="1209209"/>
                    <a:pt x="1239405" y="1209209"/>
                  </a:cubicBezTo>
                  <a:cubicBezTo>
                    <a:pt x="1231515" y="1209209"/>
                    <a:pt x="1199958" y="1193614"/>
                    <a:pt x="1199958" y="1193614"/>
                  </a:cubicBezTo>
                  <a:cubicBezTo>
                    <a:pt x="1199958" y="1193614"/>
                    <a:pt x="1199958" y="1193614"/>
                    <a:pt x="1184179" y="1154627"/>
                  </a:cubicBezTo>
                  <a:cubicBezTo>
                    <a:pt x="1184179" y="1154627"/>
                    <a:pt x="1184179" y="1154627"/>
                    <a:pt x="1177522" y="1128310"/>
                  </a:cubicBezTo>
                  <a:close/>
                  <a:moveTo>
                    <a:pt x="1176080" y="1015048"/>
                  </a:moveTo>
                  <a:cubicBezTo>
                    <a:pt x="1176080" y="1015048"/>
                    <a:pt x="1176080" y="1015048"/>
                    <a:pt x="1179397" y="1038020"/>
                  </a:cubicBezTo>
                  <a:lnTo>
                    <a:pt x="1183908" y="1069257"/>
                  </a:lnTo>
                  <a:lnTo>
                    <a:pt x="1184179" y="1068855"/>
                  </a:lnTo>
                  <a:cubicBezTo>
                    <a:pt x="1184179" y="1068855"/>
                    <a:pt x="1184179" y="1068855"/>
                    <a:pt x="1180851" y="1045828"/>
                  </a:cubicBezTo>
                  <a:lnTo>
                    <a:pt x="1176402" y="1015048"/>
                  </a:lnTo>
                  <a:close/>
                  <a:moveTo>
                    <a:pt x="1270443" y="1007269"/>
                  </a:moveTo>
                  <a:cubicBezTo>
                    <a:pt x="1270443" y="1007269"/>
                    <a:pt x="1270443" y="1007269"/>
                    <a:pt x="1262580" y="1022827"/>
                  </a:cubicBezTo>
                  <a:cubicBezTo>
                    <a:pt x="1262580" y="1022827"/>
                    <a:pt x="1262580" y="1022827"/>
                    <a:pt x="1262580" y="1032672"/>
                  </a:cubicBezTo>
                  <a:lnTo>
                    <a:pt x="1262580" y="1045462"/>
                  </a:lnTo>
                  <a:lnTo>
                    <a:pt x="1263073" y="1045462"/>
                  </a:lnTo>
                  <a:cubicBezTo>
                    <a:pt x="1263073" y="1045462"/>
                    <a:pt x="1263073" y="1045462"/>
                    <a:pt x="1263073" y="1022070"/>
                  </a:cubicBezTo>
                  <a:cubicBezTo>
                    <a:pt x="1263073" y="1022070"/>
                    <a:pt x="1263073" y="1022070"/>
                    <a:pt x="1264059" y="1020121"/>
                  </a:cubicBezTo>
                  <a:lnTo>
                    <a:pt x="1270521" y="1007347"/>
                  </a:lnTo>
                  <a:close/>
                  <a:moveTo>
                    <a:pt x="1191807" y="935852"/>
                  </a:moveTo>
                  <a:lnTo>
                    <a:pt x="1191722" y="935999"/>
                  </a:lnTo>
                  <a:cubicBezTo>
                    <a:pt x="1190249" y="938560"/>
                    <a:pt x="1184356" y="948801"/>
                    <a:pt x="1160786" y="989767"/>
                  </a:cubicBezTo>
                  <a:cubicBezTo>
                    <a:pt x="1160786" y="989767"/>
                    <a:pt x="1160786" y="989767"/>
                    <a:pt x="1145073" y="1044387"/>
                  </a:cubicBezTo>
                  <a:lnTo>
                    <a:pt x="1145097" y="1044530"/>
                  </a:lnTo>
                  <a:lnTo>
                    <a:pt x="1146591" y="1039357"/>
                  </a:lnTo>
                  <a:cubicBezTo>
                    <a:pt x="1148557" y="1032550"/>
                    <a:pt x="1152488" y="1018938"/>
                    <a:pt x="1160352" y="991712"/>
                  </a:cubicBezTo>
                  <a:cubicBezTo>
                    <a:pt x="1160352" y="991712"/>
                    <a:pt x="1160352" y="991712"/>
                    <a:pt x="1191807" y="937261"/>
                  </a:cubicBezTo>
                  <a:close/>
                  <a:moveTo>
                    <a:pt x="778842" y="927254"/>
                  </a:moveTo>
                  <a:lnTo>
                    <a:pt x="765049" y="935173"/>
                  </a:lnTo>
                  <a:lnTo>
                    <a:pt x="764204" y="935657"/>
                  </a:lnTo>
                  <a:lnTo>
                    <a:pt x="776605" y="929482"/>
                  </a:lnTo>
                  <a:close/>
                  <a:moveTo>
                    <a:pt x="1291630" y="874345"/>
                  </a:moveTo>
                  <a:lnTo>
                    <a:pt x="1288685" y="875519"/>
                  </a:lnTo>
                  <a:cubicBezTo>
                    <a:pt x="1283800" y="877467"/>
                    <a:pt x="1274031" y="881361"/>
                    <a:pt x="1254492" y="889150"/>
                  </a:cubicBezTo>
                  <a:cubicBezTo>
                    <a:pt x="1254492" y="889150"/>
                    <a:pt x="1254492" y="889150"/>
                    <a:pt x="1199784" y="896938"/>
                  </a:cubicBezTo>
                  <a:cubicBezTo>
                    <a:pt x="1199784" y="896938"/>
                    <a:pt x="1199784" y="896938"/>
                    <a:pt x="1195877" y="894018"/>
                  </a:cubicBezTo>
                  <a:lnTo>
                    <a:pt x="1193409" y="892173"/>
                  </a:lnTo>
                  <a:lnTo>
                    <a:pt x="1199670" y="898367"/>
                  </a:lnTo>
                  <a:cubicBezTo>
                    <a:pt x="1199670" y="898367"/>
                    <a:pt x="1199670" y="898367"/>
                    <a:pt x="1254716" y="890588"/>
                  </a:cubicBezTo>
                  <a:cubicBezTo>
                    <a:pt x="1254716" y="890588"/>
                    <a:pt x="1254716" y="890588"/>
                    <a:pt x="1270443" y="890588"/>
                  </a:cubicBezTo>
                  <a:cubicBezTo>
                    <a:pt x="1270443" y="890588"/>
                    <a:pt x="1270443" y="890588"/>
                    <a:pt x="1272409" y="892533"/>
                  </a:cubicBezTo>
                  <a:lnTo>
                    <a:pt x="1285753" y="905733"/>
                  </a:lnTo>
                  <a:lnTo>
                    <a:pt x="1285753" y="904347"/>
                  </a:lnTo>
                  <a:cubicBezTo>
                    <a:pt x="1285753" y="904347"/>
                    <a:pt x="1285753" y="904347"/>
                    <a:pt x="1270000" y="888683"/>
                  </a:cubicBezTo>
                  <a:cubicBezTo>
                    <a:pt x="1270000" y="888683"/>
                    <a:pt x="1270000" y="888683"/>
                    <a:pt x="1279969" y="882075"/>
                  </a:cubicBezTo>
                  <a:close/>
                  <a:moveTo>
                    <a:pt x="1317015" y="859118"/>
                  </a:moveTo>
                  <a:lnTo>
                    <a:pt x="1317015" y="859942"/>
                  </a:lnTo>
                  <a:lnTo>
                    <a:pt x="1317015" y="873020"/>
                  </a:lnTo>
                  <a:lnTo>
                    <a:pt x="1317259" y="873020"/>
                  </a:lnTo>
                  <a:cubicBezTo>
                    <a:pt x="1317259" y="873020"/>
                    <a:pt x="1317259" y="873020"/>
                    <a:pt x="1317259" y="872041"/>
                  </a:cubicBezTo>
                  <a:lnTo>
                    <a:pt x="1317259" y="867068"/>
                  </a:lnTo>
                  <a:lnTo>
                    <a:pt x="1317018" y="866987"/>
                  </a:lnTo>
                  <a:cubicBezTo>
                    <a:pt x="1317018" y="866987"/>
                    <a:pt x="1317018" y="866987"/>
                    <a:pt x="1317018" y="859120"/>
                  </a:cubicBezTo>
                  <a:close/>
                  <a:moveTo>
                    <a:pt x="659481" y="812398"/>
                  </a:moveTo>
                  <a:lnTo>
                    <a:pt x="658999" y="813040"/>
                  </a:lnTo>
                  <a:lnTo>
                    <a:pt x="697310" y="828435"/>
                  </a:lnTo>
                  <a:lnTo>
                    <a:pt x="697819" y="827720"/>
                  </a:lnTo>
                  <a:close/>
                  <a:moveTo>
                    <a:pt x="1612119" y="787753"/>
                  </a:moveTo>
                  <a:lnTo>
                    <a:pt x="1616075" y="788318"/>
                  </a:lnTo>
                  <a:cubicBezTo>
                    <a:pt x="1616075" y="788318"/>
                    <a:pt x="1616075" y="788318"/>
                    <a:pt x="1589514" y="818188"/>
                  </a:cubicBezTo>
                  <a:lnTo>
                    <a:pt x="1553856" y="858288"/>
                  </a:lnTo>
                  <a:lnTo>
                    <a:pt x="1554375" y="858141"/>
                  </a:lnTo>
                  <a:lnTo>
                    <a:pt x="1617028" y="788446"/>
                  </a:lnTo>
                  <a:close/>
                  <a:moveTo>
                    <a:pt x="1254492" y="772319"/>
                  </a:moveTo>
                  <a:lnTo>
                    <a:pt x="1254404" y="772584"/>
                  </a:lnTo>
                  <a:lnTo>
                    <a:pt x="1256026" y="772584"/>
                  </a:lnTo>
                  <a:cubicBezTo>
                    <a:pt x="1257993" y="772584"/>
                    <a:pt x="1261928" y="772584"/>
                    <a:pt x="1269798" y="772584"/>
                  </a:cubicBezTo>
                  <a:lnTo>
                    <a:pt x="1269842" y="772319"/>
                  </a:lnTo>
                  <a:lnTo>
                    <a:pt x="1268169" y="772319"/>
                  </a:lnTo>
                  <a:cubicBezTo>
                    <a:pt x="1266215" y="772319"/>
                    <a:pt x="1262307" y="772319"/>
                    <a:pt x="1254492" y="772319"/>
                  </a:cubicBezTo>
                  <a:close/>
                  <a:moveTo>
                    <a:pt x="776288" y="741948"/>
                  </a:moveTo>
                  <a:lnTo>
                    <a:pt x="775362" y="742181"/>
                  </a:lnTo>
                  <a:lnTo>
                    <a:pt x="775362" y="765705"/>
                  </a:lnTo>
                  <a:lnTo>
                    <a:pt x="798778" y="804911"/>
                  </a:lnTo>
                  <a:lnTo>
                    <a:pt x="806583" y="804911"/>
                  </a:lnTo>
                  <a:lnTo>
                    <a:pt x="790973" y="851959"/>
                  </a:lnTo>
                  <a:lnTo>
                    <a:pt x="806583" y="891165"/>
                  </a:lnTo>
                  <a:lnTo>
                    <a:pt x="814268" y="906607"/>
                  </a:lnTo>
                  <a:lnTo>
                    <a:pt x="815658" y="906146"/>
                  </a:lnTo>
                  <a:lnTo>
                    <a:pt x="846900" y="890588"/>
                  </a:lnTo>
                  <a:lnTo>
                    <a:pt x="878142" y="890588"/>
                  </a:lnTo>
                  <a:lnTo>
                    <a:pt x="893168" y="898070"/>
                  </a:lnTo>
                  <a:lnTo>
                    <a:pt x="893466" y="896883"/>
                  </a:lnTo>
                  <a:lnTo>
                    <a:pt x="878198" y="889265"/>
                  </a:lnTo>
                  <a:lnTo>
                    <a:pt x="846913" y="889265"/>
                  </a:lnTo>
                  <a:lnTo>
                    <a:pt x="815627" y="904875"/>
                  </a:lnTo>
                  <a:lnTo>
                    <a:pt x="807806" y="889265"/>
                  </a:lnTo>
                  <a:lnTo>
                    <a:pt x="792163" y="850239"/>
                  </a:lnTo>
                  <a:lnTo>
                    <a:pt x="807806" y="803408"/>
                  </a:lnTo>
                  <a:lnTo>
                    <a:pt x="839091" y="795602"/>
                  </a:lnTo>
                  <a:lnTo>
                    <a:pt x="886019" y="779992"/>
                  </a:lnTo>
                  <a:lnTo>
                    <a:pt x="893802" y="764458"/>
                  </a:lnTo>
                  <a:lnTo>
                    <a:pt x="893715" y="764475"/>
                  </a:lnTo>
                  <a:lnTo>
                    <a:pt x="885874" y="779995"/>
                  </a:lnTo>
                  <a:lnTo>
                    <a:pt x="838826" y="795515"/>
                  </a:lnTo>
                  <a:lnTo>
                    <a:pt x="808021" y="803137"/>
                  </a:lnTo>
                  <a:lnTo>
                    <a:pt x="808038" y="803275"/>
                  </a:lnTo>
                  <a:lnTo>
                    <a:pt x="807461" y="803275"/>
                  </a:lnTo>
                  <a:lnTo>
                    <a:pt x="800101" y="803275"/>
                  </a:lnTo>
                  <a:lnTo>
                    <a:pt x="776288" y="764580"/>
                  </a:lnTo>
                  <a:close/>
                  <a:moveTo>
                    <a:pt x="353219" y="741523"/>
                  </a:moveTo>
                  <a:lnTo>
                    <a:pt x="352876" y="741591"/>
                  </a:lnTo>
                  <a:lnTo>
                    <a:pt x="353219" y="742269"/>
                  </a:lnTo>
                  <a:close/>
                  <a:moveTo>
                    <a:pt x="266393" y="725585"/>
                  </a:moveTo>
                  <a:lnTo>
                    <a:pt x="268162" y="726460"/>
                  </a:lnTo>
                  <a:cubicBezTo>
                    <a:pt x="270125" y="727431"/>
                    <a:pt x="274052" y="729374"/>
                    <a:pt x="281906" y="733259"/>
                  </a:cubicBezTo>
                  <a:lnTo>
                    <a:pt x="281998" y="733259"/>
                  </a:lnTo>
                  <a:lnTo>
                    <a:pt x="280369" y="732445"/>
                  </a:lnTo>
                  <a:cubicBezTo>
                    <a:pt x="278408" y="731465"/>
                    <a:pt x="274485" y="729505"/>
                    <a:pt x="266639" y="725585"/>
                  </a:cubicBezTo>
                  <a:close/>
                  <a:moveTo>
                    <a:pt x="454025" y="710634"/>
                  </a:moveTo>
                  <a:lnTo>
                    <a:pt x="445372" y="713508"/>
                  </a:lnTo>
                  <a:lnTo>
                    <a:pt x="454025" y="711200"/>
                  </a:lnTo>
                  <a:lnTo>
                    <a:pt x="438150" y="717550"/>
                  </a:lnTo>
                  <a:lnTo>
                    <a:pt x="433201" y="717550"/>
                  </a:lnTo>
                  <a:lnTo>
                    <a:pt x="431271" y="718191"/>
                  </a:lnTo>
                  <a:lnTo>
                    <a:pt x="430579" y="718191"/>
                  </a:lnTo>
                  <a:lnTo>
                    <a:pt x="430579" y="718939"/>
                  </a:lnTo>
                  <a:lnTo>
                    <a:pt x="438150" y="718939"/>
                  </a:lnTo>
                  <a:lnTo>
                    <a:pt x="454025" y="711201"/>
                  </a:lnTo>
                  <a:lnTo>
                    <a:pt x="454025" y="711200"/>
                  </a:lnTo>
                  <a:close/>
                  <a:moveTo>
                    <a:pt x="210399" y="685997"/>
                  </a:moveTo>
                  <a:lnTo>
                    <a:pt x="211336" y="693473"/>
                  </a:lnTo>
                  <a:cubicBezTo>
                    <a:pt x="211336" y="693473"/>
                    <a:pt x="211336" y="693473"/>
                    <a:pt x="227078" y="732720"/>
                  </a:cubicBezTo>
                  <a:lnTo>
                    <a:pt x="227127" y="732720"/>
                  </a:lnTo>
                  <a:lnTo>
                    <a:pt x="225448" y="728525"/>
                  </a:lnTo>
                  <a:cubicBezTo>
                    <a:pt x="223487" y="723625"/>
                    <a:pt x="219564" y="713825"/>
                    <a:pt x="211718" y="694224"/>
                  </a:cubicBezTo>
                  <a:cubicBezTo>
                    <a:pt x="211718" y="694224"/>
                    <a:pt x="211718" y="690304"/>
                    <a:pt x="210737" y="686384"/>
                  </a:cubicBezTo>
                  <a:close/>
                  <a:moveTo>
                    <a:pt x="791869" y="679838"/>
                  </a:moveTo>
                  <a:lnTo>
                    <a:pt x="791151" y="680077"/>
                  </a:lnTo>
                  <a:lnTo>
                    <a:pt x="792498" y="684812"/>
                  </a:lnTo>
                  <a:close/>
                  <a:moveTo>
                    <a:pt x="140494" y="679450"/>
                  </a:moveTo>
                  <a:lnTo>
                    <a:pt x="140494" y="685624"/>
                  </a:lnTo>
                  <a:lnTo>
                    <a:pt x="141105" y="685624"/>
                  </a:lnTo>
                  <a:lnTo>
                    <a:pt x="141105" y="685403"/>
                  </a:lnTo>
                  <a:lnTo>
                    <a:pt x="141105" y="679450"/>
                  </a:lnTo>
                  <a:close/>
                  <a:moveTo>
                    <a:pt x="776483" y="648203"/>
                  </a:moveTo>
                  <a:lnTo>
                    <a:pt x="776664" y="648475"/>
                  </a:lnTo>
                  <a:lnTo>
                    <a:pt x="799534" y="656092"/>
                  </a:lnTo>
                  <a:lnTo>
                    <a:pt x="799620" y="655836"/>
                  </a:lnTo>
                  <a:close/>
                  <a:moveTo>
                    <a:pt x="767276" y="616873"/>
                  </a:moveTo>
                  <a:lnTo>
                    <a:pt x="729425" y="648184"/>
                  </a:lnTo>
                  <a:lnTo>
                    <a:pt x="690055" y="656001"/>
                  </a:lnTo>
                  <a:lnTo>
                    <a:pt x="642811" y="656001"/>
                  </a:lnTo>
                  <a:lnTo>
                    <a:pt x="611523" y="671531"/>
                  </a:lnTo>
                  <a:lnTo>
                    <a:pt x="612608" y="671892"/>
                  </a:lnTo>
                  <a:lnTo>
                    <a:pt x="643857" y="656280"/>
                  </a:lnTo>
                  <a:lnTo>
                    <a:pt x="690730" y="656280"/>
                  </a:lnTo>
                  <a:lnTo>
                    <a:pt x="729791" y="648475"/>
                  </a:lnTo>
                  <a:lnTo>
                    <a:pt x="766066" y="618270"/>
                  </a:lnTo>
                  <a:close/>
                  <a:moveTo>
                    <a:pt x="422982" y="608268"/>
                  </a:moveTo>
                  <a:lnTo>
                    <a:pt x="422822" y="608348"/>
                  </a:lnTo>
                  <a:cubicBezTo>
                    <a:pt x="420615" y="609450"/>
                    <a:pt x="411788" y="613861"/>
                    <a:pt x="376482" y="631501"/>
                  </a:cubicBezTo>
                  <a:cubicBezTo>
                    <a:pt x="376482" y="631501"/>
                    <a:pt x="376482" y="631501"/>
                    <a:pt x="337252" y="662862"/>
                  </a:cubicBezTo>
                  <a:cubicBezTo>
                    <a:pt x="337252" y="662862"/>
                    <a:pt x="337252" y="662862"/>
                    <a:pt x="313714" y="694224"/>
                  </a:cubicBezTo>
                  <a:lnTo>
                    <a:pt x="305869" y="717745"/>
                  </a:lnTo>
                  <a:cubicBezTo>
                    <a:pt x="305869" y="717745"/>
                    <a:pt x="305869" y="717745"/>
                    <a:pt x="305869" y="733425"/>
                  </a:cubicBezTo>
                  <a:cubicBezTo>
                    <a:pt x="305869" y="733425"/>
                    <a:pt x="305869" y="733425"/>
                    <a:pt x="298023" y="733425"/>
                  </a:cubicBezTo>
                  <a:lnTo>
                    <a:pt x="297783" y="733425"/>
                  </a:lnTo>
                  <a:lnTo>
                    <a:pt x="299578" y="735201"/>
                  </a:lnTo>
                  <a:cubicBezTo>
                    <a:pt x="301541" y="737144"/>
                    <a:pt x="305468" y="741029"/>
                    <a:pt x="313322" y="748799"/>
                  </a:cubicBezTo>
                  <a:lnTo>
                    <a:pt x="313885" y="748688"/>
                  </a:lnTo>
                  <a:lnTo>
                    <a:pt x="306388" y="733746"/>
                  </a:lnTo>
                  <a:lnTo>
                    <a:pt x="306388" y="718191"/>
                  </a:lnTo>
                  <a:lnTo>
                    <a:pt x="314193" y="694859"/>
                  </a:lnTo>
                  <a:lnTo>
                    <a:pt x="337609" y="663750"/>
                  </a:lnTo>
                  <a:lnTo>
                    <a:pt x="376635" y="632641"/>
                  </a:lnTo>
                  <a:close/>
                  <a:moveTo>
                    <a:pt x="423557" y="607980"/>
                  </a:moveTo>
                  <a:lnTo>
                    <a:pt x="423491" y="608013"/>
                  </a:lnTo>
                  <a:lnTo>
                    <a:pt x="430316" y="608013"/>
                  </a:lnTo>
                  <a:lnTo>
                    <a:pt x="430300" y="607980"/>
                  </a:lnTo>
                  <a:close/>
                  <a:moveTo>
                    <a:pt x="521378" y="593206"/>
                  </a:moveTo>
                  <a:lnTo>
                    <a:pt x="520502" y="593378"/>
                  </a:lnTo>
                  <a:lnTo>
                    <a:pt x="519926" y="593491"/>
                  </a:lnTo>
                  <a:lnTo>
                    <a:pt x="518682" y="597221"/>
                  </a:lnTo>
                  <a:close/>
                  <a:moveTo>
                    <a:pt x="149309" y="592602"/>
                  </a:moveTo>
                  <a:lnTo>
                    <a:pt x="149281" y="592630"/>
                  </a:lnTo>
                  <a:lnTo>
                    <a:pt x="150912" y="594260"/>
                  </a:lnTo>
                  <a:cubicBezTo>
                    <a:pt x="152873" y="596220"/>
                    <a:pt x="156796" y="600140"/>
                    <a:pt x="164642" y="607980"/>
                  </a:cubicBezTo>
                  <a:lnTo>
                    <a:pt x="164735" y="607888"/>
                  </a:lnTo>
                  <a:lnTo>
                    <a:pt x="163053" y="606222"/>
                  </a:lnTo>
                  <a:cubicBezTo>
                    <a:pt x="161090" y="604276"/>
                    <a:pt x="157163" y="600385"/>
                    <a:pt x="149309" y="592602"/>
                  </a:cubicBezTo>
                  <a:close/>
                  <a:moveTo>
                    <a:pt x="93482" y="592097"/>
                  </a:moveTo>
                  <a:lnTo>
                    <a:pt x="108786" y="607546"/>
                  </a:lnTo>
                  <a:lnTo>
                    <a:pt x="124326" y="615390"/>
                  </a:lnTo>
                  <a:lnTo>
                    <a:pt x="124326" y="624541"/>
                  </a:lnTo>
                  <a:lnTo>
                    <a:pt x="132097" y="648074"/>
                  </a:lnTo>
                  <a:lnTo>
                    <a:pt x="147189" y="678543"/>
                  </a:lnTo>
                  <a:lnTo>
                    <a:pt x="148950" y="678543"/>
                  </a:lnTo>
                  <a:cubicBezTo>
                    <a:pt x="148950" y="678543"/>
                    <a:pt x="148950" y="678543"/>
                    <a:pt x="133259" y="647182"/>
                  </a:cubicBezTo>
                  <a:cubicBezTo>
                    <a:pt x="133259" y="647182"/>
                    <a:pt x="133259" y="647182"/>
                    <a:pt x="125413" y="623661"/>
                  </a:cubicBezTo>
                  <a:cubicBezTo>
                    <a:pt x="125413" y="623661"/>
                    <a:pt x="125413" y="623661"/>
                    <a:pt x="125413" y="615821"/>
                  </a:cubicBezTo>
                  <a:lnTo>
                    <a:pt x="125437" y="615797"/>
                  </a:lnTo>
                  <a:lnTo>
                    <a:pt x="123783" y="614977"/>
                  </a:lnTo>
                  <a:cubicBezTo>
                    <a:pt x="121820" y="614005"/>
                    <a:pt x="117893" y="612059"/>
                    <a:pt x="110039" y="608168"/>
                  </a:cubicBezTo>
                  <a:cubicBezTo>
                    <a:pt x="110039" y="608168"/>
                    <a:pt x="110039" y="608168"/>
                    <a:pt x="94331" y="592602"/>
                  </a:cubicBezTo>
                  <a:close/>
                  <a:moveTo>
                    <a:pt x="290661" y="576861"/>
                  </a:moveTo>
                  <a:lnTo>
                    <a:pt x="290680" y="577037"/>
                  </a:lnTo>
                  <a:cubicBezTo>
                    <a:pt x="290680" y="577037"/>
                    <a:pt x="290680" y="577037"/>
                    <a:pt x="292643" y="578010"/>
                  </a:cubicBezTo>
                  <a:lnTo>
                    <a:pt x="305780" y="584519"/>
                  </a:lnTo>
                  <a:lnTo>
                    <a:pt x="305869" y="584459"/>
                  </a:lnTo>
                  <a:cubicBezTo>
                    <a:pt x="305869" y="584459"/>
                    <a:pt x="305869" y="584459"/>
                    <a:pt x="303907" y="583479"/>
                  </a:cubicBezTo>
                  <a:close/>
                  <a:moveTo>
                    <a:pt x="1339775" y="569549"/>
                  </a:moveTo>
                  <a:lnTo>
                    <a:pt x="1339484" y="572735"/>
                  </a:lnTo>
                  <a:cubicBezTo>
                    <a:pt x="1338996" y="578089"/>
                    <a:pt x="1338263" y="586122"/>
                    <a:pt x="1337164" y="598170"/>
                  </a:cubicBezTo>
                  <a:lnTo>
                    <a:pt x="1332731" y="646766"/>
                  </a:lnTo>
                  <a:lnTo>
                    <a:pt x="1332758" y="646713"/>
                  </a:lnTo>
                  <a:cubicBezTo>
                    <a:pt x="1332758" y="646713"/>
                    <a:pt x="1332758" y="646713"/>
                    <a:pt x="1336078" y="610205"/>
                  </a:cubicBezTo>
                  <a:close/>
                  <a:moveTo>
                    <a:pt x="532575" y="513475"/>
                  </a:moveTo>
                  <a:lnTo>
                    <a:pt x="532420" y="514877"/>
                  </a:lnTo>
                  <a:lnTo>
                    <a:pt x="532339" y="515603"/>
                  </a:lnTo>
                  <a:lnTo>
                    <a:pt x="532575" y="515324"/>
                  </a:lnTo>
                  <a:close/>
                  <a:moveTo>
                    <a:pt x="722210" y="388395"/>
                  </a:moveTo>
                  <a:lnTo>
                    <a:pt x="580317" y="481525"/>
                  </a:lnTo>
                  <a:lnTo>
                    <a:pt x="532985" y="504825"/>
                  </a:lnTo>
                  <a:lnTo>
                    <a:pt x="509319" y="504825"/>
                  </a:lnTo>
                  <a:lnTo>
                    <a:pt x="493542" y="489292"/>
                  </a:lnTo>
                  <a:lnTo>
                    <a:pt x="430095" y="446047"/>
                  </a:lnTo>
                  <a:lnTo>
                    <a:pt x="494171" y="490375"/>
                  </a:lnTo>
                  <a:cubicBezTo>
                    <a:pt x="494171" y="490375"/>
                    <a:pt x="494171" y="490375"/>
                    <a:pt x="509863" y="506056"/>
                  </a:cubicBezTo>
                  <a:cubicBezTo>
                    <a:pt x="509863" y="506056"/>
                    <a:pt x="509863" y="506056"/>
                    <a:pt x="519793" y="506056"/>
                  </a:cubicBezTo>
                  <a:lnTo>
                    <a:pt x="532835" y="506056"/>
                  </a:lnTo>
                  <a:lnTo>
                    <a:pt x="579819" y="482735"/>
                  </a:lnTo>
                  <a:lnTo>
                    <a:pt x="721551" y="388938"/>
                  </a:lnTo>
                  <a:lnTo>
                    <a:pt x="783957" y="396682"/>
                  </a:lnTo>
                  <a:lnTo>
                    <a:pt x="783188" y="395922"/>
                  </a:lnTo>
                  <a:cubicBezTo>
                    <a:pt x="783188" y="395922"/>
                    <a:pt x="783188" y="395922"/>
                    <a:pt x="756605" y="392641"/>
                  </a:cubicBezTo>
                  <a:close/>
                  <a:moveTo>
                    <a:pt x="712314" y="385556"/>
                  </a:moveTo>
                  <a:lnTo>
                    <a:pt x="714425" y="388327"/>
                  </a:lnTo>
                  <a:lnTo>
                    <a:pt x="721659" y="388327"/>
                  </a:lnTo>
                  <a:lnTo>
                    <a:pt x="720176" y="388144"/>
                  </a:lnTo>
                  <a:cubicBezTo>
                    <a:pt x="720176" y="388144"/>
                    <a:pt x="720176" y="388144"/>
                    <a:pt x="717223" y="387172"/>
                  </a:cubicBezTo>
                  <a:close/>
                  <a:moveTo>
                    <a:pt x="264777" y="331378"/>
                  </a:moveTo>
                  <a:lnTo>
                    <a:pt x="287966" y="349250"/>
                  </a:lnTo>
                  <a:lnTo>
                    <a:pt x="288117" y="349250"/>
                  </a:lnTo>
                  <a:close/>
                  <a:moveTo>
                    <a:pt x="212964" y="271829"/>
                  </a:moveTo>
                  <a:lnTo>
                    <a:pt x="212558" y="273050"/>
                  </a:lnTo>
                  <a:lnTo>
                    <a:pt x="217438" y="273050"/>
                  </a:lnTo>
                  <a:lnTo>
                    <a:pt x="217438" y="271829"/>
                  </a:lnTo>
                  <a:close/>
                  <a:moveTo>
                    <a:pt x="641350" y="0"/>
                  </a:moveTo>
                  <a:lnTo>
                    <a:pt x="643427" y="0"/>
                  </a:lnTo>
                  <a:lnTo>
                    <a:pt x="657225" y="0"/>
                  </a:lnTo>
                  <a:lnTo>
                    <a:pt x="688976" y="15494"/>
                  </a:lnTo>
                  <a:lnTo>
                    <a:pt x="696913" y="46482"/>
                  </a:lnTo>
                  <a:lnTo>
                    <a:pt x="665163" y="92964"/>
                  </a:lnTo>
                  <a:lnTo>
                    <a:pt x="688976" y="108458"/>
                  </a:lnTo>
                  <a:lnTo>
                    <a:pt x="712300" y="116046"/>
                  </a:lnTo>
                  <a:lnTo>
                    <a:pt x="712300" y="115888"/>
                  </a:lnTo>
                  <a:cubicBezTo>
                    <a:pt x="712300" y="115888"/>
                    <a:pt x="712300" y="115888"/>
                    <a:pt x="751682" y="131445"/>
                  </a:cubicBezTo>
                  <a:cubicBezTo>
                    <a:pt x="751682" y="131445"/>
                    <a:pt x="751682" y="131445"/>
                    <a:pt x="806817" y="139224"/>
                  </a:cubicBezTo>
                  <a:cubicBezTo>
                    <a:pt x="806817" y="139224"/>
                    <a:pt x="806817" y="139224"/>
                    <a:pt x="822570" y="154782"/>
                  </a:cubicBezTo>
                  <a:cubicBezTo>
                    <a:pt x="822570" y="154782"/>
                    <a:pt x="822570" y="154782"/>
                    <a:pt x="846199" y="170339"/>
                  </a:cubicBezTo>
                  <a:cubicBezTo>
                    <a:pt x="846199" y="170339"/>
                    <a:pt x="846199" y="170339"/>
                    <a:pt x="877705" y="193675"/>
                  </a:cubicBezTo>
                  <a:cubicBezTo>
                    <a:pt x="877705" y="193675"/>
                    <a:pt x="877705" y="193675"/>
                    <a:pt x="924964" y="178118"/>
                  </a:cubicBezTo>
                  <a:cubicBezTo>
                    <a:pt x="924964" y="178118"/>
                    <a:pt x="924964" y="178118"/>
                    <a:pt x="924964" y="147003"/>
                  </a:cubicBezTo>
                  <a:cubicBezTo>
                    <a:pt x="924964" y="147003"/>
                    <a:pt x="924964" y="147003"/>
                    <a:pt x="972222" y="131445"/>
                  </a:cubicBezTo>
                  <a:cubicBezTo>
                    <a:pt x="972222" y="131445"/>
                    <a:pt x="972222" y="131445"/>
                    <a:pt x="1003728" y="139224"/>
                  </a:cubicBezTo>
                  <a:cubicBezTo>
                    <a:pt x="1003728" y="139224"/>
                    <a:pt x="1003728" y="139224"/>
                    <a:pt x="1027357" y="154782"/>
                  </a:cubicBezTo>
                  <a:cubicBezTo>
                    <a:pt x="1027357" y="154782"/>
                    <a:pt x="1027357" y="154782"/>
                    <a:pt x="1050987" y="162560"/>
                  </a:cubicBezTo>
                  <a:cubicBezTo>
                    <a:pt x="1050987" y="162560"/>
                    <a:pt x="1050987" y="162560"/>
                    <a:pt x="1043110" y="178118"/>
                  </a:cubicBezTo>
                  <a:cubicBezTo>
                    <a:pt x="1043110" y="178118"/>
                    <a:pt x="1043110" y="178118"/>
                    <a:pt x="1035234" y="201454"/>
                  </a:cubicBezTo>
                  <a:lnTo>
                    <a:pt x="1035333" y="201676"/>
                  </a:lnTo>
                  <a:lnTo>
                    <a:pt x="1042900" y="179116"/>
                  </a:lnTo>
                  <a:cubicBezTo>
                    <a:pt x="1042900" y="179116"/>
                    <a:pt x="1042900" y="179116"/>
                    <a:pt x="1050749" y="163513"/>
                  </a:cubicBezTo>
                  <a:cubicBezTo>
                    <a:pt x="1050749" y="163513"/>
                    <a:pt x="1050749" y="163513"/>
                    <a:pt x="1082146" y="163513"/>
                  </a:cubicBezTo>
                  <a:cubicBezTo>
                    <a:pt x="1082146" y="163513"/>
                    <a:pt x="1082146" y="163513"/>
                    <a:pt x="1129242" y="186917"/>
                  </a:cubicBezTo>
                  <a:cubicBezTo>
                    <a:pt x="1129242" y="186917"/>
                    <a:pt x="1129242" y="186917"/>
                    <a:pt x="1184187" y="171314"/>
                  </a:cubicBezTo>
                  <a:cubicBezTo>
                    <a:pt x="1184187" y="171314"/>
                    <a:pt x="1184187" y="171314"/>
                    <a:pt x="1207735" y="179116"/>
                  </a:cubicBezTo>
                  <a:cubicBezTo>
                    <a:pt x="1207735" y="179116"/>
                    <a:pt x="1207735" y="179116"/>
                    <a:pt x="1254831" y="186917"/>
                  </a:cubicBezTo>
                  <a:cubicBezTo>
                    <a:pt x="1254831" y="186917"/>
                    <a:pt x="1254831" y="186917"/>
                    <a:pt x="1270529" y="171314"/>
                  </a:cubicBezTo>
                  <a:cubicBezTo>
                    <a:pt x="1270529" y="171314"/>
                    <a:pt x="1270529" y="171314"/>
                    <a:pt x="1294077" y="233726"/>
                  </a:cubicBezTo>
                  <a:cubicBezTo>
                    <a:pt x="1294077" y="233726"/>
                    <a:pt x="1294077" y="233726"/>
                    <a:pt x="1301927" y="233726"/>
                  </a:cubicBezTo>
                  <a:cubicBezTo>
                    <a:pt x="1301927" y="233726"/>
                    <a:pt x="1301927" y="233726"/>
                    <a:pt x="1278379" y="257130"/>
                  </a:cubicBezTo>
                  <a:cubicBezTo>
                    <a:pt x="1278379" y="257130"/>
                    <a:pt x="1278379" y="257130"/>
                    <a:pt x="1223434" y="225924"/>
                  </a:cubicBezTo>
                  <a:cubicBezTo>
                    <a:pt x="1223434" y="225924"/>
                    <a:pt x="1223434" y="225924"/>
                    <a:pt x="1262680" y="280534"/>
                  </a:cubicBezTo>
                  <a:cubicBezTo>
                    <a:pt x="1262680" y="280534"/>
                    <a:pt x="1262680" y="280534"/>
                    <a:pt x="1294077" y="342946"/>
                  </a:cubicBezTo>
                  <a:cubicBezTo>
                    <a:pt x="1294077" y="342946"/>
                    <a:pt x="1294077" y="342946"/>
                    <a:pt x="1317625" y="397556"/>
                  </a:cubicBezTo>
                  <a:cubicBezTo>
                    <a:pt x="1317625" y="397556"/>
                    <a:pt x="1317625" y="397556"/>
                    <a:pt x="1301927" y="413159"/>
                  </a:cubicBezTo>
                  <a:cubicBezTo>
                    <a:pt x="1301927" y="413159"/>
                    <a:pt x="1301927" y="413159"/>
                    <a:pt x="1262680" y="436563"/>
                  </a:cubicBezTo>
                  <a:cubicBezTo>
                    <a:pt x="1262680" y="436563"/>
                    <a:pt x="1089995" y="436563"/>
                    <a:pt x="1058598" y="436563"/>
                  </a:cubicBezTo>
                  <a:lnTo>
                    <a:pt x="1058568" y="436563"/>
                  </a:lnTo>
                  <a:lnTo>
                    <a:pt x="1057879" y="440650"/>
                  </a:lnTo>
                  <a:cubicBezTo>
                    <a:pt x="1056894" y="446484"/>
                    <a:pt x="1054925" y="458152"/>
                    <a:pt x="1050987" y="481489"/>
                  </a:cubicBezTo>
                  <a:cubicBezTo>
                    <a:pt x="1050987" y="481489"/>
                    <a:pt x="1050987" y="481489"/>
                    <a:pt x="1027357" y="481489"/>
                  </a:cubicBezTo>
                  <a:cubicBezTo>
                    <a:pt x="1027357" y="481489"/>
                    <a:pt x="1027357" y="481489"/>
                    <a:pt x="1027357" y="504825"/>
                  </a:cubicBezTo>
                  <a:cubicBezTo>
                    <a:pt x="1027357" y="504825"/>
                    <a:pt x="1027357" y="504825"/>
                    <a:pt x="1019481" y="497046"/>
                  </a:cubicBezTo>
                  <a:cubicBezTo>
                    <a:pt x="1019481" y="497046"/>
                    <a:pt x="1019481" y="497046"/>
                    <a:pt x="830446" y="395922"/>
                  </a:cubicBezTo>
                  <a:cubicBezTo>
                    <a:pt x="830446" y="395922"/>
                    <a:pt x="830446" y="395922"/>
                    <a:pt x="817155" y="402486"/>
                  </a:cubicBezTo>
                  <a:lnTo>
                    <a:pt x="799232" y="411336"/>
                  </a:lnTo>
                  <a:lnTo>
                    <a:pt x="800291" y="412387"/>
                  </a:lnTo>
                  <a:lnTo>
                    <a:pt x="800291" y="413651"/>
                  </a:lnTo>
                  <a:lnTo>
                    <a:pt x="830985" y="398463"/>
                  </a:lnTo>
                  <a:lnTo>
                    <a:pt x="1019175" y="499343"/>
                  </a:lnTo>
                  <a:lnTo>
                    <a:pt x="1011334" y="592463"/>
                  </a:lnTo>
                  <a:lnTo>
                    <a:pt x="987810" y="607983"/>
                  </a:lnTo>
                  <a:lnTo>
                    <a:pt x="979969" y="648076"/>
                  </a:lnTo>
                  <a:lnTo>
                    <a:pt x="972128" y="671356"/>
                  </a:lnTo>
                  <a:lnTo>
                    <a:pt x="995479" y="717575"/>
                  </a:lnTo>
                  <a:lnTo>
                    <a:pt x="995518" y="717550"/>
                  </a:lnTo>
                  <a:lnTo>
                    <a:pt x="1011161" y="748771"/>
                  </a:lnTo>
                  <a:lnTo>
                    <a:pt x="1034625" y="787797"/>
                  </a:lnTo>
                  <a:lnTo>
                    <a:pt x="1065910" y="803408"/>
                  </a:lnTo>
                  <a:lnTo>
                    <a:pt x="1112103" y="849505"/>
                  </a:lnTo>
                  <a:lnTo>
                    <a:pt x="1113000" y="849393"/>
                  </a:lnTo>
                  <a:lnTo>
                    <a:pt x="1107954" y="844365"/>
                  </a:lnTo>
                  <a:cubicBezTo>
                    <a:pt x="1102092" y="838523"/>
                    <a:pt x="1090369" y="826840"/>
                    <a:pt x="1066923" y="803474"/>
                  </a:cubicBezTo>
                  <a:cubicBezTo>
                    <a:pt x="1066923" y="803474"/>
                    <a:pt x="1066923" y="803474"/>
                    <a:pt x="1035661" y="787897"/>
                  </a:cubicBezTo>
                  <a:cubicBezTo>
                    <a:pt x="1035661" y="787897"/>
                    <a:pt x="1035661" y="787897"/>
                    <a:pt x="1012215" y="748953"/>
                  </a:cubicBezTo>
                  <a:cubicBezTo>
                    <a:pt x="1012215" y="748953"/>
                    <a:pt x="1012215" y="748953"/>
                    <a:pt x="996584" y="717799"/>
                  </a:cubicBezTo>
                  <a:cubicBezTo>
                    <a:pt x="996584" y="717799"/>
                    <a:pt x="996584" y="717799"/>
                    <a:pt x="973138" y="671067"/>
                  </a:cubicBezTo>
                  <a:cubicBezTo>
                    <a:pt x="973138" y="671067"/>
                    <a:pt x="973138" y="671067"/>
                    <a:pt x="980954" y="647701"/>
                  </a:cubicBezTo>
                  <a:cubicBezTo>
                    <a:pt x="980954" y="647701"/>
                    <a:pt x="980954" y="647701"/>
                    <a:pt x="988769" y="608757"/>
                  </a:cubicBezTo>
                  <a:cubicBezTo>
                    <a:pt x="988769" y="608757"/>
                    <a:pt x="988769" y="608757"/>
                    <a:pt x="1012215" y="593180"/>
                  </a:cubicBezTo>
                  <a:cubicBezTo>
                    <a:pt x="1012215" y="593180"/>
                    <a:pt x="1012215" y="593180"/>
                    <a:pt x="1020031" y="499716"/>
                  </a:cubicBezTo>
                  <a:cubicBezTo>
                    <a:pt x="1020031" y="499716"/>
                    <a:pt x="1020031" y="499716"/>
                    <a:pt x="1027846" y="507504"/>
                  </a:cubicBezTo>
                  <a:cubicBezTo>
                    <a:pt x="1027846" y="507504"/>
                    <a:pt x="1027846" y="507504"/>
                    <a:pt x="1027846" y="484138"/>
                  </a:cubicBezTo>
                  <a:cubicBezTo>
                    <a:pt x="1027846" y="484138"/>
                    <a:pt x="1027846" y="484138"/>
                    <a:pt x="1051292" y="484138"/>
                  </a:cubicBezTo>
                  <a:cubicBezTo>
                    <a:pt x="1051292" y="484138"/>
                    <a:pt x="1051292" y="484138"/>
                    <a:pt x="1059107" y="437406"/>
                  </a:cubicBezTo>
                  <a:cubicBezTo>
                    <a:pt x="1090369" y="437406"/>
                    <a:pt x="1262307" y="437406"/>
                    <a:pt x="1262307" y="437406"/>
                  </a:cubicBezTo>
                  <a:lnTo>
                    <a:pt x="1301384" y="414040"/>
                  </a:lnTo>
                  <a:cubicBezTo>
                    <a:pt x="1301384" y="414040"/>
                    <a:pt x="1301384" y="414040"/>
                    <a:pt x="1317015" y="398463"/>
                  </a:cubicBezTo>
                  <a:cubicBezTo>
                    <a:pt x="1317015" y="398463"/>
                    <a:pt x="1317015" y="398463"/>
                    <a:pt x="1340461" y="429618"/>
                  </a:cubicBezTo>
                  <a:cubicBezTo>
                    <a:pt x="1340461" y="429618"/>
                    <a:pt x="1340461" y="429618"/>
                    <a:pt x="1363907" y="499716"/>
                  </a:cubicBezTo>
                  <a:cubicBezTo>
                    <a:pt x="1363907" y="499716"/>
                    <a:pt x="1363907" y="499716"/>
                    <a:pt x="1370502" y="516145"/>
                  </a:cubicBezTo>
                  <a:lnTo>
                    <a:pt x="1378915" y="537106"/>
                  </a:lnTo>
                  <a:lnTo>
                    <a:pt x="1379977" y="536575"/>
                  </a:lnTo>
                  <a:cubicBezTo>
                    <a:pt x="1379977" y="536575"/>
                    <a:pt x="1379977" y="536575"/>
                    <a:pt x="1403587" y="583777"/>
                  </a:cubicBezTo>
                  <a:cubicBezTo>
                    <a:pt x="1403587" y="583777"/>
                    <a:pt x="1403587" y="583777"/>
                    <a:pt x="1442937" y="599511"/>
                  </a:cubicBezTo>
                  <a:cubicBezTo>
                    <a:pt x="1442937" y="599511"/>
                    <a:pt x="1442937" y="599511"/>
                    <a:pt x="1505896" y="693914"/>
                  </a:cubicBezTo>
                  <a:cubicBezTo>
                    <a:pt x="1505896" y="693914"/>
                    <a:pt x="1505896" y="693914"/>
                    <a:pt x="1513766" y="709648"/>
                  </a:cubicBezTo>
                  <a:cubicBezTo>
                    <a:pt x="1513766" y="709648"/>
                    <a:pt x="1513766" y="709648"/>
                    <a:pt x="1490156" y="725382"/>
                  </a:cubicBezTo>
                  <a:cubicBezTo>
                    <a:pt x="1490156" y="725382"/>
                    <a:pt x="1490156" y="725382"/>
                    <a:pt x="1505896" y="748983"/>
                  </a:cubicBezTo>
                  <a:cubicBezTo>
                    <a:pt x="1505896" y="748983"/>
                    <a:pt x="1505896" y="748983"/>
                    <a:pt x="1560986" y="780451"/>
                  </a:cubicBezTo>
                  <a:cubicBezTo>
                    <a:pt x="1560986" y="780451"/>
                    <a:pt x="1560986" y="780451"/>
                    <a:pt x="1561847" y="780574"/>
                  </a:cubicBezTo>
                  <a:lnTo>
                    <a:pt x="1562024" y="780599"/>
                  </a:lnTo>
                  <a:lnTo>
                    <a:pt x="1507385" y="749727"/>
                  </a:lnTo>
                  <a:lnTo>
                    <a:pt x="1491722" y="726495"/>
                  </a:lnTo>
                  <a:lnTo>
                    <a:pt x="1515217" y="711007"/>
                  </a:lnTo>
                  <a:lnTo>
                    <a:pt x="1515217" y="718751"/>
                  </a:lnTo>
                  <a:lnTo>
                    <a:pt x="1546543" y="726495"/>
                  </a:lnTo>
                  <a:lnTo>
                    <a:pt x="1687513" y="703263"/>
                  </a:lnTo>
                  <a:lnTo>
                    <a:pt x="1671850" y="765214"/>
                  </a:lnTo>
                  <a:lnTo>
                    <a:pt x="1624860" y="873629"/>
                  </a:lnTo>
                  <a:lnTo>
                    <a:pt x="1570038" y="935580"/>
                  </a:lnTo>
                  <a:lnTo>
                    <a:pt x="1507385" y="966556"/>
                  </a:lnTo>
                  <a:lnTo>
                    <a:pt x="1468227" y="1020763"/>
                  </a:lnTo>
                  <a:lnTo>
                    <a:pt x="1452563" y="997532"/>
                  </a:lnTo>
                  <a:lnTo>
                    <a:pt x="1452563" y="920093"/>
                  </a:lnTo>
                  <a:lnTo>
                    <a:pt x="1476058" y="896861"/>
                  </a:lnTo>
                  <a:lnTo>
                    <a:pt x="1476058" y="889494"/>
                  </a:lnTo>
                  <a:lnTo>
                    <a:pt x="1474788" y="890340"/>
                  </a:lnTo>
                  <a:lnTo>
                    <a:pt x="1474788" y="896515"/>
                  </a:lnTo>
                  <a:cubicBezTo>
                    <a:pt x="1474788" y="896515"/>
                    <a:pt x="1474788" y="896515"/>
                    <a:pt x="1451159" y="920010"/>
                  </a:cubicBezTo>
                  <a:lnTo>
                    <a:pt x="1451159" y="998327"/>
                  </a:lnTo>
                  <a:cubicBezTo>
                    <a:pt x="1451159" y="998327"/>
                    <a:pt x="1451159" y="998327"/>
                    <a:pt x="1466912" y="1021822"/>
                  </a:cubicBezTo>
                  <a:cubicBezTo>
                    <a:pt x="1466912" y="1021822"/>
                    <a:pt x="1466912" y="1021822"/>
                    <a:pt x="1443282" y="1045317"/>
                  </a:cubicBezTo>
                  <a:cubicBezTo>
                    <a:pt x="1443282" y="1045317"/>
                    <a:pt x="1443282" y="1045317"/>
                    <a:pt x="1411777" y="1092307"/>
                  </a:cubicBezTo>
                  <a:cubicBezTo>
                    <a:pt x="1411777" y="1092307"/>
                    <a:pt x="1409808" y="1092307"/>
                    <a:pt x="1407839" y="1093286"/>
                  </a:cubicBezTo>
                  <a:lnTo>
                    <a:pt x="1404241" y="1099546"/>
                  </a:lnTo>
                  <a:lnTo>
                    <a:pt x="1405082" y="1100045"/>
                  </a:lnTo>
                  <a:cubicBezTo>
                    <a:pt x="1397193" y="1100045"/>
                    <a:pt x="1389303" y="1107842"/>
                    <a:pt x="1389303" y="1115639"/>
                  </a:cubicBezTo>
                  <a:cubicBezTo>
                    <a:pt x="1389303" y="1123437"/>
                    <a:pt x="1405082" y="1154627"/>
                    <a:pt x="1405082" y="1154627"/>
                  </a:cubicBezTo>
                  <a:cubicBezTo>
                    <a:pt x="1405082" y="1154627"/>
                    <a:pt x="1405082" y="1154627"/>
                    <a:pt x="1412971" y="1224804"/>
                  </a:cubicBezTo>
                  <a:cubicBezTo>
                    <a:pt x="1412971" y="1224804"/>
                    <a:pt x="1412971" y="1224804"/>
                    <a:pt x="1419628" y="1234672"/>
                  </a:cubicBezTo>
                  <a:lnTo>
                    <a:pt x="1428527" y="1247865"/>
                  </a:lnTo>
                  <a:lnTo>
                    <a:pt x="1428797" y="1247775"/>
                  </a:lnTo>
                  <a:cubicBezTo>
                    <a:pt x="1428797" y="1247775"/>
                    <a:pt x="1428797" y="1247775"/>
                    <a:pt x="1428797" y="1279055"/>
                  </a:cubicBezTo>
                  <a:cubicBezTo>
                    <a:pt x="1428797" y="1279055"/>
                    <a:pt x="1428797" y="1279055"/>
                    <a:pt x="1436688" y="1333794"/>
                  </a:cubicBezTo>
                  <a:cubicBezTo>
                    <a:pt x="1436688" y="1333794"/>
                    <a:pt x="1436688" y="1333794"/>
                    <a:pt x="1428797" y="1372894"/>
                  </a:cubicBezTo>
                  <a:cubicBezTo>
                    <a:pt x="1428797" y="1372894"/>
                    <a:pt x="1428797" y="1372894"/>
                    <a:pt x="1405125" y="1404173"/>
                  </a:cubicBezTo>
                  <a:cubicBezTo>
                    <a:pt x="1405125" y="1404173"/>
                    <a:pt x="1405125" y="1404173"/>
                    <a:pt x="1334108" y="1443273"/>
                  </a:cubicBezTo>
                  <a:cubicBezTo>
                    <a:pt x="1334108" y="1443273"/>
                    <a:pt x="1334108" y="1443273"/>
                    <a:pt x="1294653" y="1490192"/>
                  </a:cubicBezTo>
                  <a:cubicBezTo>
                    <a:pt x="1294653" y="1490192"/>
                    <a:pt x="1294653" y="1490192"/>
                    <a:pt x="1310435" y="1560572"/>
                  </a:cubicBezTo>
                  <a:cubicBezTo>
                    <a:pt x="1310435" y="1560572"/>
                    <a:pt x="1310435" y="1560572"/>
                    <a:pt x="1294653" y="1599671"/>
                  </a:cubicBezTo>
                  <a:cubicBezTo>
                    <a:pt x="1294653" y="1599671"/>
                    <a:pt x="1294653" y="1599671"/>
                    <a:pt x="1239418" y="1646591"/>
                  </a:cubicBezTo>
                  <a:cubicBezTo>
                    <a:pt x="1239418" y="1646591"/>
                    <a:pt x="1247308" y="1646591"/>
                    <a:pt x="1239418" y="1670050"/>
                  </a:cubicBezTo>
                  <a:cubicBezTo>
                    <a:pt x="1239418" y="1670050"/>
                    <a:pt x="1239418" y="1670050"/>
                    <a:pt x="1223636" y="1670050"/>
                  </a:cubicBezTo>
                  <a:cubicBezTo>
                    <a:pt x="1223636" y="1670050"/>
                    <a:pt x="1223636" y="1670050"/>
                    <a:pt x="1215745" y="1552752"/>
                  </a:cubicBezTo>
                  <a:lnTo>
                    <a:pt x="1214828" y="1552752"/>
                  </a:lnTo>
                  <a:lnTo>
                    <a:pt x="1222624" y="1670509"/>
                  </a:lnTo>
                  <a:cubicBezTo>
                    <a:pt x="1222624" y="1670509"/>
                    <a:pt x="1222624" y="1670509"/>
                    <a:pt x="1238250" y="1670509"/>
                  </a:cubicBezTo>
                  <a:cubicBezTo>
                    <a:pt x="1230437" y="1694110"/>
                    <a:pt x="1206998" y="1741312"/>
                    <a:pt x="1206998" y="1741312"/>
                  </a:cubicBezTo>
                  <a:cubicBezTo>
                    <a:pt x="1206998" y="1741312"/>
                    <a:pt x="1206998" y="1741312"/>
                    <a:pt x="1089804" y="1867183"/>
                  </a:cubicBezTo>
                  <a:cubicBezTo>
                    <a:pt x="1089804" y="1867183"/>
                    <a:pt x="1089804" y="1867183"/>
                    <a:pt x="1035113" y="1875049"/>
                  </a:cubicBezTo>
                  <a:cubicBezTo>
                    <a:pt x="1035113" y="1875049"/>
                    <a:pt x="1035113" y="1875049"/>
                    <a:pt x="972609" y="1882916"/>
                  </a:cubicBezTo>
                  <a:cubicBezTo>
                    <a:pt x="972609" y="1882916"/>
                    <a:pt x="972609" y="1882916"/>
                    <a:pt x="910105" y="1898650"/>
                  </a:cubicBezTo>
                  <a:cubicBezTo>
                    <a:pt x="910105" y="1898650"/>
                    <a:pt x="910105" y="1898650"/>
                    <a:pt x="878853" y="1851449"/>
                  </a:cubicBezTo>
                  <a:cubicBezTo>
                    <a:pt x="878853" y="1851449"/>
                    <a:pt x="878853" y="1851449"/>
                    <a:pt x="878853" y="1819981"/>
                  </a:cubicBezTo>
                  <a:cubicBezTo>
                    <a:pt x="878853" y="1819981"/>
                    <a:pt x="878853" y="1819981"/>
                    <a:pt x="855414" y="1757045"/>
                  </a:cubicBezTo>
                  <a:cubicBezTo>
                    <a:pt x="855414" y="1757045"/>
                    <a:pt x="855414" y="1757045"/>
                    <a:pt x="839788" y="1733445"/>
                  </a:cubicBezTo>
                  <a:cubicBezTo>
                    <a:pt x="839788" y="1733445"/>
                    <a:pt x="839788" y="1733445"/>
                    <a:pt x="847601" y="1717711"/>
                  </a:cubicBezTo>
                  <a:cubicBezTo>
                    <a:pt x="847601" y="1717711"/>
                    <a:pt x="847601" y="1717711"/>
                    <a:pt x="886666" y="1733445"/>
                  </a:cubicBezTo>
                  <a:cubicBezTo>
                    <a:pt x="886666" y="1733445"/>
                    <a:pt x="886666" y="1733445"/>
                    <a:pt x="910105" y="1725578"/>
                  </a:cubicBezTo>
                  <a:cubicBezTo>
                    <a:pt x="910105" y="1725578"/>
                    <a:pt x="910105" y="1725578"/>
                    <a:pt x="920573" y="1651795"/>
                  </a:cubicBezTo>
                  <a:lnTo>
                    <a:pt x="925543" y="1616769"/>
                  </a:lnTo>
                  <a:lnTo>
                    <a:pt x="925524" y="1616732"/>
                  </a:lnTo>
                  <a:lnTo>
                    <a:pt x="910025" y="1724215"/>
                  </a:lnTo>
                  <a:lnTo>
                    <a:pt x="886561" y="1731963"/>
                  </a:lnTo>
                  <a:lnTo>
                    <a:pt x="847455" y="1716466"/>
                  </a:lnTo>
                  <a:lnTo>
                    <a:pt x="839633" y="1731963"/>
                  </a:lnTo>
                  <a:lnTo>
                    <a:pt x="800527" y="1693221"/>
                  </a:lnTo>
                  <a:lnTo>
                    <a:pt x="784884" y="1592490"/>
                  </a:lnTo>
                  <a:lnTo>
                    <a:pt x="777063" y="1569244"/>
                  </a:lnTo>
                  <a:lnTo>
                    <a:pt x="722313" y="1460765"/>
                  </a:lnTo>
                  <a:lnTo>
                    <a:pt x="730135" y="1414274"/>
                  </a:lnTo>
                  <a:lnTo>
                    <a:pt x="745731" y="1406548"/>
                  </a:lnTo>
                  <a:lnTo>
                    <a:pt x="744371" y="1405188"/>
                  </a:lnTo>
                  <a:cubicBezTo>
                    <a:pt x="744371" y="1405188"/>
                    <a:pt x="744371" y="1405188"/>
                    <a:pt x="728663" y="1413042"/>
                  </a:cubicBezTo>
                  <a:cubicBezTo>
                    <a:pt x="728663" y="1413042"/>
                    <a:pt x="728663" y="1413042"/>
                    <a:pt x="728663" y="1350211"/>
                  </a:cubicBezTo>
                  <a:cubicBezTo>
                    <a:pt x="728663" y="1350211"/>
                    <a:pt x="728663" y="1350211"/>
                    <a:pt x="760079" y="1295233"/>
                  </a:cubicBezTo>
                  <a:cubicBezTo>
                    <a:pt x="760079" y="1295233"/>
                    <a:pt x="760079" y="1295233"/>
                    <a:pt x="752225" y="1248109"/>
                  </a:cubicBezTo>
                  <a:cubicBezTo>
                    <a:pt x="752225" y="1248109"/>
                    <a:pt x="752225" y="1248109"/>
                    <a:pt x="736517" y="1146008"/>
                  </a:cubicBezTo>
                  <a:cubicBezTo>
                    <a:pt x="736517" y="1146008"/>
                    <a:pt x="736517" y="1146008"/>
                    <a:pt x="760079" y="1130300"/>
                  </a:cubicBezTo>
                  <a:cubicBezTo>
                    <a:pt x="760079" y="1130300"/>
                    <a:pt x="815057" y="1130300"/>
                    <a:pt x="822911" y="1130300"/>
                  </a:cubicBezTo>
                  <a:cubicBezTo>
                    <a:pt x="830765" y="1130300"/>
                    <a:pt x="862180" y="1177424"/>
                    <a:pt x="870034" y="1177424"/>
                  </a:cubicBezTo>
                  <a:cubicBezTo>
                    <a:pt x="877888" y="1177424"/>
                    <a:pt x="885742" y="1185278"/>
                    <a:pt x="893596" y="1177424"/>
                  </a:cubicBezTo>
                  <a:cubicBezTo>
                    <a:pt x="901450" y="1177424"/>
                    <a:pt x="917158" y="1161716"/>
                    <a:pt x="917158" y="1161716"/>
                  </a:cubicBezTo>
                  <a:cubicBezTo>
                    <a:pt x="925012" y="1161716"/>
                    <a:pt x="964282" y="1161716"/>
                    <a:pt x="964282" y="1161716"/>
                  </a:cubicBezTo>
                  <a:cubicBezTo>
                    <a:pt x="964282" y="1161716"/>
                    <a:pt x="964282" y="1161716"/>
                    <a:pt x="979990" y="1255963"/>
                  </a:cubicBezTo>
                  <a:cubicBezTo>
                    <a:pt x="979990" y="1255963"/>
                    <a:pt x="979990" y="1255963"/>
                    <a:pt x="1027113" y="1263817"/>
                  </a:cubicBezTo>
                  <a:lnTo>
                    <a:pt x="1027113" y="1263968"/>
                  </a:lnTo>
                  <a:lnTo>
                    <a:pt x="1031585" y="1263968"/>
                  </a:lnTo>
                  <a:cubicBezTo>
                    <a:pt x="1036500" y="1263968"/>
                    <a:pt x="1046329" y="1263968"/>
                    <a:pt x="1065988" y="1263968"/>
                  </a:cubicBezTo>
                  <a:cubicBezTo>
                    <a:pt x="1065988" y="1263968"/>
                    <a:pt x="1065988" y="1263968"/>
                    <a:pt x="1113170" y="1287304"/>
                  </a:cubicBezTo>
                  <a:cubicBezTo>
                    <a:pt x="1113170" y="1287304"/>
                    <a:pt x="1113170" y="1287304"/>
                    <a:pt x="1160352" y="1310640"/>
                  </a:cubicBezTo>
                  <a:lnTo>
                    <a:pt x="1160352" y="1309473"/>
                  </a:lnTo>
                  <a:lnTo>
                    <a:pt x="1160050" y="1309322"/>
                  </a:lnTo>
                  <a:cubicBezTo>
                    <a:pt x="1157840" y="1308225"/>
                    <a:pt x="1149001" y="1303836"/>
                    <a:pt x="1113645" y="1286279"/>
                  </a:cubicBezTo>
                  <a:cubicBezTo>
                    <a:pt x="1113645" y="1286279"/>
                    <a:pt x="1113645" y="1286279"/>
                    <a:pt x="1066505" y="1262870"/>
                  </a:cubicBezTo>
                  <a:cubicBezTo>
                    <a:pt x="1066505" y="1262870"/>
                    <a:pt x="1066505" y="1262870"/>
                    <a:pt x="1027221" y="1262870"/>
                  </a:cubicBezTo>
                  <a:cubicBezTo>
                    <a:pt x="1027221" y="1262870"/>
                    <a:pt x="1027221" y="1262870"/>
                    <a:pt x="980080" y="1255067"/>
                  </a:cubicBezTo>
                  <a:cubicBezTo>
                    <a:pt x="980080" y="1255067"/>
                    <a:pt x="980080" y="1255067"/>
                    <a:pt x="964367" y="1161432"/>
                  </a:cubicBezTo>
                  <a:cubicBezTo>
                    <a:pt x="964367" y="1161432"/>
                    <a:pt x="925083" y="1161432"/>
                    <a:pt x="917226" y="1161432"/>
                  </a:cubicBezTo>
                  <a:cubicBezTo>
                    <a:pt x="917226" y="1161432"/>
                    <a:pt x="901512" y="1177038"/>
                    <a:pt x="893656" y="1177038"/>
                  </a:cubicBezTo>
                  <a:cubicBezTo>
                    <a:pt x="885799" y="1184841"/>
                    <a:pt x="877942" y="1177038"/>
                    <a:pt x="870085" y="1177038"/>
                  </a:cubicBezTo>
                  <a:cubicBezTo>
                    <a:pt x="862228" y="1177038"/>
                    <a:pt x="830801" y="1130220"/>
                    <a:pt x="822945" y="1130220"/>
                  </a:cubicBezTo>
                  <a:cubicBezTo>
                    <a:pt x="815088" y="1130220"/>
                    <a:pt x="760090" y="1130220"/>
                    <a:pt x="760090" y="1130220"/>
                  </a:cubicBezTo>
                  <a:cubicBezTo>
                    <a:pt x="760090" y="1130220"/>
                    <a:pt x="760090" y="1130220"/>
                    <a:pt x="736520" y="1145826"/>
                  </a:cubicBezTo>
                  <a:cubicBezTo>
                    <a:pt x="736520" y="1145826"/>
                    <a:pt x="736520" y="1145826"/>
                    <a:pt x="728663" y="1122417"/>
                  </a:cubicBezTo>
                  <a:lnTo>
                    <a:pt x="729219" y="1121865"/>
                  </a:lnTo>
                  <a:lnTo>
                    <a:pt x="721932" y="1092835"/>
                  </a:lnTo>
                  <a:lnTo>
                    <a:pt x="698500" y="1069499"/>
                  </a:lnTo>
                  <a:lnTo>
                    <a:pt x="714121" y="1053942"/>
                  </a:lnTo>
                  <a:lnTo>
                    <a:pt x="737553" y="1038384"/>
                  </a:lnTo>
                  <a:lnTo>
                    <a:pt x="760984" y="1038384"/>
                  </a:lnTo>
                  <a:lnTo>
                    <a:pt x="768795" y="999491"/>
                  </a:lnTo>
                  <a:lnTo>
                    <a:pt x="776605" y="960597"/>
                  </a:lnTo>
                  <a:lnTo>
                    <a:pt x="760984" y="952818"/>
                  </a:lnTo>
                  <a:lnTo>
                    <a:pt x="760984" y="937506"/>
                  </a:lnTo>
                  <a:lnTo>
                    <a:pt x="759752" y="938213"/>
                  </a:lnTo>
                  <a:lnTo>
                    <a:pt x="760625" y="938213"/>
                  </a:lnTo>
                  <a:lnTo>
                    <a:pt x="760625" y="953528"/>
                  </a:lnTo>
                  <a:lnTo>
                    <a:pt x="776288" y="961185"/>
                  </a:lnTo>
                  <a:lnTo>
                    <a:pt x="768457" y="999472"/>
                  </a:lnTo>
                  <a:lnTo>
                    <a:pt x="760625" y="1037759"/>
                  </a:lnTo>
                  <a:lnTo>
                    <a:pt x="737130" y="1037759"/>
                  </a:lnTo>
                  <a:lnTo>
                    <a:pt x="713635" y="1053074"/>
                  </a:lnTo>
                  <a:lnTo>
                    <a:pt x="697972" y="1068388"/>
                  </a:lnTo>
                  <a:lnTo>
                    <a:pt x="658813" y="1007129"/>
                  </a:lnTo>
                  <a:lnTo>
                    <a:pt x="658813" y="961185"/>
                  </a:lnTo>
                  <a:lnTo>
                    <a:pt x="658813" y="938213"/>
                  </a:lnTo>
                  <a:lnTo>
                    <a:pt x="658284" y="938213"/>
                  </a:lnTo>
                  <a:lnTo>
                    <a:pt x="650479" y="883324"/>
                  </a:lnTo>
                  <a:lnTo>
                    <a:pt x="627063" y="883324"/>
                  </a:lnTo>
                  <a:lnTo>
                    <a:pt x="627246" y="882404"/>
                  </a:lnTo>
                  <a:lnTo>
                    <a:pt x="596984" y="874844"/>
                  </a:lnTo>
                  <a:lnTo>
                    <a:pt x="565736" y="867039"/>
                  </a:lnTo>
                  <a:lnTo>
                    <a:pt x="534487" y="828009"/>
                  </a:lnTo>
                  <a:lnTo>
                    <a:pt x="503238" y="828009"/>
                  </a:lnTo>
                  <a:lnTo>
                    <a:pt x="503238" y="788980"/>
                  </a:lnTo>
                  <a:lnTo>
                    <a:pt x="518863" y="734339"/>
                  </a:lnTo>
                  <a:lnTo>
                    <a:pt x="518863" y="703116"/>
                  </a:lnTo>
                  <a:lnTo>
                    <a:pt x="518863" y="679698"/>
                  </a:lnTo>
                  <a:lnTo>
                    <a:pt x="534487" y="656280"/>
                  </a:lnTo>
                  <a:lnTo>
                    <a:pt x="564916" y="656280"/>
                  </a:lnTo>
                  <a:lnTo>
                    <a:pt x="564071" y="656001"/>
                  </a:lnTo>
                  <a:lnTo>
                    <a:pt x="532575" y="656001"/>
                  </a:lnTo>
                  <a:lnTo>
                    <a:pt x="517525" y="678411"/>
                  </a:lnTo>
                  <a:lnTo>
                    <a:pt x="517525" y="701358"/>
                  </a:lnTo>
                  <a:lnTo>
                    <a:pt x="517525" y="732790"/>
                  </a:lnTo>
                  <a:lnTo>
                    <a:pt x="501650" y="787797"/>
                  </a:lnTo>
                  <a:lnTo>
                    <a:pt x="501650" y="827088"/>
                  </a:lnTo>
                  <a:lnTo>
                    <a:pt x="485775" y="827088"/>
                  </a:lnTo>
                  <a:lnTo>
                    <a:pt x="461963" y="787797"/>
                  </a:lnTo>
                  <a:lnTo>
                    <a:pt x="454026" y="732794"/>
                  </a:lnTo>
                  <a:lnTo>
                    <a:pt x="454026" y="734417"/>
                  </a:lnTo>
                  <a:lnTo>
                    <a:pt x="461963" y="788591"/>
                  </a:lnTo>
                  <a:lnTo>
                    <a:pt x="485775" y="827286"/>
                  </a:lnTo>
                  <a:lnTo>
                    <a:pt x="454026" y="835025"/>
                  </a:lnTo>
                  <a:lnTo>
                    <a:pt x="453647" y="833919"/>
                  </a:lnTo>
                  <a:lnTo>
                    <a:pt x="399317" y="849313"/>
                  </a:lnTo>
                  <a:lnTo>
                    <a:pt x="360277" y="849313"/>
                  </a:lnTo>
                  <a:lnTo>
                    <a:pt x="360446" y="849814"/>
                  </a:lnTo>
                  <a:cubicBezTo>
                    <a:pt x="360446" y="849814"/>
                    <a:pt x="360446" y="849814"/>
                    <a:pt x="336884" y="849814"/>
                  </a:cubicBezTo>
                  <a:cubicBezTo>
                    <a:pt x="336884" y="849814"/>
                    <a:pt x="336884" y="849814"/>
                    <a:pt x="281906" y="873125"/>
                  </a:cubicBezTo>
                  <a:cubicBezTo>
                    <a:pt x="281906" y="873125"/>
                    <a:pt x="281906" y="873125"/>
                    <a:pt x="250491" y="873125"/>
                  </a:cubicBezTo>
                  <a:cubicBezTo>
                    <a:pt x="250491" y="873125"/>
                    <a:pt x="250491" y="873125"/>
                    <a:pt x="250491" y="849814"/>
                  </a:cubicBezTo>
                  <a:cubicBezTo>
                    <a:pt x="250491" y="849814"/>
                    <a:pt x="226929" y="834273"/>
                    <a:pt x="226929" y="834273"/>
                  </a:cubicBezTo>
                  <a:cubicBezTo>
                    <a:pt x="219075" y="834273"/>
                    <a:pt x="226929" y="810962"/>
                    <a:pt x="226929" y="810962"/>
                  </a:cubicBezTo>
                  <a:cubicBezTo>
                    <a:pt x="226929" y="810962"/>
                    <a:pt x="226929" y="810962"/>
                    <a:pt x="225947" y="809991"/>
                  </a:cubicBezTo>
                  <a:lnTo>
                    <a:pt x="219238" y="803353"/>
                  </a:lnTo>
                  <a:lnTo>
                    <a:pt x="219207" y="803364"/>
                  </a:lnTo>
                  <a:cubicBezTo>
                    <a:pt x="211336" y="803364"/>
                    <a:pt x="203464" y="811213"/>
                    <a:pt x="203464" y="811213"/>
                  </a:cubicBezTo>
                  <a:lnTo>
                    <a:pt x="197708" y="807549"/>
                  </a:lnTo>
                  <a:lnTo>
                    <a:pt x="198074" y="808145"/>
                  </a:lnTo>
                  <a:cubicBezTo>
                    <a:pt x="199855" y="810303"/>
                    <a:pt x="201754" y="811742"/>
                    <a:pt x="203654" y="811742"/>
                  </a:cubicBezTo>
                  <a:cubicBezTo>
                    <a:pt x="203654" y="811742"/>
                    <a:pt x="211251" y="804069"/>
                    <a:pt x="218848" y="804069"/>
                  </a:cubicBezTo>
                  <a:cubicBezTo>
                    <a:pt x="218848" y="804069"/>
                    <a:pt x="218848" y="804069"/>
                    <a:pt x="226446" y="811742"/>
                  </a:cubicBezTo>
                  <a:cubicBezTo>
                    <a:pt x="226446" y="811742"/>
                    <a:pt x="218848" y="834761"/>
                    <a:pt x="226446" y="834761"/>
                  </a:cubicBezTo>
                  <a:cubicBezTo>
                    <a:pt x="226446" y="834761"/>
                    <a:pt x="249238" y="850106"/>
                    <a:pt x="249238" y="850106"/>
                  </a:cubicBezTo>
                  <a:cubicBezTo>
                    <a:pt x="249238" y="850106"/>
                    <a:pt x="249238" y="850106"/>
                    <a:pt x="249238" y="873125"/>
                  </a:cubicBezTo>
                  <a:cubicBezTo>
                    <a:pt x="249238" y="873125"/>
                    <a:pt x="249238" y="873125"/>
                    <a:pt x="218848" y="873125"/>
                  </a:cubicBezTo>
                  <a:cubicBezTo>
                    <a:pt x="218848" y="873125"/>
                    <a:pt x="218848" y="873125"/>
                    <a:pt x="150472" y="827088"/>
                  </a:cubicBezTo>
                  <a:cubicBezTo>
                    <a:pt x="150472" y="827088"/>
                    <a:pt x="150472" y="827088"/>
                    <a:pt x="142875" y="819415"/>
                  </a:cubicBezTo>
                  <a:cubicBezTo>
                    <a:pt x="142875" y="819415"/>
                    <a:pt x="142875" y="819415"/>
                    <a:pt x="150472" y="804069"/>
                  </a:cubicBezTo>
                  <a:cubicBezTo>
                    <a:pt x="150472" y="804069"/>
                    <a:pt x="150472" y="804069"/>
                    <a:pt x="165667" y="796396"/>
                  </a:cubicBezTo>
                  <a:cubicBezTo>
                    <a:pt x="165667" y="796396"/>
                    <a:pt x="165667" y="796396"/>
                    <a:pt x="173264" y="781050"/>
                  </a:cubicBezTo>
                  <a:cubicBezTo>
                    <a:pt x="173264" y="781050"/>
                    <a:pt x="173264" y="781050"/>
                    <a:pt x="175164" y="782009"/>
                  </a:cubicBezTo>
                  <a:lnTo>
                    <a:pt x="188031" y="788507"/>
                  </a:lnTo>
                  <a:lnTo>
                    <a:pt x="187722" y="787665"/>
                  </a:lnTo>
                  <a:cubicBezTo>
                    <a:pt x="187722" y="787665"/>
                    <a:pt x="187722" y="787665"/>
                    <a:pt x="185754" y="786684"/>
                  </a:cubicBezTo>
                  <a:lnTo>
                    <a:pt x="173035" y="780342"/>
                  </a:lnTo>
                  <a:lnTo>
                    <a:pt x="173038" y="780345"/>
                  </a:lnTo>
                  <a:lnTo>
                    <a:pt x="165100" y="795867"/>
                  </a:lnTo>
                  <a:lnTo>
                    <a:pt x="149225" y="803628"/>
                  </a:lnTo>
                  <a:lnTo>
                    <a:pt x="141288" y="819150"/>
                  </a:lnTo>
                  <a:lnTo>
                    <a:pt x="109538" y="788106"/>
                  </a:lnTo>
                  <a:lnTo>
                    <a:pt x="93663" y="772584"/>
                  </a:lnTo>
                  <a:lnTo>
                    <a:pt x="109538" y="764822"/>
                  </a:lnTo>
                  <a:lnTo>
                    <a:pt x="117475" y="749300"/>
                  </a:lnTo>
                  <a:lnTo>
                    <a:pt x="148955" y="749300"/>
                  </a:lnTo>
                  <a:lnTo>
                    <a:pt x="148365" y="748419"/>
                  </a:lnTo>
                  <a:cubicBezTo>
                    <a:pt x="148365" y="748419"/>
                    <a:pt x="148365" y="748419"/>
                    <a:pt x="116880" y="748419"/>
                  </a:cubicBezTo>
                  <a:lnTo>
                    <a:pt x="109009" y="764117"/>
                  </a:lnTo>
                  <a:cubicBezTo>
                    <a:pt x="109009" y="764117"/>
                    <a:pt x="109009" y="764117"/>
                    <a:pt x="93266" y="771967"/>
                  </a:cubicBezTo>
                  <a:cubicBezTo>
                    <a:pt x="93266" y="771967"/>
                    <a:pt x="93266" y="771967"/>
                    <a:pt x="53909" y="717021"/>
                  </a:cubicBezTo>
                  <a:cubicBezTo>
                    <a:pt x="53909" y="717021"/>
                    <a:pt x="53909" y="717021"/>
                    <a:pt x="52925" y="717021"/>
                  </a:cubicBezTo>
                  <a:lnTo>
                    <a:pt x="47804" y="717021"/>
                  </a:lnTo>
                  <a:lnTo>
                    <a:pt x="47030" y="717550"/>
                  </a:lnTo>
                  <a:lnTo>
                    <a:pt x="46720" y="717021"/>
                  </a:lnTo>
                  <a:lnTo>
                    <a:pt x="46038" y="717021"/>
                  </a:lnTo>
                  <a:lnTo>
                    <a:pt x="46529" y="716695"/>
                  </a:lnTo>
                  <a:lnTo>
                    <a:pt x="24742" y="679450"/>
                  </a:lnTo>
                  <a:lnTo>
                    <a:pt x="23311" y="679450"/>
                  </a:lnTo>
                  <a:lnTo>
                    <a:pt x="15541" y="679450"/>
                  </a:lnTo>
                  <a:lnTo>
                    <a:pt x="0" y="624541"/>
                  </a:lnTo>
                  <a:lnTo>
                    <a:pt x="15541" y="576169"/>
                  </a:lnTo>
                  <a:lnTo>
                    <a:pt x="16376" y="576169"/>
                  </a:lnTo>
                  <a:lnTo>
                    <a:pt x="17755" y="574119"/>
                  </a:lnTo>
                  <a:cubicBezTo>
                    <a:pt x="19719" y="571200"/>
                    <a:pt x="23646" y="565363"/>
                    <a:pt x="31500" y="553689"/>
                  </a:cubicBezTo>
                  <a:cubicBezTo>
                    <a:pt x="31500" y="553689"/>
                    <a:pt x="31500" y="553689"/>
                    <a:pt x="31500" y="499211"/>
                  </a:cubicBezTo>
                  <a:cubicBezTo>
                    <a:pt x="31500" y="499211"/>
                    <a:pt x="31500" y="499211"/>
                    <a:pt x="7938" y="452515"/>
                  </a:cubicBezTo>
                  <a:cubicBezTo>
                    <a:pt x="7938" y="452515"/>
                    <a:pt x="7938" y="452515"/>
                    <a:pt x="15792" y="444732"/>
                  </a:cubicBezTo>
                  <a:cubicBezTo>
                    <a:pt x="47208" y="444732"/>
                    <a:pt x="110039" y="452515"/>
                    <a:pt x="110039" y="452515"/>
                  </a:cubicBezTo>
                  <a:cubicBezTo>
                    <a:pt x="117893" y="452515"/>
                    <a:pt x="117893" y="398037"/>
                    <a:pt x="117893" y="398037"/>
                  </a:cubicBezTo>
                  <a:cubicBezTo>
                    <a:pt x="117893" y="398037"/>
                    <a:pt x="117893" y="398037"/>
                    <a:pt x="133601" y="382472"/>
                  </a:cubicBezTo>
                  <a:cubicBezTo>
                    <a:pt x="133601" y="382472"/>
                    <a:pt x="133601" y="382472"/>
                    <a:pt x="141455" y="320211"/>
                  </a:cubicBezTo>
                  <a:cubicBezTo>
                    <a:pt x="141455" y="320211"/>
                    <a:pt x="141455" y="320211"/>
                    <a:pt x="219994" y="320211"/>
                  </a:cubicBezTo>
                  <a:cubicBezTo>
                    <a:pt x="219994" y="320211"/>
                    <a:pt x="219994" y="320211"/>
                    <a:pt x="219994" y="310361"/>
                  </a:cubicBezTo>
                  <a:lnTo>
                    <a:pt x="219994" y="297086"/>
                  </a:lnTo>
                  <a:lnTo>
                    <a:pt x="219075" y="296382"/>
                  </a:lnTo>
                  <a:lnTo>
                    <a:pt x="219075" y="296863"/>
                  </a:lnTo>
                  <a:lnTo>
                    <a:pt x="219075" y="299140"/>
                  </a:lnTo>
                  <a:cubicBezTo>
                    <a:pt x="219075" y="302039"/>
                    <a:pt x="219075" y="307837"/>
                    <a:pt x="219075" y="319432"/>
                  </a:cubicBezTo>
                  <a:cubicBezTo>
                    <a:pt x="219075" y="319432"/>
                    <a:pt x="219075" y="319432"/>
                    <a:pt x="140311" y="319432"/>
                  </a:cubicBezTo>
                  <a:cubicBezTo>
                    <a:pt x="140311" y="319432"/>
                    <a:pt x="140311" y="319432"/>
                    <a:pt x="132434" y="381276"/>
                  </a:cubicBezTo>
                  <a:cubicBezTo>
                    <a:pt x="132434" y="381276"/>
                    <a:pt x="132434" y="381276"/>
                    <a:pt x="116681" y="396737"/>
                  </a:cubicBezTo>
                  <a:cubicBezTo>
                    <a:pt x="116681" y="396737"/>
                    <a:pt x="116681" y="450850"/>
                    <a:pt x="108805" y="450850"/>
                  </a:cubicBezTo>
                  <a:cubicBezTo>
                    <a:pt x="108805" y="450850"/>
                    <a:pt x="45794" y="443119"/>
                    <a:pt x="14288" y="443119"/>
                  </a:cubicBezTo>
                  <a:cubicBezTo>
                    <a:pt x="14288" y="443119"/>
                    <a:pt x="14288" y="443119"/>
                    <a:pt x="45794" y="373546"/>
                  </a:cubicBezTo>
                  <a:cubicBezTo>
                    <a:pt x="45794" y="373546"/>
                    <a:pt x="45794" y="373546"/>
                    <a:pt x="85176" y="288511"/>
                  </a:cubicBezTo>
                  <a:cubicBezTo>
                    <a:pt x="85176" y="288511"/>
                    <a:pt x="85176" y="288511"/>
                    <a:pt x="100929" y="273050"/>
                  </a:cubicBezTo>
                  <a:cubicBezTo>
                    <a:pt x="100929" y="273050"/>
                    <a:pt x="100929" y="273050"/>
                    <a:pt x="102652" y="273050"/>
                  </a:cubicBezTo>
                  <a:lnTo>
                    <a:pt x="103188" y="273050"/>
                  </a:lnTo>
                  <a:lnTo>
                    <a:pt x="118812" y="257394"/>
                  </a:lnTo>
                  <a:lnTo>
                    <a:pt x="189121" y="226082"/>
                  </a:lnTo>
                  <a:lnTo>
                    <a:pt x="196934" y="163458"/>
                  </a:lnTo>
                  <a:lnTo>
                    <a:pt x="228182" y="124318"/>
                  </a:lnTo>
                  <a:lnTo>
                    <a:pt x="259431" y="93006"/>
                  </a:lnTo>
                  <a:lnTo>
                    <a:pt x="290680" y="46038"/>
                  </a:lnTo>
                  <a:lnTo>
                    <a:pt x="321928" y="61694"/>
                  </a:lnTo>
                  <a:lnTo>
                    <a:pt x="345365" y="61694"/>
                  </a:lnTo>
                  <a:lnTo>
                    <a:pt x="376613" y="61694"/>
                  </a:lnTo>
                  <a:lnTo>
                    <a:pt x="383842" y="61694"/>
                  </a:lnTo>
                  <a:lnTo>
                    <a:pt x="422544" y="38833"/>
                  </a:lnTo>
                  <a:lnTo>
                    <a:pt x="501431" y="15533"/>
                  </a:lnTo>
                  <a:lnTo>
                    <a:pt x="588206" y="15533"/>
                  </a:lnTo>
                  <a:lnTo>
                    <a:pt x="627649" y="7766"/>
                  </a:lnTo>
                  <a:lnTo>
                    <a:pt x="641350" y="102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  <a:scene3d>
              <a:camera prst="orthographicFront"/>
              <a:lightRig rig="contrasting" dir="t"/>
            </a:scene3d>
            <a:sp3d z="63500" prstMaterial="metal">
              <a:bevelB w="0" h="0"/>
            </a:sp3d>
          </p:spPr>
          <p:txBody>
            <a:bodyPr wrap="square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0" name="Freeform 436">
              <a:extLst>
                <a:ext uri="{FF2B5EF4-FFF2-40B4-BE49-F238E27FC236}">
                  <a16:creationId xmlns:a16="http://schemas.microsoft.com/office/drawing/2014/main" id="{AE29D803-B2C7-4333-8C47-CC7457B920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0216" y="4239307"/>
              <a:ext cx="1788350" cy="2315222"/>
            </a:xfrm>
            <a:custGeom>
              <a:avLst/>
              <a:gdLst>
                <a:gd name="connsiteX0" fmla="*/ 922983 w 1366837"/>
                <a:gd name="connsiteY0" fmla="*/ 1196066 h 2009850"/>
                <a:gd name="connsiteX1" fmla="*/ 925200 w 1366837"/>
                <a:gd name="connsiteY1" fmla="*/ 1198669 h 2009850"/>
                <a:gd name="connsiteX2" fmla="*/ 924719 w 1366837"/>
                <a:gd name="connsiteY2" fmla="*/ 1197739 h 2009850"/>
                <a:gd name="connsiteX3" fmla="*/ 924259 w 1366837"/>
                <a:gd name="connsiteY3" fmla="*/ 1035860 h 2009850"/>
                <a:gd name="connsiteX4" fmla="*/ 920841 w 1366837"/>
                <a:gd name="connsiteY4" fmla="*/ 1038159 h 2009850"/>
                <a:gd name="connsiteX5" fmla="*/ 924276 w 1366837"/>
                <a:gd name="connsiteY5" fmla="*/ 1035884 h 2009850"/>
                <a:gd name="connsiteX6" fmla="*/ 624338 w 1366837"/>
                <a:gd name="connsiteY6" fmla="*/ 947843 h 2009850"/>
                <a:gd name="connsiteX7" fmla="*/ 623984 w 1366837"/>
                <a:gd name="connsiteY7" fmla="*/ 949533 h 2009850"/>
                <a:gd name="connsiteX8" fmla="*/ 624572 w 1366837"/>
                <a:gd name="connsiteY8" fmla="*/ 948137 h 2009850"/>
                <a:gd name="connsiteX9" fmla="*/ 609461 w 1366837"/>
                <a:gd name="connsiteY9" fmla="*/ 918513 h 2009850"/>
                <a:gd name="connsiteX10" fmla="*/ 611736 w 1366837"/>
                <a:gd name="connsiteY10" fmla="*/ 925235 h 2009850"/>
                <a:gd name="connsiteX11" fmla="*/ 621346 w 1366837"/>
                <a:gd name="connsiteY11" fmla="*/ 942005 h 2009850"/>
                <a:gd name="connsiteX12" fmla="*/ 622620 w 1366837"/>
                <a:gd name="connsiteY12" fmla="*/ 941216 h 2009850"/>
                <a:gd name="connsiteX13" fmla="*/ 595516 w 1366837"/>
                <a:gd name="connsiteY13" fmla="*/ 863127 h 2009850"/>
                <a:gd name="connsiteX14" fmla="*/ 602819 w 1366837"/>
                <a:gd name="connsiteY14" fmla="*/ 873640 h 2009850"/>
                <a:gd name="connsiteX15" fmla="*/ 603540 w 1366837"/>
                <a:gd name="connsiteY15" fmla="*/ 882917 h 2009850"/>
                <a:gd name="connsiteX16" fmla="*/ 605225 w 1366837"/>
                <a:gd name="connsiteY16" fmla="*/ 870910 h 2009850"/>
                <a:gd name="connsiteX17" fmla="*/ 596194 w 1366837"/>
                <a:gd name="connsiteY17" fmla="*/ 863446 h 2009850"/>
                <a:gd name="connsiteX18" fmla="*/ 569861 w 1366837"/>
                <a:gd name="connsiteY18" fmla="*/ 844549 h 2009850"/>
                <a:gd name="connsiteX19" fmla="*/ 577981 w 1366837"/>
                <a:gd name="connsiteY19" fmla="*/ 851795 h 2009850"/>
                <a:gd name="connsiteX20" fmla="*/ 578240 w 1366837"/>
                <a:gd name="connsiteY20" fmla="*/ 851766 h 2009850"/>
                <a:gd name="connsiteX21" fmla="*/ 573140 w 1366837"/>
                <a:gd name="connsiteY21" fmla="*/ 846860 h 2009850"/>
                <a:gd name="connsiteX22" fmla="*/ 573672 w 1366837"/>
                <a:gd name="connsiteY22" fmla="*/ 844549 h 2009850"/>
                <a:gd name="connsiteX23" fmla="*/ 796081 w 1366837"/>
                <a:gd name="connsiteY23" fmla="*/ 813297 h 2009850"/>
                <a:gd name="connsiteX24" fmla="*/ 797130 w 1366837"/>
                <a:gd name="connsiteY24" fmla="*/ 814850 h 2009850"/>
                <a:gd name="connsiteX25" fmla="*/ 821131 w 1366837"/>
                <a:gd name="connsiteY25" fmla="*/ 818356 h 2009850"/>
                <a:gd name="connsiteX26" fmla="*/ 830459 w 1366837"/>
                <a:gd name="connsiteY26" fmla="*/ 820086 h 2009850"/>
                <a:gd name="connsiteX27" fmla="*/ 830459 w 1366837"/>
                <a:gd name="connsiteY27" fmla="*/ 819307 h 2009850"/>
                <a:gd name="connsiteX28" fmla="*/ 796886 w 1366837"/>
                <a:gd name="connsiteY28" fmla="*/ 813387 h 2009850"/>
                <a:gd name="connsiteX29" fmla="*/ 596990 w 1366837"/>
                <a:gd name="connsiteY29" fmla="*/ 721173 h 2009850"/>
                <a:gd name="connsiteX30" fmla="*/ 590470 w 1366837"/>
                <a:gd name="connsiteY30" fmla="*/ 766592 h 2009850"/>
                <a:gd name="connsiteX31" fmla="*/ 582453 w 1366837"/>
                <a:gd name="connsiteY31" fmla="*/ 809643 h 2009850"/>
                <a:gd name="connsiteX32" fmla="*/ 577778 w 1366837"/>
                <a:gd name="connsiteY32" fmla="*/ 829999 h 2009850"/>
                <a:gd name="connsiteX33" fmla="*/ 580241 w 1366837"/>
                <a:gd name="connsiteY33" fmla="*/ 822781 h 2009850"/>
                <a:gd name="connsiteX34" fmla="*/ 588288 w 1366837"/>
                <a:gd name="connsiteY34" fmla="*/ 779824 h 2009850"/>
                <a:gd name="connsiteX35" fmla="*/ 598124 w 1366837"/>
                <a:gd name="connsiteY35" fmla="*/ 723736 h 2009850"/>
                <a:gd name="connsiteX36" fmla="*/ 598524 w 1366837"/>
                <a:gd name="connsiteY36" fmla="*/ 693102 h 2009850"/>
                <a:gd name="connsiteX37" fmla="*/ 592555 w 1366837"/>
                <a:gd name="connsiteY37" fmla="*/ 693740 h 2009850"/>
                <a:gd name="connsiteX38" fmla="*/ 586843 w 1366837"/>
                <a:gd name="connsiteY38" fmla="*/ 695533 h 2009850"/>
                <a:gd name="connsiteX39" fmla="*/ 591011 w 1366837"/>
                <a:gd name="connsiteY39" fmla="*/ 700977 h 2009850"/>
                <a:gd name="connsiteX40" fmla="*/ 603239 w 1366837"/>
                <a:gd name="connsiteY40" fmla="*/ 697961 h 2009850"/>
                <a:gd name="connsiteX41" fmla="*/ 667141 w 1366837"/>
                <a:gd name="connsiteY41" fmla="*/ 679024 h 2009850"/>
                <a:gd name="connsiteX42" fmla="*/ 671189 w 1366837"/>
                <a:gd name="connsiteY42" fmla="*/ 679689 h 2009850"/>
                <a:gd name="connsiteX43" fmla="*/ 671031 w 1366837"/>
                <a:gd name="connsiteY43" fmla="*/ 679069 h 2009850"/>
                <a:gd name="connsiteX44" fmla="*/ 535291 w 1366837"/>
                <a:gd name="connsiteY44" fmla="*/ 540321 h 2009850"/>
                <a:gd name="connsiteX45" fmla="*/ 518318 w 1366837"/>
                <a:gd name="connsiteY45" fmla="*/ 550174 h 2009850"/>
                <a:gd name="connsiteX46" fmla="*/ 486251 w 1366837"/>
                <a:gd name="connsiteY46" fmla="*/ 592062 h 2009850"/>
                <a:gd name="connsiteX47" fmla="*/ 486251 w 1366837"/>
                <a:gd name="connsiteY47" fmla="*/ 596681 h 2009850"/>
                <a:gd name="connsiteX48" fmla="*/ 511603 w 1366837"/>
                <a:gd name="connsiteY48" fmla="*/ 559881 h 2009850"/>
                <a:gd name="connsiteX49" fmla="*/ 533355 w 1366837"/>
                <a:gd name="connsiteY49" fmla="*/ 545939 h 2009850"/>
                <a:gd name="connsiteX50" fmla="*/ 545605 w 1366837"/>
                <a:gd name="connsiteY50" fmla="*/ 527758 h 2009850"/>
                <a:gd name="connsiteX51" fmla="*/ 545055 w 1366837"/>
                <a:gd name="connsiteY51" fmla="*/ 529195 h 2009850"/>
                <a:gd name="connsiteX52" fmla="*/ 555108 w 1366837"/>
                <a:gd name="connsiteY52" fmla="*/ 538923 h 2009850"/>
                <a:gd name="connsiteX53" fmla="*/ 555232 w 1366837"/>
                <a:gd name="connsiteY53" fmla="*/ 538264 h 2009850"/>
                <a:gd name="connsiteX54" fmla="*/ 547497 w 1366837"/>
                <a:gd name="connsiteY54" fmla="*/ 530579 h 2009850"/>
                <a:gd name="connsiteX55" fmla="*/ 431035 w 1366837"/>
                <a:gd name="connsiteY55" fmla="*/ 453449 h 2009850"/>
                <a:gd name="connsiteX56" fmla="*/ 415925 w 1366837"/>
                <a:gd name="connsiteY56" fmla="*/ 483352 h 2009850"/>
                <a:gd name="connsiteX57" fmla="*/ 395685 w 1366837"/>
                <a:gd name="connsiteY57" fmla="*/ 503379 h 2009850"/>
                <a:gd name="connsiteX58" fmla="*/ 422116 w 1366837"/>
                <a:gd name="connsiteY58" fmla="*/ 480362 h 2009850"/>
                <a:gd name="connsiteX59" fmla="*/ 436778 w 1366837"/>
                <a:gd name="connsiteY59" fmla="*/ 454826 h 2009850"/>
                <a:gd name="connsiteX60" fmla="*/ 433945 w 1366837"/>
                <a:gd name="connsiteY60" fmla="*/ 455612 h 2009850"/>
                <a:gd name="connsiteX61" fmla="*/ 625327 w 1366837"/>
                <a:gd name="connsiteY61" fmla="*/ 402496 h 2009850"/>
                <a:gd name="connsiteX62" fmla="*/ 440660 w 1366837"/>
                <a:gd name="connsiteY62" fmla="*/ 453749 h 2009850"/>
                <a:gd name="connsiteX63" fmla="*/ 448505 w 1366837"/>
                <a:gd name="connsiteY63" fmla="*/ 457848 h 2009850"/>
                <a:gd name="connsiteX64" fmla="*/ 571284 w 1366837"/>
                <a:gd name="connsiteY64" fmla="*/ 423686 h 2009850"/>
                <a:gd name="connsiteX65" fmla="*/ 571457 w 1366837"/>
                <a:gd name="connsiteY65" fmla="*/ 424547 h 2009850"/>
                <a:gd name="connsiteX66" fmla="*/ 620276 w 1366837"/>
                <a:gd name="connsiteY66" fmla="*/ 412718 h 2009850"/>
                <a:gd name="connsiteX67" fmla="*/ 642028 w 1366837"/>
                <a:gd name="connsiteY67" fmla="*/ 433768 h 2009850"/>
                <a:gd name="connsiteX68" fmla="*/ 644893 w 1366837"/>
                <a:gd name="connsiteY68" fmla="*/ 432844 h 2009850"/>
                <a:gd name="connsiteX69" fmla="*/ 638774 w 1366837"/>
                <a:gd name="connsiteY69" fmla="*/ 426684 h 2009850"/>
                <a:gd name="connsiteX70" fmla="*/ 625327 w 1366837"/>
                <a:gd name="connsiteY70" fmla="*/ 413147 h 2009850"/>
                <a:gd name="connsiteX71" fmla="*/ 625327 w 1366837"/>
                <a:gd name="connsiteY71" fmla="*/ 408649 h 2009850"/>
                <a:gd name="connsiteX72" fmla="*/ 571284 w 1366837"/>
                <a:gd name="connsiteY72" fmla="*/ 423686 h 2009850"/>
                <a:gd name="connsiteX73" fmla="*/ 570928 w 1366837"/>
                <a:gd name="connsiteY73" fmla="*/ 421920 h 2009850"/>
                <a:gd name="connsiteX74" fmla="*/ 625327 w 1366837"/>
                <a:gd name="connsiteY74" fmla="*/ 408407 h 2009850"/>
                <a:gd name="connsiteX75" fmla="*/ 625327 w 1366837"/>
                <a:gd name="connsiteY75" fmla="*/ 406317 h 2009850"/>
                <a:gd name="connsiteX76" fmla="*/ 927886 w 1366837"/>
                <a:gd name="connsiteY76" fmla="*/ 401750 h 2009850"/>
                <a:gd name="connsiteX77" fmla="*/ 931969 w 1366837"/>
                <a:gd name="connsiteY77" fmla="*/ 405702 h 2009850"/>
                <a:gd name="connsiteX78" fmla="*/ 940137 w 1366837"/>
                <a:gd name="connsiteY78" fmla="*/ 401750 h 2009850"/>
                <a:gd name="connsiteX79" fmla="*/ 856829 w 1366837"/>
                <a:gd name="connsiteY79" fmla="*/ 361558 h 2009850"/>
                <a:gd name="connsiteX80" fmla="*/ 862224 w 1366837"/>
                <a:gd name="connsiteY80" fmla="*/ 372302 h 2009850"/>
                <a:gd name="connsiteX81" fmla="*/ 877887 w 1366837"/>
                <a:gd name="connsiteY81" fmla="*/ 403500 h 2009850"/>
                <a:gd name="connsiteX82" fmla="*/ 866834 w 1366837"/>
                <a:gd name="connsiteY82" fmla="*/ 405702 h 2009850"/>
                <a:gd name="connsiteX83" fmla="*/ 873963 w 1366837"/>
                <a:gd name="connsiteY83" fmla="*/ 405702 h 2009850"/>
                <a:gd name="connsiteX84" fmla="*/ 878470 w 1366837"/>
                <a:gd name="connsiteY84" fmla="*/ 403521 h 2009850"/>
                <a:gd name="connsiteX85" fmla="*/ 865452 w 1366837"/>
                <a:gd name="connsiteY85" fmla="*/ 378277 h 2009850"/>
                <a:gd name="connsiteX86" fmla="*/ 771998 w 1366837"/>
                <a:gd name="connsiteY86" fmla="*/ 341594 h 2009850"/>
                <a:gd name="connsiteX87" fmla="*/ 771785 w 1366837"/>
                <a:gd name="connsiteY87" fmla="*/ 341679 h 2009850"/>
                <a:gd name="connsiteX88" fmla="*/ 749374 w 1366837"/>
                <a:gd name="connsiteY88" fmla="*/ 350704 h 2009850"/>
                <a:gd name="connsiteX89" fmla="*/ 687351 w 1366837"/>
                <a:gd name="connsiteY89" fmla="*/ 350704 h 2009850"/>
                <a:gd name="connsiteX90" fmla="*/ 690258 w 1366837"/>
                <a:gd name="connsiteY90" fmla="*/ 355583 h 2009850"/>
                <a:gd name="connsiteX91" fmla="*/ 690910 w 1366837"/>
                <a:gd name="connsiteY91" fmla="*/ 356677 h 2009850"/>
                <a:gd name="connsiteX92" fmla="*/ 736288 w 1366837"/>
                <a:gd name="connsiteY92" fmla="*/ 356677 h 2009850"/>
                <a:gd name="connsiteX93" fmla="*/ 772541 w 1366837"/>
                <a:gd name="connsiteY93" fmla="*/ 342645 h 2009850"/>
                <a:gd name="connsiteX94" fmla="*/ 783202 w 1366837"/>
                <a:gd name="connsiteY94" fmla="*/ 325155 h 2009850"/>
                <a:gd name="connsiteX95" fmla="*/ 788139 w 1366837"/>
                <a:gd name="connsiteY95" fmla="*/ 335094 h 2009850"/>
                <a:gd name="connsiteX96" fmla="*/ 783293 w 1366837"/>
                <a:gd name="connsiteY96" fmla="*/ 337045 h 2009850"/>
                <a:gd name="connsiteX97" fmla="*/ 781317 w 1366837"/>
                <a:gd name="connsiteY97" fmla="*/ 337841 h 2009850"/>
                <a:gd name="connsiteX98" fmla="*/ 794294 w 1366837"/>
                <a:gd name="connsiteY98" fmla="*/ 356677 h 2009850"/>
                <a:gd name="connsiteX99" fmla="*/ 787043 w 1366837"/>
                <a:gd name="connsiteY99" fmla="*/ 398685 h 2009850"/>
                <a:gd name="connsiteX100" fmla="*/ 808795 w 1366837"/>
                <a:gd name="connsiteY100" fmla="*/ 419735 h 2009850"/>
                <a:gd name="connsiteX101" fmla="*/ 814135 w 1366837"/>
                <a:gd name="connsiteY101" fmla="*/ 418005 h 2009850"/>
                <a:gd name="connsiteX102" fmla="*/ 791739 w 1366837"/>
                <a:gd name="connsiteY102" fmla="*/ 395700 h 2009850"/>
                <a:gd name="connsiteX103" fmla="*/ 799570 w 1366837"/>
                <a:gd name="connsiteY103" fmla="*/ 348904 h 2009850"/>
                <a:gd name="connsiteX104" fmla="*/ 783907 w 1366837"/>
                <a:gd name="connsiteY104" fmla="*/ 325506 h 2009850"/>
                <a:gd name="connsiteX105" fmla="*/ 616575 w 1366837"/>
                <a:gd name="connsiteY105" fmla="*/ 311477 h 2009850"/>
                <a:gd name="connsiteX106" fmla="*/ 614534 w 1366837"/>
                <a:gd name="connsiteY106" fmla="*/ 315524 h 2009850"/>
                <a:gd name="connsiteX107" fmla="*/ 615104 w 1366837"/>
                <a:gd name="connsiteY107" fmla="*/ 316654 h 2009850"/>
                <a:gd name="connsiteX108" fmla="*/ 617575 w 1366837"/>
                <a:gd name="connsiteY108" fmla="*/ 311678 h 2009850"/>
                <a:gd name="connsiteX109" fmla="*/ 528165 w 1366837"/>
                <a:gd name="connsiteY109" fmla="*/ 136524 h 2009850"/>
                <a:gd name="connsiteX110" fmla="*/ 528165 w 1366837"/>
                <a:gd name="connsiteY110" fmla="*/ 144306 h 2009850"/>
                <a:gd name="connsiteX111" fmla="*/ 496759 w 1366837"/>
                <a:gd name="connsiteY111" fmla="*/ 159872 h 2009850"/>
                <a:gd name="connsiteX112" fmla="*/ 495777 w 1366837"/>
                <a:gd name="connsiteY112" fmla="*/ 167654 h 2009850"/>
                <a:gd name="connsiteX113" fmla="*/ 495454 w 1366837"/>
                <a:gd name="connsiteY113" fmla="*/ 170215 h 2009850"/>
                <a:gd name="connsiteX114" fmla="*/ 497405 w 1366837"/>
                <a:gd name="connsiteY114" fmla="*/ 169233 h 2009850"/>
                <a:gd name="connsiteX115" fmla="*/ 524540 w 1366837"/>
                <a:gd name="connsiteY115" fmla="*/ 155574 h 2009850"/>
                <a:gd name="connsiteX116" fmla="*/ 532293 w 1366837"/>
                <a:gd name="connsiteY116" fmla="*/ 178989 h 2009850"/>
                <a:gd name="connsiteX117" fmla="*/ 571057 w 1366837"/>
                <a:gd name="connsiteY117" fmla="*/ 171184 h 2009850"/>
                <a:gd name="connsiteX118" fmla="*/ 609822 w 1366837"/>
                <a:gd name="connsiteY118" fmla="*/ 178989 h 2009850"/>
                <a:gd name="connsiteX119" fmla="*/ 617575 w 1366837"/>
                <a:gd name="connsiteY119" fmla="*/ 194600 h 2009850"/>
                <a:gd name="connsiteX120" fmla="*/ 656339 w 1366837"/>
                <a:gd name="connsiteY120" fmla="*/ 202405 h 2009850"/>
                <a:gd name="connsiteX121" fmla="*/ 733868 w 1366837"/>
                <a:gd name="connsiteY121" fmla="*/ 194600 h 2009850"/>
                <a:gd name="connsiteX122" fmla="*/ 780386 w 1366837"/>
                <a:gd name="connsiteY122" fmla="*/ 218016 h 2009850"/>
                <a:gd name="connsiteX123" fmla="*/ 788139 w 1366837"/>
                <a:gd name="connsiteY123" fmla="*/ 233626 h 2009850"/>
                <a:gd name="connsiteX124" fmla="*/ 797951 w 1366837"/>
                <a:gd name="connsiteY124" fmla="*/ 236919 h 2009850"/>
                <a:gd name="connsiteX125" fmla="*/ 807118 w 1366837"/>
                <a:gd name="connsiteY125" fmla="*/ 239995 h 2009850"/>
                <a:gd name="connsiteX126" fmla="*/ 807402 w 1366837"/>
                <a:gd name="connsiteY126" fmla="*/ 239712 h 2009850"/>
                <a:gd name="connsiteX127" fmla="*/ 808323 w 1366837"/>
                <a:gd name="connsiteY127" fmla="*/ 240400 h 2009850"/>
                <a:gd name="connsiteX128" fmla="*/ 811397 w 1366837"/>
                <a:gd name="connsiteY128" fmla="*/ 241431 h 2009850"/>
                <a:gd name="connsiteX129" fmla="*/ 819150 w 1366837"/>
                <a:gd name="connsiteY129" fmla="*/ 241431 h 2009850"/>
                <a:gd name="connsiteX130" fmla="*/ 815274 w 1366837"/>
                <a:gd name="connsiteY130" fmla="*/ 245334 h 2009850"/>
                <a:gd name="connsiteX131" fmla="*/ 815127 w 1366837"/>
                <a:gd name="connsiteY131" fmla="*/ 245482 h 2009850"/>
                <a:gd name="connsiteX132" fmla="*/ 838729 w 1366837"/>
                <a:gd name="connsiteY132" fmla="*/ 263110 h 2009850"/>
                <a:gd name="connsiteX133" fmla="*/ 846560 w 1366837"/>
                <a:gd name="connsiteY133" fmla="*/ 286508 h 2009850"/>
                <a:gd name="connsiteX134" fmla="*/ 877887 w 1366837"/>
                <a:gd name="connsiteY134" fmla="*/ 294308 h 2009850"/>
                <a:gd name="connsiteX135" fmla="*/ 870055 w 1366837"/>
                <a:gd name="connsiteY135" fmla="*/ 317706 h 2009850"/>
                <a:gd name="connsiteX136" fmla="*/ 846560 w 1366837"/>
                <a:gd name="connsiteY136" fmla="*/ 341104 h 2009850"/>
                <a:gd name="connsiteX137" fmla="*/ 849446 w 1366837"/>
                <a:gd name="connsiteY137" fmla="*/ 346852 h 2009850"/>
                <a:gd name="connsiteX138" fmla="*/ 873522 w 1366837"/>
                <a:gd name="connsiteY138" fmla="*/ 323509 h 2009850"/>
                <a:gd name="connsiteX139" fmla="*/ 881591 w 1366837"/>
                <a:gd name="connsiteY139" fmla="*/ 300037 h 2009850"/>
                <a:gd name="connsiteX140" fmla="*/ 881591 w 1366837"/>
                <a:gd name="connsiteY140" fmla="*/ 307861 h 2009850"/>
                <a:gd name="connsiteX141" fmla="*/ 946150 w 1366837"/>
                <a:gd name="connsiteY141" fmla="*/ 315685 h 2009850"/>
                <a:gd name="connsiteX142" fmla="*/ 938080 w 1366837"/>
                <a:gd name="connsiteY142" fmla="*/ 339157 h 2009850"/>
                <a:gd name="connsiteX143" fmla="*/ 946150 w 1366837"/>
                <a:gd name="connsiteY143" fmla="*/ 370453 h 2009850"/>
                <a:gd name="connsiteX144" fmla="*/ 946150 w 1366837"/>
                <a:gd name="connsiteY144" fmla="*/ 398840 h 2009850"/>
                <a:gd name="connsiteX145" fmla="*/ 955648 w 1366837"/>
                <a:gd name="connsiteY145" fmla="*/ 394245 h 2009850"/>
                <a:gd name="connsiteX146" fmla="*/ 950595 w 1366837"/>
                <a:gd name="connsiteY146" fmla="*/ 389069 h 2009850"/>
                <a:gd name="connsiteX147" fmla="*/ 950595 w 1366837"/>
                <a:gd name="connsiteY147" fmla="*/ 357848 h 2009850"/>
                <a:gd name="connsiteX148" fmla="*/ 942975 w 1366837"/>
                <a:gd name="connsiteY148" fmla="*/ 326627 h 2009850"/>
                <a:gd name="connsiteX149" fmla="*/ 950595 w 1366837"/>
                <a:gd name="connsiteY149" fmla="*/ 303212 h 2009850"/>
                <a:gd name="connsiteX150" fmla="*/ 965835 w 1366837"/>
                <a:gd name="connsiteY150" fmla="*/ 303212 h 2009850"/>
                <a:gd name="connsiteX151" fmla="*/ 1019175 w 1366837"/>
                <a:gd name="connsiteY151" fmla="*/ 334432 h 2009850"/>
                <a:gd name="connsiteX152" fmla="*/ 1001723 w 1366837"/>
                <a:gd name="connsiteY152" fmla="*/ 361247 h 2009850"/>
                <a:gd name="connsiteX153" fmla="*/ 1018978 w 1366837"/>
                <a:gd name="connsiteY153" fmla="*/ 405702 h 2009850"/>
                <a:gd name="connsiteX154" fmla="*/ 1026229 w 1366837"/>
                <a:gd name="connsiteY154" fmla="*/ 433768 h 2009850"/>
                <a:gd name="connsiteX155" fmla="*/ 1076896 w 1366837"/>
                <a:gd name="connsiteY155" fmla="*/ 461833 h 2009850"/>
                <a:gd name="connsiteX156" fmla="*/ 1134902 w 1366837"/>
                <a:gd name="connsiteY156" fmla="*/ 482792 h 2009850"/>
                <a:gd name="connsiteX157" fmla="*/ 1149403 w 1366837"/>
                <a:gd name="connsiteY157" fmla="*/ 503841 h 2009850"/>
                <a:gd name="connsiteX158" fmla="*/ 1171156 w 1366837"/>
                <a:gd name="connsiteY158" fmla="*/ 510857 h 2009850"/>
                <a:gd name="connsiteX159" fmla="*/ 1243663 w 1366837"/>
                <a:gd name="connsiteY159" fmla="*/ 517874 h 2009850"/>
                <a:gd name="connsiteX160" fmla="*/ 1308831 w 1366837"/>
                <a:gd name="connsiteY160" fmla="*/ 552956 h 2009850"/>
                <a:gd name="connsiteX161" fmla="*/ 1352336 w 1366837"/>
                <a:gd name="connsiteY161" fmla="*/ 566898 h 2009850"/>
                <a:gd name="connsiteX162" fmla="*/ 1366837 w 1366837"/>
                <a:gd name="connsiteY162" fmla="*/ 616013 h 2009850"/>
                <a:gd name="connsiteX163" fmla="*/ 1366837 w 1366837"/>
                <a:gd name="connsiteY163" fmla="*/ 637062 h 2009850"/>
                <a:gd name="connsiteX164" fmla="*/ 1294330 w 1366837"/>
                <a:gd name="connsiteY164" fmla="*/ 728184 h 2009850"/>
                <a:gd name="connsiteX165" fmla="*/ 1272577 w 1366837"/>
                <a:gd name="connsiteY165" fmla="*/ 735201 h 2009850"/>
                <a:gd name="connsiteX166" fmla="*/ 1265327 w 1366837"/>
                <a:gd name="connsiteY166" fmla="*/ 854298 h 2009850"/>
                <a:gd name="connsiteX167" fmla="*/ 1258076 w 1366837"/>
                <a:gd name="connsiteY167" fmla="*/ 868331 h 2009850"/>
                <a:gd name="connsiteX168" fmla="*/ 1236412 w 1366837"/>
                <a:gd name="connsiteY168" fmla="*/ 903413 h 2009850"/>
                <a:gd name="connsiteX169" fmla="*/ 1229161 w 1366837"/>
                <a:gd name="connsiteY169" fmla="*/ 931388 h 2009850"/>
                <a:gd name="connsiteX170" fmla="*/ 1214660 w 1366837"/>
                <a:gd name="connsiteY170" fmla="*/ 959453 h 2009850"/>
                <a:gd name="connsiteX171" fmla="*/ 1200158 w 1366837"/>
                <a:gd name="connsiteY171" fmla="*/ 966470 h 2009850"/>
                <a:gd name="connsiteX172" fmla="*/ 1149403 w 1366837"/>
                <a:gd name="connsiteY172" fmla="*/ 973486 h 2009850"/>
                <a:gd name="connsiteX173" fmla="*/ 1069645 w 1366837"/>
                <a:gd name="connsiteY173" fmla="*/ 1022510 h 2009850"/>
                <a:gd name="connsiteX174" fmla="*/ 1047893 w 1366837"/>
                <a:gd name="connsiteY174" fmla="*/ 1064609 h 2009850"/>
                <a:gd name="connsiteX175" fmla="*/ 1018978 w 1366837"/>
                <a:gd name="connsiteY175" fmla="*/ 1155731 h 2009850"/>
                <a:gd name="connsiteX176" fmla="*/ 982725 w 1366837"/>
                <a:gd name="connsiteY176" fmla="*/ 1190813 h 2009850"/>
                <a:gd name="connsiteX177" fmla="*/ 953722 w 1366837"/>
                <a:gd name="connsiteY177" fmla="*/ 1218788 h 2009850"/>
                <a:gd name="connsiteX178" fmla="*/ 946471 w 1366837"/>
                <a:gd name="connsiteY178" fmla="*/ 1239837 h 2009850"/>
                <a:gd name="connsiteX179" fmla="*/ 939090 w 1366837"/>
                <a:gd name="connsiteY179" fmla="*/ 1225552 h 2009850"/>
                <a:gd name="connsiteX180" fmla="*/ 952500 w 1366837"/>
                <a:gd name="connsiteY180" fmla="*/ 1257049 h 2009850"/>
                <a:gd name="connsiteX181" fmla="*/ 945030 w 1366837"/>
                <a:gd name="connsiteY181" fmla="*/ 1274595 h 2009850"/>
                <a:gd name="connsiteX182" fmla="*/ 907677 w 1366837"/>
                <a:gd name="connsiteY182" fmla="*/ 1309687 h 2009850"/>
                <a:gd name="connsiteX183" fmla="*/ 870324 w 1366837"/>
                <a:gd name="connsiteY183" fmla="*/ 1300914 h 2009850"/>
                <a:gd name="connsiteX184" fmla="*/ 861821 w 1366837"/>
                <a:gd name="connsiteY184" fmla="*/ 1290929 h 2009850"/>
                <a:gd name="connsiteX185" fmla="*/ 874285 w 1366837"/>
                <a:gd name="connsiteY185" fmla="*/ 1315586 h 2009850"/>
                <a:gd name="connsiteX186" fmla="*/ 859052 w 1366837"/>
                <a:gd name="connsiteY186" fmla="*/ 1353492 h 2009850"/>
                <a:gd name="connsiteX187" fmla="*/ 836107 w 1366837"/>
                <a:gd name="connsiteY187" fmla="*/ 1408360 h 2009850"/>
                <a:gd name="connsiteX188" fmla="*/ 781562 w 1366837"/>
                <a:gd name="connsiteY188" fmla="*/ 1428071 h 2009850"/>
                <a:gd name="connsiteX189" fmla="*/ 744567 w 1366837"/>
                <a:gd name="connsiteY189" fmla="*/ 1429114 h 2009850"/>
                <a:gd name="connsiteX190" fmla="*/ 729334 w 1366837"/>
                <a:gd name="connsiteY190" fmla="*/ 1459249 h 2009850"/>
                <a:gd name="connsiteX191" fmla="*/ 724225 w 1366837"/>
                <a:gd name="connsiteY191" fmla="*/ 1476306 h 2009850"/>
                <a:gd name="connsiteX192" fmla="*/ 727111 w 1366837"/>
                <a:gd name="connsiteY192" fmla="*/ 1491374 h 2009850"/>
                <a:gd name="connsiteX193" fmla="*/ 698821 w 1366837"/>
                <a:gd name="connsiteY193" fmla="*/ 1512222 h 2009850"/>
                <a:gd name="connsiteX194" fmla="*/ 696030 w 1366837"/>
                <a:gd name="connsiteY194" fmla="*/ 1545295 h 2009850"/>
                <a:gd name="connsiteX195" fmla="*/ 675924 w 1366837"/>
                <a:gd name="connsiteY195" fmla="*/ 1557614 h 2009850"/>
                <a:gd name="connsiteX196" fmla="*/ 657758 w 1366837"/>
                <a:gd name="connsiteY196" fmla="*/ 1590592 h 2009850"/>
                <a:gd name="connsiteX197" fmla="*/ 648675 w 1366837"/>
                <a:gd name="connsiteY197" fmla="*/ 1618263 h 2009850"/>
                <a:gd name="connsiteX198" fmla="*/ 614898 w 1366837"/>
                <a:gd name="connsiteY198" fmla="*/ 1633046 h 2009850"/>
                <a:gd name="connsiteX199" fmla="*/ 630131 w 1366837"/>
                <a:gd name="connsiteY199" fmla="*/ 1663371 h 2009850"/>
                <a:gd name="connsiteX200" fmla="*/ 653027 w 1366837"/>
                <a:gd name="connsiteY200" fmla="*/ 1678439 h 2009850"/>
                <a:gd name="connsiteX201" fmla="*/ 643424 w 1366837"/>
                <a:gd name="connsiteY201" fmla="*/ 1720988 h 2009850"/>
                <a:gd name="connsiteX202" fmla="*/ 619628 w 1366837"/>
                <a:gd name="connsiteY202" fmla="*/ 1743731 h 2009850"/>
                <a:gd name="connsiteX203" fmla="*/ 597678 w 1366837"/>
                <a:gd name="connsiteY203" fmla="*/ 1790924 h 2009850"/>
                <a:gd name="connsiteX204" fmla="*/ 576720 w 1366837"/>
                <a:gd name="connsiteY204" fmla="*/ 1822007 h 2009850"/>
                <a:gd name="connsiteX205" fmla="*/ 573125 w 1366837"/>
                <a:gd name="connsiteY205" fmla="*/ 1857354 h 2009850"/>
                <a:gd name="connsiteX206" fmla="*/ 582255 w 1366837"/>
                <a:gd name="connsiteY206" fmla="*/ 1877917 h 2009850"/>
                <a:gd name="connsiteX207" fmla="*/ 567249 w 1366837"/>
                <a:gd name="connsiteY207" fmla="*/ 1877772 h 2009850"/>
                <a:gd name="connsiteX208" fmla="*/ 558941 w 1366837"/>
                <a:gd name="connsiteY208" fmla="*/ 1876963 h 2009850"/>
                <a:gd name="connsiteX209" fmla="*/ 577528 w 1366837"/>
                <a:gd name="connsiteY209" fmla="*/ 1910017 h 2009850"/>
                <a:gd name="connsiteX210" fmla="*/ 646734 w 1366837"/>
                <a:gd name="connsiteY210" fmla="*/ 1979712 h 2009850"/>
                <a:gd name="connsiteX211" fmla="*/ 555528 w 1366837"/>
                <a:gd name="connsiteY211" fmla="*/ 2006133 h 2009850"/>
                <a:gd name="connsiteX212" fmla="*/ 468302 w 1366837"/>
                <a:gd name="connsiteY212" fmla="*/ 1939351 h 2009850"/>
                <a:gd name="connsiteX213" fmla="*/ 406400 w 1366837"/>
                <a:gd name="connsiteY213" fmla="*/ 1818373 h 2009850"/>
                <a:gd name="connsiteX214" fmla="*/ 431456 w 1366837"/>
                <a:gd name="connsiteY214" fmla="*/ 1713622 h 2009850"/>
                <a:gd name="connsiteX215" fmla="*/ 441314 w 1366837"/>
                <a:gd name="connsiteY215" fmla="*/ 1656514 h 2009850"/>
                <a:gd name="connsiteX216" fmla="*/ 484390 w 1366837"/>
                <a:gd name="connsiteY216" fmla="*/ 1532207 h 2009850"/>
                <a:gd name="connsiteX217" fmla="*/ 450920 w 1366837"/>
                <a:gd name="connsiteY217" fmla="*/ 1528462 h 2009850"/>
                <a:gd name="connsiteX218" fmla="*/ 475237 w 1366837"/>
                <a:gd name="connsiteY218" fmla="*/ 1383974 h 2009850"/>
                <a:gd name="connsiteX219" fmla="*/ 503132 w 1366837"/>
                <a:gd name="connsiteY219" fmla="*/ 1303981 h 2009850"/>
                <a:gd name="connsiteX220" fmla="*/ 508539 w 1366837"/>
                <a:gd name="connsiteY220" fmla="*/ 1154709 h 2009850"/>
                <a:gd name="connsiteX221" fmla="*/ 538919 w 1366837"/>
                <a:gd name="connsiteY221" fmla="*/ 991289 h 2009850"/>
                <a:gd name="connsiteX222" fmla="*/ 546023 w 1366837"/>
                <a:gd name="connsiteY222" fmla="*/ 932412 h 2009850"/>
                <a:gd name="connsiteX223" fmla="*/ 543907 w 1366837"/>
                <a:gd name="connsiteY223" fmla="*/ 852003 h 2009850"/>
                <a:gd name="connsiteX224" fmla="*/ 550897 w 1366837"/>
                <a:gd name="connsiteY224" fmla="*/ 836718 h 2009850"/>
                <a:gd name="connsiteX225" fmla="*/ 398065 w 1366837"/>
                <a:gd name="connsiteY225" fmla="*/ 759611 h 2009850"/>
                <a:gd name="connsiteX226" fmla="*/ 398065 w 1366837"/>
                <a:gd name="connsiteY226" fmla="*/ 745649 h 2009850"/>
                <a:gd name="connsiteX227" fmla="*/ 349964 w 1366837"/>
                <a:gd name="connsiteY227" fmla="*/ 654893 h 2009850"/>
                <a:gd name="connsiteX228" fmla="*/ 301863 w 1366837"/>
                <a:gd name="connsiteY228" fmla="*/ 585080 h 2009850"/>
                <a:gd name="connsiteX229" fmla="*/ 277812 w 1366837"/>
                <a:gd name="connsiteY229" fmla="*/ 536212 h 2009850"/>
                <a:gd name="connsiteX230" fmla="*/ 301863 w 1366837"/>
                <a:gd name="connsiteY230" fmla="*/ 522249 h 2009850"/>
                <a:gd name="connsiteX231" fmla="*/ 304435 w 1366837"/>
                <a:gd name="connsiteY231" fmla="*/ 526729 h 2009850"/>
                <a:gd name="connsiteX232" fmla="*/ 312737 w 1366837"/>
                <a:gd name="connsiteY232" fmla="*/ 522621 h 2009850"/>
                <a:gd name="connsiteX233" fmla="*/ 296862 w 1366837"/>
                <a:gd name="connsiteY233" fmla="*/ 491206 h 2009850"/>
                <a:gd name="connsiteX234" fmla="*/ 328612 w 1366837"/>
                <a:gd name="connsiteY234" fmla="*/ 420520 h 2009850"/>
                <a:gd name="connsiteX235" fmla="*/ 336550 w 1366837"/>
                <a:gd name="connsiteY235" fmla="*/ 404812 h 2009850"/>
                <a:gd name="connsiteX236" fmla="*/ 341873 w 1366837"/>
                <a:gd name="connsiteY236" fmla="*/ 406787 h 2009850"/>
                <a:gd name="connsiteX237" fmla="*/ 355428 w 1366837"/>
                <a:gd name="connsiteY237" fmla="*/ 393351 h 2009850"/>
                <a:gd name="connsiteX238" fmla="*/ 386835 w 1366837"/>
                <a:gd name="connsiteY238" fmla="*/ 370003 h 2009850"/>
                <a:gd name="connsiteX239" fmla="*/ 378984 w 1366837"/>
                <a:gd name="connsiteY239" fmla="*/ 338872 h 2009850"/>
                <a:gd name="connsiteX240" fmla="*/ 378984 w 1366837"/>
                <a:gd name="connsiteY240" fmla="*/ 315524 h 2009850"/>
                <a:gd name="connsiteX241" fmla="*/ 371132 w 1366837"/>
                <a:gd name="connsiteY241" fmla="*/ 276611 h 2009850"/>
                <a:gd name="connsiteX242" fmla="*/ 363280 w 1366837"/>
                <a:gd name="connsiteY242" fmla="*/ 261046 h 2009850"/>
                <a:gd name="connsiteX243" fmla="*/ 386835 w 1366837"/>
                <a:gd name="connsiteY243" fmla="*/ 237698 h 2009850"/>
                <a:gd name="connsiteX244" fmla="*/ 410390 w 1366837"/>
                <a:gd name="connsiteY244" fmla="*/ 214350 h 2009850"/>
                <a:gd name="connsiteX245" fmla="*/ 426094 w 1366837"/>
                <a:gd name="connsiteY245" fmla="*/ 206567 h 2009850"/>
                <a:gd name="connsiteX246" fmla="*/ 441797 w 1366837"/>
                <a:gd name="connsiteY246" fmla="*/ 167654 h 2009850"/>
                <a:gd name="connsiteX247" fmla="*/ 473204 w 1366837"/>
                <a:gd name="connsiteY247" fmla="*/ 152089 h 2009850"/>
                <a:gd name="connsiteX248" fmla="*/ 528165 w 1366837"/>
                <a:gd name="connsiteY248" fmla="*/ 136524 h 2009850"/>
                <a:gd name="connsiteX249" fmla="*/ 47625 w 1366837"/>
                <a:gd name="connsiteY249" fmla="*/ 0 h 2009850"/>
                <a:gd name="connsiteX250" fmla="*/ 87312 w 1366837"/>
                <a:gd name="connsiteY250" fmla="*/ 0 h 2009850"/>
                <a:gd name="connsiteX251" fmla="*/ 87312 w 1366837"/>
                <a:gd name="connsiteY251" fmla="*/ 32809 h 2009850"/>
                <a:gd name="connsiteX252" fmla="*/ 119062 w 1366837"/>
                <a:gd name="connsiteY252" fmla="*/ 41011 h 2009850"/>
                <a:gd name="connsiteX253" fmla="*/ 112740 w 1366837"/>
                <a:gd name="connsiteY253" fmla="*/ 45911 h 2009850"/>
                <a:gd name="connsiteX254" fmla="*/ 119062 w 1366837"/>
                <a:gd name="connsiteY254" fmla="*/ 41274 h 2009850"/>
                <a:gd name="connsiteX255" fmla="*/ 142875 w 1366837"/>
                <a:gd name="connsiteY255" fmla="*/ 49035 h 2009850"/>
                <a:gd name="connsiteX256" fmla="*/ 218777 w 1366837"/>
                <a:gd name="connsiteY256" fmla="*/ 62132 h 2009850"/>
                <a:gd name="connsiteX257" fmla="*/ 228552 w 1366837"/>
                <a:gd name="connsiteY257" fmla="*/ 64210 h 2009850"/>
                <a:gd name="connsiteX258" fmla="*/ 230187 w 1366837"/>
                <a:gd name="connsiteY258" fmla="*/ 63499 h 2009850"/>
                <a:gd name="connsiteX259" fmla="*/ 230094 w 1366837"/>
                <a:gd name="connsiteY259" fmla="*/ 64537 h 2009850"/>
                <a:gd name="connsiteX260" fmla="*/ 230187 w 1366837"/>
                <a:gd name="connsiteY260" fmla="*/ 64557 h 2009850"/>
                <a:gd name="connsiteX261" fmla="*/ 230088 w 1366837"/>
                <a:gd name="connsiteY261" fmla="*/ 64599 h 2009850"/>
                <a:gd name="connsiteX262" fmla="*/ 230063 w 1366837"/>
                <a:gd name="connsiteY262" fmla="*/ 64883 h 2009850"/>
                <a:gd name="connsiteX263" fmla="*/ 222249 w 1366837"/>
                <a:gd name="connsiteY263" fmla="*/ 152059 h 2009850"/>
                <a:gd name="connsiteX264" fmla="*/ 226218 w 1366837"/>
                <a:gd name="connsiteY264" fmla="*/ 158097 h 2009850"/>
                <a:gd name="connsiteX265" fmla="*/ 229783 w 1366837"/>
                <a:gd name="connsiteY265" fmla="*/ 174369 h 2009850"/>
                <a:gd name="connsiteX266" fmla="*/ 230187 w 1366837"/>
                <a:gd name="connsiteY266" fmla="*/ 174448 h 2009850"/>
                <a:gd name="connsiteX267" fmla="*/ 254000 w 1366837"/>
                <a:gd name="connsiteY267" fmla="*/ 205492 h 2009850"/>
                <a:gd name="connsiteX268" fmla="*/ 253008 w 1366837"/>
                <a:gd name="connsiteY268" fmla="*/ 209373 h 2009850"/>
                <a:gd name="connsiteX269" fmla="*/ 246098 w 1366837"/>
                <a:gd name="connsiteY269" fmla="*/ 236398 h 2009850"/>
                <a:gd name="connsiteX270" fmla="*/ 247043 w 1366837"/>
                <a:gd name="connsiteY270" fmla="*/ 232766 h 2009850"/>
                <a:gd name="connsiteX271" fmla="*/ 253911 w 1366837"/>
                <a:gd name="connsiteY271" fmla="*/ 206374 h 2009850"/>
                <a:gd name="connsiteX272" fmla="*/ 261761 w 1366837"/>
                <a:gd name="connsiteY272" fmla="*/ 213914 h 2009850"/>
                <a:gd name="connsiteX273" fmla="*/ 316706 w 1366837"/>
                <a:gd name="connsiteY273" fmla="*/ 213914 h 2009850"/>
                <a:gd name="connsiteX274" fmla="*/ 355953 w 1366837"/>
                <a:gd name="connsiteY274" fmla="*/ 213914 h 2009850"/>
                <a:gd name="connsiteX275" fmla="*/ 387350 w 1366837"/>
                <a:gd name="connsiteY275" fmla="*/ 236536 h 2009850"/>
                <a:gd name="connsiteX276" fmla="*/ 363802 w 1366837"/>
                <a:gd name="connsiteY276" fmla="*/ 259158 h 2009850"/>
                <a:gd name="connsiteX277" fmla="*/ 355953 w 1366837"/>
                <a:gd name="connsiteY277" fmla="*/ 236536 h 2009850"/>
                <a:gd name="connsiteX278" fmla="*/ 324555 w 1366837"/>
                <a:gd name="connsiteY278" fmla="*/ 228996 h 2009850"/>
                <a:gd name="connsiteX279" fmla="*/ 301007 w 1366837"/>
                <a:gd name="connsiteY279" fmla="*/ 251618 h 2009850"/>
                <a:gd name="connsiteX280" fmla="*/ 293158 w 1366837"/>
                <a:gd name="connsiteY280" fmla="*/ 266699 h 2009850"/>
                <a:gd name="connsiteX281" fmla="*/ 277459 w 1366837"/>
                <a:gd name="connsiteY281" fmla="*/ 266699 h 2009850"/>
                <a:gd name="connsiteX282" fmla="*/ 249864 w 1366837"/>
                <a:gd name="connsiteY282" fmla="*/ 240189 h 2009850"/>
                <a:gd name="connsiteX283" fmla="*/ 246062 w 1366837"/>
                <a:gd name="connsiteY283" fmla="*/ 236537 h 2009850"/>
                <a:gd name="connsiteX284" fmla="*/ 174625 w 1366837"/>
                <a:gd name="connsiteY284" fmla="*/ 189970 h 2009850"/>
                <a:gd name="connsiteX285" fmla="*/ 172641 w 1366837"/>
                <a:gd name="connsiteY285" fmla="*/ 188030 h 2009850"/>
                <a:gd name="connsiteX286" fmla="*/ 160182 w 1366837"/>
                <a:gd name="connsiteY286" fmla="*/ 175848 h 2009850"/>
                <a:gd name="connsiteX287" fmla="*/ 158749 w 1366837"/>
                <a:gd name="connsiteY287" fmla="*/ 176212 h 2009850"/>
                <a:gd name="connsiteX288" fmla="*/ 119062 w 1366837"/>
                <a:gd name="connsiteY288" fmla="*/ 111804 h 2009850"/>
                <a:gd name="connsiteX289" fmla="*/ 142502 w 1366837"/>
                <a:gd name="connsiteY289" fmla="*/ 101615 h 2009850"/>
                <a:gd name="connsiteX290" fmla="*/ 162565 w 1366837"/>
                <a:gd name="connsiteY290" fmla="*/ 92894 h 2009850"/>
                <a:gd name="connsiteX291" fmla="*/ 151184 w 1366837"/>
                <a:gd name="connsiteY291" fmla="*/ 97663 h 2009850"/>
                <a:gd name="connsiteX292" fmla="*/ 119062 w 1366837"/>
                <a:gd name="connsiteY292" fmla="*/ 111124 h 2009850"/>
                <a:gd name="connsiteX293" fmla="*/ 102319 w 1366837"/>
                <a:gd name="connsiteY293" fmla="*/ 101301 h 2009850"/>
                <a:gd name="connsiteX294" fmla="*/ 80021 w 1366837"/>
                <a:gd name="connsiteY294" fmla="*/ 88219 h 2009850"/>
                <a:gd name="connsiteX295" fmla="*/ 79375 w 1366837"/>
                <a:gd name="connsiteY295" fmla="*/ 90223 h 2009850"/>
                <a:gd name="connsiteX296" fmla="*/ 55562 w 1366837"/>
                <a:gd name="connsiteY296" fmla="*/ 98425 h 2009850"/>
                <a:gd name="connsiteX297" fmla="*/ 7938 w 1366837"/>
                <a:gd name="connsiteY297" fmla="*/ 90223 h 2009850"/>
                <a:gd name="connsiteX298" fmla="*/ 0 w 1366837"/>
                <a:gd name="connsiteY298" fmla="*/ 82021 h 2009850"/>
                <a:gd name="connsiteX299" fmla="*/ 7938 w 1366837"/>
                <a:gd name="connsiteY299" fmla="*/ 65617 h 2009850"/>
                <a:gd name="connsiteX300" fmla="*/ 23813 w 1366837"/>
                <a:gd name="connsiteY300" fmla="*/ 41011 h 2009850"/>
                <a:gd name="connsiteX301" fmla="*/ 47625 w 1366837"/>
                <a:gd name="connsiteY301" fmla="*/ 41011 h 2009850"/>
                <a:gd name="connsiteX302" fmla="*/ 31750 w 1366837"/>
                <a:gd name="connsiteY302" fmla="*/ 8202 h 2009850"/>
                <a:gd name="connsiteX303" fmla="*/ 47625 w 1366837"/>
                <a:gd name="connsiteY303" fmla="*/ 0 h 200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</a:cxnLst>
              <a:rect l="l" t="t" r="r" b="b"/>
              <a:pathLst>
                <a:path w="1366837" h="2009850">
                  <a:moveTo>
                    <a:pt x="922983" y="1196066"/>
                  </a:moveTo>
                  <a:lnTo>
                    <a:pt x="925200" y="1198669"/>
                  </a:lnTo>
                  <a:lnTo>
                    <a:pt x="924719" y="1197739"/>
                  </a:lnTo>
                  <a:close/>
                  <a:moveTo>
                    <a:pt x="924259" y="1035860"/>
                  </a:moveTo>
                  <a:lnTo>
                    <a:pt x="920841" y="1038159"/>
                  </a:lnTo>
                  <a:lnTo>
                    <a:pt x="924276" y="1035884"/>
                  </a:lnTo>
                  <a:close/>
                  <a:moveTo>
                    <a:pt x="624338" y="947843"/>
                  </a:moveTo>
                  <a:lnTo>
                    <a:pt x="623984" y="949533"/>
                  </a:lnTo>
                  <a:lnTo>
                    <a:pt x="624572" y="948137"/>
                  </a:lnTo>
                  <a:close/>
                  <a:moveTo>
                    <a:pt x="609461" y="918513"/>
                  </a:moveTo>
                  <a:lnTo>
                    <a:pt x="611736" y="925235"/>
                  </a:lnTo>
                  <a:lnTo>
                    <a:pt x="621346" y="942005"/>
                  </a:lnTo>
                  <a:lnTo>
                    <a:pt x="622620" y="941216"/>
                  </a:lnTo>
                  <a:close/>
                  <a:moveTo>
                    <a:pt x="595516" y="863127"/>
                  </a:moveTo>
                  <a:lnTo>
                    <a:pt x="602819" y="873640"/>
                  </a:lnTo>
                  <a:lnTo>
                    <a:pt x="603540" y="882917"/>
                  </a:lnTo>
                  <a:lnTo>
                    <a:pt x="605225" y="870910"/>
                  </a:lnTo>
                  <a:cubicBezTo>
                    <a:pt x="604120" y="867505"/>
                    <a:pt x="600353" y="865299"/>
                    <a:pt x="596194" y="863446"/>
                  </a:cubicBezTo>
                  <a:close/>
                  <a:moveTo>
                    <a:pt x="569861" y="844549"/>
                  </a:moveTo>
                  <a:lnTo>
                    <a:pt x="577981" y="851795"/>
                  </a:lnTo>
                  <a:lnTo>
                    <a:pt x="578240" y="851766"/>
                  </a:lnTo>
                  <a:lnTo>
                    <a:pt x="573140" y="846860"/>
                  </a:lnTo>
                  <a:lnTo>
                    <a:pt x="573672" y="844549"/>
                  </a:lnTo>
                  <a:close/>
                  <a:moveTo>
                    <a:pt x="796081" y="813297"/>
                  </a:moveTo>
                  <a:lnTo>
                    <a:pt x="797130" y="814850"/>
                  </a:lnTo>
                  <a:cubicBezTo>
                    <a:pt x="800693" y="814850"/>
                    <a:pt x="811358" y="816603"/>
                    <a:pt x="821131" y="818356"/>
                  </a:cubicBezTo>
                  <a:lnTo>
                    <a:pt x="830459" y="820086"/>
                  </a:lnTo>
                  <a:lnTo>
                    <a:pt x="830459" y="819307"/>
                  </a:lnTo>
                  <a:cubicBezTo>
                    <a:pt x="830459" y="819307"/>
                    <a:pt x="810116" y="815360"/>
                    <a:pt x="796886" y="813387"/>
                  </a:cubicBezTo>
                  <a:close/>
                  <a:moveTo>
                    <a:pt x="596990" y="721173"/>
                  </a:moveTo>
                  <a:lnTo>
                    <a:pt x="590470" y="766592"/>
                  </a:lnTo>
                  <a:lnTo>
                    <a:pt x="582453" y="809643"/>
                  </a:lnTo>
                  <a:lnTo>
                    <a:pt x="577778" y="829999"/>
                  </a:lnTo>
                  <a:lnTo>
                    <a:pt x="580241" y="822781"/>
                  </a:lnTo>
                  <a:cubicBezTo>
                    <a:pt x="582765" y="811603"/>
                    <a:pt x="585316" y="796346"/>
                    <a:pt x="588288" y="779824"/>
                  </a:cubicBezTo>
                  <a:cubicBezTo>
                    <a:pt x="591260" y="763331"/>
                    <a:pt x="598860" y="736580"/>
                    <a:pt x="598124" y="723736"/>
                  </a:cubicBezTo>
                  <a:close/>
                  <a:moveTo>
                    <a:pt x="598524" y="693102"/>
                  </a:moveTo>
                  <a:cubicBezTo>
                    <a:pt x="595385" y="692783"/>
                    <a:pt x="595385" y="692783"/>
                    <a:pt x="592555" y="693740"/>
                  </a:cubicBezTo>
                  <a:lnTo>
                    <a:pt x="586843" y="695533"/>
                  </a:lnTo>
                  <a:lnTo>
                    <a:pt x="591011" y="700977"/>
                  </a:lnTo>
                  <a:lnTo>
                    <a:pt x="603239" y="697961"/>
                  </a:lnTo>
                  <a:close/>
                  <a:moveTo>
                    <a:pt x="667141" y="679024"/>
                  </a:moveTo>
                  <a:lnTo>
                    <a:pt x="671189" y="679689"/>
                  </a:lnTo>
                  <a:lnTo>
                    <a:pt x="671031" y="679069"/>
                  </a:lnTo>
                  <a:close/>
                  <a:moveTo>
                    <a:pt x="535291" y="540321"/>
                  </a:moveTo>
                  <a:lnTo>
                    <a:pt x="518318" y="550174"/>
                  </a:lnTo>
                  <a:lnTo>
                    <a:pt x="486251" y="592062"/>
                  </a:lnTo>
                  <a:lnTo>
                    <a:pt x="486251" y="596681"/>
                  </a:lnTo>
                  <a:lnTo>
                    <a:pt x="511603" y="559881"/>
                  </a:lnTo>
                  <a:lnTo>
                    <a:pt x="533355" y="545939"/>
                  </a:lnTo>
                  <a:close/>
                  <a:moveTo>
                    <a:pt x="545605" y="527758"/>
                  </a:moveTo>
                  <a:lnTo>
                    <a:pt x="545055" y="529195"/>
                  </a:lnTo>
                  <a:lnTo>
                    <a:pt x="555108" y="538923"/>
                  </a:lnTo>
                  <a:lnTo>
                    <a:pt x="555232" y="538264"/>
                  </a:lnTo>
                  <a:lnTo>
                    <a:pt x="547497" y="530579"/>
                  </a:lnTo>
                  <a:close/>
                  <a:moveTo>
                    <a:pt x="431035" y="453449"/>
                  </a:moveTo>
                  <a:lnTo>
                    <a:pt x="415925" y="483352"/>
                  </a:lnTo>
                  <a:lnTo>
                    <a:pt x="395685" y="503379"/>
                  </a:lnTo>
                  <a:lnTo>
                    <a:pt x="422116" y="480362"/>
                  </a:lnTo>
                  <a:lnTo>
                    <a:pt x="436778" y="454826"/>
                  </a:lnTo>
                  <a:lnTo>
                    <a:pt x="433945" y="455612"/>
                  </a:lnTo>
                  <a:close/>
                  <a:moveTo>
                    <a:pt x="625327" y="402496"/>
                  </a:moveTo>
                  <a:lnTo>
                    <a:pt x="440660" y="453749"/>
                  </a:lnTo>
                  <a:lnTo>
                    <a:pt x="448505" y="457848"/>
                  </a:lnTo>
                  <a:lnTo>
                    <a:pt x="571284" y="423686"/>
                  </a:lnTo>
                  <a:lnTo>
                    <a:pt x="571457" y="424547"/>
                  </a:lnTo>
                  <a:lnTo>
                    <a:pt x="620276" y="412718"/>
                  </a:lnTo>
                  <a:lnTo>
                    <a:pt x="642028" y="433768"/>
                  </a:lnTo>
                  <a:lnTo>
                    <a:pt x="644893" y="432844"/>
                  </a:lnTo>
                  <a:lnTo>
                    <a:pt x="638774" y="426684"/>
                  </a:lnTo>
                  <a:cubicBezTo>
                    <a:pt x="635503" y="423391"/>
                    <a:pt x="631142" y="419001"/>
                    <a:pt x="625327" y="413147"/>
                  </a:cubicBezTo>
                  <a:lnTo>
                    <a:pt x="625327" y="408649"/>
                  </a:lnTo>
                  <a:lnTo>
                    <a:pt x="571284" y="423686"/>
                  </a:lnTo>
                  <a:lnTo>
                    <a:pt x="570928" y="421920"/>
                  </a:lnTo>
                  <a:lnTo>
                    <a:pt x="625327" y="408407"/>
                  </a:lnTo>
                  <a:lnTo>
                    <a:pt x="625327" y="406317"/>
                  </a:lnTo>
                  <a:close/>
                  <a:moveTo>
                    <a:pt x="927886" y="401750"/>
                  </a:moveTo>
                  <a:lnTo>
                    <a:pt x="931969" y="405702"/>
                  </a:lnTo>
                  <a:lnTo>
                    <a:pt x="940137" y="401750"/>
                  </a:lnTo>
                  <a:close/>
                  <a:moveTo>
                    <a:pt x="856829" y="361558"/>
                  </a:moveTo>
                  <a:lnTo>
                    <a:pt x="862224" y="372302"/>
                  </a:lnTo>
                  <a:lnTo>
                    <a:pt x="877887" y="403500"/>
                  </a:lnTo>
                  <a:lnTo>
                    <a:pt x="866834" y="405702"/>
                  </a:lnTo>
                  <a:lnTo>
                    <a:pt x="873963" y="405702"/>
                  </a:lnTo>
                  <a:lnTo>
                    <a:pt x="878470" y="403521"/>
                  </a:lnTo>
                  <a:lnTo>
                    <a:pt x="865452" y="378277"/>
                  </a:lnTo>
                  <a:close/>
                  <a:moveTo>
                    <a:pt x="771998" y="341594"/>
                  </a:moveTo>
                  <a:lnTo>
                    <a:pt x="771785" y="341679"/>
                  </a:lnTo>
                  <a:cubicBezTo>
                    <a:pt x="766333" y="343875"/>
                    <a:pt x="759065" y="346802"/>
                    <a:pt x="749374" y="350704"/>
                  </a:cubicBezTo>
                  <a:cubicBezTo>
                    <a:pt x="749374" y="350704"/>
                    <a:pt x="749374" y="350704"/>
                    <a:pt x="687351" y="350704"/>
                  </a:cubicBezTo>
                  <a:cubicBezTo>
                    <a:pt x="687351" y="350704"/>
                    <a:pt x="687351" y="350704"/>
                    <a:pt x="690258" y="355583"/>
                  </a:cubicBezTo>
                  <a:lnTo>
                    <a:pt x="690910" y="356677"/>
                  </a:lnTo>
                  <a:lnTo>
                    <a:pt x="736288" y="356677"/>
                  </a:lnTo>
                  <a:lnTo>
                    <a:pt x="772541" y="342645"/>
                  </a:lnTo>
                  <a:close/>
                  <a:moveTo>
                    <a:pt x="783202" y="325155"/>
                  </a:moveTo>
                  <a:lnTo>
                    <a:pt x="788139" y="335094"/>
                  </a:lnTo>
                  <a:cubicBezTo>
                    <a:pt x="788139" y="335094"/>
                    <a:pt x="788139" y="335094"/>
                    <a:pt x="783293" y="337045"/>
                  </a:cubicBezTo>
                  <a:lnTo>
                    <a:pt x="781317" y="337841"/>
                  </a:lnTo>
                  <a:lnTo>
                    <a:pt x="794294" y="356677"/>
                  </a:lnTo>
                  <a:cubicBezTo>
                    <a:pt x="791906" y="370710"/>
                    <a:pt x="789430" y="384652"/>
                    <a:pt x="787043" y="398685"/>
                  </a:cubicBezTo>
                  <a:lnTo>
                    <a:pt x="808795" y="419735"/>
                  </a:lnTo>
                  <a:lnTo>
                    <a:pt x="814135" y="418005"/>
                  </a:lnTo>
                  <a:lnTo>
                    <a:pt x="791739" y="395700"/>
                  </a:lnTo>
                  <a:lnTo>
                    <a:pt x="799570" y="348904"/>
                  </a:lnTo>
                  <a:lnTo>
                    <a:pt x="783907" y="325506"/>
                  </a:lnTo>
                  <a:close/>
                  <a:moveTo>
                    <a:pt x="616575" y="311477"/>
                  </a:moveTo>
                  <a:lnTo>
                    <a:pt x="614534" y="315524"/>
                  </a:lnTo>
                  <a:lnTo>
                    <a:pt x="615104" y="316654"/>
                  </a:lnTo>
                  <a:lnTo>
                    <a:pt x="617575" y="311678"/>
                  </a:lnTo>
                  <a:close/>
                  <a:moveTo>
                    <a:pt x="528165" y="136524"/>
                  </a:moveTo>
                  <a:cubicBezTo>
                    <a:pt x="528165" y="136524"/>
                    <a:pt x="528165" y="136524"/>
                    <a:pt x="528165" y="144306"/>
                  </a:cubicBezTo>
                  <a:cubicBezTo>
                    <a:pt x="528165" y="144306"/>
                    <a:pt x="528165" y="144306"/>
                    <a:pt x="496759" y="159872"/>
                  </a:cubicBezTo>
                  <a:cubicBezTo>
                    <a:pt x="496759" y="159872"/>
                    <a:pt x="496759" y="159872"/>
                    <a:pt x="495777" y="167654"/>
                  </a:cubicBezTo>
                  <a:lnTo>
                    <a:pt x="495454" y="170215"/>
                  </a:lnTo>
                  <a:lnTo>
                    <a:pt x="497405" y="169233"/>
                  </a:lnTo>
                  <a:cubicBezTo>
                    <a:pt x="501281" y="167282"/>
                    <a:pt x="509034" y="163379"/>
                    <a:pt x="524540" y="155574"/>
                  </a:cubicBezTo>
                  <a:cubicBezTo>
                    <a:pt x="524540" y="163379"/>
                    <a:pt x="524540" y="178989"/>
                    <a:pt x="532293" y="178989"/>
                  </a:cubicBezTo>
                  <a:cubicBezTo>
                    <a:pt x="540045" y="178989"/>
                    <a:pt x="571057" y="171184"/>
                    <a:pt x="571057" y="171184"/>
                  </a:cubicBezTo>
                  <a:cubicBezTo>
                    <a:pt x="571057" y="171184"/>
                    <a:pt x="571057" y="171184"/>
                    <a:pt x="609822" y="178989"/>
                  </a:cubicBezTo>
                  <a:cubicBezTo>
                    <a:pt x="609822" y="178989"/>
                    <a:pt x="609822" y="178989"/>
                    <a:pt x="617575" y="194600"/>
                  </a:cubicBezTo>
                  <a:cubicBezTo>
                    <a:pt x="617575" y="194600"/>
                    <a:pt x="617575" y="194600"/>
                    <a:pt x="656339" y="202405"/>
                  </a:cubicBezTo>
                  <a:cubicBezTo>
                    <a:pt x="656339" y="202405"/>
                    <a:pt x="656339" y="202405"/>
                    <a:pt x="733868" y="194600"/>
                  </a:cubicBezTo>
                  <a:cubicBezTo>
                    <a:pt x="733868" y="194600"/>
                    <a:pt x="733868" y="194600"/>
                    <a:pt x="780386" y="218016"/>
                  </a:cubicBezTo>
                  <a:cubicBezTo>
                    <a:pt x="780386" y="218016"/>
                    <a:pt x="780386" y="218016"/>
                    <a:pt x="788139" y="233626"/>
                  </a:cubicBezTo>
                  <a:cubicBezTo>
                    <a:pt x="788139" y="233626"/>
                    <a:pt x="788139" y="233626"/>
                    <a:pt x="797951" y="236919"/>
                  </a:cubicBezTo>
                  <a:lnTo>
                    <a:pt x="807118" y="239995"/>
                  </a:lnTo>
                  <a:lnTo>
                    <a:pt x="807402" y="239712"/>
                  </a:lnTo>
                  <a:lnTo>
                    <a:pt x="808323" y="240400"/>
                  </a:lnTo>
                  <a:lnTo>
                    <a:pt x="811397" y="241431"/>
                  </a:lnTo>
                  <a:cubicBezTo>
                    <a:pt x="811397" y="241431"/>
                    <a:pt x="811397" y="241431"/>
                    <a:pt x="819150" y="241431"/>
                  </a:cubicBezTo>
                  <a:cubicBezTo>
                    <a:pt x="819150" y="241431"/>
                    <a:pt x="819150" y="241431"/>
                    <a:pt x="815274" y="245334"/>
                  </a:cubicBezTo>
                  <a:lnTo>
                    <a:pt x="815127" y="245482"/>
                  </a:lnTo>
                  <a:lnTo>
                    <a:pt x="838729" y="263110"/>
                  </a:lnTo>
                  <a:lnTo>
                    <a:pt x="846560" y="286508"/>
                  </a:lnTo>
                  <a:lnTo>
                    <a:pt x="877887" y="294308"/>
                  </a:lnTo>
                  <a:lnTo>
                    <a:pt x="870055" y="317706"/>
                  </a:lnTo>
                  <a:lnTo>
                    <a:pt x="846560" y="341104"/>
                  </a:lnTo>
                  <a:lnTo>
                    <a:pt x="849446" y="346852"/>
                  </a:lnTo>
                  <a:lnTo>
                    <a:pt x="873522" y="323509"/>
                  </a:lnTo>
                  <a:lnTo>
                    <a:pt x="881591" y="300037"/>
                  </a:lnTo>
                  <a:lnTo>
                    <a:pt x="881591" y="307861"/>
                  </a:lnTo>
                  <a:lnTo>
                    <a:pt x="946150" y="315685"/>
                  </a:lnTo>
                  <a:lnTo>
                    <a:pt x="938080" y="339157"/>
                  </a:lnTo>
                  <a:lnTo>
                    <a:pt x="946150" y="370453"/>
                  </a:lnTo>
                  <a:lnTo>
                    <a:pt x="946150" y="398840"/>
                  </a:lnTo>
                  <a:lnTo>
                    <a:pt x="955648" y="394245"/>
                  </a:lnTo>
                  <a:lnTo>
                    <a:pt x="950595" y="389069"/>
                  </a:lnTo>
                  <a:lnTo>
                    <a:pt x="950595" y="357848"/>
                  </a:lnTo>
                  <a:lnTo>
                    <a:pt x="942975" y="326627"/>
                  </a:lnTo>
                  <a:lnTo>
                    <a:pt x="950595" y="303212"/>
                  </a:lnTo>
                  <a:lnTo>
                    <a:pt x="965835" y="303212"/>
                  </a:lnTo>
                  <a:lnTo>
                    <a:pt x="1019175" y="334432"/>
                  </a:lnTo>
                  <a:lnTo>
                    <a:pt x="1001723" y="361247"/>
                  </a:lnTo>
                  <a:lnTo>
                    <a:pt x="1018978" y="405702"/>
                  </a:lnTo>
                  <a:cubicBezTo>
                    <a:pt x="1021366" y="415087"/>
                    <a:pt x="1023842" y="424382"/>
                    <a:pt x="1026229" y="433768"/>
                  </a:cubicBezTo>
                  <a:lnTo>
                    <a:pt x="1076896" y="461833"/>
                  </a:lnTo>
                  <a:lnTo>
                    <a:pt x="1134902" y="482792"/>
                  </a:lnTo>
                  <a:lnTo>
                    <a:pt x="1149403" y="503841"/>
                  </a:lnTo>
                  <a:lnTo>
                    <a:pt x="1171156" y="510857"/>
                  </a:lnTo>
                  <a:lnTo>
                    <a:pt x="1243663" y="517874"/>
                  </a:lnTo>
                  <a:lnTo>
                    <a:pt x="1308831" y="552956"/>
                  </a:lnTo>
                  <a:lnTo>
                    <a:pt x="1352336" y="566898"/>
                  </a:lnTo>
                  <a:cubicBezTo>
                    <a:pt x="1357199" y="583300"/>
                    <a:pt x="1361974" y="599611"/>
                    <a:pt x="1366837" y="616013"/>
                  </a:cubicBezTo>
                  <a:lnTo>
                    <a:pt x="1366837" y="637062"/>
                  </a:lnTo>
                  <a:lnTo>
                    <a:pt x="1294330" y="728184"/>
                  </a:lnTo>
                  <a:lnTo>
                    <a:pt x="1272577" y="735201"/>
                  </a:lnTo>
                  <a:cubicBezTo>
                    <a:pt x="1270190" y="774930"/>
                    <a:pt x="1267714" y="814569"/>
                    <a:pt x="1265327" y="854298"/>
                  </a:cubicBezTo>
                  <a:cubicBezTo>
                    <a:pt x="1262939" y="858945"/>
                    <a:pt x="1260463" y="863684"/>
                    <a:pt x="1258076" y="868331"/>
                  </a:cubicBezTo>
                  <a:cubicBezTo>
                    <a:pt x="1250825" y="879994"/>
                    <a:pt x="1243663" y="891749"/>
                    <a:pt x="1236412" y="903413"/>
                  </a:cubicBezTo>
                  <a:cubicBezTo>
                    <a:pt x="1234025" y="912707"/>
                    <a:pt x="1231549" y="922093"/>
                    <a:pt x="1229161" y="931388"/>
                  </a:cubicBezTo>
                  <a:lnTo>
                    <a:pt x="1214660" y="959453"/>
                  </a:lnTo>
                  <a:lnTo>
                    <a:pt x="1200158" y="966470"/>
                  </a:lnTo>
                  <a:lnTo>
                    <a:pt x="1149403" y="973486"/>
                  </a:lnTo>
                  <a:lnTo>
                    <a:pt x="1069645" y="1022510"/>
                  </a:lnTo>
                  <a:lnTo>
                    <a:pt x="1047893" y="1064609"/>
                  </a:lnTo>
                  <a:lnTo>
                    <a:pt x="1018978" y="1155731"/>
                  </a:lnTo>
                  <a:lnTo>
                    <a:pt x="982725" y="1190813"/>
                  </a:lnTo>
                  <a:lnTo>
                    <a:pt x="953722" y="1218788"/>
                  </a:lnTo>
                  <a:cubicBezTo>
                    <a:pt x="951334" y="1225804"/>
                    <a:pt x="948858" y="1232821"/>
                    <a:pt x="946471" y="1239837"/>
                  </a:cubicBezTo>
                  <a:lnTo>
                    <a:pt x="939090" y="1225552"/>
                  </a:lnTo>
                  <a:lnTo>
                    <a:pt x="952500" y="1257049"/>
                  </a:lnTo>
                  <a:lnTo>
                    <a:pt x="945030" y="1274595"/>
                  </a:lnTo>
                  <a:lnTo>
                    <a:pt x="907677" y="1309687"/>
                  </a:lnTo>
                  <a:lnTo>
                    <a:pt x="870324" y="1300914"/>
                  </a:lnTo>
                  <a:lnTo>
                    <a:pt x="861821" y="1290929"/>
                  </a:lnTo>
                  <a:lnTo>
                    <a:pt x="874285" y="1315586"/>
                  </a:lnTo>
                  <a:cubicBezTo>
                    <a:pt x="869223" y="1328190"/>
                    <a:pt x="865438" y="1338045"/>
                    <a:pt x="859052" y="1353492"/>
                  </a:cubicBezTo>
                  <a:cubicBezTo>
                    <a:pt x="852712" y="1368938"/>
                    <a:pt x="849022" y="1395946"/>
                    <a:pt x="836107" y="1408360"/>
                  </a:cubicBezTo>
                  <a:cubicBezTo>
                    <a:pt x="823193" y="1420774"/>
                    <a:pt x="796795" y="1424660"/>
                    <a:pt x="781562" y="1428071"/>
                  </a:cubicBezTo>
                  <a:cubicBezTo>
                    <a:pt x="766329" y="1431483"/>
                    <a:pt x="753272" y="1423902"/>
                    <a:pt x="744567" y="1429114"/>
                  </a:cubicBezTo>
                  <a:cubicBezTo>
                    <a:pt x="735863" y="1434326"/>
                    <a:pt x="732741" y="1451383"/>
                    <a:pt x="729334" y="1459249"/>
                  </a:cubicBezTo>
                  <a:cubicBezTo>
                    <a:pt x="725928" y="1467114"/>
                    <a:pt x="724604" y="1470999"/>
                    <a:pt x="724225" y="1476306"/>
                  </a:cubicBezTo>
                  <a:cubicBezTo>
                    <a:pt x="723847" y="1481613"/>
                    <a:pt x="731321" y="1485404"/>
                    <a:pt x="727111" y="1491374"/>
                  </a:cubicBezTo>
                  <a:cubicBezTo>
                    <a:pt x="722901" y="1497344"/>
                    <a:pt x="721718" y="1481992"/>
                    <a:pt x="698821" y="1512222"/>
                  </a:cubicBezTo>
                  <a:cubicBezTo>
                    <a:pt x="699483" y="1520277"/>
                    <a:pt x="699862" y="1537714"/>
                    <a:pt x="696030" y="1545295"/>
                  </a:cubicBezTo>
                  <a:cubicBezTo>
                    <a:pt x="692198" y="1552876"/>
                    <a:pt x="682311" y="1550033"/>
                    <a:pt x="675924" y="1557614"/>
                  </a:cubicBezTo>
                  <a:cubicBezTo>
                    <a:pt x="669538" y="1565195"/>
                    <a:pt x="662300" y="1580452"/>
                    <a:pt x="657758" y="1590592"/>
                  </a:cubicBezTo>
                  <a:cubicBezTo>
                    <a:pt x="653217" y="1600732"/>
                    <a:pt x="650142" y="1608123"/>
                    <a:pt x="648675" y="1618263"/>
                  </a:cubicBezTo>
                  <a:cubicBezTo>
                    <a:pt x="637416" y="1623191"/>
                    <a:pt x="617973" y="1625560"/>
                    <a:pt x="614898" y="1633046"/>
                  </a:cubicBezTo>
                  <a:cubicBezTo>
                    <a:pt x="611823" y="1640533"/>
                    <a:pt x="625069" y="1653231"/>
                    <a:pt x="630131" y="1663371"/>
                  </a:cubicBezTo>
                  <a:cubicBezTo>
                    <a:pt x="637747" y="1668394"/>
                    <a:pt x="650804" y="1668867"/>
                    <a:pt x="653027" y="1678439"/>
                  </a:cubicBezTo>
                  <a:cubicBezTo>
                    <a:pt x="655251" y="1688010"/>
                    <a:pt x="649006" y="1710090"/>
                    <a:pt x="643424" y="1720988"/>
                  </a:cubicBezTo>
                  <a:cubicBezTo>
                    <a:pt x="637842" y="1731886"/>
                    <a:pt x="627245" y="1732075"/>
                    <a:pt x="619628" y="1743731"/>
                  </a:cubicBezTo>
                  <a:cubicBezTo>
                    <a:pt x="612012" y="1755387"/>
                    <a:pt x="604821" y="1777846"/>
                    <a:pt x="597678" y="1790924"/>
                  </a:cubicBezTo>
                  <a:cubicBezTo>
                    <a:pt x="590534" y="1804001"/>
                    <a:pt x="580836" y="1810919"/>
                    <a:pt x="576720" y="1822007"/>
                  </a:cubicBezTo>
                  <a:cubicBezTo>
                    <a:pt x="572652" y="1833094"/>
                    <a:pt x="572226" y="1848067"/>
                    <a:pt x="573125" y="1857354"/>
                  </a:cubicBezTo>
                  <a:cubicBezTo>
                    <a:pt x="574071" y="1866640"/>
                    <a:pt x="594035" y="1876875"/>
                    <a:pt x="582255" y="1877917"/>
                  </a:cubicBezTo>
                  <a:cubicBezTo>
                    <a:pt x="579311" y="1878178"/>
                    <a:pt x="573932" y="1878148"/>
                    <a:pt x="567249" y="1877772"/>
                  </a:cubicBezTo>
                  <a:lnTo>
                    <a:pt x="558941" y="1876963"/>
                  </a:lnTo>
                  <a:lnTo>
                    <a:pt x="577528" y="1910017"/>
                  </a:lnTo>
                  <a:cubicBezTo>
                    <a:pt x="585841" y="1935086"/>
                    <a:pt x="664351" y="1959427"/>
                    <a:pt x="646734" y="1979712"/>
                  </a:cubicBezTo>
                  <a:cubicBezTo>
                    <a:pt x="603625" y="2018408"/>
                    <a:pt x="573128" y="2010398"/>
                    <a:pt x="555528" y="2006133"/>
                  </a:cubicBezTo>
                  <a:lnTo>
                    <a:pt x="468302" y="1939351"/>
                  </a:lnTo>
                  <a:lnTo>
                    <a:pt x="406400" y="1818373"/>
                  </a:lnTo>
                  <a:lnTo>
                    <a:pt x="431456" y="1713622"/>
                  </a:lnTo>
                  <a:lnTo>
                    <a:pt x="441314" y="1656514"/>
                  </a:lnTo>
                  <a:lnTo>
                    <a:pt x="484390" y="1532207"/>
                  </a:lnTo>
                  <a:cubicBezTo>
                    <a:pt x="484155" y="1499127"/>
                    <a:pt x="451155" y="1561541"/>
                    <a:pt x="450920" y="1528462"/>
                  </a:cubicBezTo>
                  <a:lnTo>
                    <a:pt x="475237" y="1383974"/>
                  </a:lnTo>
                  <a:lnTo>
                    <a:pt x="503132" y="1303981"/>
                  </a:lnTo>
                  <a:cubicBezTo>
                    <a:pt x="501301" y="1180922"/>
                    <a:pt x="510387" y="1277663"/>
                    <a:pt x="508539" y="1154709"/>
                  </a:cubicBezTo>
                  <a:lnTo>
                    <a:pt x="538919" y="991289"/>
                  </a:lnTo>
                  <a:lnTo>
                    <a:pt x="546023" y="932412"/>
                  </a:lnTo>
                  <a:lnTo>
                    <a:pt x="543907" y="852003"/>
                  </a:lnTo>
                  <a:lnTo>
                    <a:pt x="550897" y="836718"/>
                  </a:lnTo>
                  <a:lnTo>
                    <a:pt x="398065" y="759611"/>
                  </a:lnTo>
                  <a:lnTo>
                    <a:pt x="398065" y="745649"/>
                  </a:lnTo>
                  <a:lnTo>
                    <a:pt x="349964" y="654893"/>
                  </a:lnTo>
                  <a:lnTo>
                    <a:pt x="301863" y="585080"/>
                  </a:lnTo>
                  <a:lnTo>
                    <a:pt x="277812" y="536212"/>
                  </a:lnTo>
                  <a:lnTo>
                    <a:pt x="301863" y="522249"/>
                  </a:lnTo>
                  <a:lnTo>
                    <a:pt x="304435" y="526729"/>
                  </a:lnTo>
                  <a:lnTo>
                    <a:pt x="312737" y="522621"/>
                  </a:lnTo>
                  <a:lnTo>
                    <a:pt x="296862" y="491206"/>
                  </a:lnTo>
                  <a:lnTo>
                    <a:pt x="328612" y="420520"/>
                  </a:lnTo>
                  <a:lnTo>
                    <a:pt x="336550" y="404812"/>
                  </a:lnTo>
                  <a:lnTo>
                    <a:pt x="341873" y="406787"/>
                  </a:lnTo>
                  <a:lnTo>
                    <a:pt x="355428" y="393351"/>
                  </a:lnTo>
                  <a:cubicBezTo>
                    <a:pt x="355428" y="393351"/>
                    <a:pt x="355428" y="393351"/>
                    <a:pt x="386835" y="370003"/>
                  </a:cubicBezTo>
                  <a:cubicBezTo>
                    <a:pt x="386835" y="370003"/>
                    <a:pt x="386835" y="370003"/>
                    <a:pt x="378984" y="338872"/>
                  </a:cubicBezTo>
                  <a:cubicBezTo>
                    <a:pt x="378984" y="338872"/>
                    <a:pt x="378984" y="338872"/>
                    <a:pt x="378984" y="315524"/>
                  </a:cubicBezTo>
                  <a:cubicBezTo>
                    <a:pt x="378984" y="315524"/>
                    <a:pt x="378984" y="315524"/>
                    <a:pt x="371132" y="276611"/>
                  </a:cubicBezTo>
                  <a:cubicBezTo>
                    <a:pt x="371132" y="276611"/>
                    <a:pt x="371132" y="276611"/>
                    <a:pt x="363280" y="261046"/>
                  </a:cubicBezTo>
                  <a:cubicBezTo>
                    <a:pt x="363280" y="261046"/>
                    <a:pt x="363280" y="261046"/>
                    <a:pt x="386835" y="237698"/>
                  </a:cubicBezTo>
                  <a:cubicBezTo>
                    <a:pt x="386835" y="237698"/>
                    <a:pt x="386835" y="237698"/>
                    <a:pt x="410390" y="214350"/>
                  </a:cubicBezTo>
                  <a:cubicBezTo>
                    <a:pt x="410390" y="214350"/>
                    <a:pt x="410390" y="214350"/>
                    <a:pt x="426094" y="206567"/>
                  </a:cubicBezTo>
                  <a:cubicBezTo>
                    <a:pt x="426094" y="206567"/>
                    <a:pt x="426094" y="206567"/>
                    <a:pt x="441797" y="167654"/>
                  </a:cubicBezTo>
                  <a:cubicBezTo>
                    <a:pt x="441797" y="167654"/>
                    <a:pt x="441797" y="167654"/>
                    <a:pt x="473204" y="152089"/>
                  </a:cubicBezTo>
                  <a:cubicBezTo>
                    <a:pt x="473204" y="152089"/>
                    <a:pt x="473204" y="152089"/>
                    <a:pt x="528165" y="136524"/>
                  </a:cubicBezTo>
                  <a:close/>
                  <a:moveTo>
                    <a:pt x="47625" y="0"/>
                  </a:moveTo>
                  <a:cubicBezTo>
                    <a:pt x="47625" y="0"/>
                    <a:pt x="47625" y="0"/>
                    <a:pt x="87312" y="0"/>
                  </a:cubicBezTo>
                  <a:cubicBezTo>
                    <a:pt x="87312" y="0"/>
                    <a:pt x="87312" y="0"/>
                    <a:pt x="87312" y="32809"/>
                  </a:cubicBezTo>
                  <a:cubicBezTo>
                    <a:pt x="87312" y="32809"/>
                    <a:pt x="103187" y="41011"/>
                    <a:pt x="119062" y="41011"/>
                  </a:cubicBezTo>
                  <a:lnTo>
                    <a:pt x="112740" y="45911"/>
                  </a:lnTo>
                  <a:lnTo>
                    <a:pt x="119062" y="41274"/>
                  </a:lnTo>
                  <a:cubicBezTo>
                    <a:pt x="127000" y="41274"/>
                    <a:pt x="134937" y="49035"/>
                    <a:pt x="142875" y="49035"/>
                  </a:cubicBezTo>
                  <a:cubicBezTo>
                    <a:pt x="154781" y="49035"/>
                    <a:pt x="197941" y="57766"/>
                    <a:pt x="218777" y="62132"/>
                  </a:cubicBezTo>
                  <a:lnTo>
                    <a:pt x="228552" y="64210"/>
                  </a:lnTo>
                  <a:lnTo>
                    <a:pt x="230187" y="63499"/>
                  </a:lnTo>
                  <a:lnTo>
                    <a:pt x="230094" y="64537"/>
                  </a:lnTo>
                  <a:lnTo>
                    <a:pt x="230187" y="64557"/>
                  </a:lnTo>
                  <a:lnTo>
                    <a:pt x="230088" y="64599"/>
                  </a:lnTo>
                  <a:lnTo>
                    <a:pt x="230063" y="64883"/>
                  </a:lnTo>
                  <a:cubicBezTo>
                    <a:pt x="229691" y="69034"/>
                    <a:pt x="228203" y="85639"/>
                    <a:pt x="222249" y="152059"/>
                  </a:cubicBezTo>
                  <a:cubicBezTo>
                    <a:pt x="222249" y="152059"/>
                    <a:pt x="224234" y="154072"/>
                    <a:pt x="226218" y="158097"/>
                  </a:cubicBezTo>
                  <a:lnTo>
                    <a:pt x="229783" y="174369"/>
                  </a:lnTo>
                  <a:lnTo>
                    <a:pt x="230187" y="174448"/>
                  </a:lnTo>
                  <a:cubicBezTo>
                    <a:pt x="238125" y="182209"/>
                    <a:pt x="246062" y="197731"/>
                    <a:pt x="254000" y="205492"/>
                  </a:cubicBezTo>
                  <a:cubicBezTo>
                    <a:pt x="254000" y="205492"/>
                    <a:pt x="254000" y="205492"/>
                    <a:pt x="253008" y="209373"/>
                  </a:cubicBezTo>
                  <a:lnTo>
                    <a:pt x="246098" y="236398"/>
                  </a:lnTo>
                  <a:lnTo>
                    <a:pt x="247043" y="232766"/>
                  </a:lnTo>
                  <a:cubicBezTo>
                    <a:pt x="248024" y="228996"/>
                    <a:pt x="249987" y="221455"/>
                    <a:pt x="253911" y="206374"/>
                  </a:cubicBezTo>
                  <a:cubicBezTo>
                    <a:pt x="253911" y="213914"/>
                    <a:pt x="253911" y="213914"/>
                    <a:pt x="261761" y="213914"/>
                  </a:cubicBezTo>
                  <a:cubicBezTo>
                    <a:pt x="269610" y="221455"/>
                    <a:pt x="316706" y="213914"/>
                    <a:pt x="316706" y="213914"/>
                  </a:cubicBezTo>
                  <a:cubicBezTo>
                    <a:pt x="316706" y="213914"/>
                    <a:pt x="316706" y="213914"/>
                    <a:pt x="355953" y="213914"/>
                  </a:cubicBezTo>
                  <a:lnTo>
                    <a:pt x="387350" y="236536"/>
                  </a:lnTo>
                  <a:cubicBezTo>
                    <a:pt x="387350" y="236536"/>
                    <a:pt x="387350" y="236536"/>
                    <a:pt x="363802" y="259158"/>
                  </a:cubicBezTo>
                  <a:cubicBezTo>
                    <a:pt x="363802" y="259158"/>
                    <a:pt x="363802" y="259158"/>
                    <a:pt x="355953" y="236536"/>
                  </a:cubicBezTo>
                  <a:cubicBezTo>
                    <a:pt x="355953" y="236536"/>
                    <a:pt x="355953" y="236536"/>
                    <a:pt x="324555" y="228996"/>
                  </a:cubicBezTo>
                  <a:cubicBezTo>
                    <a:pt x="324555" y="228996"/>
                    <a:pt x="324555" y="228996"/>
                    <a:pt x="301007" y="251618"/>
                  </a:cubicBezTo>
                  <a:cubicBezTo>
                    <a:pt x="301007" y="251618"/>
                    <a:pt x="301007" y="251618"/>
                    <a:pt x="293158" y="266699"/>
                  </a:cubicBezTo>
                  <a:cubicBezTo>
                    <a:pt x="293158" y="266699"/>
                    <a:pt x="285309" y="266699"/>
                    <a:pt x="277459" y="266699"/>
                  </a:cubicBezTo>
                  <a:cubicBezTo>
                    <a:pt x="271572" y="261043"/>
                    <a:pt x="256855" y="246905"/>
                    <a:pt x="249864" y="240189"/>
                  </a:cubicBezTo>
                  <a:lnTo>
                    <a:pt x="246062" y="236537"/>
                  </a:lnTo>
                  <a:cubicBezTo>
                    <a:pt x="246062" y="236537"/>
                    <a:pt x="246062" y="236537"/>
                    <a:pt x="174625" y="189970"/>
                  </a:cubicBezTo>
                  <a:cubicBezTo>
                    <a:pt x="174625" y="189970"/>
                    <a:pt x="174625" y="189970"/>
                    <a:pt x="172641" y="188030"/>
                  </a:cubicBezTo>
                  <a:lnTo>
                    <a:pt x="160182" y="175848"/>
                  </a:lnTo>
                  <a:lnTo>
                    <a:pt x="158749" y="176212"/>
                  </a:lnTo>
                  <a:cubicBezTo>
                    <a:pt x="158749" y="176212"/>
                    <a:pt x="158749" y="176212"/>
                    <a:pt x="119062" y="111804"/>
                  </a:cubicBezTo>
                  <a:cubicBezTo>
                    <a:pt x="119062" y="111804"/>
                    <a:pt x="119062" y="111804"/>
                    <a:pt x="142502" y="101615"/>
                  </a:cubicBezTo>
                  <a:lnTo>
                    <a:pt x="162565" y="92894"/>
                  </a:lnTo>
                  <a:lnTo>
                    <a:pt x="151184" y="97663"/>
                  </a:lnTo>
                  <a:cubicBezTo>
                    <a:pt x="143371" y="100937"/>
                    <a:pt x="132953" y="105303"/>
                    <a:pt x="119062" y="111124"/>
                  </a:cubicBezTo>
                  <a:cubicBezTo>
                    <a:pt x="119062" y="111124"/>
                    <a:pt x="119062" y="111124"/>
                    <a:pt x="102319" y="101301"/>
                  </a:cubicBezTo>
                  <a:lnTo>
                    <a:pt x="80021" y="88219"/>
                  </a:lnTo>
                  <a:lnTo>
                    <a:pt x="79375" y="90223"/>
                  </a:lnTo>
                  <a:cubicBezTo>
                    <a:pt x="79375" y="90223"/>
                    <a:pt x="79375" y="90223"/>
                    <a:pt x="55562" y="98425"/>
                  </a:cubicBezTo>
                  <a:cubicBezTo>
                    <a:pt x="55562" y="98425"/>
                    <a:pt x="55562" y="98425"/>
                    <a:pt x="7938" y="90223"/>
                  </a:cubicBezTo>
                  <a:cubicBezTo>
                    <a:pt x="7938" y="90223"/>
                    <a:pt x="7938" y="90223"/>
                    <a:pt x="0" y="82021"/>
                  </a:cubicBezTo>
                  <a:cubicBezTo>
                    <a:pt x="0" y="82021"/>
                    <a:pt x="0" y="82021"/>
                    <a:pt x="7938" y="65617"/>
                  </a:cubicBezTo>
                  <a:cubicBezTo>
                    <a:pt x="7938" y="65617"/>
                    <a:pt x="7938" y="65617"/>
                    <a:pt x="23813" y="41011"/>
                  </a:cubicBezTo>
                  <a:cubicBezTo>
                    <a:pt x="23813" y="41011"/>
                    <a:pt x="23813" y="41011"/>
                    <a:pt x="47625" y="41011"/>
                  </a:cubicBezTo>
                  <a:cubicBezTo>
                    <a:pt x="47625" y="41011"/>
                    <a:pt x="47625" y="41011"/>
                    <a:pt x="31750" y="8202"/>
                  </a:cubicBezTo>
                  <a:cubicBezTo>
                    <a:pt x="31750" y="8202"/>
                    <a:pt x="31750" y="8202"/>
                    <a:pt x="47625" y="0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  <a:scene3d>
              <a:camera prst="orthographicFront"/>
              <a:lightRig rig="contrasting" dir="t"/>
            </a:scene3d>
            <a:sp3d z="63500" prstMaterial="metal">
              <a:bevelB w="0" h="0"/>
            </a:sp3d>
          </p:spPr>
          <p:txBody>
            <a:bodyPr wrap="square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1" name="Freeform 437">
              <a:extLst>
                <a:ext uri="{FF2B5EF4-FFF2-40B4-BE49-F238E27FC236}">
                  <a16:creationId xmlns:a16="http://schemas.microsoft.com/office/drawing/2014/main" id="{69EFCFC2-F117-49E8-82A6-B7EFE3E6A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2060" y="4680026"/>
              <a:ext cx="2104064" cy="1554396"/>
            </a:xfrm>
            <a:custGeom>
              <a:avLst/>
              <a:gdLst>
                <a:gd name="connsiteX0" fmla="*/ 1459740 w 1608137"/>
                <a:gd name="connsiteY0" fmla="*/ 1144587 h 1349375"/>
                <a:gd name="connsiteX1" fmla="*/ 1475339 w 1608137"/>
                <a:gd name="connsiteY1" fmla="*/ 1160240 h 1349375"/>
                <a:gd name="connsiteX2" fmla="*/ 1506537 w 1608137"/>
                <a:gd name="connsiteY2" fmla="*/ 1168066 h 1349375"/>
                <a:gd name="connsiteX3" fmla="*/ 1506537 w 1608137"/>
                <a:gd name="connsiteY3" fmla="*/ 1191545 h 1349375"/>
                <a:gd name="connsiteX4" fmla="*/ 1475339 w 1608137"/>
                <a:gd name="connsiteY4" fmla="*/ 1215024 h 1349375"/>
                <a:gd name="connsiteX5" fmla="*/ 1459740 w 1608137"/>
                <a:gd name="connsiteY5" fmla="*/ 1231981 h 1349375"/>
                <a:gd name="connsiteX6" fmla="*/ 1428543 w 1608137"/>
                <a:gd name="connsiteY6" fmla="*/ 1263286 h 1349375"/>
                <a:gd name="connsiteX7" fmla="*/ 1420743 w 1608137"/>
                <a:gd name="connsiteY7" fmla="*/ 1294591 h 1349375"/>
                <a:gd name="connsiteX8" fmla="*/ 1412944 w 1608137"/>
                <a:gd name="connsiteY8" fmla="*/ 1341549 h 1349375"/>
                <a:gd name="connsiteX9" fmla="*/ 1373947 w 1608137"/>
                <a:gd name="connsiteY9" fmla="*/ 1349375 h 1349375"/>
                <a:gd name="connsiteX10" fmla="*/ 1350548 w 1608137"/>
                <a:gd name="connsiteY10" fmla="*/ 1341549 h 1349375"/>
                <a:gd name="connsiteX11" fmla="*/ 1327150 w 1608137"/>
                <a:gd name="connsiteY11" fmla="*/ 1318070 h 1349375"/>
                <a:gd name="connsiteX12" fmla="*/ 1350548 w 1608137"/>
                <a:gd name="connsiteY12" fmla="*/ 1271112 h 1349375"/>
                <a:gd name="connsiteX13" fmla="*/ 1366147 w 1608137"/>
                <a:gd name="connsiteY13" fmla="*/ 1247633 h 1349375"/>
                <a:gd name="connsiteX14" fmla="*/ 1412944 w 1608137"/>
                <a:gd name="connsiteY14" fmla="*/ 1222850 h 1349375"/>
                <a:gd name="connsiteX15" fmla="*/ 1428543 w 1608137"/>
                <a:gd name="connsiteY15" fmla="*/ 1215024 h 1349375"/>
                <a:gd name="connsiteX16" fmla="*/ 1444142 w 1608137"/>
                <a:gd name="connsiteY16" fmla="*/ 1183719 h 1349375"/>
                <a:gd name="connsiteX17" fmla="*/ 863600 w 1608137"/>
                <a:gd name="connsiteY17" fmla="*/ 1128712 h 1349375"/>
                <a:gd name="connsiteX18" fmla="*/ 863600 w 1608137"/>
                <a:gd name="connsiteY18" fmla="*/ 1167964 h 1349375"/>
                <a:gd name="connsiteX19" fmla="*/ 839788 w 1608137"/>
                <a:gd name="connsiteY19" fmla="*/ 1215066 h 1349375"/>
                <a:gd name="connsiteX20" fmla="*/ 823913 w 1608137"/>
                <a:gd name="connsiteY20" fmla="*/ 1247775 h 1349375"/>
                <a:gd name="connsiteX21" fmla="*/ 800100 w 1608137"/>
                <a:gd name="connsiteY21" fmla="*/ 1222916 h 1349375"/>
                <a:gd name="connsiteX22" fmla="*/ 792162 w 1608137"/>
                <a:gd name="connsiteY22" fmla="*/ 1191515 h 1349375"/>
                <a:gd name="connsiteX23" fmla="*/ 776287 w 1608137"/>
                <a:gd name="connsiteY23" fmla="*/ 1152263 h 1349375"/>
                <a:gd name="connsiteX24" fmla="*/ 831850 w 1608137"/>
                <a:gd name="connsiteY24" fmla="*/ 1144413 h 1349375"/>
                <a:gd name="connsiteX25" fmla="*/ 1482725 w 1608137"/>
                <a:gd name="connsiteY25" fmla="*/ 960437 h 1349375"/>
                <a:gd name="connsiteX26" fmla="*/ 1521916 w 1608137"/>
                <a:gd name="connsiteY26" fmla="*/ 975946 h 1349375"/>
                <a:gd name="connsiteX27" fmla="*/ 1521916 w 1608137"/>
                <a:gd name="connsiteY27" fmla="*/ 1014718 h 1349375"/>
                <a:gd name="connsiteX28" fmla="*/ 1537593 w 1608137"/>
                <a:gd name="connsiteY28" fmla="*/ 1037981 h 1349375"/>
                <a:gd name="connsiteX29" fmla="*/ 1561108 w 1608137"/>
                <a:gd name="connsiteY29" fmla="*/ 1061244 h 1349375"/>
                <a:gd name="connsiteX30" fmla="*/ 1592460 w 1608137"/>
                <a:gd name="connsiteY30" fmla="*/ 1045735 h 1349375"/>
                <a:gd name="connsiteX31" fmla="*/ 1608137 w 1608137"/>
                <a:gd name="connsiteY31" fmla="*/ 1061244 h 1349375"/>
                <a:gd name="connsiteX32" fmla="*/ 1600299 w 1608137"/>
                <a:gd name="connsiteY32" fmla="*/ 1076752 h 1349375"/>
                <a:gd name="connsiteX33" fmla="*/ 1584622 w 1608137"/>
                <a:gd name="connsiteY33" fmla="*/ 1092261 h 1349375"/>
                <a:gd name="connsiteX34" fmla="*/ 1568946 w 1608137"/>
                <a:gd name="connsiteY34" fmla="*/ 1107770 h 1349375"/>
                <a:gd name="connsiteX35" fmla="*/ 1561108 w 1608137"/>
                <a:gd name="connsiteY35" fmla="*/ 1131033 h 1349375"/>
                <a:gd name="connsiteX36" fmla="*/ 1537593 w 1608137"/>
                <a:gd name="connsiteY36" fmla="*/ 1162050 h 1349375"/>
                <a:gd name="connsiteX37" fmla="*/ 1514078 w 1608137"/>
                <a:gd name="connsiteY37" fmla="*/ 1146542 h 1349375"/>
                <a:gd name="connsiteX38" fmla="*/ 1521916 w 1608137"/>
                <a:gd name="connsiteY38" fmla="*/ 1123279 h 1349375"/>
                <a:gd name="connsiteX39" fmla="*/ 1490563 w 1608137"/>
                <a:gd name="connsiteY39" fmla="*/ 1100015 h 1349375"/>
                <a:gd name="connsiteX40" fmla="*/ 1514078 w 1608137"/>
                <a:gd name="connsiteY40" fmla="*/ 1061244 h 1349375"/>
                <a:gd name="connsiteX41" fmla="*/ 1514078 w 1608137"/>
                <a:gd name="connsiteY41" fmla="*/ 1030226 h 1349375"/>
                <a:gd name="connsiteX42" fmla="*/ 486014 w 1608137"/>
                <a:gd name="connsiteY42" fmla="*/ 333375 h 1349375"/>
                <a:gd name="connsiteX43" fmla="*/ 517369 w 1608137"/>
                <a:gd name="connsiteY43" fmla="*/ 341183 h 1349375"/>
                <a:gd name="connsiteX44" fmla="*/ 572242 w 1608137"/>
                <a:gd name="connsiteY44" fmla="*/ 348992 h 1349375"/>
                <a:gd name="connsiteX45" fmla="*/ 564403 w 1608137"/>
                <a:gd name="connsiteY45" fmla="*/ 380224 h 1349375"/>
                <a:gd name="connsiteX46" fmla="*/ 548725 w 1608137"/>
                <a:gd name="connsiteY46" fmla="*/ 419265 h 1349375"/>
                <a:gd name="connsiteX47" fmla="*/ 572242 w 1608137"/>
                <a:gd name="connsiteY47" fmla="*/ 434882 h 1349375"/>
                <a:gd name="connsiteX48" fmla="*/ 611437 w 1608137"/>
                <a:gd name="connsiteY48" fmla="*/ 434882 h 1349375"/>
                <a:gd name="connsiteX49" fmla="*/ 642792 w 1608137"/>
                <a:gd name="connsiteY49" fmla="*/ 483032 h 1349375"/>
                <a:gd name="connsiteX50" fmla="*/ 666309 w 1608137"/>
                <a:gd name="connsiteY50" fmla="*/ 475224 h 1349375"/>
                <a:gd name="connsiteX51" fmla="*/ 705504 w 1608137"/>
                <a:gd name="connsiteY51" fmla="*/ 450498 h 1349375"/>
                <a:gd name="connsiteX52" fmla="*/ 705504 w 1608137"/>
                <a:gd name="connsiteY52" fmla="*/ 372416 h 1349375"/>
                <a:gd name="connsiteX53" fmla="*/ 736860 w 1608137"/>
                <a:gd name="connsiteY53" fmla="*/ 333375 h 1349375"/>
                <a:gd name="connsiteX54" fmla="*/ 752538 w 1608137"/>
                <a:gd name="connsiteY54" fmla="*/ 388033 h 1349375"/>
                <a:gd name="connsiteX55" fmla="*/ 760377 w 1608137"/>
                <a:gd name="connsiteY55" fmla="*/ 403649 h 1349375"/>
                <a:gd name="connsiteX56" fmla="*/ 776055 w 1608137"/>
                <a:gd name="connsiteY56" fmla="*/ 411457 h 1349375"/>
                <a:gd name="connsiteX57" fmla="*/ 799571 w 1608137"/>
                <a:gd name="connsiteY57" fmla="*/ 490840 h 1349375"/>
                <a:gd name="connsiteX58" fmla="*/ 838766 w 1608137"/>
                <a:gd name="connsiteY58" fmla="*/ 529881 h 1349375"/>
                <a:gd name="connsiteX59" fmla="*/ 885800 w 1608137"/>
                <a:gd name="connsiteY59" fmla="*/ 545498 h 1349375"/>
                <a:gd name="connsiteX60" fmla="*/ 901477 w 1608137"/>
                <a:gd name="connsiteY60" fmla="*/ 592347 h 1349375"/>
                <a:gd name="connsiteX61" fmla="*/ 924994 w 1608137"/>
                <a:gd name="connsiteY61" fmla="*/ 607963 h 1349375"/>
                <a:gd name="connsiteX62" fmla="*/ 932833 w 1608137"/>
                <a:gd name="connsiteY62" fmla="*/ 647004 h 1349375"/>
                <a:gd name="connsiteX63" fmla="*/ 981173 w 1608137"/>
                <a:gd name="connsiteY63" fmla="*/ 678237 h 1349375"/>
                <a:gd name="connsiteX64" fmla="*/ 981173 w 1608137"/>
                <a:gd name="connsiteY64" fmla="*/ 709469 h 1349375"/>
                <a:gd name="connsiteX65" fmla="*/ 989012 w 1608137"/>
                <a:gd name="connsiteY65" fmla="*/ 756319 h 1349375"/>
                <a:gd name="connsiteX66" fmla="*/ 989012 w 1608137"/>
                <a:gd name="connsiteY66" fmla="*/ 826592 h 1349375"/>
                <a:gd name="connsiteX67" fmla="*/ 932833 w 1608137"/>
                <a:gd name="connsiteY67" fmla="*/ 943715 h 1349375"/>
                <a:gd name="connsiteX68" fmla="*/ 909316 w 1608137"/>
                <a:gd name="connsiteY68" fmla="*/ 1013989 h 1349375"/>
                <a:gd name="connsiteX69" fmla="*/ 909316 w 1608137"/>
                <a:gd name="connsiteY69" fmla="*/ 1045221 h 1349375"/>
                <a:gd name="connsiteX70" fmla="*/ 893639 w 1608137"/>
                <a:gd name="connsiteY70" fmla="*/ 1045221 h 1349375"/>
                <a:gd name="connsiteX71" fmla="*/ 862283 w 1608137"/>
                <a:gd name="connsiteY71" fmla="*/ 1060838 h 1349375"/>
                <a:gd name="connsiteX72" fmla="*/ 830927 w 1608137"/>
                <a:gd name="connsiteY72" fmla="*/ 1084262 h 1349375"/>
                <a:gd name="connsiteX73" fmla="*/ 807410 w 1608137"/>
                <a:gd name="connsiteY73" fmla="*/ 1084262 h 1349375"/>
                <a:gd name="connsiteX74" fmla="*/ 776055 w 1608137"/>
                <a:gd name="connsiteY74" fmla="*/ 1060838 h 1349375"/>
                <a:gd name="connsiteX75" fmla="*/ 752538 w 1608137"/>
                <a:gd name="connsiteY75" fmla="*/ 1076454 h 1349375"/>
                <a:gd name="connsiteX76" fmla="*/ 697665 w 1608137"/>
                <a:gd name="connsiteY76" fmla="*/ 1053029 h 1349375"/>
                <a:gd name="connsiteX77" fmla="*/ 650631 w 1608137"/>
                <a:gd name="connsiteY77" fmla="*/ 1029605 h 1349375"/>
                <a:gd name="connsiteX78" fmla="*/ 627114 w 1608137"/>
                <a:gd name="connsiteY78" fmla="*/ 990564 h 1349375"/>
                <a:gd name="connsiteX79" fmla="*/ 611437 w 1608137"/>
                <a:gd name="connsiteY79" fmla="*/ 959331 h 1349375"/>
                <a:gd name="connsiteX80" fmla="*/ 580081 w 1608137"/>
                <a:gd name="connsiteY80" fmla="*/ 967139 h 1349375"/>
                <a:gd name="connsiteX81" fmla="*/ 548725 w 1608137"/>
                <a:gd name="connsiteY81" fmla="*/ 935907 h 1349375"/>
                <a:gd name="connsiteX82" fmla="*/ 493853 w 1608137"/>
                <a:gd name="connsiteY82" fmla="*/ 881249 h 1349375"/>
                <a:gd name="connsiteX83" fmla="*/ 407624 w 1608137"/>
                <a:gd name="connsiteY83" fmla="*/ 865633 h 1349375"/>
                <a:gd name="connsiteX84" fmla="*/ 344913 w 1608137"/>
                <a:gd name="connsiteY84" fmla="*/ 873441 h 1349375"/>
                <a:gd name="connsiteX85" fmla="*/ 266523 w 1608137"/>
                <a:gd name="connsiteY85" fmla="*/ 896866 h 1349375"/>
                <a:gd name="connsiteX86" fmla="*/ 258685 w 1608137"/>
                <a:gd name="connsiteY86" fmla="*/ 920290 h 1349375"/>
                <a:gd name="connsiteX87" fmla="*/ 211651 w 1608137"/>
                <a:gd name="connsiteY87" fmla="*/ 928099 h 1349375"/>
                <a:gd name="connsiteX88" fmla="*/ 180295 w 1608137"/>
                <a:gd name="connsiteY88" fmla="*/ 928099 h 1349375"/>
                <a:gd name="connsiteX89" fmla="*/ 156778 w 1608137"/>
                <a:gd name="connsiteY89" fmla="*/ 951523 h 1349375"/>
                <a:gd name="connsiteX90" fmla="*/ 109745 w 1608137"/>
                <a:gd name="connsiteY90" fmla="*/ 967139 h 1349375"/>
                <a:gd name="connsiteX91" fmla="*/ 78389 w 1608137"/>
                <a:gd name="connsiteY91" fmla="*/ 967139 h 1349375"/>
                <a:gd name="connsiteX92" fmla="*/ 39194 w 1608137"/>
                <a:gd name="connsiteY92" fmla="*/ 935907 h 1349375"/>
                <a:gd name="connsiteX93" fmla="*/ 47033 w 1608137"/>
                <a:gd name="connsiteY93" fmla="*/ 873441 h 1349375"/>
                <a:gd name="connsiteX94" fmla="*/ 39194 w 1608137"/>
                <a:gd name="connsiteY94" fmla="*/ 834400 h 1349375"/>
                <a:gd name="connsiteX95" fmla="*/ 7839 w 1608137"/>
                <a:gd name="connsiteY95" fmla="*/ 732894 h 1349375"/>
                <a:gd name="connsiteX96" fmla="*/ 7839 w 1608137"/>
                <a:gd name="connsiteY96" fmla="*/ 701661 h 1349375"/>
                <a:gd name="connsiteX97" fmla="*/ 0 w 1608137"/>
                <a:gd name="connsiteY97" fmla="*/ 654812 h 1349375"/>
                <a:gd name="connsiteX98" fmla="*/ 7839 w 1608137"/>
                <a:gd name="connsiteY98" fmla="*/ 615771 h 1349375"/>
                <a:gd name="connsiteX99" fmla="*/ 39194 w 1608137"/>
                <a:gd name="connsiteY99" fmla="*/ 584538 h 1349375"/>
                <a:gd name="connsiteX100" fmla="*/ 101906 w 1608137"/>
                <a:gd name="connsiteY100" fmla="*/ 561114 h 1349375"/>
                <a:gd name="connsiteX101" fmla="*/ 148939 w 1608137"/>
                <a:gd name="connsiteY101" fmla="*/ 529881 h 1349375"/>
                <a:gd name="connsiteX102" fmla="*/ 188134 w 1608137"/>
                <a:gd name="connsiteY102" fmla="*/ 522073 h 1349375"/>
                <a:gd name="connsiteX103" fmla="*/ 203812 w 1608137"/>
                <a:gd name="connsiteY103" fmla="*/ 475224 h 1349375"/>
                <a:gd name="connsiteX104" fmla="*/ 235168 w 1608137"/>
                <a:gd name="connsiteY104" fmla="*/ 459608 h 1349375"/>
                <a:gd name="connsiteX105" fmla="*/ 266523 w 1608137"/>
                <a:gd name="connsiteY105" fmla="*/ 450498 h 1349375"/>
                <a:gd name="connsiteX106" fmla="*/ 313557 w 1608137"/>
                <a:gd name="connsiteY106" fmla="*/ 411457 h 1349375"/>
                <a:gd name="connsiteX107" fmla="*/ 344913 w 1608137"/>
                <a:gd name="connsiteY107" fmla="*/ 395841 h 1349375"/>
                <a:gd name="connsiteX108" fmla="*/ 368430 w 1608137"/>
                <a:gd name="connsiteY108" fmla="*/ 411457 h 1349375"/>
                <a:gd name="connsiteX109" fmla="*/ 391946 w 1608137"/>
                <a:gd name="connsiteY109" fmla="*/ 419265 h 1349375"/>
                <a:gd name="connsiteX110" fmla="*/ 407624 w 1608137"/>
                <a:gd name="connsiteY110" fmla="*/ 388033 h 1349375"/>
                <a:gd name="connsiteX111" fmla="*/ 431141 w 1608137"/>
                <a:gd name="connsiteY111" fmla="*/ 364608 h 1349375"/>
                <a:gd name="connsiteX112" fmla="*/ 470336 w 1608137"/>
                <a:gd name="connsiteY112" fmla="*/ 356800 h 1349375"/>
                <a:gd name="connsiteX113" fmla="*/ 532301 w 1608137"/>
                <a:gd name="connsiteY113" fmla="*/ 0 h 1349375"/>
                <a:gd name="connsiteX114" fmla="*/ 558960 w 1608137"/>
                <a:gd name="connsiteY114" fmla="*/ 27023 h 1349375"/>
                <a:gd name="connsiteX115" fmla="*/ 579611 w 1608137"/>
                <a:gd name="connsiteY115" fmla="*/ 54047 h 1349375"/>
                <a:gd name="connsiteX116" fmla="*/ 612653 w 1608137"/>
                <a:gd name="connsiteY116" fmla="*/ 54047 h 1349375"/>
                <a:gd name="connsiteX117" fmla="*/ 646071 w 1608137"/>
                <a:gd name="connsiteY117" fmla="*/ 27023 h 1349375"/>
                <a:gd name="connsiteX118" fmla="*/ 708025 w 1608137"/>
                <a:gd name="connsiteY118" fmla="*/ 46434 h 1349375"/>
                <a:gd name="connsiteX119" fmla="*/ 708025 w 1608137"/>
                <a:gd name="connsiteY119" fmla="*/ 44450 h 1349375"/>
                <a:gd name="connsiteX120" fmla="*/ 754339 w 1608137"/>
                <a:gd name="connsiteY120" fmla="*/ 58637 h 1349375"/>
                <a:gd name="connsiteX121" fmla="*/ 801791 w 1608137"/>
                <a:gd name="connsiteY121" fmla="*/ 85861 h 1349375"/>
                <a:gd name="connsiteX122" fmla="*/ 815458 w 1608137"/>
                <a:gd name="connsiteY122" fmla="*/ 106183 h 1349375"/>
                <a:gd name="connsiteX123" fmla="*/ 849244 w 1608137"/>
                <a:gd name="connsiteY123" fmla="*/ 126505 h 1349375"/>
                <a:gd name="connsiteX124" fmla="*/ 835577 w 1608137"/>
                <a:gd name="connsiteY124" fmla="*/ 139926 h 1349375"/>
                <a:gd name="connsiteX125" fmla="*/ 842031 w 1608137"/>
                <a:gd name="connsiteY125" fmla="*/ 160248 h 1349375"/>
                <a:gd name="connsiteX126" fmla="*/ 882650 w 1608137"/>
                <a:gd name="connsiteY126" fmla="*/ 173668 h 1349375"/>
                <a:gd name="connsiteX127" fmla="*/ 882650 w 1608137"/>
                <a:gd name="connsiteY127" fmla="*/ 214312 h 1349375"/>
                <a:gd name="connsiteX128" fmla="*/ 855697 w 1608137"/>
                <a:gd name="connsiteY128" fmla="*/ 200892 h 1349375"/>
                <a:gd name="connsiteX129" fmla="*/ 808245 w 1608137"/>
                <a:gd name="connsiteY129" fmla="*/ 167150 h 1349375"/>
                <a:gd name="connsiteX130" fmla="*/ 788125 w 1608137"/>
                <a:gd name="connsiteY130" fmla="*/ 153346 h 1349375"/>
                <a:gd name="connsiteX131" fmla="*/ 754339 w 1608137"/>
                <a:gd name="connsiteY131" fmla="*/ 167150 h 1349375"/>
                <a:gd name="connsiteX132" fmla="*/ 733460 w 1608137"/>
                <a:gd name="connsiteY132" fmla="*/ 187472 h 1349375"/>
                <a:gd name="connsiteX133" fmla="*/ 713340 w 1608137"/>
                <a:gd name="connsiteY133" fmla="*/ 187472 h 1349375"/>
                <a:gd name="connsiteX134" fmla="*/ 708025 w 1608137"/>
                <a:gd name="connsiteY134" fmla="*/ 184788 h 1349375"/>
                <a:gd name="connsiteX135" fmla="*/ 708025 w 1608137"/>
                <a:gd name="connsiteY135" fmla="*/ 185737 h 1349375"/>
                <a:gd name="connsiteX136" fmla="*/ 686622 w 1608137"/>
                <a:gd name="connsiteY136" fmla="*/ 174700 h 1349375"/>
                <a:gd name="connsiteX137" fmla="*/ 666722 w 1608137"/>
                <a:gd name="connsiteY137" fmla="*/ 168229 h 1349375"/>
                <a:gd name="connsiteX138" fmla="*/ 639688 w 1608137"/>
                <a:gd name="connsiteY138" fmla="*/ 161378 h 1349375"/>
                <a:gd name="connsiteX139" fmla="*/ 666722 w 1608137"/>
                <a:gd name="connsiteY139" fmla="*/ 148057 h 1349375"/>
                <a:gd name="connsiteX140" fmla="*/ 659588 w 1608137"/>
                <a:gd name="connsiteY140" fmla="*/ 134355 h 1349375"/>
                <a:gd name="connsiteX141" fmla="*/ 612653 w 1608137"/>
                <a:gd name="connsiteY141" fmla="*/ 107712 h 1349375"/>
                <a:gd name="connsiteX142" fmla="*/ 566094 w 1608137"/>
                <a:gd name="connsiteY142" fmla="*/ 87540 h 1349375"/>
                <a:gd name="connsiteX143" fmla="*/ 552201 w 1608137"/>
                <a:gd name="connsiteY143" fmla="*/ 81070 h 1349375"/>
                <a:gd name="connsiteX144" fmla="*/ 532301 w 1608137"/>
                <a:gd name="connsiteY144" fmla="*/ 81070 h 1349375"/>
                <a:gd name="connsiteX145" fmla="*/ 525542 w 1608137"/>
                <a:gd name="connsiteY145" fmla="*/ 60517 h 1349375"/>
                <a:gd name="connsiteX146" fmla="*/ 519159 w 1608137"/>
                <a:gd name="connsiteY146" fmla="*/ 47196 h 1349375"/>
                <a:gd name="connsiteX147" fmla="*/ 492125 w 1608137"/>
                <a:gd name="connsiteY147" fmla="*/ 34255 h 1349375"/>
                <a:gd name="connsiteX148" fmla="*/ 505642 w 1608137"/>
                <a:gd name="connsiteY148" fmla="*/ 7231 h 1349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</a:cxnLst>
              <a:rect l="l" t="t" r="r" b="b"/>
              <a:pathLst>
                <a:path w="1608137" h="1349375">
                  <a:moveTo>
                    <a:pt x="1459740" y="1144587"/>
                  </a:moveTo>
                  <a:lnTo>
                    <a:pt x="1475339" y="1160240"/>
                  </a:lnTo>
                  <a:lnTo>
                    <a:pt x="1506537" y="1168066"/>
                  </a:lnTo>
                  <a:lnTo>
                    <a:pt x="1506537" y="1191545"/>
                  </a:lnTo>
                  <a:lnTo>
                    <a:pt x="1475339" y="1215024"/>
                  </a:lnTo>
                  <a:lnTo>
                    <a:pt x="1459740" y="1231981"/>
                  </a:lnTo>
                  <a:lnTo>
                    <a:pt x="1428543" y="1263286"/>
                  </a:lnTo>
                  <a:lnTo>
                    <a:pt x="1420743" y="1294591"/>
                  </a:lnTo>
                  <a:lnTo>
                    <a:pt x="1412944" y="1341549"/>
                  </a:lnTo>
                  <a:lnTo>
                    <a:pt x="1373947" y="1349375"/>
                  </a:lnTo>
                  <a:lnTo>
                    <a:pt x="1350548" y="1341549"/>
                  </a:lnTo>
                  <a:lnTo>
                    <a:pt x="1327150" y="1318070"/>
                  </a:lnTo>
                  <a:lnTo>
                    <a:pt x="1350548" y="1271112"/>
                  </a:lnTo>
                  <a:lnTo>
                    <a:pt x="1366147" y="1247633"/>
                  </a:lnTo>
                  <a:lnTo>
                    <a:pt x="1412944" y="1222850"/>
                  </a:lnTo>
                  <a:lnTo>
                    <a:pt x="1428543" y="1215024"/>
                  </a:lnTo>
                  <a:lnTo>
                    <a:pt x="1444142" y="1183719"/>
                  </a:lnTo>
                  <a:close/>
                  <a:moveTo>
                    <a:pt x="863600" y="1128712"/>
                  </a:moveTo>
                  <a:lnTo>
                    <a:pt x="863600" y="1167964"/>
                  </a:lnTo>
                  <a:lnTo>
                    <a:pt x="839788" y="1215066"/>
                  </a:lnTo>
                  <a:lnTo>
                    <a:pt x="823913" y="1247775"/>
                  </a:lnTo>
                  <a:lnTo>
                    <a:pt x="800100" y="1222916"/>
                  </a:lnTo>
                  <a:lnTo>
                    <a:pt x="792162" y="1191515"/>
                  </a:lnTo>
                  <a:lnTo>
                    <a:pt x="776287" y="1152263"/>
                  </a:lnTo>
                  <a:lnTo>
                    <a:pt x="831850" y="1144413"/>
                  </a:lnTo>
                  <a:close/>
                  <a:moveTo>
                    <a:pt x="1482725" y="960437"/>
                  </a:moveTo>
                  <a:lnTo>
                    <a:pt x="1521916" y="975946"/>
                  </a:lnTo>
                  <a:lnTo>
                    <a:pt x="1521916" y="1014718"/>
                  </a:lnTo>
                  <a:lnTo>
                    <a:pt x="1537593" y="1037981"/>
                  </a:lnTo>
                  <a:lnTo>
                    <a:pt x="1561108" y="1061244"/>
                  </a:lnTo>
                  <a:lnTo>
                    <a:pt x="1592460" y="1045735"/>
                  </a:lnTo>
                  <a:lnTo>
                    <a:pt x="1608137" y="1061244"/>
                  </a:lnTo>
                  <a:lnTo>
                    <a:pt x="1600299" y="1076752"/>
                  </a:lnTo>
                  <a:lnTo>
                    <a:pt x="1584622" y="1092261"/>
                  </a:lnTo>
                  <a:lnTo>
                    <a:pt x="1568946" y="1107770"/>
                  </a:lnTo>
                  <a:lnTo>
                    <a:pt x="1561108" y="1131033"/>
                  </a:lnTo>
                  <a:lnTo>
                    <a:pt x="1537593" y="1162050"/>
                  </a:lnTo>
                  <a:lnTo>
                    <a:pt x="1514078" y="1146542"/>
                  </a:lnTo>
                  <a:lnTo>
                    <a:pt x="1521916" y="1123279"/>
                  </a:lnTo>
                  <a:lnTo>
                    <a:pt x="1490563" y="1100015"/>
                  </a:lnTo>
                  <a:lnTo>
                    <a:pt x="1514078" y="1061244"/>
                  </a:lnTo>
                  <a:lnTo>
                    <a:pt x="1514078" y="1030226"/>
                  </a:lnTo>
                  <a:close/>
                  <a:moveTo>
                    <a:pt x="486014" y="333375"/>
                  </a:moveTo>
                  <a:lnTo>
                    <a:pt x="517369" y="341183"/>
                  </a:lnTo>
                  <a:lnTo>
                    <a:pt x="572242" y="348992"/>
                  </a:lnTo>
                  <a:lnTo>
                    <a:pt x="564403" y="380224"/>
                  </a:lnTo>
                  <a:lnTo>
                    <a:pt x="548725" y="419265"/>
                  </a:lnTo>
                  <a:lnTo>
                    <a:pt x="572242" y="434882"/>
                  </a:lnTo>
                  <a:lnTo>
                    <a:pt x="611437" y="434882"/>
                  </a:lnTo>
                  <a:lnTo>
                    <a:pt x="642792" y="483032"/>
                  </a:lnTo>
                  <a:lnTo>
                    <a:pt x="666309" y="475224"/>
                  </a:lnTo>
                  <a:lnTo>
                    <a:pt x="705504" y="450498"/>
                  </a:lnTo>
                  <a:lnTo>
                    <a:pt x="705504" y="372416"/>
                  </a:lnTo>
                  <a:lnTo>
                    <a:pt x="736860" y="333375"/>
                  </a:lnTo>
                  <a:lnTo>
                    <a:pt x="752538" y="388033"/>
                  </a:lnTo>
                  <a:lnTo>
                    <a:pt x="760377" y="403649"/>
                  </a:lnTo>
                  <a:lnTo>
                    <a:pt x="776055" y="411457"/>
                  </a:lnTo>
                  <a:lnTo>
                    <a:pt x="799571" y="490840"/>
                  </a:lnTo>
                  <a:lnTo>
                    <a:pt x="838766" y="529881"/>
                  </a:lnTo>
                  <a:lnTo>
                    <a:pt x="885800" y="545498"/>
                  </a:lnTo>
                  <a:lnTo>
                    <a:pt x="901477" y="592347"/>
                  </a:lnTo>
                  <a:lnTo>
                    <a:pt x="924994" y="607963"/>
                  </a:lnTo>
                  <a:lnTo>
                    <a:pt x="932833" y="647004"/>
                  </a:lnTo>
                  <a:lnTo>
                    <a:pt x="981173" y="678237"/>
                  </a:lnTo>
                  <a:lnTo>
                    <a:pt x="981173" y="709469"/>
                  </a:lnTo>
                  <a:lnTo>
                    <a:pt x="989012" y="756319"/>
                  </a:lnTo>
                  <a:lnTo>
                    <a:pt x="989012" y="826592"/>
                  </a:lnTo>
                  <a:lnTo>
                    <a:pt x="932833" y="943715"/>
                  </a:lnTo>
                  <a:lnTo>
                    <a:pt x="909316" y="1013989"/>
                  </a:lnTo>
                  <a:lnTo>
                    <a:pt x="909316" y="1045221"/>
                  </a:lnTo>
                  <a:lnTo>
                    <a:pt x="893639" y="1045221"/>
                  </a:lnTo>
                  <a:lnTo>
                    <a:pt x="862283" y="1060838"/>
                  </a:lnTo>
                  <a:lnTo>
                    <a:pt x="830927" y="1084262"/>
                  </a:lnTo>
                  <a:lnTo>
                    <a:pt x="807410" y="1084262"/>
                  </a:lnTo>
                  <a:lnTo>
                    <a:pt x="776055" y="1060838"/>
                  </a:lnTo>
                  <a:lnTo>
                    <a:pt x="752538" y="1076454"/>
                  </a:lnTo>
                  <a:lnTo>
                    <a:pt x="697665" y="1053029"/>
                  </a:lnTo>
                  <a:lnTo>
                    <a:pt x="650631" y="1029605"/>
                  </a:lnTo>
                  <a:lnTo>
                    <a:pt x="627114" y="990564"/>
                  </a:lnTo>
                  <a:lnTo>
                    <a:pt x="611437" y="959331"/>
                  </a:lnTo>
                  <a:lnTo>
                    <a:pt x="580081" y="967139"/>
                  </a:lnTo>
                  <a:lnTo>
                    <a:pt x="548725" y="935907"/>
                  </a:lnTo>
                  <a:lnTo>
                    <a:pt x="493853" y="881249"/>
                  </a:lnTo>
                  <a:lnTo>
                    <a:pt x="407624" y="865633"/>
                  </a:lnTo>
                  <a:lnTo>
                    <a:pt x="344913" y="873441"/>
                  </a:lnTo>
                  <a:lnTo>
                    <a:pt x="266523" y="896866"/>
                  </a:lnTo>
                  <a:lnTo>
                    <a:pt x="258685" y="920290"/>
                  </a:lnTo>
                  <a:lnTo>
                    <a:pt x="211651" y="928099"/>
                  </a:lnTo>
                  <a:lnTo>
                    <a:pt x="180295" y="928099"/>
                  </a:lnTo>
                  <a:lnTo>
                    <a:pt x="156778" y="951523"/>
                  </a:lnTo>
                  <a:lnTo>
                    <a:pt x="109745" y="967139"/>
                  </a:lnTo>
                  <a:lnTo>
                    <a:pt x="78389" y="967139"/>
                  </a:lnTo>
                  <a:lnTo>
                    <a:pt x="39194" y="935907"/>
                  </a:lnTo>
                  <a:lnTo>
                    <a:pt x="47033" y="873441"/>
                  </a:lnTo>
                  <a:lnTo>
                    <a:pt x="39194" y="834400"/>
                  </a:lnTo>
                  <a:lnTo>
                    <a:pt x="7839" y="732894"/>
                  </a:lnTo>
                  <a:lnTo>
                    <a:pt x="7839" y="701661"/>
                  </a:lnTo>
                  <a:lnTo>
                    <a:pt x="0" y="654812"/>
                  </a:lnTo>
                  <a:lnTo>
                    <a:pt x="7839" y="615771"/>
                  </a:lnTo>
                  <a:lnTo>
                    <a:pt x="39194" y="584538"/>
                  </a:lnTo>
                  <a:lnTo>
                    <a:pt x="101906" y="561114"/>
                  </a:lnTo>
                  <a:lnTo>
                    <a:pt x="148939" y="529881"/>
                  </a:lnTo>
                  <a:lnTo>
                    <a:pt x="188134" y="522073"/>
                  </a:lnTo>
                  <a:lnTo>
                    <a:pt x="203812" y="475224"/>
                  </a:lnTo>
                  <a:lnTo>
                    <a:pt x="235168" y="459608"/>
                  </a:lnTo>
                  <a:lnTo>
                    <a:pt x="266523" y="450498"/>
                  </a:lnTo>
                  <a:lnTo>
                    <a:pt x="313557" y="411457"/>
                  </a:lnTo>
                  <a:lnTo>
                    <a:pt x="344913" y="395841"/>
                  </a:lnTo>
                  <a:lnTo>
                    <a:pt x="368430" y="411457"/>
                  </a:lnTo>
                  <a:lnTo>
                    <a:pt x="391946" y="419265"/>
                  </a:lnTo>
                  <a:lnTo>
                    <a:pt x="407624" y="388033"/>
                  </a:lnTo>
                  <a:lnTo>
                    <a:pt x="431141" y="364608"/>
                  </a:lnTo>
                  <a:lnTo>
                    <a:pt x="470336" y="356800"/>
                  </a:lnTo>
                  <a:close/>
                  <a:moveTo>
                    <a:pt x="532301" y="0"/>
                  </a:moveTo>
                  <a:lnTo>
                    <a:pt x="558960" y="27023"/>
                  </a:lnTo>
                  <a:lnTo>
                    <a:pt x="579611" y="54047"/>
                  </a:lnTo>
                  <a:lnTo>
                    <a:pt x="612653" y="54047"/>
                  </a:lnTo>
                  <a:lnTo>
                    <a:pt x="646071" y="27023"/>
                  </a:lnTo>
                  <a:lnTo>
                    <a:pt x="708025" y="46434"/>
                  </a:lnTo>
                  <a:lnTo>
                    <a:pt x="708025" y="44450"/>
                  </a:lnTo>
                  <a:lnTo>
                    <a:pt x="754339" y="58637"/>
                  </a:lnTo>
                  <a:lnTo>
                    <a:pt x="801791" y="85861"/>
                  </a:lnTo>
                  <a:lnTo>
                    <a:pt x="815458" y="106183"/>
                  </a:lnTo>
                  <a:lnTo>
                    <a:pt x="849244" y="126505"/>
                  </a:lnTo>
                  <a:lnTo>
                    <a:pt x="835577" y="139926"/>
                  </a:lnTo>
                  <a:lnTo>
                    <a:pt x="842031" y="160248"/>
                  </a:lnTo>
                  <a:lnTo>
                    <a:pt x="882650" y="173668"/>
                  </a:lnTo>
                  <a:lnTo>
                    <a:pt x="882650" y="214312"/>
                  </a:lnTo>
                  <a:lnTo>
                    <a:pt x="855697" y="200892"/>
                  </a:lnTo>
                  <a:lnTo>
                    <a:pt x="808245" y="167150"/>
                  </a:lnTo>
                  <a:lnTo>
                    <a:pt x="788125" y="153346"/>
                  </a:lnTo>
                  <a:lnTo>
                    <a:pt x="754339" y="167150"/>
                  </a:lnTo>
                  <a:lnTo>
                    <a:pt x="733460" y="187472"/>
                  </a:lnTo>
                  <a:lnTo>
                    <a:pt x="713340" y="187472"/>
                  </a:lnTo>
                  <a:lnTo>
                    <a:pt x="708025" y="184788"/>
                  </a:lnTo>
                  <a:lnTo>
                    <a:pt x="708025" y="185737"/>
                  </a:lnTo>
                  <a:lnTo>
                    <a:pt x="686622" y="174700"/>
                  </a:lnTo>
                  <a:lnTo>
                    <a:pt x="666722" y="168229"/>
                  </a:lnTo>
                  <a:lnTo>
                    <a:pt x="639688" y="161378"/>
                  </a:lnTo>
                  <a:lnTo>
                    <a:pt x="666722" y="148057"/>
                  </a:lnTo>
                  <a:lnTo>
                    <a:pt x="659588" y="134355"/>
                  </a:lnTo>
                  <a:lnTo>
                    <a:pt x="612653" y="107712"/>
                  </a:lnTo>
                  <a:lnTo>
                    <a:pt x="566094" y="87540"/>
                  </a:lnTo>
                  <a:lnTo>
                    <a:pt x="552201" y="81070"/>
                  </a:lnTo>
                  <a:lnTo>
                    <a:pt x="532301" y="81070"/>
                  </a:lnTo>
                  <a:lnTo>
                    <a:pt x="525542" y="60517"/>
                  </a:lnTo>
                  <a:lnTo>
                    <a:pt x="519159" y="47196"/>
                  </a:lnTo>
                  <a:lnTo>
                    <a:pt x="492125" y="34255"/>
                  </a:lnTo>
                  <a:lnTo>
                    <a:pt x="505642" y="723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  <a:scene3d>
              <a:camera prst="orthographicFront"/>
              <a:lightRig rig="contrasting" dir="t"/>
            </a:scene3d>
            <a:sp3d z="63500" prstMaterial="metal">
              <a:bevelB w="0" h="0"/>
            </a:sp3d>
          </p:spPr>
          <p:txBody>
            <a:bodyPr wrap="square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2" name="Freeform 438">
              <a:extLst>
                <a:ext uri="{FF2B5EF4-FFF2-40B4-BE49-F238E27FC236}">
                  <a16:creationId xmlns:a16="http://schemas.microsoft.com/office/drawing/2014/main" id="{DB4D8A0C-A868-40F5-9B57-3CBFB42E1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7658" y="2842181"/>
              <a:ext cx="3601626" cy="2148724"/>
            </a:xfrm>
            <a:custGeom>
              <a:avLst/>
              <a:gdLst>
                <a:gd name="connsiteX0" fmla="*/ 1827540 w 2752725"/>
                <a:gd name="connsiteY0" fmla="*/ 1804988 h 1865313"/>
                <a:gd name="connsiteX1" fmla="*/ 1882122 w 2752725"/>
                <a:gd name="connsiteY1" fmla="*/ 1804988 h 1865313"/>
                <a:gd name="connsiteX2" fmla="*/ 1913311 w 2752725"/>
                <a:gd name="connsiteY2" fmla="*/ 1812529 h 1865313"/>
                <a:gd name="connsiteX3" fmla="*/ 1936704 w 2752725"/>
                <a:gd name="connsiteY3" fmla="*/ 1827610 h 1865313"/>
                <a:gd name="connsiteX4" fmla="*/ 1999083 w 2752725"/>
                <a:gd name="connsiteY4" fmla="*/ 1842691 h 1865313"/>
                <a:gd name="connsiteX5" fmla="*/ 2022475 w 2752725"/>
                <a:gd name="connsiteY5" fmla="*/ 1865313 h 1865313"/>
                <a:gd name="connsiteX6" fmla="*/ 1960096 w 2752725"/>
                <a:gd name="connsiteY6" fmla="*/ 1857773 h 1865313"/>
                <a:gd name="connsiteX7" fmla="*/ 1905514 w 2752725"/>
                <a:gd name="connsiteY7" fmla="*/ 1850232 h 1865313"/>
                <a:gd name="connsiteX8" fmla="*/ 1819743 w 2752725"/>
                <a:gd name="connsiteY8" fmla="*/ 1835151 h 1865313"/>
                <a:gd name="connsiteX9" fmla="*/ 1757363 w 2752725"/>
                <a:gd name="connsiteY9" fmla="*/ 1812529 h 1865313"/>
                <a:gd name="connsiteX10" fmla="*/ 1827540 w 2752725"/>
                <a:gd name="connsiteY10" fmla="*/ 1804988 h 1865313"/>
                <a:gd name="connsiteX11" fmla="*/ 1520825 w 2752725"/>
                <a:gd name="connsiteY11" fmla="*/ 1516063 h 1865313"/>
                <a:gd name="connsiteX12" fmla="*/ 1551960 w 2752725"/>
                <a:gd name="connsiteY12" fmla="*/ 1516063 h 1865313"/>
                <a:gd name="connsiteX13" fmla="*/ 1583096 w 2752725"/>
                <a:gd name="connsiteY13" fmla="*/ 1562848 h 1865313"/>
                <a:gd name="connsiteX14" fmla="*/ 1606447 w 2752725"/>
                <a:gd name="connsiteY14" fmla="*/ 1578443 h 1865313"/>
                <a:gd name="connsiteX15" fmla="*/ 1645367 w 2752725"/>
                <a:gd name="connsiteY15" fmla="*/ 1594037 h 1865313"/>
                <a:gd name="connsiteX16" fmla="*/ 1707638 w 2752725"/>
                <a:gd name="connsiteY16" fmla="*/ 1648619 h 1865313"/>
                <a:gd name="connsiteX17" fmla="*/ 1723205 w 2752725"/>
                <a:gd name="connsiteY17" fmla="*/ 1672011 h 1865313"/>
                <a:gd name="connsiteX18" fmla="*/ 1754341 w 2752725"/>
                <a:gd name="connsiteY18" fmla="*/ 1710999 h 1865313"/>
                <a:gd name="connsiteX19" fmla="*/ 1762125 w 2752725"/>
                <a:gd name="connsiteY19" fmla="*/ 1757783 h 1865313"/>
                <a:gd name="connsiteX20" fmla="*/ 1730989 w 2752725"/>
                <a:gd name="connsiteY20" fmla="*/ 1781175 h 1865313"/>
                <a:gd name="connsiteX21" fmla="*/ 1684286 w 2752725"/>
                <a:gd name="connsiteY21" fmla="*/ 1742188 h 1865313"/>
                <a:gd name="connsiteX22" fmla="*/ 1637583 w 2752725"/>
                <a:gd name="connsiteY22" fmla="*/ 1718796 h 1865313"/>
                <a:gd name="connsiteX23" fmla="*/ 1614231 w 2752725"/>
                <a:gd name="connsiteY23" fmla="*/ 1656417 h 1865313"/>
                <a:gd name="connsiteX24" fmla="*/ 1590880 w 2752725"/>
                <a:gd name="connsiteY24" fmla="*/ 1640822 h 1865313"/>
                <a:gd name="connsiteX25" fmla="*/ 1567528 w 2752725"/>
                <a:gd name="connsiteY25" fmla="*/ 1609632 h 1865313"/>
                <a:gd name="connsiteX26" fmla="*/ 1528609 w 2752725"/>
                <a:gd name="connsiteY26" fmla="*/ 1578443 h 1865313"/>
                <a:gd name="connsiteX27" fmla="*/ 2085045 w 2752725"/>
                <a:gd name="connsiteY27" fmla="*/ 1481138 h 1865313"/>
                <a:gd name="connsiteX28" fmla="*/ 2116357 w 2752725"/>
                <a:gd name="connsiteY28" fmla="*/ 1496733 h 1865313"/>
                <a:gd name="connsiteX29" fmla="*/ 2132013 w 2752725"/>
                <a:gd name="connsiteY29" fmla="*/ 1520125 h 1865313"/>
                <a:gd name="connsiteX30" fmla="*/ 2108529 w 2752725"/>
                <a:gd name="connsiteY30" fmla="*/ 1543518 h 1865313"/>
                <a:gd name="connsiteX31" fmla="*/ 2100701 w 2752725"/>
                <a:gd name="connsiteY31" fmla="*/ 1566910 h 1865313"/>
                <a:gd name="connsiteX32" fmla="*/ 2108529 w 2752725"/>
                <a:gd name="connsiteY32" fmla="*/ 1598099 h 1865313"/>
                <a:gd name="connsiteX33" fmla="*/ 2132013 w 2752725"/>
                <a:gd name="connsiteY33" fmla="*/ 1621492 h 1865313"/>
                <a:gd name="connsiteX34" fmla="*/ 2129860 w 2752725"/>
                <a:gd name="connsiteY34" fmla="*/ 1622922 h 1865313"/>
                <a:gd name="connsiteX35" fmla="*/ 2164380 w 2752725"/>
                <a:gd name="connsiteY35" fmla="*/ 1616004 h 1865313"/>
                <a:gd name="connsiteX36" fmla="*/ 2219325 w 2752725"/>
                <a:gd name="connsiteY36" fmla="*/ 1608138 h 1865313"/>
                <a:gd name="connsiteX37" fmla="*/ 2219325 w 2752725"/>
                <a:gd name="connsiteY37" fmla="*/ 1623869 h 1865313"/>
                <a:gd name="connsiteX38" fmla="*/ 2195777 w 2752725"/>
                <a:gd name="connsiteY38" fmla="*/ 1623869 h 1865313"/>
                <a:gd name="connsiteX39" fmla="*/ 2148682 w 2752725"/>
                <a:gd name="connsiteY39" fmla="*/ 1639600 h 1865313"/>
                <a:gd name="connsiteX40" fmla="*/ 2132983 w 2752725"/>
                <a:gd name="connsiteY40" fmla="*/ 1663195 h 1865313"/>
                <a:gd name="connsiteX41" fmla="*/ 2187928 w 2752725"/>
                <a:gd name="connsiteY41" fmla="*/ 1663195 h 1865313"/>
                <a:gd name="connsiteX42" fmla="*/ 2195777 w 2752725"/>
                <a:gd name="connsiteY42" fmla="*/ 1686791 h 1865313"/>
                <a:gd name="connsiteX43" fmla="*/ 2180079 w 2752725"/>
                <a:gd name="connsiteY43" fmla="*/ 1694657 h 1865313"/>
                <a:gd name="connsiteX44" fmla="*/ 2164380 w 2752725"/>
                <a:gd name="connsiteY44" fmla="*/ 1710387 h 1865313"/>
                <a:gd name="connsiteX45" fmla="*/ 2195777 w 2752725"/>
                <a:gd name="connsiteY45" fmla="*/ 1741849 h 1865313"/>
                <a:gd name="connsiteX46" fmla="*/ 2203627 w 2752725"/>
                <a:gd name="connsiteY46" fmla="*/ 1773310 h 1865313"/>
                <a:gd name="connsiteX47" fmla="*/ 2172230 w 2752725"/>
                <a:gd name="connsiteY47" fmla="*/ 1773310 h 1865313"/>
                <a:gd name="connsiteX48" fmla="*/ 2148682 w 2752725"/>
                <a:gd name="connsiteY48" fmla="*/ 1749714 h 1865313"/>
                <a:gd name="connsiteX49" fmla="*/ 2125134 w 2752725"/>
                <a:gd name="connsiteY49" fmla="*/ 1718253 h 1865313"/>
                <a:gd name="connsiteX50" fmla="*/ 2125134 w 2752725"/>
                <a:gd name="connsiteY50" fmla="*/ 1757579 h 1865313"/>
                <a:gd name="connsiteX51" fmla="*/ 2125134 w 2752725"/>
                <a:gd name="connsiteY51" fmla="*/ 1781175 h 1865313"/>
                <a:gd name="connsiteX52" fmla="*/ 2093737 w 2752725"/>
                <a:gd name="connsiteY52" fmla="*/ 1773310 h 1865313"/>
                <a:gd name="connsiteX53" fmla="*/ 2093737 w 2752725"/>
                <a:gd name="connsiteY53" fmla="*/ 1749714 h 1865313"/>
                <a:gd name="connsiteX54" fmla="*/ 2078038 w 2752725"/>
                <a:gd name="connsiteY54" fmla="*/ 1718253 h 1865313"/>
                <a:gd name="connsiteX55" fmla="*/ 2085888 w 2752725"/>
                <a:gd name="connsiteY55" fmla="*/ 1694657 h 1865313"/>
                <a:gd name="connsiteX56" fmla="*/ 2109435 w 2752725"/>
                <a:gd name="connsiteY56" fmla="*/ 1639600 h 1865313"/>
                <a:gd name="connsiteX57" fmla="*/ 2118651 w 2752725"/>
                <a:gd name="connsiteY57" fmla="*/ 1630365 h 1865313"/>
                <a:gd name="connsiteX58" fmla="*/ 2108529 w 2752725"/>
                <a:gd name="connsiteY58" fmla="*/ 1637086 h 1865313"/>
                <a:gd name="connsiteX59" fmla="*/ 2100701 w 2752725"/>
                <a:gd name="connsiteY59" fmla="*/ 1652681 h 1865313"/>
                <a:gd name="connsiteX60" fmla="*/ 2085045 w 2752725"/>
                <a:gd name="connsiteY60" fmla="*/ 1676074 h 1865313"/>
                <a:gd name="connsiteX61" fmla="*/ 2069389 w 2752725"/>
                <a:gd name="connsiteY61" fmla="*/ 1699466 h 1865313"/>
                <a:gd name="connsiteX62" fmla="*/ 2053733 w 2752725"/>
                <a:gd name="connsiteY62" fmla="*/ 1738453 h 1865313"/>
                <a:gd name="connsiteX63" fmla="*/ 2022421 w 2752725"/>
                <a:gd name="connsiteY63" fmla="*/ 1746250 h 1865313"/>
                <a:gd name="connsiteX64" fmla="*/ 1998937 w 2752725"/>
                <a:gd name="connsiteY64" fmla="*/ 1730655 h 1865313"/>
                <a:gd name="connsiteX65" fmla="*/ 1959796 w 2752725"/>
                <a:gd name="connsiteY65" fmla="*/ 1730655 h 1865313"/>
                <a:gd name="connsiteX66" fmla="*/ 1936312 w 2752725"/>
                <a:gd name="connsiteY66" fmla="*/ 1730655 h 1865313"/>
                <a:gd name="connsiteX67" fmla="*/ 1920656 w 2752725"/>
                <a:gd name="connsiteY67" fmla="*/ 1699466 h 1865313"/>
                <a:gd name="connsiteX68" fmla="*/ 1905000 w 2752725"/>
                <a:gd name="connsiteY68" fmla="*/ 1668276 h 1865313"/>
                <a:gd name="connsiteX69" fmla="*/ 1905000 w 2752725"/>
                <a:gd name="connsiteY69" fmla="*/ 1621492 h 1865313"/>
                <a:gd name="connsiteX70" fmla="*/ 1920656 w 2752725"/>
                <a:gd name="connsiteY70" fmla="*/ 1598099 h 1865313"/>
                <a:gd name="connsiteX71" fmla="*/ 1951968 w 2752725"/>
                <a:gd name="connsiteY71" fmla="*/ 1590302 h 1865313"/>
                <a:gd name="connsiteX72" fmla="*/ 1983281 w 2752725"/>
                <a:gd name="connsiteY72" fmla="*/ 1566910 h 1865313"/>
                <a:gd name="connsiteX73" fmla="*/ 2030249 w 2752725"/>
                <a:gd name="connsiteY73" fmla="*/ 1512328 h 1865313"/>
                <a:gd name="connsiteX74" fmla="*/ 2234671 w 2752725"/>
                <a:gd name="connsiteY74" fmla="*/ 1406525 h 1865313"/>
                <a:gd name="connsiteX75" fmla="*/ 2273300 w 2752725"/>
                <a:gd name="connsiteY75" fmla="*/ 1437217 h 1865313"/>
                <a:gd name="connsiteX76" fmla="*/ 2273300 w 2752725"/>
                <a:gd name="connsiteY76" fmla="*/ 1498600 h 1865313"/>
                <a:gd name="connsiteX77" fmla="*/ 2234671 w 2752725"/>
                <a:gd name="connsiteY77" fmla="*/ 1483254 h 1865313"/>
                <a:gd name="connsiteX78" fmla="*/ 2211494 w 2752725"/>
                <a:gd name="connsiteY78" fmla="*/ 1483254 h 1865313"/>
                <a:gd name="connsiteX79" fmla="*/ 2188316 w 2752725"/>
                <a:gd name="connsiteY79" fmla="*/ 1467909 h 1865313"/>
                <a:gd name="connsiteX80" fmla="*/ 2157413 w 2752725"/>
                <a:gd name="connsiteY80" fmla="*/ 1475581 h 1865313"/>
                <a:gd name="connsiteX81" fmla="*/ 2180591 w 2752725"/>
                <a:gd name="connsiteY81" fmla="*/ 1437217 h 1865313"/>
                <a:gd name="connsiteX82" fmla="*/ 2211494 w 2752725"/>
                <a:gd name="connsiteY82" fmla="*/ 1437217 h 1865313"/>
                <a:gd name="connsiteX83" fmla="*/ 1810077 w 2752725"/>
                <a:gd name="connsiteY83" fmla="*/ 1334119 h 1865313"/>
                <a:gd name="connsiteX84" fmla="*/ 1797579 w 2752725"/>
                <a:gd name="connsiteY84" fmla="*/ 1348196 h 1865313"/>
                <a:gd name="connsiteX85" fmla="*/ 1818382 w 2752725"/>
                <a:gd name="connsiteY85" fmla="*/ 1334600 h 1865313"/>
                <a:gd name="connsiteX86" fmla="*/ 1821327 w 2752725"/>
                <a:gd name="connsiteY86" fmla="*/ 1334119 h 1865313"/>
                <a:gd name="connsiteX87" fmla="*/ 1881010 w 2752725"/>
                <a:gd name="connsiteY87" fmla="*/ 1308817 h 1865313"/>
                <a:gd name="connsiteX88" fmla="*/ 1873923 w 2752725"/>
                <a:gd name="connsiteY88" fmla="*/ 1325580 h 1865313"/>
                <a:gd name="connsiteX89" fmla="*/ 1875648 w 2752725"/>
                <a:gd name="connsiteY89" fmla="*/ 1325762 h 1865313"/>
                <a:gd name="connsiteX90" fmla="*/ 1703414 w 2752725"/>
                <a:gd name="connsiteY90" fmla="*/ 1307852 h 1865313"/>
                <a:gd name="connsiteX91" fmla="*/ 1703829 w 2752725"/>
                <a:gd name="connsiteY91" fmla="*/ 1310858 h 1865313"/>
                <a:gd name="connsiteX92" fmla="*/ 1704526 w 2752725"/>
                <a:gd name="connsiteY92" fmla="*/ 1311738 h 1865313"/>
                <a:gd name="connsiteX93" fmla="*/ 1705502 w 2752725"/>
                <a:gd name="connsiteY93" fmla="*/ 1318813 h 1865313"/>
                <a:gd name="connsiteX94" fmla="*/ 1706221 w 2752725"/>
                <a:gd name="connsiteY94" fmla="*/ 1315169 h 1865313"/>
                <a:gd name="connsiteX95" fmla="*/ 1872248 w 2752725"/>
                <a:gd name="connsiteY95" fmla="*/ 1284187 h 1865313"/>
                <a:gd name="connsiteX96" fmla="*/ 1882500 w 2752725"/>
                <a:gd name="connsiteY96" fmla="*/ 1304107 h 1865313"/>
                <a:gd name="connsiteX97" fmla="*/ 1883252 w 2752725"/>
                <a:gd name="connsiteY97" fmla="*/ 1301731 h 1865313"/>
                <a:gd name="connsiteX98" fmla="*/ 1691681 w 2752725"/>
                <a:gd name="connsiteY98" fmla="*/ 1267043 h 1865313"/>
                <a:gd name="connsiteX99" fmla="*/ 1684390 w 2752725"/>
                <a:gd name="connsiteY99" fmla="*/ 1281794 h 1865313"/>
                <a:gd name="connsiteX100" fmla="*/ 1701900 w 2752725"/>
                <a:gd name="connsiteY100" fmla="*/ 1303906 h 1865313"/>
                <a:gd name="connsiteX101" fmla="*/ 1691681 w 2752725"/>
                <a:gd name="connsiteY101" fmla="*/ 1277269 h 1865313"/>
                <a:gd name="connsiteX102" fmla="*/ 1646359 w 2752725"/>
                <a:gd name="connsiteY102" fmla="*/ 1257941 h 1865313"/>
                <a:gd name="connsiteX103" fmla="*/ 1661006 w 2752725"/>
                <a:gd name="connsiteY103" fmla="*/ 1287636 h 1865313"/>
                <a:gd name="connsiteX104" fmla="*/ 1661062 w 2752725"/>
                <a:gd name="connsiteY104" fmla="*/ 1287879 h 1865313"/>
                <a:gd name="connsiteX105" fmla="*/ 1659518 w 2752725"/>
                <a:gd name="connsiteY105" fmla="*/ 1287954 h 1865313"/>
                <a:gd name="connsiteX106" fmla="*/ 1662420 w 2752725"/>
                <a:gd name="connsiteY106" fmla="*/ 1293842 h 1865313"/>
                <a:gd name="connsiteX107" fmla="*/ 1661062 w 2752725"/>
                <a:gd name="connsiteY107" fmla="*/ 1287879 h 1865313"/>
                <a:gd name="connsiteX108" fmla="*/ 1661100 w 2752725"/>
                <a:gd name="connsiteY108" fmla="*/ 1287877 h 1865313"/>
                <a:gd name="connsiteX109" fmla="*/ 1661079 w 2752725"/>
                <a:gd name="connsiteY109" fmla="*/ 1287784 h 1865313"/>
                <a:gd name="connsiteX110" fmla="*/ 1661006 w 2752725"/>
                <a:gd name="connsiteY110" fmla="*/ 1287636 h 1865313"/>
                <a:gd name="connsiteX111" fmla="*/ 1656095 w 2752725"/>
                <a:gd name="connsiteY111" fmla="*/ 1266073 h 1865313"/>
                <a:gd name="connsiteX112" fmla="*/ 1802756 w 2752725"/>
                <a:gd name="connsiteY112" fmla="*/ 1219439 h 1865313"/>
                <a:gd name="connsiteX113" fmla="*/ 1837079 w 2752725"/>
                <a:gd name="connsiteY113" fmla="*/ 1228842 h 1865313"/>
                <a:gd name="connsiteX114" fmla="*/ 1839689 w 2752725"/>
                <a:gd name="connsiteY114" fmla="*/ 1232282 h 1865313"/>
                <a:gd name="connsiteX115" fmla="*/ 1837351 w 2752725"/>
                <a:gd name="connsiteY115" fmla="*/ 1228554 h 1865313"/>
                <a:gd name="connsiteX116" fmla="*/ 1809819 w 2752725"/>
                <a:gd name="connsiteY116" fmla="*/ 1219439 h 1865313"/>
                <a:gd name="connsiteX117" fmla="*/ 2139510 w 2752725"/>
                <a:gd name="connsiteY117" fmla="*/ 1179513 h 1865313"/>
                <a:gd name="connsiteX118" fmla="*/ 2170907 w 2752725"/>
                <a:gd name="connsiteY118" fmla="*/ 1195030 h 1865313"/>
                <a:gd name="connsiteX119" fmla="*/ 2163057 w 2752725"/>
                <a:gd name="connsiteY119" fmla="*/ 1241583 h 1865313"/>
                <a:gd name="connsiteX120" fmla="*/ 2155208 w 2752725"/>
                <a:gd name="connsiteY120" fmla="*/ 1264859 h 1865313"/>
                <a:gd name="connsiteX121" fmla="*/ 2202304 w 2752725"/>
                <a:gd name="connsiteY121" fmla="*/ 1297187 h 1865313"/>
                <a:gd name="connsiteX122" fmla="*/ 2233701 w 2752725"/>
                <a:gd name="connsiteY122" fmla="*/ 1343740 h 1865313"/>
                <a:gd name="connsiteX123" fmla="*/ 2241550 w 2752725"/>
                <a:gd name="connsiteY123" fmla="*/ 1374775 h 1865313"/>
                <a:gd name="connsiteX124" fmla="*/ 2202304 w 2752725"/>
                <a:gd name="connsiteY124" fmla="*/ 1359258 h 1865313"/>
                <a:gd name="connsiteX125" fmla="*/ 2194455 w 2752725"/>
                <a:gd name="connsiteY125" fmla="*/ 1320463 h 1865313"/>
                <a:gd name="connsiteX126" fmla="*/ 2147359 w 2752725"/>
                <a:gd name="connsiteY126" fmla="*/ 1297187 h 1865313"/>
                <a:gd name="connsiteX127" fmla="*/ 2123811 w 2752725"/>
                <a:gd name="connsiteY127" fmla="*/ 1289428 h 1865313"/>
                <a:gd name="connsiteX128" fmla="*/ 2108113 w 2752725"/>
                <a:gd name="connsiteY128" fmla="*/ 1272618 h 1865313"/>
                <a:gd name="connsiteX129" fmla="*/ 2100263 w 2752725"/>
                <a:gd name="connsiteY129" fmla="*/ 1233824 h 1865313"/>
                <a:gd name="connsiteX130" fmla="*/ 2115962 w 2752725"/>
                <a:gd name="connsiteY130" fmla="*/ 1202789 h 1865313"/>
                <a:gd name="connsiteX131" fmla="*/ 468143 w 2752725"/>
                <a:gd name="connsiteY131" fmla="*/ 1142735 h 1865313"/>
                <a:gd name="connsiteX132" fmla="*/ 453390 w 2752725"/>
                <a:gd name="connsiteY132" fmla="*/ 1154377 h 1865313"/>
                <a:gd name="connsiteX133" fmla="*/ 446583 w 2752725"/>
                <a:gd name="connsiteY133" fmla="*/ 1158213 h 1865313"/>
                <a:gd name="connsiteX134" fmla="*/ 422560 w 2752725"/>
                <a:gd name="connsiteY134" fmla="*/ 1162005 h 1865313"/>
                <a:gd name="connsiteX135" fmla="*/ 422463 w 2752725"/>
                <a:gd name="connsiteY135" fmla="*/ 1162134 h 1865313"/>
                <a:gd name="connsiteX136" fmla="*/ 446666 w 2752725"/>
                <a:gd name="connsiteY136" fmla="*/ 1158280 h 1865313"/>
                <a:gd name="connsiteX137" fmla="*/ 453496 w 2752725"/>
                <a:gd name="connsiteY137" fmla="*/ 1154396 h 1865313"/>
                <a:gd name="connsiteX138" fmla="*/ 458374 w 2752725"/>
                <a:gd name="connsiteY138" fmla="*/ 1150512 h 1865313"/>
                <a:gd name="connsiteX139" fmla="*/ 492541 w 2752725"/>
                <a:gd name="connsiteY139" fmla="*/ 1068954 h 1865313"/>
                <a:gd name="connsiteX140" fmla="*/ 492125 w 2752725"/>
                <a:gd name="connsiteY140" fmla="*/ 1069975 h 1865313"/>
                <a:gd name="connsiteX141" fmla="*/ 491604 w 2752725"/>
                <a:gd name="connsiteY141" fmla="*/ 1069847 h 1865313"/>
                <a:gd name="connsiteX142" fmla="*/ 439404 w 2752725"/>
                <a:gd name="connsiteY142" fmla="*/ 1139522 h 1865313"/>
                <a:gd name="connsiteX143" fmla="*/ 492284 w 2752725"/>
                <a:gd name="connsiteY143" fmla="*/ 1069975 h 1865313"/>
                <a:gd name="connsiteX144" fmla="*/ 500063 w 2752725"/>
                <a:gd name="connsiteY144" fmla="*/ 1069975 h 1865313"/>
                <a:gd name="connsiteX145" fmla="*/ 496781 w 2752725"/>
                <a:gd name="connsiteY145" fmla="*/ 1092634 h 1865313"/>
                <a:gd name="connsiteX146" fmla="*/ 492312 w 2752725"/>
                <a:gd name="connsiteY146" fmla="*/ 1123494 h 1865313"/>
                <a:gd name="connsiteX147" fmla="*/ 492522 w 2752725"/>
                <a:gd name="connsiteY147" fmla="*/ 1123326 h 1865313"/>
                <a:gd name="connsiteX148" fmla="*/ 500327 w 2752725"/>
                <a:gd name="connsiteY148" fmla="*/ 1068954 h 1865313"/>
                <a:gd name="connsiteX149" fmla="*/ 499351 w 2752725"/>
                <a:gd name="connsiteY149" fmla="*/ 1068954 h 1865313"/>
                <a:gd name="connsiteX150" fmla="*/ 2149475 w 2752725"/>
                <a:gd name="connsiteY150" fmla="*/ 1000125 h 1865313"/>
                <a:gd name="connsiteX151" fmla="*/ 2149475 w 2752725"/>
                <a:gd name="connsiteY151" fmla="*/ 1031346 h 1865313"/>
                <a:gd name="connsiteX152" fmla="*/ 2125663 w 2752725"/>
                <a:gd name="connsiteY152" fmla="*/ 1093788 h 1865313"/>
                <a:gd name="connsiteX153" fmla="*/ 2117725 w 2752725"/>
                <a:gd name="connsiteY153" fmla="*/ 1054762 h 1865313"/>
                <a:gd name="connsiteX154" fmla="*/ 2117725 w 2752725"/>
                <a:gd name="connsiteY154" fmla="*/ 1023541 h 1865313"/>
                <a:gd name="connsiteX155" fmla="*/ 1468331 w 2752725"/>
                <a:gd name="connsiteY155" fmla="*/ 920221 h 1865313"/>
                <a:gd name="connsiteX156" fmla="*/ 1459713 w 2752725"/>
                <a:gd name="connsiteY156" fmla="*/ 920457 h 1865313"/>
                <a:gd name="connsiteX157" fmla="*/ 1462004 w 2752725"/>
                <a:gd name="connsiteY157" fmla="*/ 921381 h 1865313"/>
                <a:gd name="connsiteX158" fmla="*/ 1462995 w 2752725"/>
                <a:gd name="connsiteY158" fmla="*/ 900339 h 1865313"/>
                <a:gd name="connsiteX159" fmla="*/ 1444828 w 2752725"/>
                <a:gd name="connsiteY159" fmla="*/ 914873 h 1865313"/>
                <a:gd name="connsiteX160" fmla="*/ 1450838 w 2752725"/>
                <a:gd name="connsiteY160" fmla="*/ 915434 h 1865313"/>
                <a:gd name="connsiteX161" fmla="*/ 1450046 w 2752725"/>
                <a:gd name="connsiteY161" fmla="*/ 916557 h 1865313"/>
                <a:gd name="connsiteX162" fmla="*/ 1450079 w 2752725"/>
                <a:gd name="connsiteY162" fmla="*/ 916570 h 1865313"/>
                <a:gd name="connsiteX163" fmla="*/ 1450971 w 2752725"/>
                <a:gd name="connsiteY163" fmla="*/ 915446 h 1865313"/>
                <a:gd name="connsiteX164" fmla="*/ 1450838 w 2752725"/>
                <a:gd name="connsiteY164" fmla="*/ 915434 h 1865313"/>
                <a:gd name="connsiteX165" fmla="*/ 1458091 w 2752725"/>
                <a:gd name="connsiteY165" fmla="*/ 905143 h 1865313"/>
                <a:gd name="connsiteX166" fmla="*/ 804384 w 2752725"/>
                <a:gd name="connsiteY166" fmla="*/ 823672 h 1865313"/>
                <a:gd name="connsiteX167" fmla="*/ 800282 w 2752725"/>
                <a:gd name="connsiteY167" fmla="*/ 825336 h 1865313"/>
                <a:gd name="connsiteX168" fmla="*/ 800042 w 2752725"/>
                <a:gd name="connsiteY168" fmla="*/ 826803 h 1865313"/>
                <a:gd name="connsiteX169" fmla="*/ 802395 w 2752725"/>
                <a:gd name="connsiteY169" fmla="*/ 826686 h 1865313"/>
                <a:gd name="connsiteX170" fmla="*/ 77228 w 2752725"/>
                <a:gd name="connsiteY170" fmla="*/ 811317 h 1865313"/>
                <a:gd name="connsiteX171" fmla="*/ 77227 w 2752725"/>
                <a:gd name="connsiteY171" fmla="*/ 811318 h 1865313"/>
                <a:gd name="connsiteX172" fmla="*/ 77227 w 2752725"/>
                <a:gd name="connsiteY172" fmla="*/ 811318 h 1865313"/>
                <a:gd name="connsiteX173" fmla="*/ 84481 w 2752725"/>
                <a:gd name="connsiteY173" fmla="*/ 807751 h 1865313"/>
                <a:gd name="connsiteX174" fmla="*/ 77228 w 2752725"/>
                <a:gd name="connsiteY174" fmla="*/ 811317 h 1865313"/>
                <a:gd name="connsiteX175" fmla="*/ 77228 w 2752725"/>
                <a:gd name="connsiteY175" fmla="*/ 811317 h 1865313"/>
                <a:gd name="connsiteX176" fmla="*/ 88944 w 2752725"/>
                <a:gd name="connsiteY176" fmla="*/ 805675 h 1865313"/>
                <a:gd name="connsiteX177" fmla="*/ 115293 w 2752725"/>
                <a:gd name="connsiteY177" fmla="*/ 812304 h 1865313"/>
                <a:gd name="connsiteX178" fmla="*/ 193179 w 2752725"/>
                <a:gd name="connsiteY178" fmla="*/ 851495 h 1865313"/>
                <a:gd name="connsiteX179" fmla="*/ 216545 w 2752725"/>
                <a:gd name="connsiteY179" fmla="*/ 875010 h 1865313"/>
                <a:gd name="connsiteX180" fmla="*/ 278855 w 2752725"/>
                <a:gd name="connsiteY180" fmla="*/ 882849 h 1865313"/>
                <a:gd name="connsiteX181" fmla="*/ 302221 w 2752725"/>
                <a:gd name="connsiteY181" fmla="*/ 898525 h 1865313"/>
                <a:gd name="connsiteX182" fmla="*/ 325587 w 2752725"/>
                <a:gd name="connsiteY182" fmla="*/ 898525 h 1865313"/>
                <a:gd name="connsiteX183" fmla="*/ 324886 w 2752725"/>
                <a:gd name="connsiteY183" fmla="*/ 897114 h 1865313"/>
                <a:gd name="connsiteX184" fmla="*/ 328083 w 2752725"/>
                <a:gd name="connsiteY184" fmla="*/ 897114 h 1865313"/>
                <a:gd name="connsiteX185" fmla="*/ 328083 w 2752725"/>
                <a:gd name="connsiteY185" fmla="*/ 904934 h 1865313"/>
                <a:gd name="connsiteX186" fmla="*/ 359329 w 2752725"/>
                <a:gd name="connsiteY186" fmla="*/ 936213 h 1865313"/>
                <a:gd name="connsiteX187" fmla="*/ 374952 w 2752725"/>
                <a:gd name="connsiteY187" fmla="*/ 983133 h 1865313"/>
                <a:gd name="connsiteX188" fmla="*/ 406198 w 2752725"/>
                <a:gd name="connsiteY188" fmla="*/ 998773 h 1865313"/>
                <a:gd name="connsiteX189" fmla="*/ 414010 w 2752725"/>
                <a:gd name="connsiteY189" fmla="*/ 998773 h 1865313"/>
                <a:gd name="connsiteX190" fmla="*/ 413491 w 2752725"/>
                <a:gd name="connsiteY190" fmla="*/ 1000330 h 1865313"/>
                <a:gd name="connsiteX191" fmla="*/ 444500 w 2752725"/>
                <a:gd name="connsiteY191" fmla="*/ 1015524 h 1865313"/>
                <a:gd name="connsiteX192" fmla="*/ 515937 w 2752725"/>
                <a:gd name="connsiteY192" fmla="*/ 992188 h 1865313"/>
                <a:gd name="connsiteX193" fmla="*/ 523644 w 2752725"/>
                <a:gd name="connsiteY193" fmla="*/ 1022399 h 1865313"/>
                <a:gd name="connsiteX194" fmla="*/ 523742 w 2752725"/>
                <a:gd name="connsiteY194" fmla="*/ 1022350 h 1865313"/>
                <a:gd name="connsiteX195" fmla="*/ 547158 w 2752725"/>
                <a:gd name="connsiteY195" fmla="*/ 1030117 h 1865313"/>
                <a:gd name="connsiteX196" fmla="*/ 609600 w 2752725"/>
                <a:gd name="connsiteY196" fmla="*/ 1076722 h 1865313"/>
                <a:gd name="connsiteX197" fmla="*/ 578379 w 2752725"/>
                <a:gd name="connsiteY197" fmla="*/ 1107792 h 1865313"/>
                <a:gd name="connsiteX198" fmla="*/ 554963 w 2752725"/>
                <a:gd name="connsiteY198" fmla="*/ 1138861 h 1865313"/>
                <a:gd name="connsiteX199" fmla="*/ 508132 w 2752725"/>
                <a:gd name="connsiteY199" fmla="*/ 1201001 h 1865313"/>
                <a:gd name="connsiteX200" fmla="*/ 453496 w 2752725"/>
                <a:gd name="connsiteY200" fmla="*/ 1239838 h 1865313"/>
                <a:gd name="connsiteX201" fmla="*/ 430080 w 2752725"/>
                <a:gd name="connsiteY201" fmla="*/ 1185466 h 1865313"/>
                <a:gd name="connsiteX202" fmla="*/ 426787 w 2752725"/>
                <a:gd name="connsiteY202" fmla="*/ 1175635 h 1865313"/>
                <a:gd name="connsiteX203" fmla="*/ 422326 w 2752725"/>
                <a:gd name="connsiteY203" fmla="*/ 1162317 h 1865313"/>
                <a:gd name="connsiteX204" fmla="*/ 421821 w 2752725"/>
                <a:gd name="connsiteY204" fmla="*/ 1162991 h 1865313"/>
                <a:gd name="connsiteX205" fmla="*/ 421583 w 2752725"/>
                <a:gd name="connsiteY205" fmla="*/ 1163063 h 1865313"/>
                <a:gd name="connsiteX206" fmla="*/ 429045 w 2752725"/>
                <a:gd name="connsiteY206" fmla="*/ 1185635 h 1865313"/>
                <a:gd name="connsiteX207" fmla="*/ 452438 w 2752725"/>
                <a:gd name="connsiteY207" fmla="*/ 1240669 h 1865313"/>
                <a:gd name="connsiteX208" fmla="*/ 382261 w 2752725"/>
                <a:gd name="connsiteY208" fmla="*/ 1264255 h 1865313"/>
                <a:gd name="connsiteX209" fmla="*/ 335476 w 2752725"/>
                <a:gd name="connsiteY209" fmla="*/ 1279978 h 1865313"/>
                <a:gd name="connsiteX210" fmla="*/ 304286 w 2752725"/>
                <a:gd name="connsiteY210" fmla="*/ 1311426 h 1865313"/>
                <a:gd name="connsiteX211" fmla="*/ 280894 w 2752725"/>
                <a:gd name="connsiteY211" fmla="*/ 1311426 h 1865313"/>
                <a:gd name="connsiteX212" fmla="*/ 226312 w 2752725"/>
                <a:gd name="connsiteY212" fmla="*/ 1327150 h 1865313"/>
                <a:gd name="connsiteX213" fmla="*/ 195122 w 2752725"/>
                <a:gd name="connsiteY213" fmla="*/ 1256393 h 1865313"/>
                <a:gd name="connsiteX214" fmla="*/ 187325 w 2752725"/>
                <a:gd name="connsiteY214" fmla="*/ 1224945 h 1865313"/>
                <a:gd name="connsiteX215" fmla="*/ 187476 w 2752725"/>
                <a:gd name="connsiteY215" fmla="*/ 1224894 h 1865313"/>
                <a:gd name="connsiteX216" fmla="*/ 187476 w 2752725"/>
                <a:gd name="connsiteY216" fmla="*/ 1224572 h 1865313"/>
                <a:gd name="connsiteX217" fmla="*/ 187476 w 2752725"/>
                <a:gd name="connsiteY217" fmla="*/ 1217730 h 1865313"/>
                <a:gd name="connsiteX218" fmla="*/ 132795 w 2752725"/>
                <a:gd name="connsiteY218" fmla="*/ 1162991 h 1865313"/>
                <a:gd name="connsiteX219" fmla="*/ 117172 w 2752725"/>
                <a:gd name="connsiteY219" fmla="*/ 1108251 h 1865313"/>
                <a:gd name="connsiteX220" fmla="*/ 101549 w 2752725"/>
                <a:gd name="connsiteY220" fmla="*/ 1061332 h 1865313"/>
                <a:gd name="connsiteX221" fmla="*/ 70303 w 2752725"/>
                <a:gd name="connsiteY221" fmla="*/ 1030052 h 1865313"/>
                <a:gd name="connsiteX222" fmla="*/ 15623 w 2752725"/>
                <a:gd name="connsiteY222" fmla="*/ 920573 h 1865313"/>
                <a:gd name="connsiteX223" fmla="*/ 0 w 2752725"/>
                <a:gd name="connsiteY223" fmla="*/ 889294 h 1865313"/>
                <a:gd name="connsiteX224" fmla="*/ 15623 w 2752725"/>
                <a:gd name="connsiteY224" fmla="*/ 889294 h 1865313"/>
                <a:gd name="connsiteX225" fmla="*/ 31246 w 2752725"/>
                <a:gd name="connsiteY225" fmla="*/ 873654 h 1865313"/>
                <a:gd name="connsiteX226" fmla="*/ 54680 w 2752725"/>
                <a:gd name="connsiteY226" fmla="*/ 873654 h 1865313"/>
                <a:gd name="connsiteX227" fmla="*/ 62492 w 2752725"/>
                <a:gd name="connsiteY227" fmla="*/ 858014 h 1865313"/>
                <a:gd name="connsiteX228" fmla="*/ 55901 w 2752725"/>
                <a:gd name="connsiteY228" fmla="*/ 841519 h 1865313"/>
                <a:gd name="connsiteX229" fmla="*/ 46898 w 2752725"/>
                <a:gd name="connsiteY229" fmla="*/ 818987 h 1865313"/>
                <a:gd name="connsiteX230" fmla="*/ 46869 w 2752725"/>
                <a:gd name="connsiteY230" fmla="*/ 818915 h 1865313"/>
                <a:gd name="connsiteX231" fmla="*/ 60051 w 2752725"/>
                <a:gd name="connsiteY231" fmla="*/ 815616 h 1865313"/>
                <a:gd name="connsiteX232" fmla="*/ 77227 w 2752725"/>
                <a:gd name="connsiteY232" fmla="*/ 811318 h 1865313"/>
                <a:gd name="connsiteX233" fmla="*/ 76364 w 2752725"/>
                <a:gd name="connsiteY233" fmla="*/ 811742 h 1865313"/>
                <a:gd name="connsiteX234" fmla="*/ 77227 w 2752725"/>
                <a:gd name="connsiteY234" fmla="*/ 811318 h 1865313"/>
                <a:gd name="connsiteX235" fmla="*/ 77228 w 2752725"/>
                <a:gd name="connsiteY235" fmla="*/ 811317 h 1865313"/>
                <a:gd name="connsiteX236" fmla="*/ 78115 w 2752725"/>
                <a:gd name="connsiteY236" fmla="*/ 811095 h 1865313"/>
                <a:gd name="connsiteX237" fmla="*/ 80068 w 2752725"/>
                <a:gd name="connsiteY237" fmla="*/ 810117 h 1865313"/>
                <a:gd name="connsiteX238" fmla="*/ 2391040 w 2752725"/>
                <a:gd name="connsiteY238" fmla="*/ 757238 h 1865313"/>
                <a:gd name="connsiteX239" fmla="*/ 2398713 w 2752725"/>
                <a:gd name="connsiteY239" fmla="*/ 780521 h 1865313"/>
                <a:gd name="connsiteX240" fmla="*/ 2391040 w 2752725"/>
                <a:gd name="connsiteY240" fmla="*/ 811566 h 1865313"/>
                <a:gd name="connsiteX241" fmla="*/ 2368021 w 2752725"/>
                <a:gd name="connsiteY241" fmla="*/ 827088 h 1865313"/>
                <a:gd name="connsiteX242" fmla="*/ 2360348 w 2752725"/>
                <a:gd name="connsiteY242" fmla="*/ 803805 h 1865313"/>
                <a:gd name="connsiteX243" fmla="*/ 2352675 w 2752725"/>
                <a:gd name="connsiteY243" fmla="*/ 780521 h 1865313"/>
                <a:gd name="connsiteX244" fmla="*/ 904777 w 2752725"/>
                <a:gd name="connsiteY244" fmla="*/ 748198 h 1865313"/>
                <a:gd name="connsiteX245" fmla="*/ 901454 w 2752725"/>
                <a:gd name="connsiteY245" fmla="*/ 752170 h 1865313"/>
                <a:gd name="connsiteX246" fmla="*/ 903915 w 2752725"/>
                <a:gd name="connsiteY246" fmla="*/ 751117 h 1865313"/>
                <a:gd name="connsiteX247" fmla="*/ 641584 w 2752725"/>
                <a:gd name="connsiteY247" fmla="*/ 677137 h 1865313"/>
                <a:gd name="connsiteX248" fmla="*/ 641112 w 2752725"/>
                <a:gd name="connsiteY248" fmla="*/ 681345 h 1865313"/>
                <a:gd name="connsiteX249" fmla="*/ 634259 w 2752725"/>
                <a:gd name="connsiteY249" fmla="*/ 742488 h 1865313"/>
                <a:gd name="connsiteX250" fmla="*/ 626428 w 2752725"/>
                <a:gd name="connsiteY250" fmla="*/ 773546 h 1865313"/>
                <a:gd name="connsiteX251" fmla="*/ 626428 w 2752725"/>
                <a:gd name="connsiteY251" fmla="*/ 812367 h 1865313"/>
                <a:gd name="connsiteX252" fmla="*/ 657754 w 2752725"/>
                <a:gd name="connsiteY252" fmla="*/ 827896 h 1865313"/>
                <a:gd name="connsiteX253" fmla="*/ 651146 w 2752725"/>
                <a:gd name="connsiteY253" fmla="*/ 847549 h 1865313"/>
                <a:gd name="connsiteX254" fmla="*/ 648513 w 2752725"/>
                <a:gd name="connsiteY254" fmla="*/ 855382 h 1865313"/>
                <a:gd name="connsiteX255" fmla="*/ 654610 w 2752725"/>
                <a:gd name="connsiteY255" fmla="*/ 845018 h 1865313"/>
                <a:gd name="connsiteX256" fmla="*/ 669457 w 2752725"/>
                <a:gd name="connsiteY256" fmla="*/ 800765 h 1865313"/>
                <a:gd name="connsiteX257" fmla="*/ 639763 w 2752725"/>
                <a:gd name="connsiteY257" fmla="*/ 786022 h 1865313"/>
                <a:gd name="connsiteX258" fmla="*/ 639763 w 2752725"/>
                <a:gd name="connsiteY258" fmla="*/ 749140 h 1865313"/>
                <a:gd name="connsiteX259" fmla="*/ 647169 w 2752725"/>
                <a:gd name="connsiteY259" fmla="*/ 719655 h 1865313"/>
                <a:gd name="connsiteX260" fmla="*/ 650716 w 2752725"/>
                <a:gd name="connsiteY260" fmla="*/ 698559 h 1865313"/>
                <a:gd name="connsiteX261" fmla="*/ 641584 w 2752725"/>
                <a:gd name="connsiteY261" fmla="*/ 694017 h 1865313"/>
                <a:gd name="connsiteX262" fmla="*/ 641584 w 2752725"/>
                <a:gd name="connsiteY262" fmla="*/ 684148 h 1865313"/>
                <a:gd name="connsiteX263" fmla="*/ 216545 w 2752725"/>
                <a:gd name="connsiteY263" fmla="*/ 647700 h 1865313"/>
                <a:gd name="connsiteX264" fmla="*/ 232123 w 2752725"/>
                <a:gd name="connsiteY264" fmla="*/ 655538 h 1865313"/>
                <a:gd name="connsiteX265" fmla="*/ 263277 w 2752725"/>
                <a:gd name="connsiteY265" fmla="*/ 702568 h 1865313"/>
                <a:gd name="connsiteX266" fmla="*/ 255489 w 2752725"/>
                <a:gd name="connsiteY266" fmla="*/ 733921 h 1865313"/>
                <a:gd name="connsiteX267" fmla="*/ 255489 w 2752725"/>
                <a:gd name="connsiteY267" fmla="*/ 765274 h 1865313"/>
                <a:gd name="connsiteX268" fmla="*/ 302221 w 2752725"/>
                <a:gd name="connsiteY268" fmla="*/ 804466 h 1865313"/>
                <a:gd name="connsiteX269" fmla="*/ 317798 w 2752725"/>
                <a:gd name="connsiteY269" fmla="*/ 843657 h 1865313"/>
                <a:gd name="connsiteX270" fmla="*/ 333375 w 2752725"/>
                <a:gd name="connsiteY270" fmla="*/ 875010 h 1865313"/>
                <a:gd name="connsiteX271" fmla="*/ 317798 w 2752725"/>
                <a:gd name="connsiteY271" fmla="*/ 882849 h 1865313"/>
                <a:gd name="connsiteX272" fmla="*/ 324886 w 2752725"/>
                <a:gd name="connsiteY272" fmla="*/ 897114 h 1865313"/>
                <a:gd name="connsiteX273" fmla="*/ 307579 w 2752725"/>
                <a:gd name="connsiteY273" fmla="*/ 897114 h 1865313"/>
                <a:gd name="connsiteX274" fmla="*/ 304649 w 2752725"/>
                <a:gd name="connsiteY274" fmla="*/ 897114 h 1865313"/>
                <a:gd name="connsiteX275" fmla="*/ 281214 w 2752725"/>
                <a:gd name="connsiteY275" fmla="*/ 881474 h 1865313"/>
                <a:gd name="connsiteX276" fmla="*/ 218722 w 2752725"/>
                <a:gd name="connsiteY276" fmla="*/ 873654 h 1865313"/>
                <a:gd name="connsiteX277" fmla="*/ 195287 w 2752725"/>
                <a:gd name="connsiteY277" fmla="*/ 850194 h 1865313"/>
                <a:gd name="connsiteX278" fmla="*/ 117172 w 2752725"/>
                <a:gd name="connsiteY278" fmla="*/ 811095 h 1865313"/>
                <a:gd name="connsiteX279" fmla="*/ 99108 w 2752725"/>
                <a:gd name="connsiteY279" fmla="*/ 806574 h 1865313"/>
                <a:gd name="connsiteX280" fmla="*/ 91134 w 2752725"/>
                <a:gd name="connsiteY280" fmla="*/ 804578 h 1865313"/>
                <a:gd name="connsiteX281" fmla="*/ 93738 w 2752725"/>
                <a:gd name="connsiteY281" fmla="*/ 803275 h 1865313"/>
                <a:gd name="connsiteX282" fmla="*/ 85926 w 2752725"/>
                <a:gd name="connsiteY282" fmla="*/ 803275 h 1865313"/>
                <a:gd name="connsiteX283" fmla="*/ 88890 w 2752725"/>
                <a:gd name="connsiteY283" fmla="*/ 804016 h 1865313"/>
                <a:gd name="connsiteX284" fmla="*/ 89832 w 2752725"/>
                <a:gd name="connsiteY284" fmla="*/ 804252 h 1865313"/>
                <a:gd name="connsiteX285" fmla="*/ 91001 w 2752725"/>
                <a:gd name="connsiteY285" fmla="*/ 804545 h 1865313"/>
                <a:gd name="connsiteX286" fmla="*/ 91134 w 2752725"/>
                <a:gd name="connsiteY286" fmla="*/ 804578 h 1865313"/>
                <a:gd name="connsiteX287" fmla="*/ 88944 w 2752725"/>
                <a:gd name="connsiteY287" fmla="*/ 805675 h 1865313"/>
                <a:gd name="connsiteX288" fmla="*/ 88784 w 2752725"/>
                <a:gd name="connsiteY288" fmla="*/ 805635 h 1865313"/>
                <a:gd name="connsiteX289" fmla="*/ 84138 w 2752725"/>
                <a:gd name="connsiteY289" fmla="*/ 804466 h 1865313"/>
                <a:gd name="connsiteX290" fmla="*/ 84138 w 2752725"/>
                <a:gd name="connsiteY290" fmla="*/ 773113 h 1865313"/>
                <a:gd name="connsiteX291" fmla="*/ 138659 w 2752725"/>
                <a:gd name="connsiteY291" fmla="*/ 741760 h 1865313"/>
                <a:gd name="connsiteX292" fmla="*/ 154236 w 2752725"/>
                <a:gd name="connsiteY292" fmla="*/ 686892 h 1865313"/>
                <a:gd name="connsiteX293" fmla="*/ 169813 w 2752725"/>
                <a:gd name="connsiteY293" fmla="*/ 663377 h 1865313"/>
                <a:gd name="connsiteX294" fmla="*/ 169813 w 2752725"/>
                <a:gd name="connsiteY294" fmla="*/ 655538 h 1865313"/>
                <a:gd name="connsiteX295" fmla="*/ 177602 w 2752725"/>
                <a:gd name="connsiteY295" fmla="*/ 655538 h 1865313"/>
                <a:gd name="connsiteX296" fmla="*/ 743492 w 2752725"/>
                <a:gd name="connsiteY296" fmla="*/ 639431 h 1865313"/>
                <a:gd name="connsiteX297" fmla="*/ 740185 w 2752725"/>
                <a:gd name="connsiteY297" fmla="*/ 655880 h 1865313"/>
                <a:gd name="connsiteX298" fmla="*/ 738841 w 2752725"/>
                <a:gd name="connsiteY298" fmla="*/ 662561 h 1865313"/>
                <a:gd name="connsiteX299" fmla="*/ 743624 w 2752725"/>
                <a:gd name="connsiteY299" fmla="*/ 660659 h 1865313"/>
                <a:gd name="connsiteX300" fmla="*/ 747696 w 2752725"/>
                <a:gd name="connsiteY300" fmla="*/ 640477 h 1865313"/>
                <a:gd name="connsiteX301" fmla="*/ 974824 w 2752725"/>
                <a:gd name="connsiteY301" fmla="*/ 612219 h 1865313"/>
                <a:gd name="connsiteX302" fmla="*/ 978663 w 2752725"/>
                <a:gd name="connsiteY302" fmla="*/ 616038 h 1865313"/>
                <a:gd name="connsiteX303" fmla="*/ 981998 w 2752725"/>
                <a:gd name="connsiteY303" fmla="*/ 625991 h 1865313"/>
                <a:gd name="connsiteX304" fmla="*/ 979488 w 2752725"/>
                <a:gd name="connsiteY304" fmla="*/ 615950 h 1865313"/>
                <a:gd name="connsiteX305" fmla="*/ 968811 w 2752725"/>
                <a:gd name="connsiteY305" fmla="*/ 577259 h 1865313"/>
                <a:gd name="connsiteX306" fmla="*/ 967517 w 2752725"/>
                <a:gd name="connsiteY306" fmla="*/ 582409 h 1865313"/>
                <a:gd name="connsiteX307" fmla="*/ 962985 w 2752725"/>
                <a:gd name="connsiteY307" fmla="*/ 600442 h 1865313"/>
                <a:gd name="connsiteX308" fmla="*/ 963977 w 2752725"/>
                <a:gd name="connsiteY308" fmla="*/ 601429 h 1865313"/>
                <a:gd name="connsiteX309" fmla="*/ 1103330 w 2752725"/>
                <a:gd name="connsiteY309" fmla="*/ 492024 h 1865313"/>
                <a:gd name="connsiteX310" fmla="*/ 1100168 w 2752725"/>
                <a:gd name="connsiteY310" fmla="*/ 495169 h 1865313"/>
                <a:gd name="connsiteX311" fmla="*/ 1072731 w 2752725"/>
                <a:gd name="connsiteY311" fmla="*/ 522462 h 1865313"/>
                <a:gd name="connsiteX312" fmla="*/ 1033536 w 2752725"/>
                <a:gd name="connsiteY312" fmla="*/ 553654 h 1865313"/>
                <a:gd name="connsiteX313" fmla="*/ 970824 w 2752725"/>
                <a:gd name="connsiteY313" fmla="*/ 569250 h 1865313"/>
                <a:gd name="connsiteX314" fmla="*/ 970278 w 2752725"/>
                <a:gd name="connsiteY314" fmla="*/ 571421 h 1865313"/>
                <a:gd name="connsiteX315" fmla="*/ 1033463 w 2752725"/>
                <a:gd name="connsiteY315" fmla="*/ 555625 h 1865313"/>
                <a:gd name="connsiteX316" fmla="*/ 1071563 w 2752725"/>
                <a:gd name="connsiteY316" fmla="*/ 523875 h 1865313"/>
                <a:gd name="connsiteX317" fmla="*/ 1103313 w 2752725"/>
                <a:gd name="connsiteY317" fmla="*/ 492125 h 1865313"/>
                <a:gd name="connsiteX318" fmla="*/ 1488812 w 2752725"/>
                <a:gd name="connsiteY318" fmla="*/ 414074 h 1865313"/>
                <a:gd name="connsiteX319" fmla="*/ 1550988 w 2752725"/>
                <a:gd name="connsiteY319" fmla="*/ 476250 h 1865313"/>
                <a:gd name="connsiteX320" fmla="*/ 1646238 w 2752725"/>
                <a:gd name="connsiteY320" fmla="*/ 485775 h 1865313"/>
                <a:gd name="connsiteX321" fmla="*/ 1694898 w 2752725"/>
                <a:gd name="connsiteY321" fmla="*/ 509132 h 1865313"/>
                <a:gd name="connsiteX322" fmla="*/ 1645210 w 2752725"/>
                <a:gd name="connsiteY322" fmla="*/ 483655 h 1865313"/>
                <a:gd name="connsiteX323" fmla="*/ 1551081 w 2752725"/>
                <a:gd name="connsiteY323" fmla="*/ 475870 h 1865313"/>
                <a:gd name="connsiteX324" fmla="*/ 2650945 w 2752725"/>
                <a:gd name="connsiteY324" fmla="*/ 398463 h 1865313"/>
                <a:gd name="connsiteX325" fmla="*/ 2682262 w 2752725"/>
                <a:gd name="connsiteY325" fmla="*/ 421797 h 1865313"/>
                <a:gd name="connsiteX326" fmla="*/ 2729237 w 2752725"/>
                <a:gd name="connsiteY326" fmla="*/ 437354 h 1865313"/>
                <a:gd name="connsiteX327" fmla="*/ 2752725 w 2752725"/>
                <a:gd name="connsiteY327" fmla="*/ 437354 h 1865313"/>
                <a:gd name="connsiteX328" fmla="*/ 2721408 w 2752725"/>
                <a:gd name="connsiteY328" fmla="*/ 468467 h 1865313"/>
                <a:gd name="connsiteX329" fmla="*/ 2697920 w 2752725"/>
                <a:gd name="connsiteY329" fmla="*/ 484023 h 1865313"/>
                <a:gd name="connsiteX330" fmla="*/ 2682262 w 2752725"/>
                <a:gd name="connsiteY330" fmla="*/ 508654 h 1865313"/>
                <a:gd name="connsiteX331" fmla="*/ 2643116 w 2752725"/>
                <a:gd name="connsiteY331" fmla="*/ 476245 h 1865313"/>
                <a:gd name="connsiteX332" fmla="*/ 2619628 w 2752725"/>
                <a:gd name="connsiteY332" fmla="*/ 524210 h 1865313"/>
                <a:gd name="connsiteX333" fmla="*/ 2650945 w 2752725"/>
                <a:gd name="connsiteY333" fmla="*/ 578658 h 1865313"/>
                <a:gd name="connsiteX334" fmla="*/ 2627457 w 2752725"/>
                <a:gd name="connsiteY334" fmla="*/ 617549 h 1865313"/>
                <a:gd name="connsiteX335" fmla="*/ 2619628 w 2752725"/>
                <a:gd name="connsiteY335" fmla="*/ 648662 h 1865313"/>
                <a:gd name="connsiteX336" fmla="*/ 2619628 w 2752725"/>
                <a:gd name="connsiteY336" fmla="*/ 703109 h 1865313"/>
                <a:gd name="connsiteX337" fmla="*/ 2603969 w 2752725"/>
                <a:gd name="connsiteY337" fmla="*/ 718665 h 1865313"/>
                <a:gd name="connsiteX338" fmla="*/ 2588311 w 2752725"/>
                <a:gd name="connsiteY338" fmla="*/ 710887 h 1865313"/>
                <a:gd name="connsiteX339" fmla="*/ 2572652 w 2752725"/>
                <a:gd name="connsiteY339" fmla="*/ 718665 h 1865313"/>
                <a:gd name="connsiteX340" fmla="*/ 2541335 w 2752725"/>
                <a:gd name="connsiteY340" fmla="*/ 718665 h 1865313"/>
                <a:gd name="connsiteX341" fmla="*/ 2525677 w 2752725"/>
                <a:gd name="connsiteY341" fmla="*/ 718665 h 1865313"/>
                <a:gd name="connsiteX342" fmla="*/ 2494360 w 2752725"/>
                <a:gd name="connsiteY342" fmla="*/ 749778 h 1865313"/>
                <a:gd name="connsiteX343" fmla="*/ 2486531 w 2752725"/>
                <a:gd name="connsiteY343" fmla="*/ 734222 h 1865313"/>
                <a:gd name="connsiteX344" fmla="*/ 2470872 w 2752725"/>
                <a:gd name="connsiteY344" fmla="*/ 742000 h 1865313"/>
                <a:gd name="connsiteX345" fmla="*/ 2455214 w 2752725"/>
                <a:gd name="connsiteY345" fmla="*/ 749778 h 1865313"/>
                <a:gd name="connsiteX346" fmla="*/ 2423897 w 2752725"/>
                <a:gd name="connsiteY346" fmla="*/ 773113 h 1865313"/>
                <a:gd name="connsiteX347" fmla="*/ 2408238 w 2752725"/>
                <a:gd name="connsiteY347" fmla="*/ 734222 h 1865313"/>
                <a:gd name="connsiteX348" fmla="*/ 2416067 w 2752725"/>
                <a:gd name="connsiteY348" fmla="*/ 718665 h 1865313"/>
                <a:gd name="connsiteX349" fmla="*/ 2463043 w 2752725"/>
                <a:gd name="connsiteY349" fmla="*/ 703109 h 1865313"/>
                <a:gd name="connsiteX350" fmla="*/ 2494360 w 2752725"/>
                <a:gd name="connsiteY350" fmla="*/ 703109 h 1865313"/>
                <a:gd name="connsiteX351" fmla="*/ 2549165 w 2752725"/>
                <a:gd name="connsiteY351" fmla="*/ 656440 h 1865313"/>
                <a:gd name="connsiteX352" fmla="*/ 2588311 w 2752725"/>
                <a:gd name="connsiteY352" fmla="*/ 640883 h 1865313"/>
                <a:gd name="connsiteX353" fmla="*/ 2596140 w 2752725"/>
                <a:gd name="connsiteY353" fmla="*/ 601992 h 1865313"/>
                <a:gd name="connsiteX354" fmla="*/ 2611799 w 2752725"/>
                <a:gd name="connsiteY354" fmla="*/ 539767 h 1865313"/>
                <a:gd name="connsiteX355" fmla="*/ 2611799 w 2752725"/>
                <a:gd name="connsiteY355" fmla="*/ 491801 h 1865313"/>
                <a:gd name="connsiteX356" fmla="*/ 2635286 w 2752725"/>
                <a:gd name="connsiteY356" fmla="*/ 460688 h 1865313"/>
                <a:gd name="connsiteX357" fmla="*/ 2635286 w 2752725"/>
                <a:gd name="connsiteY357" fmla="*/ 421797 h 1865313"/>
                <a:gd name="connsiteX358" fmla="*/ 1445389 w 2752725"/>
                <a:gd name="connsiteY358" fmla="*/ 395228 h 1865313"/>
                <a:gd name="connsiteX359" fmla="*/ 1481052 w 2752725"/>
                <a:gd name="connsiteY359" fmla="*/ 406373 h 1865313"/>
                <a:gd name="connsiteX360" fmla="*/ 1480484 w 2752725"/>
                <a:gd name="connsiteY360" fmla="*/ 405809 h 1865313"/>
                <a:gd name="connsiteX361" fmla="*/ 1173249 w 2752725"/>
                <a:gd name="connsiteY361" fmla="*/ 390095 h 1865313"/>
                <a:gd name="connsiteX362" fmla="*/ 1167780 w 2752725"/>
                <a:gd name="connsiteY362" fmla="*/ 390872 h 1865313"/>
                <a:gd name="connsiteX363" fmla="*/ 1119766 w 2752725"/>
                <a:gd name="connsiteY363" fmla="*/ 397695 h 1865313"/>
                <a:gd name="connsiteX364" fmla="*/ 1119521 w 2752725"/>
                <a:gd name="connsiteY364" fmla="*/ 399157 h 1865313"/>
                <a:gd name="connsiteX365" fmla="*/ 1119377 w 2752725"/>
                <a:gd name="connsiteY365" fmla="*/ 400017 h 1865313"/>
                <a:gd name="connsiteX366" fmla="*/ 1173163 w 2752725"/>
                <a:gd name="connsiteY366" fmla="*/ 390525 h 1865313"/>
                <a:gd name="connsiteX367" fmla="*/ 1212762 w 2752725"/>
                <a:gd name="connsiteY367" fmla="*/ 314709 h 1865313"/>
                <a:gd name="connsiteX368" fmla="*/ 1252538 w 2752725"/>
                <a:gd name="connsiteY368" fmla="*/ 320675 h 1865313"/>
                <a:gd name="connsiteX369" fmla="*/ 1252864 w 2752725"/>
                <a:gd name="connsiteY369" fmla="*/ 319695 h 1865313"/>
                <a:gd name="connsiteX370" fmla="*/ 1252050 w 2752725"/>
                <a:gd name="connsiteY370" fmla="*/ 319594 h 1865313"/>
                <a:gd name="connsiteX371" fmla="*/ 1226573 w 2752725"/>
                <a:gd name="connsiteY371" fmla="*/ 316426 h 1865313"/>
                <a:gd name="connsiteX372" fmla="*/ 1315755 w 2752725"/>
                <a:gd name="connsiteY372" fmla="*/ 266983 h 1865313"/>
                <a:gd name="connsiteX373" fmla="*/ 1312863 w 2752725"/>
                <a:gd name="connsiteY373" fmla="*/ 269875 h 1865313"/>
                <a:gd name="connsiteX374" fmla="*/ 1309688 w 2752725"/>
                <a:gd name="connsiteY374" fmla="*/ 276225 h 1865313"/>
                <a:gd name="connsiteX375" fmla="*/ 1315812 w 2752725"/>
                <a:gd name="connsiteY375" fmla="*/ 267039 h 1865313"/>
                <a:gd name="connsiteX376" fmla="*/ 2666603 w 2752725"/>
                <a:gd name="connsiteY376" fmla="*/ 53975 h 1865313"/>
                <a:gd name="connsiteX377" fmla="*/ 2682082 w 2752725"/>
                <a:gd name="connsiteY377" fmla="*/ 101111 h 1865313"/>
                <a:gd name="connsiteX378" fmla="*/ 2682082 w 2752725"/>
                <a:gd name="connsiteY378" fmla="*/ 132536 h 1865313"/>
                <a:gd name="connsiteX379" fmla="*/ 2713038 w 2752725"/>
                <a:gd name="connsiteY379" fmla="*/ 258234 h 1865313"/>
                <a:gd name="connsiteX380" fmla="*/ 2689821 w 2752725"/>
                <a:gd name="connsiteY380" fmla="*/ 242521 h 1865313"/>
                <a:gd name="connsiteX381" fmla="*/ 2682082 w 2752725"/>
                <a:gd name="connsiteY381" fmla="*/ 273946 h 1865313"/>
                <a:gd name="connsiteX382" fmla="*/ 2682082 w 2752725"/>
                <a:gd name="connsiteY382" fmla="*/ 313226 h 1865313"/>
                <a:gd name="connsiteX383" fmla="*/ 2705299 w 2752725"/>
                <a:gd name="connsiteY383" fmla="*/ 360363 h 1865313"/>
                <a:gd name="connsiteX384" fmla="*/ 2666603 w 2752725"/>
                <a:gd name="connsiteY384" fmla="*/ 344651 h 1865313"/>
                <a:gd name="connsiteX385" fmla="*/ 2666603 w 2752725"/>
                <a:gd name="connsiteY385" fmla="*/ 289658 h 1865313"/>
                <a:gd name="connsiteX386" fmla="*/ 2658864 w 2752725"/>
                <a:gd name="connsiteY386" fmla="*/ 171816 h 1865313"/>
                <a:gd name="connsiteX387" fmla="*/ 2651125 w 2752725"/>
                <a:gd name="connsiteY387" fmla="*/ 140392 h 1865313"/>
                <a:gd name="connsiteX388" fmla="*/ 2658864 w 2752725"/>
                <a:gd name="connsiteY388" fmla="*/ 93255 h 1865313"/>
                <a:gd name="connsiteX389" fmla="*/ 861077 w 2752725"/>
                <a:gd name="connsiteY389" fmla="*/ 0 h 1865313"/>
                <a:gd name="connsiteX390" fmla="*/ 923790 w 2752725"/>
                <a:gd name="connsiteY390" fmla="*/ 70181 h 1865313"/>
                <a:gd name="connsiteX391" fmla="*/ 994341 w 2752725"/>
                <a:gd name="connsiteY391" fmla="*/ 46788 h 1865313"/>
                <a:gd name="connsiteX392" fmla="*/ 1033536 w 2752725"/>
                <a:gd name="connsiteY392" fmla="*/ 46788 h 1865313"/>
                <a:gd name="connsiteX393" fmla="*/ 1064892 w 2752725"/>
                <a:gd name="connsiteY393" fmla="*/ 109171 h 1865313"/>
                <a:gd name="connsiteX394" fmla="*/ 1096249 w 2752725"/>
                <a:gd name="connsiteY394" fmla="*/ 179353 h 1865313"/>
                <a:gd name="connsiteX395" fmla="*/ 1174639 w 2752725"/>
                <a:gd name="connsiteY395" fmla="*/ 179353 h 1865313"/>
                <a:gd name="connsiteX396" fmla="*/ 1237351 w 2752725"/>
                <a:gd name="connsiteY396" fmla="*/ 210544 h 1865313"/>
                <a:gd name="connsiteX397" fmla="*/ 1292225 w 2752725"/>
                <a:gd name="connsiteY397" fmla="*/ 226140 h 1865313"/>
                <a:gd name="connsiteX398" fmla="*/ 1292225 w 2752725"/>
                <a:gd name="connsiteY398" fmla="*/ 265130 h 1865313"/>
                <a:gd name="connsiteX399" fmla="*/ 1268708 w 2752725"/>
                <a:gd name="connsiteY399" fmla="*/ 272928 h 1865313"/>
                <a:gd name="connsiteX400" fmla="*/ 1268690 w 2752725"/>
                <a:gd name="connsiteY400" fmla="*/ 272981 h 1865313"/>
                <a:gd name="connsiteX401" fmla="*/ 1293813 w 2752725"/>
                <a:gd name="connsiteY401" fmla="*/ 266700 h 1865313"/>
                <a:gd name="connsiteX402" fmla="*/ 1309688 w 2752725"/>
                <a:gd name="connsiteY402" fmla="*/ 257175 h 1865313"/>
                <a:gd name="connsiteX403" fmla="*/ 1314843 w 2752725"/>
                <a:gd name="connsiteY403" fmla="*/ 264907 h 1865313"/>
                <a:gd name="connsiteX404" fmla="*/ 1330138 w 2752725"/>
                <a:gd name="connsiteY404" fmla="*/ 234549 h 1865313"/>
                <a:gd name="connsiteX405" fmla="*/ 1385047 w 2752725"/>
                <a:gd name="connsiteY405" fmla="*/ 203411 h 1865313"/>
                <a:gd name="connsiteX406" fmla="*/ 1472639 w 2752725"/>
                <a:gd name="connsiteY406" fmla="*/ 195626 h 1865313"/>
                <a:gd name="connsiteX407" fmla="*/ 1535392 w 2752725"/>
                <a:gd name="connsiteY407" fmla="*/ 218980 h 1865313"/>
                <a:gd name="connsiteX408" fmla="*/ 1566769 w 2752725"/>
                <a:gd name="connsiteY408" fmla="*/ 172273 h 1865313"/>
                <a:gd name="connsiteX409" fmla="*/ 1598145 w 2752725"/>
                <a:gd name="connsiteY409" fmla="*/ 133350 h 1865313"/>
                <a:gd name="connsiteX410" fmla="*/ 1692275 w 2752725"/>
                <a:gd name="connsiteY410" fmla="*/ 180057 h 1865313"/>
                <a:gd name="connsiteX411" fmla="*/ 1715807 w 2752725"/>
                <a:gd name="connsiteY411" fmla="*/ 203411 h 1865313"/>
                <a:gd name="connsiteX412" fmla="*/ 1794249 w 2752725"/>
                <a:gd name="connsiteY412" fmla="*/ 203411 h 1865313"/>
                <a:gd name="connsiteX413" fmla="*/ 1841313 w 2752725"/>
                <a:gd name="connsiteY413" fmla="*/ 242334 h 1865313"/>
                <a:gd name="connsiteX414" fmla="*/ 1966819 w 2752725"/>
                <a:gd name="connsiteY414" fmla="*/ 211195 h 1865313"/>
                <a:gd name="connsiteX415" fmla="*/ 2021728 w 2752725"/>
                <a:gd name="connsiteY415" fmla="*/ 226764 h 1865313"/>
                <a:gd name="connsiteX416" fmla="*/ 2006040 w 2752725"/>
                <a:gd name="connsiteY416" fmla="*/ 257903 h 1865313"/>
                <a:gd name="connsiteX417" fmla="*/ 2006040 w 2752725"/>
                <a:gd name="connsiteY417" fmla="*/ 296825 h 1865313"/>
                <a:gd name="connsiteX418" fmla="*/ 2076637 w 2752725"/>
                <a:gd name="connsiteY418" fmla="*/ 304610 h 1865313"/>
                <a:gd name="connsiteX419" fmla="*/ 2092325 w 2752725"/>
                <a:gd name="connsiteY419" fmla="*/ 335748 h 1865313"/>
                <a:gd name="connsiteX420" fmla="*/ 2021728 w 2752725"/>
                <a:gd name="connsiteY420" fmla="*/ 359102 h 1865313"/>
                <a:gd name="connsiteX421" fmla="*/ 1966819 w 2752725"/>
                <a:gd name="connsiteY421" fmla="*/ 382456 h 1865313"/>
                <a:gd name="connsiteX422" fmla="*/ 1911911 w 2752725"/>
                <a:gd name="connsiteY422" fmla="*/ 405809 h 1865313"/>
                <a:gd name="connsiteX423" fmla="*/ 1896222 w 2752725"/>
                <a:gd name="connsiteY423" fmla="*/ 460301 h 1865313"/>
                <a:gd name="connsiteX424" fmla="*/ 1809937 w 2752725"/>
                <a:gd name="connsiteY424" fmla="*/ 468086 h 1865313"/>
                <a:gd name="connsiteX425" fmla="*/ 1724487 w 2752725"/>
                <a:gd name="connsiteY425" fmla="*/ 523335 h 1865313"/>
                <a:gd name="connsiteX426" fmla="*/ 1725613 w 2752725"/>
                <a:gd name="connsiteY426" fmla="*/ 523875 h 1865313"/>
                <a:gd name="connsiteX427" fmla="*/ 1811338 w 2752725"/>
                <a:gd name="connsiteY427" fmla="*/ 469900 h 1865313"/>
                <a:gd name="connsiteX428" fmla="*/ 1897063 w 2752725"/>
                <a:gd name="connsiteY428" fmla="*/ 460375 h 1865313"/>
                <a:gd name="connsiteX429" fmla="*/ 1912938 w 2752725"/>
                <a:gd name="connsiteY429" fmla="*/ 406400 h 1865313"/>
                <a:gd name="connsiteX430" fmla="*/ 1966913 w 2752725"/>
                <a:gd name="connsiteY430" fmla="*/ 384175 h 1865313"/>
                <a:gd name="connsiteX431" fmla="*/ 2024063 w 2752725"/>
                <a:gd name="connsiteY431" fmla="*/ 358775 h 1865313"/>
                <a:gd name="connsiteX432" fmla="*/ 2093913 w 2752725"/>
                <a:gd name="connsiteY432" fmla="*/ 336550 h 1865313"/>
                <a:gd name="connsiteX433" fmla="*/ 2078038 w 2752725"/>
                <a:gd name="connsiteY433" fmla="*/ 304800 h 1865313"/>
                <a:gd name="connsiteX434" fmla="*/ 2008188 w 2752725"/>
                <a:gd name="connsiteY434" fmla="*/ 295275 h 1865313"/>
                <a:gd name="connsiteX435" fmla="*/ 2008188 w 2752725"/>
                <a:gd name="connsiteY435" fmla="*/ 257175 h 1865313"/>
                <a:gd name="connsiteX436" fmla="*/ 2024063 w 2752725"/>
                <a:gd name="connsiteY436" fmla="*/ 225425 h 1865313"/>
                <a:gd name="connsiteX437" fmla="*/ 2030413 w 2752725"/>
                <a:gd name="connsiteY437" fmla="*/ 209550 h 1865313"/>
                <a:gd name="connsiteX438" fmla="*/ 2078038 w 2752725"/>
                <a:gd name="connsiteY438" fmla="*/ 209550 h 1865313"/>
                <a:gd name="connsiteX439" fmla="*/ 2125663 w 2752725"/>
                <a:gd name="connsiteY439" fmla="*/ 123825 h 1865313"/>
                <a:gd name="connsiteX440" fmla="*/ 2147888 w 2752725"/>
                <a:gd name="connsiteY440" fmla="*/ 85725 h 1865313"/>
                <a:gd name="connsiteX441" fmla="*/ 2220913 w 2752725"/>
                <a:gd name="connsiteY441" fmla="*/ 85725 h 1865313"/>
                <a:gd name="connsiteX442" fmla="*/ 2297113 w 2752725"/>
                <a:gd name="connsiteY442" fmla="*/ 225425 h 1865313"/>
                <a:gd name="connsiteX443" fmla="*/ 2360613 w 2752725"/>
                <a:gd name="connsiteY443" fmla="*/ 241300 h 1865313"/>
                <a:gd name="connsiteX444" fmla="*/ 2376488 w 2752725"/>
                <a:gd name="connsiteY444" fmla="*/ 273050 h 1865313"/>
                <a:gd name="connsiteX445" fmla="*/ 2471738 w 2752725"/>
                <a:gd name="connsiteY445" fmla="*/ 273050 h 1865313"/>
                <a:gd name="connsiteX446" fmla="*/ 2430463 w 2752725"/>
                <a:gd name="connsiteY446" fmla="*/ 390525 h 1865313"/>
                <a:gd name="connsiteX447" fmla="*/ 2392363 w 2752725"/>
                <a:gd name="connsiteY447" fmla="*/ 400050 h 1865313"/>
                <a:gd name="connsiteX448" fmla="*/ 2376488 w 2752725"/>
                <a:gd name="connsiteY448" fmla="*/ 485775 h 1865313"/>
                <a:gd name="connsiteX449" fmla="*/ 2354263 w 2752725"/>
                <a:gd name="connsiteY449" fmla="*/ 476250 h 1865313"/>
                <a:gd name="connsiteX450" fmla="*/ 2335213 w 2752725"/>
                <a:gd name="connsiteY450" fmla="*/ 488950 h 1865313"/>
                <a:gd name="connsiteX451" fmla="*/ 2312988 w 2752725"/>
                <a:gd name="connsiteY451" fmla="*/ 508000 h 1865313"/>
                <a:gd name="connsiteX452" fmla="*/ 2297113 w 2752725"/>
                <a:gd name="connsiteY452" fmla="*/ 523875 h 1865313"/>
                <a:gd name="connsiteX453" fmla="*/ 2312988 w 2752725"/>
                <a:gd name="connsiteY453" fmla="*/ 555625 h 1865313"/>
                <a:gd name="connsiteX454" fmla="*/ 2312988 w 2752725"/>
                <a:gd name="connsiteY454" fmla="*/ 577850 h 1865313"/>
                <a:gd name="connsiteX455" fmla="*/ 2312988 w 2752725"/>
                <a:gd name="connsiteY455" fmla="*/ 603250 h 1865313"/>
                <a:gd name="connsiteX456" fmla="*/ 2316163 w 2752725"/>
                <a:gd name="connsiteY456" fmla="*/ 606425 h 1865313"/>
                <a:gd name="connsiteX457" fmla="*/ 2319338 w 2752725"/>
                <a:gd name="connsiteY457" fmla="*/ 612775 h 1865313"/>
                <a:gd name="connsiteX458" fmla="*/ 2322513 w 2752725"/>
                <a:gd name="connsiteY458" fmla="*/ 615950 h 1865313"/>
                <a:gd name="connsiteX459" fmla="*/ 2322513 w 2752725"/>
                <a:gd name="connsiteY459" fmla="*/ 622300 h 1865313"/>
                <a:gd name="connsiteX460" fmla="*/ 2344738 w 2752725"/>
                <a:gd name="connsiteY460" fmla="*/ 679450 h 1865313"/>
                <a:gd name="connsiteX461" fmla="*/ 2338388 w 2752725"/>
                <a:gd name="connsiteY461" fmla="*/ 704850 h 1865313"/>
                <a:gd name="connsiteX462" fmla="*/ 2322513 w 2752725"/>
                <a:gd name="connsiteY462" fmla="*/ 717550 h 1865313"/>
                <a:gd name="connsiteX463" fmla="*/ 2290763 w 2752725"/>
                <a:gd name="connsiteY463" fmla="*/ 727075 h 1865313"/>
                <a:gd name="connsiteX464" fmla="*/ 2259013 w 2752725"/>
                <a:gd name="connsiteY464" fmla="*/ 727075 h 1865313"/>
                <a:gd name="connsiteX465" fmla="*/ 2274888 w 2752725"/>
                <a:gd name="connsiteY465" fmla="*/ 679450 h 1865313"/>
                <a:gd name="connsiteX466" fmla="*/ 2274888 w 2752725"/>
                <a:gd name="connsiteY466" fmla="*/ 641350 h 1865313"/>
                <a:gd name="connsiteX467" fmla="*/ 2274888 w 2752725"/>
                <a:gd name="connsiteY467" fmla="*/ 638175 h 1865313"/>
                <a:gd name="connsiteX468" fmla="*/ 2268538 w 2752725"/>
                <a:gd name="connsiteY468" fmla="*/ 628650 h 1865313"/>
                <a:gd name="connsiteX469" fmla="*/ 2265363 w 2752725"/>
                <a:gd name="connsiteY469" fmla="*/ 615950 h 1865313"/>
                <a:gd name="connsiteX470" fmla="*/ 2259013 w 2752725"/>
                <a:gd name="connsiteY470" fmla="*/ 593725 h 1865313"/>
                <a:gd name="connsiteX471" fmla="*/ 2227263 w 2752725"/>
                <a:gd name="connsiteY471" fmla="*/ 571500 h 1865313"/>
                <a:gd name="connsiteX472" fmla="*/ 2220913 w 2752725"/>
                <a:gd name="connsiteY472" fmla="*/ 571500 h 1865313"/>
                <a:gd name="connsiteX473" fmla="*/ 2211388 w 2752725"/>
                <a:gd name="connsiteY473" fmla="*/ 571500 h 1865313"/>
                <a:gd name="connsiteX474" fmla="*/ 2173288 w 2752725"/>
                <a:gd name="connsiteY474" fmla="*/ 587375 h 1865313"/>
                <a:gd name="connsiteX475" fmla="*/ 2157413 w 2752725"/>
                <a:gd name="connsiteY475" fmla="*/ 593725 h 1865313"/>
                <a:gd name="connsiteX476" fmla="*/ 2141538 w 2752725"/>
                <a:gd name="connsiteY476" fmla="*/ 577850 h 1865313"/>
                <a:gd name="connsiteX477" fmla="*/ 2163763 w 2752725"/>
                <a:gd name="connsiteY477" fmla="*/ 546100 h 1865313"/>
                <a:gd name="connsiteX478" fmla="*/ 2147888 w 2752725"/>
                <a:gd name="connsiteY478" fmla="*/ 546100 h 1865313"/>
                <a:gd name="connsiteX479" fmla="*/ 2109788 w 2752725"/>
                <a:gd name="connsiteY479" fmla="*/ 571500 h 1865313"/>
                <a:gd name="connsiteX480" fmla="*/ 2084388 w 2752725"/>
                <a:gd name="connsiteY480" fmla="*/ 593725 h 1865313"/>
                <a:gd name="connsiteX481" fmla="*/ 2046288 w 2752725"/>
                <a:gd name="connsiteY481" fmla="*/ 609600 h 1865313"/>
                <a:gd name="connsiteX482" fmla="*/ 2062163 w 2752725"/>
                <a:gd name="connsiteY482" fmla="*/ 625475 h 1865313"/>
                <a:gd name="connsiteX483" fmla="*/ 2078038 w 2752725"/>
                <a:gd name="connsiteY483" fmla="*/ 647700 h 1865313"/>
                <a:gd name="connsiteX484" fmla="*/ 2093913 w 2752725"/>
                <a:gd name="connsiteY484" fmla="*/ 657225 h 1865313"/>
                <a:gd name="connsiteX485" fmla="*/ 2116138 w 2752725"/>
                <a:gd name="connsiteY485" fmla="*/ 647700 h 1865313"/>
                <a:gd name="connsiteX486" fmla="*/ 2157413 w 2752725"/>
                <a:gd name="connsiteY486" fmla="*/ 657225 h 1865313"/>
                <a:gd name="connsiteX487" fmla="*/ 2160588 w 2752725"/>
                <a:gd name="connsiteY487" fmla="*/ 663575 h 1865313"/>
                <a:gd name="connsiteX488" fmla="*/ 2160588 w 2752725"/>
                <a:gd name="connsiteY488" fmla="*/ 669925 h 1865313"/>
                <a:gd name="connsiteX489" fmla="*/ 2157413 w 2752725"/>
                <a:gd name="connsiteY489" fmla="*/ 673100 h 1865313"/>
                <a:gd name="connsiteX490" fmla="*/ 2132013 w 2752725"/>
                <a:gd name="connsiteY490" fmla="*/ 679450 h 1865313"/>
                <a:gd name="connsiteX491" fmla="*/ 2100263 w 2752725"/>
                <a:gd name="connsiteY491" fmla="*/ 717550 h 1865313"/>
                <a:gd name="connsiteX492" fmla="*/ 2093913 w 2752725"/>
                <a:gd name="connsiteY492" fmla="*/ 727075 h 1865313"/>
                <a:gd name="connsiteX493" fmla="*/ 2132013 w 2752725"/>
                <a:gd name="connsiteY493" fmla="*/ 806450 h 1865313"/>
                <a:gd name="connsiteX494" fmla="*/ 2141538 w 2752725"/>
                <a:gd name="connsiteY494" fmla="*/ 835025 h 1865313"/>
                <a:gd name="connsiteX495" fmla="*/ 2132013 w 2752725"/>
                <a:gd name="connsiteY495" fmla="*/ 860425 h 1865313"/>
                <a:gd name="connsiteX496" fmla="*/ 2141538 w 2752725"/>
                <a:gd name="connsiteY496" fmla="*/ 876300 h 1865313"/>
                <a:gd name="connsiteX497" fmla="*/ 2141538 w 2752725"/>
                <a:gd name="connsiteY497" fmla="*/ 898525 h 1865313"/>
                <a:gd name="connsiteX498" fmla="*/ 2116138 w 2752725"/>
                <a:gd name="connsiteY498" fmla="*/ 946150 h 1865313"/>
                <a:gd name="connsiteX499" fmla="*/ 2093913 w 2752725"/>
                <a:gd name="connsiteY499" fmla="*/ 977900 h 1865313"/>
                <a:gd name="connsiteX500" fmla="*/ 2078038 w 2752725"/>
                <a:gd name="connsiteY500" fmla="*/ 1009650 h 1865313"/>
                <a:gd name="connsiteX501" fmla="*/ 2039938 w 2752725"/>
                <a:gd name="connsiteY501" fmla="*/ 1038225 h 1865313"/>
                <a:gd name="connsiteX502" fmla="*/ 1998663 w 2752725"/>
                <a:gd name="connsiteY502" fmla="*/ 1063625 h 1865313"/>
                <a:gd name="connsiteX503" fmla="*/ 1966913 w 2752725"/>
                <a:gd name="connsiteY503" fmla="*/ 1079500 h 1865313"/>
                <a:gd name="connsiteX504" fmla="*/ 1951038 w 2752725"/>
                <a:gd name="connsiteY504" fmla="*/ 1069975 h 1865313"/>
                <a:gd name="connsiteX505" fmla="*/ 1935163 w 2752725"/>
                <a:gd name="connsiteY505" fmla="*/ 1079500 h 1865313"/>
                <a:gd name="connsiteX506" fmla="*/ 1928813 w 2752725"/>
                <a:gd name="connsiteY506" fmla="*/ 1085850 h 1865313"/>
                <a:gd name="connsiteX507" fmla="*/ 1901449 w 2752725"/>
                <a:gd name="connsiteY507" fmla="*/ 1096795 h 1865313"/>
                <a:gd name="connsiteX508" fmla="*/ 1919564 w 2752725"/>
                <a:gd name="connsiteY508" fmla="*/ 1110413 h 1865313"/>
                <a:gd name="connsiteX509" fmla="*/ 1928261 w 2752725"/>
                <a:gd name="connsiteY509" fmla="*/ 1136563 h 1865313"/>
                <a:gd name="connsiteX510" fmla="*/ 1902171 w 2752725"/>
                <a:gd name="connsiteY510" fmla="*/ 1153996 h 1865313"/>
                <a:gd name="connsiteX511" fmla="*/ 1884777 w 2752725"/>
                <a:gd name="connsiteY511" fmla="*/ 1171429 h 1865313"/>
                <a:gd name="connsiteX512" fmla="*/ 1902171 w 2752725"/>
                <a:gd name="connsiteY512" fmla="*/ 1206295 h 1865313"/>
                <a:gd name="connsiteX513" fmla="*/ 1936958 w 2752725"/>
                <a:gd name="connsiteY513" fmla="*/ 1249878 h 1865313"/>
                <a:gd name="connsiteX514" fmla="*/ 1954351 w 2752725"/>
                <a:gd name="connsiteY514" fmla="*/ 1276028 h 1865313"/>
                <a:gd name="connsiteX515" fmla="*/ 1989138 w 2752725"/>
                <a:gd name="connsiteY515" fmla="*/ 1390797 h 1865313"/>
                <a:gd name="connsiteX516" fmla="*/ 1945655 w 2752725"/>
                <a:gd name="connsiteY516" fmla="*/ 1434380 h 1865313"/>
                <a:gd name="connsiteX517" fmla="*/ 1884777 w 2752725"/>
                <a:gd name="connsiteY517" fmla="*/ 1477963 h 1865313"/>
                <a:gd name="connsiteX518" fmla="*/ 1858687 w 2752725"/>
                <a:gd name="connsiteY518" fmla="*/ 1451813 h 1865313"/>
                <a:gd name="connsiteX519" fmla="*/ 1849990 w 2752725"/>
                <a:gd name="connsiteY519" fmla="*/ 1443097 h 1865313"/>
                <a:gd name="connsiteX520" fmla="*/ 1852672 w 2752725"/>
                <a:gd name="connsiteY520" fmla="*/ 1441753 h 1865313"/>
                <a:gd name="connsiteX521" fmla="*/ 1836837 w 2752725"/>
                <a:gd name="connsiteY521" fmla="*/ 1433983 h 1865313"/>
                <a:gd name="connsiteX522" fmla="*/ 1790700 w 2752725"/>
                <a:gd name="connsiteY522" fmla="*/ 1388837 h 1865313"/>
                <a:gd name="connsiteX523" fmla="*/ 1790700 w 2752725"/>
                <a:gd name="connsiteY523" fmla="*/ 1388439 h 1865313"/>
                <a:gd name="connsiteX524" fmla="*/ 1778920 w 2752725"/>
                <a:gd name="connsiteY524" fmla="*/ 1378335 h 1865313"/>
                <a:gd name="connsiteX525" fmla="*/ 1726992 w 2752725"/>
                <a:gd name="connsiteY525" fmla="*/ 1388863 h 1865313"/>
                <a:gd name="connsiteX526" fmla="*/ 1717677 w 2752725"/>
                <a:gd name="connsiteY526" fmla="*/ 1407022 h 1865313"/>
                <a:gd name="connsiteX527" fmla="*/ 1717721 w 2752725"/>
                <a:gd name="connsiteY527" fmla="*/ 1407344 h 1865313"/>
                <a:gd name="connsiteX528" fmla="*/ 1715013 w 2752725"/>
                <a:gd name="connsiteY528" fmla="*/ 1412214 h 1865313"/>
                <a:gd name="connsiteX529" fmla="*/ 1699990 w 2752725"/>
                <a:gd name="connsiteY529" fmla="*/ 1441501 h 1865313"/>
                <a:gd name="connsiteX530" fmla="*/ 1716607 w 2752725"/>
                <a:gd name="connsiteY530" fmla="*/ 1464662 h 1865313"/>
                <a:gd name="connsiteX531" fmla="*/ 1749840 w 2752725"/>
                <a:gd name="connsiteY531" fmla="*/ 1517300 h 1865313"/>
                <a:gd name="connsiteX532" fmla="*/ 1783074 w 2752725"/>
                <a:gd name="connsiteY532" fmla="*/ 1538355 h 1865313"/>
                <a:gd name="connsiteX533" fmla="*/ 1776843 w 2752725"/>
                <a:gd name="connsiteY533" fmla="*/ 1546777 h 1865313"/>
                <a:gd name="connsiteX534" fmla="*/ 1769743 w 2752725"/>
                <a:gd name="connsiteY534" fmla="*/ 1548217 h 1865313"/>
                <a:gd name="connsiteX535" fmla="*/ 1781810 w 2752725"/>
                <a:gd name="connsiteY535" fmla="*/ 1554833 h 1865313"/>
                <a:gd name="connsiteX536" fmla="*/ 1781048 w 2752725"/>
                <a:gd name="connsiteY536" fmla="*/ 1565910 h 1865313"/>
                <a:gd name="connsiteX537" fmla="*/ 1802385 w 2752725"/>
                <a:gd name="connsiteY537" fmla="*/ 1562663 h 1865313"/>
                <a:gd name="connsiteX538" fmla="*/ 1808671 w 2752725"/>
                <a:gd name="connsiteY538" fmla="*/ 1552541 h 1865313"/>
                <a:gd name="connsiteX539" fmla="*/ 1815720 w 2752725"/>
                <a:gd name="connsiteY539" fmla="*/ 1556361 h 1865313"/>
                <a:gd name="connsiteX540" fmla="*/ 1848104 w 2752725"/>
                <a:gd name="connsiteY540" fmla="*/ 1592840 h 1865313"/>
                <a:gd name="connsiteX541" fmla="*/ 1848104 w 2752725"/>
                <a:gd name="connsiteY541" fmla="*/ 1640970 h 1865313"/>
                <a:gd name="connsiteX542" fmla="*/ 1861439 w 2752725"/>
                <a:gd name="connsiteY542" fmla="*/ 1652812 h 1865313"/>
                <a:gd name="connsiteX543" fmla="*/ 1882775 w 2752725"/>
                <a:gd name="connsiteY543" fmla="*/ 1689100 h 1865313"/>
                <a:gd name="connsiteX544" fmla="*/ 1869440 w 2752725"/>
                <a:gd name="connsiteY544" fmla="*/ 1688336 h 1865313"/>
                <a:gd name="connsiteX545" fmla="*/ 1806195 w 2752725"/>
                <a:gd name="connsiteY545" fmla="*/ 1652048 h 1865313"/>
                <a:gd name="connsiteX546" fmla="*/ 1768475 w 2752725"/>
                <a:gd name="connsiteY546" fmla="*/ 1606210 h 1865313"/>
                <a:gd name="connsiteX547" fmla="*/ 1754188 w 2752725"/>
                <a:gd name="connsiteY547" fmla="*/ 1549294 h 1865313"/>
                <a:gd name="connsiteX548" fmla="*/ 1756071 w 2752725"/>
                <a:gd name="connsiteY548" fmla="*/ 1544740 h 1865313"/>
                <a:gd name="connsiteX549" fmla="*/ 1756071 w 2752725"/>
                <a:gd name="connsiteY549" fmla="*/ 1540461 h 1865313"/>
                <a:gd name="connsiteX550" fmla="*/ 1731146 w 2752725"/>
                <a:gd name="connsiteY550" fmla="*/ 1525722 h 1865313"/>
                <a:gd name="connsiteX551" fmla="*/ 1729069 w 2752725"/>
                <a:gd name="connsiteY551" fmla="*/ 1534144 h 1865313"/>
                <a:gd name="connsiteX552" fmla="*/ 1687527 w 2752725"/>
                <a:gd name="connsiteY552" fmla="*/ 1485717 h 1865313"/>
                <a:gd name="connsiteX553" fmla="*/ 1693901 w 2752725"/>
                <a:gd name="connsiteY553" fmla="*/ 1450183 h 1865313"/>
                <a:gd name="connsiteX554" fmla="*/ 1687281 w 2752725"/>
                <a:gd name="connsiteY554" fmla="*/ 1462088 h 1865313"/>
                <a:gd name="connsiteX555" fmla="*/ 1687103 w 2752725"/>
                <a:gd name="connsiteY555" fmla="*/ 1453424 h 1865313"/>
                <a:gd name="connsiteX556" fmla="*/ 1685815 w 2752725"/>
                <a:gd name="connsiteY556" fmla="*/ 1455738 h 1865313"/>
                <a:gd name="connsiteX557" fmla="*/ 1682665 w 2752725"/>
                <a:gd name="connsiteY557" fmla="*/ 1377299 h 1865313"/>
                <a:gd name="connsiteX558" fmla="*/ 1682334 w 2752725"/>
                <a:gd name="connsiteY558" fmla="*/ 1360649 h 1865313"/>
                <a:gd name="connsiteX559" fmla="*/ 1668966 w 2752725"/>
                <a:gd name="connsiteY559" fmla="*/ 1322432 h 1865313"/>
                <a:gd name="connsiteX560" fmla="*/ 1667584 w 2752725"/>
                <a:gd name="connsiteY560" fmla="*/ 1316360 h 1865313"/>
                <a:gd name="connsiteX561" fmla="*/ 1667486 w 2752725"/>
                <a:gd name="connsiteY561" fmla="*/ 1316082 h 1865313"/>
                <a:gd name="connsiteX562" fmla="*/ 1662509 w 2752725"/>
                <a:gd name="connsiteY562" fmla="*/ 1294231 h 1865313"/>
                <a:gd name="connsiteX563" fmla="*/ 1628434 w 2752725"/>
                <a:gd name="connsiteY563" fmla="*/ 1295893 h 1865313"/>
                <a:gd name="connsiteX564" fmla="*/ 1568875 w 2752725"/>
                <a:gd name="connsiteY564" fmla="*/ 1286279 h 1865313"/>
                <a:gd name="connsiteX565" fmla="*/ 1570359 w 2752725"/>
                <a:gd name="connsiteY565" fmla="*/ 1279921 h 1865313"/>
                <a:gd name="connsiteX566" fmla="*/ 1567318 w 2752725"/>
                <a:gd name="connsiteY566" fmla="*/ 1279929 h 1865313"/>
                <a:gd name="connsiteX567" fmla="*/ 1578355 w 2752725"/>
                <a:gd name="connsiteY567" fmla="*/ 1232683 h 1865313"/>
                <a:gd name="connsiteX568" fmla="*/ 1528763 w 2752725"/>
                <a:gd name="connsiteY568" fmla="*/ 1144563 h 1865313"/>
                <a:gd name="connsiteX569" fmla="*/ 1529258 w 2752725"/>
                <a:gd name="connsiteY569" fmla="*/ 1141911 h 1865313"/>
                <a:gd name="connsiteX570" fmla="*/ 1527175 w 2752725"/>
                <a:gd name="connsiteY570" fmla="*/ 1138213 h 1865313"/>
                <a:gd name="connsiteX571" fmla="*/ 1534754 w 2752725"/>
                <a:gd name="connsiteY571" fmla="*/ 1097645 h 1865313"/>
                <a:gd name="connsiteX572" fmla="*/ 1535016 w 2752725"/>
                <a:gd name="connsiteY572" fmla="*/ 1097156 h 1865313"/>
                <a:gd name="connsiteX573" fmla="*/ 1528258 w 2752725"/>
                <a:gd name="connsiteY573" fmla="*/ 1094688 h 1865313"/>
                <a:gd name="connsiteX574" fmla="*/ 1511372 w 2752725"/>
                <a:gd name="connsiteY574" fmla="*/ 1085548 h 1865313"/>
                <a:gd name="connsiteX575" fmla="*/ 1528173 w 2752725"/>
                <a:gd name="connsiteY575" fmla="*/ 1048856 h 1865313"/>
                <a:gd name="connsiteX576" fmla="*/ 1486477 w 2752725"/>
                <a:gd name="connsiteY576" fmla="*/ 1033271 h 1865313"/>
                <a:gd name="connsiteX577" fmla="*/ 1461106 w 2752725"/>
                <a:gd name="connsiteY577" fmla="*/ 1011540 h 1865313"/>
                <a:gd name="connsiteX578" fmla="*/ 1449220 w 2752725"/>
                <a:gd name="connsiteY578" fmla="*/ 1011084 h 1865313"/>
                <a:gd name="connsiteX579" fmla="*/ 1446044 w 2752725"/>
                <a:gd name="connsiteY579" fmla="*/ 1011422 h 1865313"/>
                <a:gd name="connsiteX580" fmla="*/ 1445895 w 2752725"/>
                <a:gd name="connsiteY580" fmla="*/ 1011848 h 1865313"/>
                <a:gd name="connsiteX581" fmla="*/ 1468438 w 2752725"/>
                <a:gd name="connsiteY581" fmla="*/ 1022594 h 1865313"/>
                <a:gd name="connsiteX582" fmla="*/ 1460924 w 2752725"/>
                <a:gd name="connsiteY582" fmla="*/ 1065579 h 1865313"/>
                <a:gd name="connsiteX583" fmla="*/ 1453409 w 2752725"/>
                <a:gd name="connsiteY583" fmla="*/ 1054833 h 1865313"/>
                <a:gd name="connsiteX584" fmla="*/ 1428085 w 2752725"/>
                <a:gd name="connsiteY584" fmla="*/ 1063887 h 1865313"/>
                <a:gd name="connsiteX585" fmla="*/ 1430532 w 2752725"/>
                <a:gd name="connsiteY585" fmla="*/ 1075396 h 1865313"/>
                <a:gd name="connsiteX586" fmla="*/ 1437367 w 2752725"/>
                <a:gd name="connsiteY586" fmla="*/ 1107546 h 1865313"/>
                <a:gd name="connsiteX587" fmla="*/ 1377103 w 2752725"/>
                <a:gd name="connsiteY587" fmla="*/ 1111464 h 1865313"/>
                <a:gd name="connsiteX588" fmla="*/ 1340577 w 2752725"/>
                <a:gd name="connsiteY588" fmla="*/ 1158220 h 1865313"/>
                <a:gd name="connsiteX589" fmla="*/ 1291331 w 2752725"/>
                <a:gd name="connsiteY589" fmla="*/ 1187164 h 1865313"/>
                <a:gd name="connsiteX590" fmla="*/ 1238140 w 2752725"/>
                <a:gd name="connsiteY590" fmla="*/ 1233920 h 1865313"/>
                <a:gd name="connsiteX591" fmla="*/ 1185018 w 2752725"/>
                <a:gd name="connsiteY591" fmla="*/ 1290116 h 1865313"/>
                <a:gd name="connsiteX592" fmla="*/ 1177400 w 2752725"/>
                <a:gd name="connsiteY592" fmla="*/ 1347827 h 1865313"/>
                <a:gd name="connsiteX593" fmla="*/ 1169781 w 2752725"/>
                <a:gd name="connsiteY593" fmla="*/ 1413285 h 1865313"/>
                <a:gd name="connsiteX594" fmla="*/ 1162231 w 2752725"/>
                <a:gd name="connsiteY594" fmla="*/ 1450690 h 1865313"/>
                <a:gd name="connsiteX595" fmla="*/ 1160224 w 2752725"/>
                <a:gd name="connsiteY595" fmla="*/ 1453789 h 1865313"/>
                <a:gd name="connsiteX596" fmla="*/ 1160463 w 2752725"/>
                <a:gd name="connsiteY596" fmla="*/ 1453974 h 1865313"/>
                <a:gd name="connsiteX597" fmla="*/ 1144134 w 2752725"/>
                <a:gd name="connsiteY597" fmla="*/ 1484313 h 1865313"/>
                <a:gd name="connsiteX598" fmla="*/ 1140457 w 2752725"/>
                <a:gd name="connsiteY598" fmla="*/ 1484313 h 1865313"/>
                <a:gd name="connsiteX599" fmla="*/ 1131895 w 2752725"/>
                <a:gd name="connsiteY599" fmla="*/ 1497535 h 1865313"/>
                <a:gd name="connsiteX600" fmla="*/ 1109109 w 2752725"/>
                <a:gd name="connsiteY600" fmla="*/ 1525588 h 1865313"/>
                <a:gd name="connsiteX601" fmla="*/ 1086322 w 2752725"/>
                <a:gd name="connsiteY601" fmla="*/ 1478832 h 1865313"/>
                <a:gd name="connsiteX602" fmla="*/ 1063536 w 2752725"/>
                <a:gd name="connsiteY602" fmla="*/ 1431987 h 1865313"/>
                <a:gd name="connsiteX603" fmla="*/ 1025650 w 2752725"/>
                <a:gd name="connsiteY603" fmla="*/ 1347827 h 1865313"/>
                <a:gd name="connsiteX604" fmla="*/ 1002795 w 2752725"/>
                <a:gd name="connsiteY604" fmla="*/ 1271325 h 1865313"/>
                <a:gd name="connsiteX605" fmla="*/ 987627 w 2752725"/>
                <a:gd name="connsiteY605" fmla="*/ 1093564 h 1865313"/>
                <a:gd name="connsiteX606" fmla="*/ 942122 w 2752725"/>
                <a:gd name="connsiteY606" fmla="*/ 1130968 h 1865313"/>
                <a:gd name="connsiteX607" fmla="*/ 919336 w 2752725"/>
                <a:gd name="connsiteY607" fmla="*/ 1093564 h 1865313"/>
                <a:gd name="connsiteX608" fmla="*/ 889609 w 2752725"/>
                <a:gd name="connsiteY608" fmla="*/ 1047660 h 1865313"/>
                <a:gd name="connsiteX609" fmla="*/ 870677 w 2752725"/>
                <a:gd name="connsiteY609" fmla="*/ 1031471 h 1865313"/>
                <a:gd name="connsiteX610" fmla="*/ 782595 w 2752725"/>
                <a:gd name="connsiteY610" fmla="*/ 1009142 h 1865313"/>
                <a:gd name="connsiteX611" fmla="*/ 669675 w 2752725"/>
                <a:gd name="connsiteY611" fmla="*/ 1012160 h 1865313"/>
                <a:gd name="connsiteX612" fmla="*/ 694955 w 2752725"/>
                <a:gd name="connsiteY612" fmla="*/ 968104 h 1865313"/>
                <a:gd name="connsiteX613" fmla="*/ 699795 w 2752725"/>
                <a:gd name="connsiteY613" fmla="*/ 942314 h 1865313"/>
                <a:gd name="connsiteX614" fmla="*/ 698835 w 2752725"/>
                <a:gd name="connsiteY614" fmla="*/ 930045 h 1865313"/>
                <a:gd name="connsiteX615" fmla="*/ 698155 w 2752725"/>
                <a:gd name="connsiteY615" fmla="*/ 917307 h 1865313"/>
                <a:gd name="connsiteX616" fmla="*/ 672955 w 2752725"/>
                <a:gd name="connsiteY616" fmla="*/ 904921 h 1865313"/>
                <a:gd name="connsiteX617" fmla="*/ 651675 w 2752725"/>
                <a:gd name="connsiteY617" fmla="*/ 873172 h 1865313"/>
                <a:gd name="connsiteX618" fmla="*/ 672265 w 2752725"/>
                <a:gd name="connsiteY618" fmla="*/ 874887 h 1865313"/>
                <a:gd name="connsiteX619" fmla="*/ 693615 w 2752725"/>
                <a:gd name="connsiteY619" fmla="*/ 875407 h 1865313"/>
                <a:gd name="connsiteX620" fmla="*/ 689594 w 2752725"/>
                <a:gd name="connsiteY620" fmla="*/ 874779 h 1865313"/>
                <a:gd name="connsiteX621" fmla="*/ 674474 w 2752725"/>
                <a:gd name="connsiteY621" fmla="*/ 874503 h 1865313"/>
                <a:gd name="connsiteX622" fmla="*/ 657622 w 2752725"/>
                <a:gd name="connsiteY622" fmla="*/ 872651 h 1865313"/>
                <a:gd name="connsiteX623" fmla="*/ 644254 w 2752725"/>
                <a:gd name="connsiteY623" fmla="*/ 868048 h 1865313"/>
                <a:gd name="connsiteX624" fmla="*/ 642091 w 2752725"/>
                <a:gd name="connsiteY624" fmla="*/ 874482 h 1865313"/>
                <a:gd name="connsiteX625" fmla="*/ 649923 w 2752725"/>
                <a:gd name="connsiteY625" fmla="*/ 890010 h 1865313"/>
                <a:gd name="connsiteX626" fmla="*/ 681249 w 2752725"/>
                <a:gd name="connsiteY626" fmla="*/ 921067 h 1865313"/>
                <a:gd name="connsiteX627" fmla="*/ 689081 w 2752725"/>
                <a:gd name="connsiteY627" fmla="*/ 936596 h 1865313"/>
                <a:gd name="connsiteX628" fmla="*/ 696913 w 2752725"/>
                <a:gd name="connsiteY628" fmla="*/ 959889 h 1865313"/>
                <a:gd name="connsiteX629" fmla="*/ 657754 w 2752725"/>
                <a:gd name="connsiteY629" fmla="*/ 975418 h 1865313"/>
                <a:gd name="connsiteX630" fmla="*/ 657754 w 2752725"/>
                <a:gd name="connsiteY630" fmla="*/ 1006475 h 1865313"/>
                <a:gd name="connsiteX631" fmla="*/ 642091 w 2752725"/>
                <a:gd name="connsiteY631" fmla="*/ 1006475 h 1865313"/>
                <a:gd name="connsiteX632" fmla="*/ 555943 w 2752725"/>
                <a:gd name="connsiteY632" fmla="*/ 983182 h 1865313"/>
                <a:gd name="connsiteX633" fmla="*/ 532448 w 2752725"/>
                <a:gd name="connsiteY633" fmla="*/ 952125 h 1865313"/>
                <a:gd name="connsiteX634" fmla="*/ 493289 w 2752725"/>
                <a:gd name="connsiteY634" fmla="*/ 959889 h 1865313"/>
                <a:gd name="connsiteX635" fmla="*/ 446299 w 2752725"/>
                <a:gd name="connsiteY635" fmla="*/ 952125 h 1865313"/>
                <a:gd name="connsiteX636" fmla="*/ 407141 w 2752725"/>
                <a:gd name="connsiteY636" fmla="*/ 921067 h 1865313"/>
                <a:gd name="connsiteX637" fmla="*/ 375814 w 2752725"/>
                <a:gd name="connsiteY637" fmla="*/ 882246 h 1865313"/>
                <a:gd name="connsiteX638" fmla="*/ 344488 w 2752725"/>
                <a:gd name="connsiteY638" fmla="*/ 858953 h 1865313"/>
                <a:gd name="connsiteX639" fmla="*/ 336656 w 2752725"/>
                <a:gd name="connsiteY639" fmla="*/ 874482 h 1865313"/>
                <a:gd name="connsiteX640" fmla="*/ 320993 w 2752725"/>
                <a:gd name="connsiteY640" fmla="*/ 843424 h 1865313"/>
                <a:gd name="connsiteX641" fmla="*/ 305329 w 2752725"/>
                <a:gd name="connsiteY641" fmla="*/ 804603 h 1865313"/>
                <a:gd name="connsiteX642" fmla="*/ 258339 w 2752725"/>
                <a:gd name="connsiteY642" fmla="*/ 765781 h 1865313"/>
                <a:gd name="connsiteX643" fmla="*/ 258339 w 2752725"/>
                <a:gd name="connsiteY643" fmla="*/ 734724 h 1865313"/>
                <a:gd name="connsiteX644" fmla="*/ 266171 w 2752725"/>
                <a:gd name="connsiteY644" fmla="*/ 703667 h 1865313"/>
                <a:gd name="connsiteX645" fmla="*/ 234844 w 2752725"/>
                <a:gd name="connsiteY645" fmla="*/ 657081 h 1865313"/>
                <a:gd name="connsiteX646" fmla="*/ 227013 w 2752725"/>
                <a:gd name="connsiteY646" fmla="*/ 633788 h 1865313"/>
                <a:gd name="connsiteX647" fmla="*/ 227013 w 2752725"/>
                <a:gd name="connsiteY647" fmla="*/ 579438 h 1865313"/>
                <a:gd name="connsiteX648" fmla="*/ 250508 w 2752725"/>
                <a:gd name="connsiteY648" fmla="*/ 594966 h 1865313"/>
                <a:gd name="connsiteX649" fmla="*/ 274003 w 2752725"/>
                <a:gd name="connsiteY649" fmla="*/ 602731 h 1865313"/>
                <a:gd name="connsiteX650" fmla="*/ 305329 w 2752725"/>
                <a:gd name="connsiteY650" fmla="*/ 579438 h 1865313"/>
                <a:gd name="connsiteX651" fmla="*/ 320993 w 2752725"/>
                <a:gd name="connsiteY651" fmla="*/ 594966 h 1865313"/>
                <a:gd name="connsiteX652" fmla="*/ 320993 w 2752725"/>
                <a:gd name="connsiteY652" fmla="*/ 610495 h 1865313"/>
                <a:gd name="connsiteX653" fmla="*/ 344488 w 2752725"/>
                <a:gd name="connsiteY653" fmla="*/ 626024 h 1865313"/>
                <a:gd name="connsiteX654" fmla="*/ 344488 w 2752725"/>
                <a:gd name="connsiteY654" fmla="*/ 649317 h 1865313"/>
                <a:gd name="connsiteX655" fmla="*/ 375814 w 2752725"/>
                <a:gd name="connsiteY655" fmla="*/ 649317 h 1865313"/>
                <a:gd name="connsiteX656" fmla="*/ 399309 w 2752725"/>
                <a:gd name="connsiteY656" fmla="*/ 664845 h 1865313"/>
                <a:gd name="connsiteX657" fmla="*/ 430636 w 2752725"/>
                <a:gd name="connsiteY657" fmla="*/ 664845 h 1865313"/>
                <a:gd name="connsiteX658" fmla="*/ 461963 w 2752725"/>
                <a:gd name="connsiteY658" fmla="*/ 657081 h 1865313"/>
                <a:gd name="connsiteX659" fmla="*/ 469794 w 2752725"/>
                <a:gd name="connsiteY659" fmla="*/ 641552 h 1865313"/>
                <a:gd name="connsiteX660" fmla="*/ 508953 w 2752725"/>
                <a:gd name="connsiteY660" fmla="*/ 626024 h 1865313"/>
                <a:gd name="connsiteX661" fmla="*/ 540279 w 2752725"/>
                <a:gd name="connsiteY661" fmla="*/ 618259 h 1865313"/>
                <a:gd name="connsiteX662" fmla="*/ 579438 w 2752725"/>
                <a:gd name="connsiteY662" fmla="*/ 641552 h 1865313"/>
                <a:gd name="connsiteX663" fmla="*/ 610764 w 2752725"/>
                <a:gd name="connsiteY663" fmla="*/ 664845 h 1865313"/>
                <a:gd name="connsiteX664" fmla="*/ 623980 w 2752725"/>
                <a:gd name="connsiteY664" fmla="*/ 668121 h 1865313"/>
                <a:gd name="connsiteX665" fmla="*/ 641584 w 2752725"/>
                <a:gd name="connsiteY665" fmla="*/ 672484 h 1865313"/>
                <a:gd name="connsiteX666" fmla="*/ 641584 w 2752725"/>
                <a:gd name="connsiteY666" fmla="*/ 670623 h 1865313"/>
                <a:gd name="connsiteX667" fmla="*/ 610228 w 2752725"/>
                <a:gd name="connsiteY667" fmla="*/ 662825 h 1865313"/>
                <a:gd name="connsiteX668" fmla="*/ 578872 w 2752725"/>
                <a:gd name="connsiteY668" fmla="*/ 639431 h 1865313"/>
                <a:gd name="connsiteX669" fmla="*/ 539676 w 2752725"/>
                <a:gd name="connsiteY669" fmla="*/ 616038 h 1865313"/>
                <a:gd name="connsiteX670" fmla="*/ 508320 w 2752725"/>
                <a:gd name="connsiteY670" fmla="*/ 623835 h 1865313"/>
                <a:gd name="connsiteX671" fmla="*/ 469125 w 2752725"/>
                <a:gd name="connsiteY671" fmla="*/ 639431 h 1865313"/>
                <a:gd name="connsiteX672" fmla="*/ 461286 w 2752725"/>
                <a:gd name="connsiteY672" fmla="*/ 655027 h 1865313"/>
                <a:gd name="connsiteX673" fmla="*/ 469125 w 2752725"/>
                <a:gd name="connsiteY673" fmla="*/ 592644 h 1865313"/>
                <a:gd name="connsiteX674" fmla="*/ 437769 w 2752725"/>
                <a:gd name="connsiteY674" fmla="*/ 561452 h 1865313"/>
                <a:gd name="connsiteX675" fmla="*/ 437769 w 2752725"/>
                <a:gd name="connsiteY675" fmla="*/ 491270 h 1865313"/>
                <a:gd name="connsiteX676" fmla="*/ 406412 w 2752725"/>
                <a:gd name="connsiteY676" fmla="*/ 460079 h 1865313"/>
                <a:gd name="connsiteX677" fmla="*/ 382895 w 2752725"/>
                <a:gd name="connsiteY677" fmla="*/ 405493 h 1865313"/>
                <a:gd name="connsiteX678" fmla="*/ 406412 w 2752725"/>
                <a:gd name="connsiteY678" fmla="*/ 389897 h 1865313"/>
                <a:gd name="connsiteX679" fmla="*/ 437769 w 2752725"/>
                <a:gd name="connsiteY679" fmla="*/ 389897 h 1865313"/>
                <a:gd name="connsiteX680" fmla="*/ 484803 w 2752725"/>
                <a:gd name="connsiteY680" fmla="*/ 382099 h 1865313"/>
                <a:gd name="connsiteX681" fmla="*/ 429930 w 2752725"/>
                <a:gd name="connsiteY681" fmla="*/ 319716 h 1865313"/>
                <a:gd name="connsiteX682" fmla="*/ 382895 w 2752725"/>
                <a:gd name="connsiteY682" fmla="*/ 319716 h 1865313"/>
                <a:gd name="connsiteX683" fmla="*/ 328022 w 2752725"/>
                <a:gd name="connsiteY683" fmla="*/ 327514 h 1865313"/>
                <a:gd name="connsiteX684" fmla="*/ 312344 w 2752725"/>
                <a:gd name="connsiteY684" fmla="*/ 288524 h 1865313"/>
                <a:gd name="connsiteX685" fmla="*/ 280988 w 2752725"/>
                <a:gd name="connsiteY685" fmla="*/ 257332 h 1865313"/>
                <a:gd name="connsiteX686" fmla="*/ 304505 w 2752725"/>
                <a:gd name="connsiteY686" fmla="*/ 202746 h 1865313"/>
                <a:gd name="connsiteX687" fmla="*/ 382895 w 2752725"/>
                <a:gd name="connsiteY687" fmla="*/ 163757 h 1865313"/>
                <a:gd name="connsiteX688" fmla="*/ 453447 w 2752725"/>
                <a:gd name="connsiteY688" fmla="*/ 155959 h 1865313"/>
                <a:gd name="connsiteX689" fmla="*/ 492642 w 2752725"/>
                <a:gd name="connsiteY689" fmla="*/ 187151 h 1865313"/>
                <a:gd name="connsiteX690" fmla="*/ 539676 w 2752725"/>
                <a:gd name="connsiteY690" fmla="*/ 179353 h 1865313"/>
                <a:gd name="connsiteX691" fmla="*/ 594550 w 2752725"/>
                <a:gd name="connsiteY691" fmla="*/ 187151 h 1865313"/>
                <a:gd name="connsiteX692" fmla="*/ 649423 w 2752725"/>
                <a:gd name="connsiteY692" fmla="*/ 179353 h 1865313"/>
                <a:gd name="connsiteX693" fmla="*/ 633745 w 2752725"/>
                <a:gd name="connsiteY693" fmla="*/ 124767 h 1865313"/>
                <a:gd name="connsiteX694" fmla="*/ 665101 w 2752725"/>
                <a:gd name="connsiteY694" fmla="*/ 54585 h 1865313"/>
                <a:gd name="connsiteX695" fmla="*/ 767009 w 2752725"/>
                <a:gd name="connsiteY695" fmla="*/ 23394 h 1865313"/>
                <a:gd name="connsiteX696" fmla="*/ 861077 w 2752725"/>
                <a:gd name="connsiteY696" fmla="*/ 0 h 1865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</a:cxnLst>
              <a:rect l="l" t="t" r="r" b="b"/>
              <a:pathLst>
                <a:path w="2752725" h="1865313">
                  <a:moveTo>
                    <a:pt x="1827540" y="1804988"/>
                  </a:moveTo>
                  <a:cubicBezTo>
                    <a:pt x="1882122" y="1804988"/>
                    <a:pt x="1882122" y="1804988"/>
                    <a:pt x="1882122" y="1804988"/>
                  </a:cubicBezTo>
                  <a:cubicBezTo>
                    <a:pt x="1913311" y="1812529"/>
                    <a:pt x="1913311" y="1812529"/>
                    <a:pt x="1913311" y="1812529"/>
                  </a:cubicBezTo>
                  <a:cubicBezTo>
                    <a:pt x="1936704" y="1827610"/>
                    <a:pt x="1936704" y="1827610"/>
                    <a:pt x="1936704" y="1827610"/>
                  </a:cubicBezTo>
                  <a:cubicBezTo>
                    <a:pt x="1999083" y="1842691"/>
                    <a:pt x="1999083" y="1842691"/>
                    <a:pt x="1999083" y="1842691"/>
                  </a:cubicBezTo>
                  <a:cubicBezTo>
                    <a:pt x="2022475" y="1865313"/>
                    <a:pt x="2022475" y="1865313"/>
                    <a:pt x="2022475" y="1865313"/>
                  </a:cubicBezTo>
                  <a:cubicBezTo>
                    <a:pt x="1960096" y="1857773"/>
                    <a:pt x="1960096" y="1857773"/>
                    <a:pt x="1960096" y="1857773"/>
                  </a:cubicBezTo>
                  <a:cubicBezTo>
                    <a:pt x="1905514" y="1850232"/>
                    <a:pt x="1905514" y="1850232"/>
                    <a:pt x="1905514" y="1850232"/>
                  </a:cubicBezTo>
                  <a:cubicBezTo>
                    <a:pt x="1905514" y="1850232"/>
                    <a:pt x="1835337" y="1835151"/>
                    <a:pt x="1819743" y="1835151"/>
                  </a:cubicBezTo>
                  <a:cubicBezTo>
                    <a:pt x="1811945" y="1827610"/>
                    <a:pt x="1757363" y="1812529"/>
                    <a:pt x="1757363" y="1812529"/>
                  </a:cubicBezTo>
                  <a:cubicBezTo>
                    <a:pt x="1827540" y="1804988"/>
                    <a:pt x="1827540" y="1804988"/>
                    <a:pt x="1827540" y="1804988"/>
                  </a:cubicBezTo>
                  <a:close/>
                  <a:moveTo>
                    <a:pt x="1520825" y="1516063"/>
                  </a:moveTo>
                  <a:cubicBezTo>
                    <a:pt x="1551960" y="1516063"/>
                    <a:pt x="1551960" y="1516063"/>
                    <a:pt x="1551960" y="1516063"/>
                  </a:cubicBezTo>
                  <a:cubicBezTo>
                    <a:pt x="1583096" y="1562848"/>
                    <a:pt x="1583096" y="1562848"/>
                    <a:pt x="1583096" y="1562848"/>
                  </a:cubicBezTo>
                  <a:cubicBezTo>
                    <a:pt x="1606447" y="1578443"/>
                    <a:pt x="1606447" y="1578443"/>
                    <a:pt x="1606447" y="1578443"/>
                  </a:cubicBezTo>
                  <a:cubicBezTo>
                    <a:pt x="1645367" y="1594037"/>
                    <a:pt x="1645367" y="1594037"/>
                    <a:pt x="1645367" y="1594037"/>
                  </a:cubicBezTo>
                  <a:cubicBezTo>
                    <a:pt x="1707638" y="1648619"/>
                    <a:pt x="1707638" y="1648619"/>
                    <a:pt x="1707638" y="1648619"/>
                  </a:cubicBezTo>
                  <a:cubicBezTo>
                    <a:pt x="1723205" y="1672011"/>
                    <a:pt x="1723205" y="1672011"/>
                    <a:pt x="1723205" y="1672011"/>
                  </a:cubicBezTo>
                  <a:cubicBezTo>
                    <a:pt x="1754341" y="1710999"/>
                    <a:pt x="1754341" y="1710999"/>
                    <a:pt x="1754341" y="1710999"/>
                  </a:cubicBezTo>
                  <a:cubicBezTo>
                    <a:pt x="1762125" y="1757783"/>
                    <a:pt x="1762125" y="1757783"/>
                    <a:pt x="1762125" y="1757783"/>
                  </a:cubicBezTo>
                  <a:cubicBezTo>
                    <a:pt x="1730989" y="1781175"/>
                    <a:pt x="1730989" y="1781175"/>
                    <a:pt x="1730989" y="1781175"/>
                  </a:cubicBezTo>
                  <a:cubicBezTo>
                    <a:pt x="1684286" y="1742188"/>
                    <a:pt x="1684286" y="1742188"/>
                    <a:pt x="1684286" y="1742188"/>
                  </a:cubicBezTo>
                  <a:cubicBezTo>
                    <a:pt x="1637583" y="1718796"/>
                    <a:pt x="1637583" y="1718796"/>
                    <a:pt x="1637583" y="1718796"/>
                  </a:cubicBezTo>
                  <a:cubicBezTo>
                    <a:pt x="1614231" y="1656417"/>
                    <a:pt x="1614231" y="1656417"/>
                    <a:pt x="1614231" y="1656417"/>
                  </a:cubicBezTo>
                  <a:cubicBezTo>
                    <a:pt x="1590880" y="1640822"/>
                    <a:pt x="1590880" y="1640822"/>
                    <a:pt x="1590880" y="1640822"/>
                  </a:cubicBezTo>
                  <a:cubicBezTo>
                    <a:pt x="1590880" y="1640822"/>
                    <a:pt x="1575312" y="1617430"/>
                    <a:pt x="1567528" y="1609632"/>
                  </a:cubicBezTo>
                  <a:cubicBezTo>
                    <a:pt x="1551960" y="1601835"/>
                    <a:pt x="1528609" y="1578443"/>
                    <a:pt x="1528609" y="1578443"/>
                  </a:cubicBezTo>
                  <a:close/>
                  <a:moveTo>
                    <a:pt x="2085045" y="1481138"/>
                  </a:moveTo>
                  <a:lnTo>
                    <a:pt x="2116357" y="1496733"/>
                  </a:lnTo>
                  <a:lnTo>
                    <a:pt x="2132013" y="1520125"/>
                  </a:lnTo>
                  <a:lnTo>
                    <a:pt x="2108529" y="1543518"/>
                  </a:lnTo>
                  <a:lnTo>
                    <a:pt x="2100701" y="1566910"/>
                  </a:lnTo>
                  <a:lnTo>
                    <a:pt x="2108529" y="1598099"/>
                  </a:lnTo>
                  <a:lnTo>
                    <a:pt x="2132013" y="1621492"/>
                  </a:lnTo>
                  <a:lnTo>
                    <a:pt x="2129860" y="1622922"/>
                  </a:lnTo>
                  <a:lnTo>
                    <a:pt x="2164380" y="1616004"/>
                  </a:lnTo>
                  <a:lnTo>
                    <a:pt x="2219325" y="1608138"/>
                  </a:lnTo>
                  <a:lnTo>
                    <a:pt x="2219325" y="1623869"/>
                  </a:lnTo>
                  <a:lnTo>
                    <a:pt x="2195777" y="1623869"/>
                  </a:lnTo>
                  <a:lnTo>
                    <a:pt x="2148682" y="1639600"/>
                  </a:lnTo>
                  <a:lnTo>
                    <a:pt x="2132983" y="1663195"/>
                  </a:lnTo>
                  <a:lnTo>
                    <a:pt x="2187928" y="1663195"/>
                  </a:lnTo>
                  <a:lnTo>
                    <a:pt x="2195777" y="1686791"/>
                  </a:lnTo>
                  <a:lnTo>
                    <a:pt x="2180079" y="1694657"/>
                  </a:lnTo>
                  <a:lnTo>
                    <a:pt x="2164380" y="1710387"/>
                  </a:lnTo>
                  <a:lnTo>
                    <a:pt x="2195777" y="1741849"/>
                  </a:lnTo>
                  <a:lnTo>
                    <a:pt x="2203627" y="1773310"/>
                  </a:lnTo>
                  <a:lnTo>
                    <a:pt x="2172230" y="1773310"/>
                  </a:lnTo>
                  <a:lnTo>
                    <a:pt x="2148682" y="1749714"/>
                  </a:lnTo>
                  <a:lnTo>
                    <a:pt x="2125134" y="1718253"/>
                  </a:lnTo>
                  <a:lnTo>
                    <a:pt x="2125134" y="1757579"/>
                  </a:lnTo>
                  <a:lnTo>
                    <a:pt x="2125134" y="1781175"/>
                  </a:lnTo>
                  <a:lnTo>
                    <a:pt x="2093737" y="1773310"/>
                  </a:lnTo>
                  <a:lnTo>
                    <a:pt x="2093737" y="1749714"/>
                  </a:lnTo>
                  <a:lnTo>
                    <a:pt x="2078038" y="1718253"/>
                  </a:lnTo>
                  <a:lnTo>
                    <a:pt x="2085888" y="1694657"/>
                  </a:lnTo>
                  <a:lnTo>
                    <a:pt x="2109435" y="1639600"/>
                  </a:lnTo>
                  <a:lnTo>
                    <a:pt x="2118651" y="1630365"/>
                  </a:lnTo>
                  <a:lnTo>
                    <a:pt x="2108529" y="1637086"/>
                  </a:lnTo>
                  <a:lnTo>
                    <a:pt x="2100701" y="1652681"/>
                  </a:lnTo>
                  <a:lnTo>
                    <a:pt x="2085045" y="1676074"/>
                  </a:lnTo>
                  <a:lnTo>
                    <a:pt x="2069389" y="1699466"/>
                  </a:lnTo>
                  <a:lnTo>
                    <a:pt x="2053733" y="1738453"/>
                  </a:lnTo>
                  <a:lnTo>
                    <a:pt x="2022421" y="1746250"/>
                  </a:lnTo>
                  <a:lnTo>
                    <a:pt x="1998937" y="1730655"/>
                  </a:lnTo>
                  <a:lnTo>
                    <a:pt x="1959796" y="1730655"/>
                  </a:lnTo>
                  <a:lnTo>
                    <a:pt x="1936312" y="1730655"/>
                  </a:lnTo>
                  <a:lnTo>
                    <a:pt x="1920656" y="1699466"/>
                  </a:lnTo>
                  <a:lnTo>
                    <a:pt x="1905000" y="1668276"/>
                  </a:lnTo>
                  <a:lnTo>
                    <a:pt x="1905000" y="1621492"/>
                  </a:lnTo>
                  <a:lnTo>
                    <a:pt x="1920656" y="1598099"/>
                  </a:lnTo>
                  <a:lnTo>
                    <a:pt x="1951968" y="1590302"/>
                  </a:lnTo>
                  <a:lnTo>
                    <a:pt x="1983281" y="1566910"/>
                  </a:lnTo>
                  <a:lnTo>
                    <a:pt x="2030249" y="1512328"/>
                  </a:lnTo>
                  <a:close/>
                  <a:moveTo>
                    <a:pt x="2234671" y="1406525"/>
                  </a:moveTo>
                  <a:lnTo>
                    <a:pt x="2273300" y="1437217"/>
                  </a:lnTo>
                  <a:lnTo>
                    <a:pt x="2273300" y="1498600"/>
                  </a:lnTo>
                  <a:lnTo>
                    <a:pt x="2234671" y="1483254"/>
                  </a:lnTo>
                  <a:lnTo>
                    <a:pt x="2211494" y="1483254"/>
                  </a:lnTo>
                  <a:lnTo>
                    <a:pt x="2188316" y="1467909"/>
                  </a:lnTo>
                  <a:lnTo>
                    <a:pt x="2157413" y="1475581"/>
                  </a:lnTo>
                  <a:lnTo>
                    <a:pt x="2180591" y="1437217"/>
                  </a:lnTo>
                  <a:lnTo>
                    <a:pt x="2211494" y="1437217"/>
                  </a:lnTo>
                  <a:close/>
                  <a:moveTo>
                    <a:pt x="1810077" y="1334119"/>
                  </a:moveTo>
                  <a:lnTo>
                    <a:pt x="1797579" y="1348196"/>
                  </a:lnTo>
                  <a:lnTo>
                    <a:pt x="1818382" y="1334600"/>
                  </a:lnTo>
                  <a:lnTo>
                    <a:pt x="1821327" y="1334119"/>
                  </a:lnTo>
                  <a:close/>
                  <a:moveTo>
                    <a:pt x="1881010" y="1308817"/>
                  </a:moveTo>
                  <a:lnTo>
                    <a:pt x="1873923" y="1325580"/>
                  </a:lnTo>
                  <a:lnTo>
                    <a:pt x="1875648" y="1325762"/>
                  </a:lnTo>
                  <a:close/>
                  <a:moveTo>
                    <a:pt x="1703414" y="1307852"/>
                  </a:moveTo>
                  <a:lnTo>
                    <a:pt x="1703829" y="1310858"/>
                  </a:lnTo>
                  <a:lnTo>
                    <a:pt x="1704526" y="1311738"/>
                  </a:lnTo>
                  <a:lnTo>
                    <a:pt x="1705502" y="1318813"/>
                  </a:lnTo>
                  <a:lnTo>
                    <a:pt x="1706221" y="1315169"/>
                  </a:lnTo>
                  <a:close/>
                  <a:moveTo>
                    <a:pt x="1872248" y="1284187"/>
                  </a:moveTo>
                  <a:lnTo>
                    <a:pt x="1882500" y="1304107"/>
                  </a:lnTo>
                  <a:lnTo>
                    <a:pt x="1883252" y="1301731"/>
                  </a:lnTo>
                  <a:close/>
                  <a:moveTo>
                    <a:pt x="1691681" y="1267043"/>
                  </a:moveTo>
                  <a:lnTo>
                    <a:pt x="1684390" y="1281794"/>
                  </a:lnTo>
                  <a:lnTo>
                    <a:pt x="1701900" y="1303906"/>
                  </a:lnTo>
                  <a:lnTo>
                    <a:pt x="1691681" y="1277269"/>
                  </a:lnTo>
                  <a:close/>
                  <a:moveTo>
                    <a:pt x="1646359" y="1257941"/>
                  </a:moveTo>
                  <a:lnTo>
                    <a:pt x="1661006" y="1287636"/>
                  </a:lnTo>
                  <a:lnTo>
                    <a:pt x="1661062" y="1287879"/>
                  </a:lnTo>
                  <a:lnTo>
                    <a:pt x="1659518" y="1287954"/>
                  </a:lnTo>
                  <a:lnTo>
                    <a:pt x="1662420" y="1293842"/>
                  </a:lnTo>
                  <a:lnTo>
                    <a:pt x="1661062" y="1287879"/>
                  </a:lnTo>
                  <a:lnTo>
                    <a:pt x="1661100" y="1287877"/>
                  </a:lnTo>
                  <a:lnTo>
                    <a:pt x="1661079" y="1287784"/>
                  </a:lnTo>
                  <a:lnTo>
                    <a:pt x="1661006" y="1287636"/>
                  </a:lnTo>
                  <a:lnTo>
                    <a:pt x="1656095" y="1266073"/>
                  </a:lnTo>
                  <a:close/>
                  <a:moveTo>
                    <a:pt x="1802756" y="1219439"/>
                  </a:moveTo>
                  <a:lnTo>
                    <a:pt x="1837079" y="1228842"/>
                  </a:lnTo>
                  <a:lnTo>
                    <a:pt x="1839689" y="1232282"/>
                  </a:lnTo>
                  <a:lnTo>
                    <a:pt x="1837351" y="1228554"/>
                  </a:lnTo>
                  <a:lnTo>
                    <a:pt x="1809819" y="1219439"/>
                  </a:lnTo>
                  <a:close/>
                  <a:moveTo>
                    <a:pt x="2139510" y="1179513"/>
                  </a:moveTo>
                  <a:lnTo>
                    <a:pt x="2170907" y="1195030"/>
                  </a:lnTo>
                  <a:lnTo>
                    <a:pt x="2163057" y="1241583"/>
                  </a:lnTo>
                  <a:lnTo>
                    <a:pt x="2155208" y="1264859"/>
                  </a:lnTo>
                  <a:lnTo>
                    <a:pt x="2202304" y="1297187"/>
                  </a:lnTo>
                  <a:lnTo>
                    <a:pt x="2233701" y="1343740"/>
                  </a:lnTo>
                  <a:lnTo>
                    <a:pt x="2241550" y="1374775"/>
                  </a:lnTo>
                  <a:lnTo>
                    <a:pt x="2202304" y="1359258"/>
                  </a:lnTo>
                  <a:lnTo>
                    <a:pt x="2194455" y="1320463"/>
                  </a:lnTo>
                  <a:lnTo>
                    <a:pt x="2147359" y="1297187"/>
                  </a:lnTo>
                  <a:lnTo>
                    <a:pt x="2123811" y="1289428"/>
                  </a:lnTo>
                  <a:lnTo>
                    <a:pt x="2108113" y="1272618"/>
                  </a:lnTo>
                  <a:lnTo>
                    <a:pt x="2100263" y="1233824"/>
                  </a:lnTo>
                  <a:lnTo>
                    <a:pt x="2115962" y="1202789"/>
                  </a:lnTo>
                  <a:close/>
                  <a:moveTo>
                    <a:pt x="468143" y="1142735"/>
                  </a:moveTo>
                  <a:lnTo>
                    <a:pt x="453390" y="1154377"/>
                  </a:lnTo>
                  <a:cubicBezTo>
                    <a:pt x="453390" y="1154377"/>
                    <a:pt x="451445" y="1156295"/>
                    <a:pt x="446583" y="1158213"/>
                  </a:cubicBezTo>
                  <a:lnTo>
                    <a:pt x="422560" y="1162005"/>
                  </a:lnTo>
                  <a:lnTo>
                    <a:pt x="422463" y="1162134"/>
                  </a:lnTo>
                  <a:lnTo>
                    <a:pt x="446666" y="1158280"/>
                  </a:lnTo>
                  <a:cubicBezTo>
                    <a:pt x="451544" y="1156338"/>
                    <a:pt x="453496" y="1154396"/>
                    <a:pt x="453496" y="1154396"/>
                  </a:cubicBezTo>
                  <a:cubicBezTo>
                    <a:pt x="453496" y="1154396"/>
                    <a:pt x="453496" y="1154396"/>
                    <a:pt x="458374" y="1150512"/>
                  </a:cubicBezTo>
                  <a:close/>
                  <a:moveTo>
                    <a:pt x="492541" y="1068954"/>
                  </a:moveTo>
                  <a:lnTo>
                    <a:pt x="492125" y="1069975"/>
                  </a:lnTo>
                  <a:lnTo>
                    <a:pt x="491604" y="1069847"/>
                  </a:lnTo>
                  <a:lnTo>
                    <a:pt x="439404" y="1139522"/>
                  </a:lnTo>
                  <a:lnTo>
                    <a:pt x="492284" y="1069975"/>
                  </a:lnTo>
                  <a:cubicBezTo>
                    <a:pt x="492284" y="1069975"/>
                    <a:pt x="492284" y="1069975"/>
                    <a:pt x="500063" y="1069975"/>
                  </a:cubicBezTo>
                  <a:cubicBezTo>
                    <a:pt x="500063" y="1069975"/>
                    <a:pt x="500063" y="1069975"/>
                    <a:pt x="496781" y="1092634"/>
                  </a:cubicBezTo>
                  <a:lnTo>
                    <a:pt x="492312" y="1123494"/>
                  </a:lnTo>
                  <a:lnTo>
                    <a:pt x="492522" y="1123326"/>
                  </a:lnTo>
                  <a:cubicBezTo>
                    <a:pt x="492522" y="1123326"/>
                    <a:pt x="492522" y="1123326"/>
                    <a:pt x="500327" y="1068954"/>
                  </a:cubicBezTo>
                  <a:cubicBezTo>
                    <a:pt x="500327" y="1068954"/>
                    <a:pt x="500327" y="1068954"/>
                    <a:pt x="499351" y="1068954"/>
                  </a:cubicBezTo>
                  <a:close/>
                  <a:moveTo>
                    <a:pt x="2149475" y="1000125"/>
                  </a:moveTo>
                  <a:lnTo>
                    <a:pt x="2149475" y="1031346"/>
                  </a:lnTo>
                  <a:lnTo>
                    <a:pt x="2125663" y="1093788"/>
                  </a:lnTo>
                  <a:lnTo>
                    <a:pt x="2117725" y="1054762"/>
                  </a:lnTo>
                  <a:lnTo>
                    <a:pt x="2117725" y="1023541"/>
                  </a:lnTo>
                  <a:close/>
                  <a:moveTo>
                    <a:pt x="1468331" y="920221"/>
                  </a:moveTo>
                  <a:lnTo>
                    <a:pt x="1459713" y="920457"/>
                  </a:lnTo>
                  <a:lnTo>
                    <a:pt x="1462004" y="921381"/>
                  </a:lnTo>
                  <a:close/>
                  <a:moveTo>
                    <a:pt x="1462995" y="900339"/>
                  </a:moveTo>
                  <a:lnTo>
                    <a:pt x="1444828" y="914873"/>
                  </a:lnTo>
                  <a:lnTo>
                    <a:pt x="1450838" y="915434"/>
                  </a:lnTo>
                  <a:lnTo>
                    <a:pt x="1450046" y="916557"/>
                  </a:lnTo>
                  <a:lnTo>
                    <a:pt x="1450079" y="916570"/>
                  </a:lnTo>
                  <a:lnTo>
                    <a:pt x="1450971" y="915446"/>
                  </a:lnTo>
                  <a:lnTo>
                    <a:pt x="1450838" y="915434"/>
                  </a:lnTo>
                  <a:lnTo>
                    <a:pt x="1458091" y="905143"/>
                  </a:lnTo>
                  <a:close/>
                  <a:moveTo>
                    <a:pt x="804384" y="823672"/>
                  </a:moveTo>
                  <a:lnTo>
                    <a:pt x="800282" y="825336"/>
                  </a:lnTo>
                  <a:lnTo>
                    <a:pt x="800042" y="826803"/>
                  </a:lnTo>
                  <a:lnTo>
                    <a:pt x="802395" y="826686"/>
                  </a:lnTo>
                  <a:close/>
                  <a:moveTo>
                    <a:pt x="77228" y="811317"/>
                  </a:moveTo>
                  <a:lnTo>
                    <a:pt x="77227" y="811318"/>
                  </a:lnTo>
                  <a:lnTo>
                    <a:pt x="77227" y="811318"/>
                  </a:lnTo>
                  <a:close/>
                  <a:moveTo>
                    <a:pt x="84481" y="807751"/>
                  </a:moveTo>
                  <a:lnTo>
                    <a:pt x="77228" y="811317"/>
                  </a:lnTo>
                  <a:lnTo>
                    <a:pt x="77228" y="811317"/>
                  </a:lnTo>
                  <a:close/>
                  <a:moveTo>
                    <a:pt x="88944" y="805675"/>
                  </a:moveTo>
                  <a:lnTo>
                    <a:pt x="115293" y="812304"/>
                  </a:lnTo>
                  <a:lnTo>
                    <a:pt x="193179" y="851495"/>
                  </a:lnTo>
                  <a:lnTo>
                    <a:pt x="216545" y="875010"/>
                  </a:lnTo>
                  <a:lnTo>
                    <a:pt x="278855" y="882849"/>
                  </a:lnTo>
                  <a:lnTo>
                    <a:pt x="302221" y="898525"/>
                  </a:lnTo>
                  <a:lnTo>
                    <a:pt x="325587" y="898525"/>
                  </a:lnTo>
                  <a:lnTo>
                    <a:pt x="324886" y="897114"/>
                  </a:lnTo>
                  <a:lnTo>
                    <a:pt x="328083" y="897114"/>
                  </a:lnTo>
                  <a:cubicBezTo>
                    <a:pt x="328083" y="897114"/>
                    <a:pt x="328083" y="897114"/>
                    <a:pt x="328083" y="904934"/>
                  </a:cubicBezTo>
                  <a:cubicBezTo>
                    <a:pt x="328083" y="904934"/>
                    <a:pt x="328083" y="904934"/>
                    <a:pt x="359329" y="936213"/>
                  </a:cubicBezTo>
                  <a:cubicBezTo>
                    <a:pt x="359329" y="936213"/>
                    <a:pt x="359329" y="936213"/>
                    <a:pt x="374952" y="983133"/>
                  </a:cubicBezTo>
                  <a:cubicBezTo>
                    <a:pt x="374952" y="983133"/>
                    <a:pt x="374952" y="983133"/>
                    <a:pt x="406198" y="998773"/>
                  </a:cubicBezTo>
                  <a:cubicBezTo>
                    <a:pt x="406198" y="998773"/>
                    <a:pt x="406198" y="998773"/>
                    <a:pt x="414010" y="998773"/>
                  </a:cubicBezTo>
                  <a:lnTo>
                    <a:pt x="413491" y="1000330"/>
                  </a:lnTo>
                  <a:lnTo>
                    <a:pt x="444500" y="1015524"/>
                  </a:lnTo>
                  <a:lnTo>
                    <a:pt x="515937" y="992188"/>
                  </a:lnTo>
                  <a:lnTo>
                    <a:pt x="523644" y="1022399"/>
                  </a:lnTo>
                  <a:lnTo>
                    <a:pt x="523742" y="1022350"/>
                  </a:lnTo>
                  <a:cubicBezTo>
                    <a:pt x="523742" y="1022350"/>
                    <a:pt x="523742" y="1022350"/>
                    <a:pt x="547158" y="1030117"/>
                  </a:cubicBezTo>
                  <a:cubicBezTo>
                    <a:pt x="547158" y="1030117"/>
                    <a:pt x="547158" y="1030117"/>
                    <a:pt x="609600" y="1076722"/>
                  </a:cubicBezTo>
                  <a:cubicBezTo>
                    <a:pt x="609600" y="1076722"/>
                    <a:pt x="609600" y="1076722"/>
                    <a:pt x="578379" y="1107792"/>
                  </a:cubicBezTo>
                  <a:cubicBezTo>
                    <a:pt x="578379" y="1107792"/>
                    <a:pt x="578379" y="1107792"/>
                    <a:pt x="554963" y="1138861"/>
                  </a:cubicBezTo>
                  <a:cubicBezTo>
                    <a:pt x="554963" y="1138861"/>
                    <a:pt x="554963" y="1138861"/>
                    <a:pt x="508132" y="1201001"/>
                  </a:cubicBezTo>
                  <a:cubicBezTo>
                    <a:pt x="508132" y="1201001"/>
                    <a:pt x="508132" y="1201001"/>
                    <a:pt x="453496" y="1239838"/>
                  </a:cubicBezTo>
                  <a:cubicBezTo>
                    <a:pt x="453496" y="1239838"/>
                    <a:pt x="453496" y="1239838"/>
                    <a:pt x="430080" y="1185466"/>
                  </a:cubicBezTo>
                  <a:cubicBezTo>
                    <a:pt x="430080" y="1185466"/>
                    <a:pt x="430080" y="1185466"/>
                    <a:pt x="426787" y="1175635"/>
                  </a:cubicBezTo>
                  <a:lnTo>
                    <a:pt x="422326" y="1162317"/>
                  </a:lnTo>
                  <a:lnTo>
                    <a:pt x="421821" y="1162991"/>
                  </a:lnTo>
                  <a:lnTo>
                    <a:pt x="421583" y="1163063"/>
                  </a:lnTo>
                  <a:lnTo>
                    <a:pt x="429045" y="1185635"/>
                  </a:lnTo>
                  <a:cubicBezTo>
                    <a:pt x="429045" y="1185635"/>
                    <a:pt x="429045" y="1185635"/>
                    <a:pt x="452438" y="1240669"/>
                  </a:cubicBezTo>
                  <a:cubicBezTo>
                    <a:pt x="452438" y="1240669"/>
                    <a:pt x="452438" y="1240669"/>
                    <a:pt x="382261" y="1264255"/>
                  </a:cubicBezTo>
                  <a:cubicBezTo>
                    <a:pt x="382261" y="1264255"/>
                    <a:pt x="382261" y="1264255"/>
                    <a:pt x="335476" y="1279978"/>
                  </a:cubicBezTo>
                  <a:cubicBezTo>
                    <a:pt x="335476" y="1279978"/>
                    <a:pt x="335476" y="1279978"/>
                    <a:pt x="304286" y="1311426"/>
                  </a:cubicBezTo>
                  <a:cubicBezTo>
                    <a:pt x="304286" y="1311426"/>
                    <a:pt x="304286" y="1311426"/>
                    <a:pt x="280894" y="1311426"/>
                  </a:cubicBezTo>
                  <a:cubicBezTo>
                    <a:pt x="280894" y="1311426"/>
                    <a:pt x="280894" y="1311426"/>
                    <a:pt x="226312" y="1327150"/>
                  </a:cubicBezTo>
                  <a:cubicBezTo>
                    <a:pt x="226312" y="1327150"/>
                    <a:pt x="226312" y="1327150"/>
                    <a:pt x="195122" y="1256393"/>
                  </a:cubicBezTo>
                  <a:cubicBezTo>
                    <a:pt x="195122" y="1256393"/>
                    <a:pt x="195122" y="1256393"/>
                    <a:pt x="187325" y="1224945"/>
                  </a:cubicBezTo>
                  <a:lnTo>
                    <a:pt x="187476" y="1224894"/>
                  </a:lnTo>
                  <a:lnTo>
                    <a:pt x="187476" y="1224572"/>
                  </a:lnTo>
                  <a:cubicBezTo>
                    <a:pt x="187476" y="1223595"/>
                    <a:pt x="187476" y="1221640"/>
                    <a:pt x="187476" y="1217730"/>
                  </a:cubicBezTo>
                  <a:cubicBezTo>
                    <a:pt x="187476" y="1217730"/>
                    <a:pt x="187476" y="1217730"/>
                    <a:pt x="132795" y="1162991"/>
                  </a:cubicBezTo>
                  <a:cubicBezTo>
                    <a:pt x="132795" y="1162991"/>
                    <a:pt x="132795" y="1162991"/>
                    <a:pt x="117172" y="1108251"/>
                  </a:cubicBezTo>
                  <a:cubicBezTo>
                    <a:pt x="117172" y="1108251"/>
                    <a:pt x="117172" y="1108251"/>
                    <a:pt x="101549" y="1061332"/>
                  </a:cubicBezTo>
                  <a:cubicBezTo>
                    <a:pt x="101549" y="1061332"/>
                    <a:pt x="101549" y="1061332"/>
                    <a:pt x="70303" y="1030052"/>
                  </a:cubicBezTo>
                  <a:cubicBezTo>
                    <a:pt x="70303" y="1030052"/>
                    <a:pt x="70303" y="1030052"/>
                    <a:pt x="15623" y="920573"/>
                  </a:cubicBezTo>
                  <a:cubicBezTo>
                    <a:pt x="15623" y="920573"/>
                    <a:pt x="15623" y="920573"/>
                    <a:pt x="0" y="889294"/>
                  </a:cubicBezTo>
                  <a:cubicBezTo>
                    <a:pt x="0" y="889294"/>
                    <a:pt x="0" y="889294"/>
                    <a:pt x="15623" y="889294"/>
                  </a:cubicBezTo>
                  <a:cubicBezTo>
                    <a:pt x="15623" y="889294"/>
                    <a:pt x="15623" y="889294"/>
                    <a:pt x="31246" y="873654"/>
                  </a:cubicBezTo>
                  <a:cubicBezTo>
                    <a:pt x="31246" y="873654"/>
                    <a:pt x="31246" y="873654"/>
                    <a:pt x="54680" y="873654"/>
                  </a:cubicBezTo>
                  <a:cubicBezTo>
                    <a:pt x="54680" y="873654"/>
                    <a:pt x="54680" y="873654"/>
                    <a:pt x="62492" y="858014"/>
                  </a:cubicBezTo>
                  <a:cubicBezTo>
                    <a:pt x="62492" y="858014"/>
                    <a:pt x="62492" y="858014"/>
                    <a:pt x="55901" y="841519"/>
                  </a:cubicBezTo>
                  <a:lnTo>
                    <a:pt x="46898" y="818987"/>
                  </a:lnTo>
                  <a:lnTo>
                    <a:pt x="46869" y="818915"/>
                  </a:lnTo>
                  <a:cubicBezTo>
                    <a:pt x="46869" y="818915"/>
                    <a:pt x="46869" y="818915"/>
                    <a:pt x="60051" y="815616"/>
                  </a:cubicBezTo>
                  <a:lnTo>
                    <a:pt x="77227" y="811318"/>
                  </a:lnTo>
                  <a:lnTo>
                    <a:pt x="76364" y="811742"/>
                  </a:lnTo>
                  <a:lnTo>
                    <a:pt x="77227" y="811318"/>
                  </a:lnTo>
                  <a:lnTo>
                    <a:pt x="77228" y="811317"/>
                  </a:lnTo>
                  <a:lnTo>
                    <a:pt x="78115" y="811095"/>
                  </a:lnTo>
                  <a:cubicBezTo>
                    <a:pt x="78115" y="811095"/>
                    <a:pt x="78115" y="811095"/>
                    <a:pt x="80068" y="810117"/>
                  </a:cubicBezTo>
                  <a:close/>
                  <a:moveTo>
                    <a:pt x="2391040" y="757238"/>
                  </a:moveTo>
                  <a:lnTo>
                    <a:pt x="2398713" y="780521"/>
                  </a:lnTo>
                  <a:lnTo>
                    <a:pt x="2391040" y="811566"/>
                  </a:lnTo>
                  <a:lnTo>
                    <a:pt x="2368021" y="827088"/>
                  </a:lnTo>
                  <a:lnTo>
                    <a:pt x="2360348" y="803805"/>
                  </a:lnTo>
                  <a:lnTo>
                    <a:pt x="2352675" y="780521"/>
                  </a:lnTo>
                  <a:close/>
                  <a:moveTo>
                    <a:pt x="904777" y="748198"/>
                  </a:moveTo>
                  <a:lnTo>
                    <a:pt x="901454" y="752170"/>
                  </a:lnTo>
                  <a:lnTo>
                    <a:pt x="903915" y="751117"/>
                  </a:lnTo>
                  <a:close/>
                  <a:moveTo>
                    <a:pt x="641584" y="677137"/>
                  </a:moveTo>
                  <a:lnTo>
                    <a:pt x="641112" y="681345"/>
                  </a:lnTo>
                  <a:cubicBezTo>
                    <a:pt x="640133" y="690079"/>
                    <a:pt x="638175" y="707549"/>
                    <a:pt x="634259" y="742488"/>
                  </a:cubicBezTo>
                  <a:cubicBezTo>
                    <a:pt x="634259" y="742488"/>
                    <a:pt x="634259" y="742488"/>
                    <a:pt x="626428" y="773546"/>
                  </a:cubicBezTo>
                  <a:cubicBezTo>
                    <a:pt x="626428" y="773546"/>
                    <a:pt x="626428" y="773546"/>
                    <a:pt x="626428" y="812367"/>
                  </a:cubicBezTo>
                  <a:cubicBezTo>
                    <a:pt x="626428" y="812367"/>
                    <a:pt x="626428" y="812367"/>
                    <a:pt x="657754" y="827896"/>
                  </a:cubicBezTo>
                  <a:cubicBezTo>
                    <a:pt x="657754" y="827896"/>
                    <a:pt x="657754" y="827896"/>
                    <a:pt x="651146" y="847549"/>
                  </a:cubicBezTo>
                  <a:lnTo>
                    <a:pt x="648513" y="855382"/>
                  </a:lnTo>
                  <a:lnTo>
                    <a:pt x="654610" y="845018"/>
                  </a:lnTo>
                  <a:cubicBezTo>
                    <a:pt x="658842" y="833810"/>
                    <a:pt x="654610" y="845018"/>
                    <a:pt x="669457" y="800765"/>
                  </a:cubicBezTo>
                  <a:lnTo>
                    <a:pt x="639763" y="786022"/>
                  </a:lnTo>
                  <a:lnTo>
                    <a:pt x="639763" y="749140"/>
                  </a:lnTo>
                  <a:cubicBezTo>
                    <a:pt x="642220" y="739312"/>
                    <a:pt x="644712" y="729483"/>
                    <a:pt x="647169" y="719655"/>
                  </a:cubicBezTo>
                  <a:lnTo>
                    <a:pt x="650716" y="698559"/>
                  </a:lnTo>
                  <a:lnTo>
                    <a:pt x="641584" y="694017"/>
                  </a:lnTo>
                  <a:cubicBezTo>
                    <a:pt x="641584" y="694017"/>
                    <a:pt x="641584" y="694017"/>
                    <a:pt x="641584" y="684148"/>
                  </a:cubicBezTo>
                  <a:close/>
                  <a:moveTo>
                    <a:pt x="216545" y="647700"/>
                  </a:moveTo>
                  <a:lnTo>
                    <a:pt x="232123" y="655538"/>
                  </a:lnTo>
                  <a:lnTo>
                    <a:pt x="263277" y="702568"/>
                  </a:lnTo>
                  <a:lnTo>
                    <a:pt x="255489" y="733921"/>
                  </a:lnTo>
                  <a:lnTo>
                    <a:pt x="255489" y="765274"/>
                  </a:lnTo>
                  <a:lnTo>
                    <a:pt x="302221" y="804466"/>
                  </a:lnTo>
                  <a:lnTo>
                    <a:pt x="317798" y="843657"/>
                  </a:lnTo>
                  <a:lnTo>
                    <a:pt x="333375" y="875010"/>
                  </a:lnTo>
                  <a:lnTo>
                    <a:pt x="317798" y="882849"/>
                  </a:lnTo>
                  <a:lnTo>
                    <a:pt x="324886" y="897114"/>
                  </a:lnTo>
                  <a:lnTo>
                    <a:pt x="307579" y="897114"/>
                  </a:lnTo>
                  <a:cubicBezTo>
                    <a:pt x="304649" y="897114"/>
                    <a:pt x="304649" y="897114"/>
                    <a:pt x="304649" y="897114"/>
                  </a:cubicBezTo>
                  <a:cubicBezTo>
                    <a:pt x="281214" y="881474"/>
                    <a:pt x="281214" y="881474"/>
                    <a:pt x="281214" y="881474"/>
                  </a:cubicBezTo>
                  <a:cubicBezTo>
                    <a:pt x="218722" y="873654"/>
                    <a:pt x="218722" y="873654"/>
                    <a:pt x="218722" y="873654"/>
                  </a:cubicBezTo>
                  <a:cubicBezTo>
                    <a:pt x="195287" y="850194"/>
                    <a:pt x="195287" y="850194"/>
                    <a:pt x="195287" y="850194"/>
                  </a:cubicBezTo>
                  <a:cubicBezTo>
                    <a:pt x="117172" y="811095"/>
                    <a:pt x="117172" y="811095"/>
                    <a:pt x="117172" y="811095"/>
                  </a:cubicBezTo>
                  <a:cubicBezTo>
                    <a:pt x="109361" y="809140"/>
                    <a:pt x="103502" y="807674"/>
                    <a:pt x="99108" y="806574"/>
                  </a:cubicBezTo>
                  <a:lnTo>
                    <a:pt x="91134" y="804578"/>
                  </a:lnTo>
                  <a:lnTo>
                    <a:pt x="93738" y="803275"/>
                  </a:lnTo>
                  <a:cubicBezTo>
                    <a:pt x="93738" y="803275"/>
                    <a:pt x="93738" y="803275"/>
                    <a:pt x="85926" y="803275"/>
                  </a:cubicBezTo>
                  <a:lnTo>
                    <a:pt x="88890" y="804016"/>
                  </a:lnTo>
                  <a:lnTo>
                    <a:pt x="89832" y="804252"/>
                  </a:lnTo>
                  <a:lnTo>
                    <a:pt x="91001" y="804545"/>
                  </a:lnTo>
                  <a:lnTo>
                    <a:pt x="91134" y="804578"/>
                  </a:lnTo>
                  <a:lnTo>
                    <a:pt x="88944" y="805675"/>
                  </a:lnTo>
                  <a:lnTo>
                    <a:pt x="88784" y="805635"/>
                  </a:lnTo>
                  <a:lnTo>
                    <a:pt x="84138" y="804466"/>
                  </a:lnTo>
                  <a:lnTo>
                    <a:pt x="84138" y="773113"/>
                  </a:lnTo>
                  <a:lnTo>
                    <a:pt x="138659" y="741760"/>
                  </a:lnTo>
                  <a:lnTo>
                    <a:pt x="154236" y="686892"/>
                  </a:lnTo>
                  <a:lnTo>
                    <a:pt x="169813" y="663377"/>
                  </a:lnTo>
                  <a:lnTo>
                    <a:pt x="169813" y="655538"/>
                  </a:lnTo>
                  <a:lnTo>
                    <a:pt x="177602" y="655538"/>
                  </a:lnTo>
                  <a:close/>
                  <a:moveTo>
                    <a:pt x="743492" y="639431"/>
                  </a:moveTo>
                  <a:cubicBezTo>
                    <a:pt x="743492" y="639431"/>
                    <a:pt x="743492" y="639431"/>
                    <a:pt x="740185" y="655880"/>
                  </a:cubicBezTo>
                  <a:lnTo>
                    <a:pt x="738841" y="662561"/>
                  </a:lnTo>
                  <a:lnTo>
                    <a:pt x="743624" y="660659"/>
                  </a:lnTo>
                  <a:lnTo>
                    <a:pt x="747696" y="640477"/>
                  </a:lnTo>
                  <a:close/>
                  <a:moveTo>
                    <a:pt x="974824" y="612219"/>
                  </a:moveTo>
                  <a:lnTo>
                    <a:pt x="978663" y="616038"/>
                  </a:lnTo>
                  <a:lnTo>
                    <a:pt x="981998" y="625991"/>
                  </a:lnTo>
                  <a:lnTo>
                    <a:pt x="979488" y="615950"/>
                  </a:lnTo>
                  <a:close/>
                  <a:moveTo>
                    <a:pt x="968811" y="577259"/>
                  </a:moveTo>
                  <a:lnTo>
                    <a:pt x="967517" y="582409"/>
                  </a:lnTo>
                  <a:cubicBezTo>
                    <a:pt x="966414" y="586795"/>
                    <a:pt x="964945" y="592644"/>
                    <a:pt x="962985" y="600442"/>
                  </a:cubicBezTo>
                  <a:lnTo>
                    <a:pt x="963977" y="601429"/>
                  </a:lnTo>
                  <a:close/>
                  <a:moveTo>
                    <a:pt x="1103330" y="492024"/>
                  </a:moveTo>
                  <a:lnTo>
                    <a:pt x="1100168" y="495169"/>
                  </a:lnTo>
                  <a:cubicBezTo>
                    <a:pt x="1096249" y="499068"/>
                    <a:pt x="1088410" y="506866"/>
                    <a:pt x="1072731" y="522462"/>
                  </a:cubicBezTo>
                  <a:cubicBezTo>
                    <a:pt x="1072731" y="522462"/>
                    <a:pt x="1072731" y="522462"/>
                    <a:pt x="1033536" y="553654"/>
                  </a:cubicBezTo>
                  <a:cubicBezTo>
                    <a:pt x="1033536" y="553654"/>
                    <a:pt x="1033536" y="553654"/>
                    <a:pt x="970824" y="569250"/>
                  </a:cubicBezTo>
                  <a:lnTo>
                    <a:pt x="970278" y="571421"/>
                  </a:lnTo>
                  <a:lnTo>
                    <a:pt x="1033463" y="555625"/>
                  </a:lnTo>
                  <a:lnTo>
                    <a:pt x="1071563" y="523875"/>
                  </a:lnTo>
                  <a:lnTo>
                    <a:pt x="1103313" y="492125"/>
                  </a:lnTo>
                  <a:close/>
                  <a:moveTo>
                    <a:pt x="1488812" y="414074"/>
                  </a:moveTo>
                  <a:lnTo>
                    <a:pt x="1550988" y="476250"/>
                  </a:lnTo>
                  <a:lnTo>
                    <a:pt x="1646238" y="485775"/>
                  </a:lnTo>
                  <a:lnTo>
                    <a:pt x="1694898" y="509132"/>
                  </a:lnTo>
                  <a:lnTo>
                    <a:pt x="1645210" y="483655"/>
                  </a:lnTo>
                  <a:lnTo>
                    <a:pt x="1551081" y="475870"/>
                  </a:lnTo>
                  <a:close/>
                  <a:moveTo>
                    <a:pt x="2650945" y="398463"/>
                  </a:moveTo>
                  <a:lnTo>
                    <a:pt x="2682262" y="421797"/>
                  </a:lnTo>
                  <a:lnTo>
                    <a:pt x="2729237" y="437354"/>
                  </a:lnTo>
                  <a:lnTo>
                    <a:pt x="2752725" y="437354"/>
                  </a:lnTo>
                  <a:lnTo>
                    <a:pt x="2721408" y="468467"/>
                  </a:lnTo>
                  <a:lnTo>
                    <a:pt x="2697920" y="484023"/>
                  </a:lnTo>
                  <a:lnTo>
                    <a:pt x="2682262" y="508654"/>
                  </a:lnTo>
                  <a:lnTo>
                    <a:pt x="2643116" y="476245"/>
                  </a:lnTo>
                  <a:lnTo>
                    <a:pt x="2619628" y="524210"/>
                  </a:lnTo>
                  <a:lnTo>
                    <a:pt x="2650945" y="578658"/>
                  </a:lnTo>
                  <a:lnTo>
                    <a:pt x="2627457" y="617549"/>
                  </a:lnTo>
                  <a:lnTo>
                    <a:pt x="2619628" y="648662"/>
                  </a:lnTo>
                  <a:lnTo>
                    <a:pt x="2619628" y="703109"/>
                  </a:lnTo>
                  <a:lnTo>
                    <a:pt x="2603969" y="718665"/>
                  </a:lnTo>
                  <a:lnTo>
                    <a:pt x="2588311" y="710887"/>
                  </a:lnTo>
                  <a:lnTo>
                    <a:pt x="2572652" y="718665"/>
                  </a:lnTo>
                  <a:lnTo>
                    <a:pt x="2541335" y="718665"/>
                  </a:lnTo>
                  <a:lnTo>
                    <a:pt x="2525677" y="718665"/>
                  </a:lnTo>
                  <a:lnTo>
                    <a:pt x="2494360" y="749778"/>
                  </a:lnTo>
                  <a:lnTo>
                    <a:pt x="2486531" y="734222"/>
                  </a:lnTo>
                  <a:lnTo>
                    <a:pt x="2470872" y="742000"/>
                  </a:lnTo>
                  <a:lnTo>
                    <a:pt x="2455214" y="749778"/>
                  </a:lnTo>
                  <a:lnTo>
                    <a:pt x="2423897" y="773113"/>
                  </a:lnTo>
                  <a:lnTo>
                    <a:pt x="2408238" y="734222"/>
                  </a:lnTo>
                  <a:lnTo>
                    <a:pt x="2416067" y="718665"/>
                  </a:lnTo>
                  <a:lnTo>
                    <a:pt x="2463043" y="703109"/>
                  </a:lnTo>
                  <a:lnTo>
                    <a:pt x="2494360" y="703109"/>
                  </a:lnTo>
                  <a:lnTo>
                    <a:pt x="2549165" y="656440"/>
                  </a:lnTo>
                  <a:lnTo>
                    <a:pt x="2588311" y="640883"/>
                  </a:lnTo>
                  <a:lnTo>
                    <a:pt x="2596140" y="601992"/>
                  </a:lnTo>
                  <a:lnTo>
                    <a:pt x="2611799" y="539767"/>
                  </a:lnTo>
                  <a:lnTo>
                    <a:pt x="2611799" y="491801"/>
                  </a:lnTo>
                  <a:lnTo>
                    <a:pt x="2635286" y="460688"/>
                  </a:lnTo>
                  <a:lnTo>
                    <a:pt x="2635286" y="421797"/>
                  </a:lnTo>
                  <a:close/>
                  <a:moveTo>
                    <a:pt x="1445389" y="395228"/>
                  </a:moveTo>
                  <a:lnTo>
                    <a:pt x="1481052" y="406373"/>
                  </a:lnTo>
                  <a:lnTo>
                    <a:pt x="1480484" y="405809"/>
                  </a:lnTo>
                  <a:close/>
                  <a:moveTo>
                    <a:pt x="1173249" y="390095"/>
                  </a:moveTo>
                  <a:lnTo>
                    <a:pt x="1167780" y="390872"/>
                  </a:lnTo>
                  <a:cubicBezTo>
                    <a:pt x="1160921" y="391847"/>
                    <a:pt x="1147203" y="393796"/>
                    <a:pt x="1119766" y="397695"/>
                  </a:cubicBezTo>
                  <a:cubicBezTo>
                    <a:pt x="1119766" y="397695"/>
                    <a:pt x="1119766" y="397695"/>
                    <a:pt x="1119521" y="399157"/>
                  </a:cubicBezTo>
                  <a:lnTo>
                    <a:pt x="1119377" y="400017"/>
                  </a:lnTo>
                  <a:lnTo>
                    <a:pt x="1173163" y="390525"/>
                  </a:lnTo>
                  <a:close/>
                  <a:moveTo>
                    <a:pt x="1212762" y="314709"/>
                  </a:moveTo>
                  <a:lnTo>
                    <a:pt x="1252538" y="320675"/>
                  </a:lnTo>
                  <a:lnTo>
                    <a:pt x="1252864" y="319695"/>
                  </a:lnTo>
                  <a:lnTo>
                    <a:pt x="1252050" y="319594"/>
                  </a:lnTo>
                  <a:cubicBezTo>
                    <a:pt x="1250090" y="319350"/>
                    <a:pt x="1244211" y="318619"/>
                    <a:pt x="1226573" y="316426"/>
                  </a:cubicBezTo>
                  <a:close/>
                  <a:moveTo>
                    <a:pt x="1315755" y="266983"/>
                  </a:moveTo>
                  <a:lnTo>
                    <a:pt x="1312863" y="269875"/>
                  </a:lnTo>
                  <a:lnTo>
                    <a:pt x="1309688" y="276225"/>
                  </a:lnTo>
                  <a:lnTo>
                    <a:pt x="1315812" y="267039"/>
                  </a:lnTo>
                  <a:close/>
                  <a:moveTo>
                    <a:pt x="2666603" y="53975"/>
                  </a:moveTo>
                  <a:lnTo>
                    <a:pt x="2682082" y="101111"/>
                  </a:lnTo>
                  <a:lnTo>
                    <a:pt x="2682082" y="132536"/>
                  </a:lnTo>
                  <a:lnTo>
                    <a:pt x="2713038" y="258234"/>
                  </a:lnTo>
                  <a:lnTo>
                    <a:pt x="2689821" y="242521"/>
                  </a:lnTo>
                  <a:lnTo>
                    <a:pt x="2682082" y="273946"/>
                  </a:lnTo>
                  <a:lnTo>
                    <a:pt x="2682082" y="313226"/>
                  </a:lnTo>
                  <a:lnTo>
                    <a:pt x="2705299" y="360363"/>
                  </a:lnTo>
                  <a:lnTo>
                    <a:pt x="2666603" y="344651"/>
                  </a:lnTo>
                  <a:lnTo>
                    <a:pt x="2666603" y="289658"/>
                  </a:lnTo>
                  <a:lnTo>
                    <a:pt x="2658864" y="171816"/>
                  </a:lnTo>
                  <a:lnTo>
                    <a:pt x="2651125" y="140392"/>
                  </a:lnTo>
                  <a:lnTo>
                    <a:pt x="2658864" y="93255"/>
                  </a:lnTo>
                  <a:close/>
                  <a:moveTo>
                    <a:pt x="861077" y="0"/>
                  </a:moveTo>
                  <a:cubicBezTo>
                    <a:pt x="861077" y="0"/>
                    <a:pt x="861077" y="0"/>
                    <a:pt x="923790" y="70181"/>
                  </a:cubicBezTo>
                  <a:cubicBezTo>
                    <a:pt x="923790" y="70181"/>
                    <a:pt x="923790" y="70181"/>
                    <a:pt x="994341" y="46788"/>
                  </a:cubicBezTo>
                  <a:cubicBezTo>
                    <a:pt x="994341" y="46788"/>
                    <a:pt x="994341" y="46788"/>
                    <a:pt x="1033536" y="46788"/>
                  </a:cubicBezTo>
                  <a:cubicBezTo>
                    <a:pt x="1033536" y="46788"/>
                    <a:pt x="1033536" y="46788"/>
                    <a:pt x="1064892" y="109171"/>
                  </a:cubicBezTo>
                  <a:cubicBezTo>
                    <a:pt x="1064892" y="109171"/>
                    <a:pt x="1064892" y="109171"/>
                    <a:pt x="1096249" y="179353"/>
                  </a:cubicBezTo>
                  <a:cubicBezTo>
                    <a:pt x="1096249" y="179353"/>
                    <a:pt x="1096249" y="179353"/>
                    <a:pt x="1174639" y="179353"/>
                  </a:cubicBezTo>
                  <a:cubicBezTo>
                    <a:pt x="1174639" y="179353"/>
                    <a:pt x="1174639" y="179353"/>
                    <a:pt x="1237351" y="210544"/>
                  </a:cubicBezTo>
                  <a:cubicBezTo>
                    <a:pt x="1237351" y="210544"/>
                    <a:pt x="1237351" y="210544"/>
                    <a:pt x="1292225" y="226140"/>
                  </a:cubicBezTo>
                  <a:cubicBezTo>
                    <a:pt x="1292225" y="226140"/>
                    <a:pt x="1292225" y="226140"/>
                    <a:pt x="1292225" y="265130"/>
                  </a:cubicBezTo>
                  <a:cubicBezTo>
                    <a:pt x="1292225" y="265130"/>
                    <a:pt x="1292225" y="265130"/>
                    <a:pt x="1268708" y="272928"/>
                  </a:cubicBezTo>
                  <a:lnTo>
                    <a:pt x="1268690" y="272981"/>
                  </a:lnTo>
                  <a:lnTo>
                    <a:pt x="1293813" y="266700"/>
                  </a:lnTo>
                  <a:lnTo>
                    <a:pt x="1309688" y="257175"/>
                  </a:lnTo>
                  <a:lnTo>
                    <a:pt x="1314843" y="264907"/>
                  </a:lnTo>
                  <a:lnTo>
                    <a:pt x="1330138" y="234549"/>
                  </a:lnTo>
                  <a:lnTo>
                    <a:pt x="1385047" y="203411"/>
                  </a:lnTo>
                  <a:lnTo>
                    <a:pt x="1472639" y="195626"/>
                  </a:lnTo>
                  <a:lnTo>
                    <a:pt x="1535392" y="218980"/>
                  </a:lnTo>
                  <a:lnTo>
                    <a:pt x="1566769" y="172273"/>
                  </a:lnTo>
                  <a:lnTo>
                    <a:pt x="1598145" y="133350"/>
                  </a:lnTo>
                  <a:lnTo>
                    <a:pt x="1692275" y="180057"/>
                  </a:lnTo>
                  <a:lnTo>
                    <a:pt x="1715807" y="203411"/>
                  </a:lnTo>
                  <a:lnTo>
                    <a:pt x="1794249" y="203411"/>
                  </a:lnTo>
                  <a:lnTo>
                    <a:pt x="1841313" y="242334"/>
                  </a:lnTo>
                  <a:lnTo>
                    <a:pt x="1966819" y="211195"/>
                  </a:lnTo>
                  <a:lnTo>
                    <a:pt x="2021728" y="226764"/>
                  </a:lnTo>
                  <a:lnTo>
                    <a:pt x="2006040" y="257903"/>
                  </a:lnTo>
                  <a:lnTo>
                    <a:pt x="2006040" y="296825"/>
                  </a:lnTo>
                  <a:lnTo>
                    <a:pt x="2076637" y="304610"/>
                  </a:lnTo>
                  <a:lnTo>
                    <a:pt x="2092325" y="335748"/>
                  </a:lnTo>
                  <a:lnTo>
                    <a:pt x="2021728" y="359102"/>
                  </a:lnTo>
                  <a:lnTo>
                    <a:pt x="1966819" y="382456"/>
                  </a:lnTo>
                  <a:lnTo>
                    <a:pt x="1911911" y="405809"/>
                  </a:lnTo>
                  <a:lnTo>
                    <a:pt x="1896222" y="460301"/>
                  </a:lnTo>
                  <a:lnTo>
                    <a:pt x="1809937" y="468086"/>
                  </a:lnTo>
                  <a:lnTo>
                    <a:pt x="1724487" y="523335"/>
                  </a:lnTo>
                  <a:lnTo>
                    <a:pt x="1725613" y="523875"/>
                  </a:lnTo>
                  <a:lnTo>
                    <a:pt x="1811338" y="469900"/>
                  </a:lnTo>
                  <a:lnTo>
                    <a:pt x="1897063" y="460375"/>
                  </a:lnTo>
                  <a:lnTo>
                    <a:pt x="1912938" y="406400"/>
                  </a:lnTo>
                  <a:lnTo>
                    <a:pt x="1966913" y="384175"/>
                  </a:lnTo>
                  <a:lnTo>
                    <a:pt x="2024063" y="358775"/>
                  </a:lnTo>
                  <a:lnTo>
                    <a:pt x="2093913" y="336550"/>
                  </a:lnTo>
                  <a:lnTo>
                    <a:pt x="2078038" y="304800"/>
                  </a:lnTo>
                  <a:lnTo>
                    <a:pt x="2008188" y="295275"/>
                  </a:lnTo>
                  <a:lnTo>
                    <a:pt x="2008188" y="257175"/>
                  </a:lnTo>
                  <a:lnTo>
                    <a:pt x="2024063" y="225425"/>
                  </a:lnTo>
                  <a:lnTo>
                    <a:pt x="2030413" y="209550"/>
                  </a:lnTo>
                  <a:lnTo>
                    <a:pt x="2078038" y="209550"/>
                  </a:lnTo>
                  <a:lnTo>
                    <a:pt x="2125663" y="123825"/>
                  </a:lnTo>
                  <a:lnTo>
                    <a:pt x="2147888" y="85725"/>
                  </a:lnTo>
                  <a:lnTo>
                    <a:pt x="2220913" y="85725"/>
                  </a:lnTo>
                  <a:lnTo>
                    <a:pt x="2297113" y="225425"/>
                  </a:lnTo>
                  <a:lnTo>
                    <a:pt x="2360613" y="241300"/>
                  </a:lnTo>
                  <a:lnTo>
                    <a:pt x="2376488" y="273050"/>
                  </a:lnTo>
                  <a:lnTo>
                    <a:pt x="2471738" y="273050"/>
                  </a:lnTo>
                  <a:lnTo>
                    <a:pt x="2430463" y="390525"/>
                  </a:lnTo>
                  <a:lnTo>
                    <a:pt x="2392363" y="400050"/>
                  </a:lnTo>
                  <a:lnTo>
                    <a:pt x="2376488" y="485775"/>
                  </a:lnTo>
                  <a:lnTo>
                    <a:pt x="2354263" y="476250"/>
                  </a:lnTo>
                  <a:lnTo>
                    <a:pt x="2335213" y="488950"/>
                  </a:lnTo>
                  <a:lnTo>
                    <a:pt x="2312988" y="508000"/>
                  </a:lnTo>
                  <a:lnTo>
                    <a:pt x="2297113" y="523875"/>
                  </a:lnTo>
                  <a:lnTo>
                    <a:pt x="2312988" y="555625"/>
                  </a:lnTo>
                  <a:lnTo>
                    <a:pt x="2312988" y="577850"/>
                  </a:lnTo>
                  <a:lnTo>
                    <a:pt x="2312988" y="603250"/>
                  </a:lnTo>
                  <a:lnTo>
                    <a:pt x="2316163" y="606425"/>
                  </a:lnTo>
                  <a:lnTo>
                    <a:pt x="2319338" y="612775"/>
                  </a:lnTo>
                  <a:lnTo>
                    <a:pt x="2322513" y="615950"/>
                  </a:lnTo>
                  <a:lnTo>
                    <a:pt x="2322513" y="622300"/>
                  </a:lnTo>
                  <a:lnTo>
                    <a:pt x="2344738" y="679450"/>
                  </a:lnTo>
                  <a:lnTo>
                    <a:pt x="2338388" y="704850"/>
                  </a:lnTo>
                  <a:lnTo>
                    <a:pt x="2322513" y="717550"/>
                  </a:lnTo>
                  <a:lnTo>
                    <a:pt x="2290763" y="727075"/>
                  </a:lnTo>
                  <a:lnTo>
                    <a:pt x="2259013" y="727075"/>
                  </a:lnTo>
                  <a:lnTo>
                    <a:pt x="2274888" y="679450"/>
                  </a:lnTo>
                  <a:lnTo>
                    <a:pt x="2274888" y="641350"/>
                  </a:lnTo>
                  <a:lnTo>
                    <a:pt x="2274888" y="638175"/>
                  </a:lnTo>
                  <a:lnTo>
                    <a:pt x="2268538" y="628650"/>
                  </a:lnTo>
                  <a:lnTo>
                    <a:pt x="2265363" y="615950"/>
                  </a:lnTo>
                  <a:lnTo>
                    <a:pt x="2259013" y="593725"/>
                  </a:lnTo>
                  <a:lnTo>
                    <a:pt x="2227263" y="571500"/>
                  </a:lnTo>
                  <a:lnTo>
                    <a:pt x="2220913" y="571500"/>
                  </a:lnTo>
                  <a:lnTo>
                    <a:pt x="2211388" y="571500"/>
                  </a:lnTo>
                  <a:lnTo>
                    <a:pt x="2173288" y="587375"/>
                  </a:lnTo>
                  <a:lnTo>
                    <a:pt x="2157413" y="593725"/>
                  </a:lnTo>
                  <a:lnTo>
                    <a:pt x="2141538" y="577850"/>
                  </a:lnTo>
                  <a:lnTo>
                    <a:pt x="2163763" y="546100"/>
                  </a:lnTo>
                  <a:lnTo>
                    <a:pt x="2147888" y="546100"/>
                  </a:lnTo>
                  <a:lnTo>
                    <a:pt x="2109788" y="571500"/>
                  </a:lnTo>
                  <a:lnTo>
                    <a:pt x="2084388" y="593725"/>
                  </a:lnTo>
                  <a:lnTo>
                    <a:pt x="2046288" y="609600"/>
                  </a:lnTo>
                  <a:lnTo>
                    <a:pt x="2062163" y="625475"/>
                  </a:lnTo>
                  <a:lnTo>
                    <a:pt x="2078038" y="647700"/>
                  </a:lnTo>
                  <a:lnTo>
                    <a:pt x="2093913" y="657225"/>
                  </a:lnTo>
                  <a:lnTo>
                    <a:pt x="2116138" y="647700"/>
                  </a:lnTo>
                  <a:lnTo>
                    <a:pt x="2157413" y="657225"/>
                  </a:lnTo>
                  <a:lnTo>
                    <a:pt x="2160588" y="663575"/>
                  </a:lnTo>
                  <a:lnTo>
                    <a:pt x="2160588" y="669925"/>
                  </a:lnTo>
                  <a:lnTo>
                    <a:pt x="2157413" y="673100"/>
                  </a:lnTo>
                  <a:lnTo>
                    <a:pt x="2132013" y="679450"/>
                  </a:lnTo>
                  <a:lnTo>
                    <a:pt x="2100263" y="717550"/>
                  </a:lnTo>
                  <a:lnTo>
                    <a:pt x="2093913" y="727075"/>
                  </a:lnTo>
                  <a:lnTo>
                    <a:pt x="2132013" y="806450"/>
                  </a:lnTo>
                  <a:lnTo>
                    <a:pt x="2141538" y="835025"/>
                  </a:lnTo>
                  <a:lnTo>
                    <a:pt x="2132013" y="860425"/>
                  </a:lnTo>
                  <a:lnTo>
                    <a:pt x="2141538" y="876300"/>
                  </a:lnTo>
                  <a:lnTo>
                    <a:pt x="2141538" y="898525"/>
                  </a:lnTo>
                  <a:lnTo>
                    <a:pt x="2116138" y="946150"/>
                  </a:lnTo>
                  <a:lnTo>
                    <a:pt x="2093913" y="977900"/>
                  </a:lnTo>
                  <a:lnTo>
                    <a:pt x="2078038" y="1009650"/>
                  </a:lnTo>
                  <a:lnTo>
                    <a:pt x="2039938" y="1038225"/>
                  </a:lnTo>
                  <a:lnTo>
                    <a:pt x="1998663" y="1063625"/>
                  </a:lnTo>
                  <a:lnTo>
                    <a:pt x="1966913" y="1079500"/>
                  </a:lnTo>
                  <a:lnTo>
                    <a:pt x="1951038" y="1069975"/>
                  </a:lnTo>
                  <a:lnTo>
                    <a:pt x="1935163" y="1079500"/>
                  </a:lnTo>
                  <a:lnTo>
                    <a:pt x="1928813" y="1085850"/>
                  </a:lnTo>
                  <a:lnTo>
                    <a:pt x="1901449" y="1096795"/>
                  </a:lnTo>
                  <a:lnTo>
                    <a:pt x="1919564" y="1110413"/>
                  </a:lnTo>
                  <a:lnTo>
                    <a:pt x="1928261" y="1136563"/>
                  </a:lnTo>
                  <a:lnTo>
                    <a:pt x="1902171" y="1153996"/>
                  </a:lnTo>
                  <a:lnTo>
                    <a:pt x="1884777" y="1171429"/>
                  </a:lnTo>
                  <a:lnTo>
                    <a:pt x="1902171" y="1206295"/>
                  </a:lnTo>
                  <a:lnTo>
                    <a:pt x="1936958" y="1249878"/>
                  </a:lnTo>
                  <a:lnTo>
                    <a:pt x="1954351" y="1276028"/>
                  </a:lnTo>
                  <a:lnTo>
                    <a:pt x="1989138" y="1390797"/>
                  </a:lnTo>
                  <a:lnTo>
                    <a:pt x="1945655" y="1434380"/>
                  </a:lnTo>
                  <a:lnTo>
                    <a:pt x="1884777" y="1477963"/>
                  </a:lnTo>
                  <a:lnTo>
                    <a:pt x="1858687" y="1451813"/>
                  </a:lnTo>
                  <a:lnTo>
                    <a:pt x="1849990" y="1443097"/>
                  </a:lnTo>
                  <a:lnTo>
                    <a:pt x="1852672" y="1441753"/>
                  </a:lnTo>
                  <a:lnTo>
                    <a:pt x="1836837" y="1433983"/>
                  </a:lnTo>
                  <a:lnTo>
                    <a:pt x="1790700" y="1388837"/>
                  </a:lnTo>
                  <a:lnTo>
                    <a:pt x="1790700" y="1388439"/>
                  </a:lnTo>
                  <a:lnTo>
                    <a:pt x="1778920" y="1378335"/>
                  </a:lnTo>
                  <a:lnTo>
                    <a:pt x="1726992" y="1388863"/>
                  </a:lnTo>
                  <a:lnTo>
                    <a:pt x="1717677" y="1407022"/>
                  </a:lnTo>
                  <a:lnTo>
                    <a:pt x="1717721" y="1407344"/>
                  </a:lnTo>
                  <a:lnTo>
                    <a:pt x="1715013" y="1412214"/>
                  </a:lnTo>
                  <a:lnTo>
                    <a:pt x="1699990" y="1441501"/>
                  </a:lnTo>
                  <a:lnTo>
                    <a:pt x="1716607" y="1464662"/>
                  </a:lnTo>
                  <a:lnTo>
                    <a:pt x="1749840" y="1517300"/>
                  </a:lnTo>
                  <a:lnTo>
                    <a:pt x="1783074" y="1538355"/>
                  </a:lnTo>
                  <a:lnTo>
                    <a:pt x="1776843" y="1546777"/>
                  </a:lnTo>
                  <a:lnTo>
                    <a:pt x="1769743" y="1548217"/>
                  </a:lnTo>
                  <a:lnTo>
                    <a:pt x="1781810" y="1554833"/>
                  </a:lnTo>
                  <a:lnTo>
                    <a:pt x="1781048" y="1565910"/>
                  </a:lnTo>
                  <a:lnTo>
                    <a:pt x="1802385" y="1562663"/>
                  </a:lnTo>
                  <a:lnTo>
                    <a:pt x="1808671" y="1552541"/>
                  </a:lnTo>
                  <a:lnTo>
                    <a:pt x="1815720" y="1556361"/>
                  </a:lnTo>
                  <a:lnTo>
                    <a:pt x="1848104" y="1592840"/>
                  </a:lnTo>
                  <a:lnTo>
                    <a:pt x="1848104" y="1640970"/>
                  </a:lnTo>
                  <a:lnTo>
                    <a:pt x="1861439" y="1652812"/>
                  </a:lnTo>
                  <a:lnTo>
                    <a:pt x="1882775" y="1689100"/>
                  </a:lnTo>
                  <a:lnTo>
                    <a:pt x="1869440" y="1688336"/>
                  </a:lnTo>
                  <a:lnTo>
                    <a:pt x="1806195" y="1652048"/>
                  </a:lnTo>
                  <a:lnTo>
                    <a:pt x="1768475" y="1606210"/>
                  </a:lnTo>
                  <a:lnTo>
                    <a:pt x="1754188" y="1549294"/>
                  </a:lnTo>
                  <a:lnTo>
                    <a:pt x="1756071" y="1544740"/>
                  </a:lnTo>
                  <a:lnTo>
                    <a:pt x="1756071" y="1540461"/>
                  </a:lnTo>
                  <a:lnTo>
                    <a:pt x="1731146" y="1525722"/>
                  </a:lnTo>
                  <a:lnTo>
                    <a:pt x="1729069" y="1534144"/>
                  </a:lnTo>
                  <a:lnTo>
                    <a:pt x="1687527" y="1485717"/>
                  </a:lnTo>
                  <a:lnTo>
                    <a:pt x="1693901" y="1450183"/>
                  </a:lnTo>
                  <a:lnTo>
                    <a:pt x="1687281" y="1462088"/>
                  </a:lnTo>
                  <a:lnTo>
                    <a:pt x="1687103" y="1453424"/>
                  </a:lnTo>
                  <a:lnTo>
                    <a:pt x="1685815" y="1455738"/>
                  </a:lnTo>
                  <a:cubicBezTo>
                    <a:pt x="1686256" y="1445768"/>
                    <a:pt x="1683709" y="1403431"/>
                    <a:pt x="1682665" y="1377299"/>
                  </a:cubicBezTo>
                  <a:lnTo>
                    <a:pt x="1682334" y="1360649"/>
                  </a:lnTo>
                  <a:lnTo>
                    <a:pt x="1668966" y="1322432"/>
                  </a:lnTo>
                  <a:lnTo>
                    <a:pt x="1667584" y="1316360"/>
                  </a:lnTo>
                  <a:lnTo>
                    <a:pt x="1667486" y="1316082"/>
                  </a:lnTo>
                  <a:lnTo>
                    <a:pt x="1662509" y="1294231"/>
                  </a:lnTo>
                  <a:lnTo>
                    <a:pt x="1628434" y="1295893"/>
                  </a:lnTo>
                  <a:cubicBezTo>
                    <a:pt x="1612805" y="1301437"/>
                    <a:pt x="1584525" y="1280785"/>
                    <a:pt x="1568875" y="1286279"/>
                  </a:cubicBezTo>
                  <a:lnTo>
                    <a:pt x="1570359" y="1279921"/>
                  </a:lnTo>
                  <a:lnTo>
                    <a:pt x="1567318" y="1279929"/>
                  </a:lnTo>
                  <a:lnTo>
                    <a:pt x="1578355" y="1232683"/>
                  </a:lnTo>
                  <a:lnTo>
                    <a:pt x="1528763" y="1144563"/>
                  </a:lnTo>
                  <a:lnTo>
                    <a:pt x="1529258" y="1141911"/>
                  </a:lnTo>
                  <a:lnTo>
                    <a:pt x="1527175" y="1138213"/>
                  </a:lnTo>
                  <a:lnTo>
                    <a:pt x="1534754" y="1097645"/>
                  </a:lnTo>
                  <a:lnTo>
                    <a:pt x="1535016" y="1097156"/>
                  </a:lnTo>
                  <a:lnTo>
                    <a:pt x="1528258" y="1094688"/>
                  </a:lnTo>
                  <a:cubicBezTo>
                    <a:pt x="1522578" y="1091493"/>
                    <a:pt x="1515725" y="1087374"/>
                    <a:pt x="1511372" y="1085548"/>
                  </a:cubicBezTo>
                  <a:cubicBezTo>
                    <a:pt x="1517902" y="1066579"/>
                    <a:pt x="1520350" y="1070586"/>
                    <a:pt x="1528173" y="1048856"/>
                  </a:cubicBezTo>
                  <a:cubicBezTo>
                    <a:pt x="1518990" y="1035675"/>
                    <a:pt x="1497632" y="1039505"/>
                    <a:pt x="1486477" y="1033271"/>
                  </a:cubicBezTo>
                  <a:cubicBezTo>
                    <a:pt x="1475322" y="1027037"/>
                    <a:pt x="1465663" y="1011006"/>
                    <a:pt x="1461106" y="1011540"/>
                  </a:cubicBezTo>
                  <a:cubicBezTo>
                    <a:pt x="1458827" y="1011808"/>
                    <a:pt x="1453879" y="1011318"/>
                    <a:pt x="1449220" y="1011084"/>
                  </a:cubicBezTo>
                  <a:lnTo>
                    <a:pt x="1446044" y="1011422"/>
                  </a:lnTo>
                  <a:lnTo>
                    <a:pt x="1445895" y="1011848"/>
                  </a:lnTo>
                  <a:lnTo>
                    <a:pt x="1468438" y="1022594"/>
                  </a:lnTo>
                  <a:lnTo>
                    <a:pt x="1460924" y="1065579"/>
                  </a:lnTo>
                  <a:lnTo>
                    <a:pt x="1453409" y="1054833"/>
                  </a:lnTo>
                  <a:lnTo>
                    <a:pt x="1428085" y="1063887"/>
                  </a:lnTo>
                  <a:lnTo>
                    <a:pt x="1430532" y="1075396"/>
                  </a:lnTo>
                  <a:cubicBezTo>
                    <a:pt x="1432691" y="1085237"/>
                    <a:pt x="1434851" y="1095078"/>
                    <a:pt x="1437367" y="1107546"/>
                  </a:cubicBezTo>
                  <a:cubicBezTo>
                    <a:pt x="1434579" y="1115739"/>
                    <a:pt x="1379892" y="1103271"/>
                    <a:pt x="1377103" y="1111464"/>
                  </a:cubicBezTo>
                  <a:cubicBezTo>
                    <a:pt x="1375742" y="1129900"/>
                    <a:pt x="1341869" y="1139785"/>
                    <a:pt x="1340577" y="1158220"/>
                  </a:cubicBezTo>
                  <a:lnTo>
                    <a:pt x="1291331" y="1187164"/>
                  </a:lnTo>
                  <a:lnTo>
                    <a:pt x="1238140" y="1233920"/>
                  </a:lnTo>
                  <a:lnTo>
                    <a:pt x="1185018" y="1290116"/>
                  </a:lnTo>
                  <a:cubicBezTo>
                    <a:pt x="1182501" y="1309353"/>
                    <a:pt x="1179916" y="1328590"/>
                    <a:pt x="1177400" y="1347827"/>
                  </a:cubicBezTo>
                  <a:cubicBezTo>
                    <a:pt x="1174883" y="1369646"/>
                    <a:pt x="1172298" y="1391466"/>
                    <a:pt x="1169781" y="1413285"/>
                  </a:cubicBezTo>
                  <a:lnTo>
                    <a:pt x="1162231" y="1450690"/>
                  </a:lnTo>
                  <a:lnTo>
                    <a:pt x="1160224" y="1453789"/>
                  </a:lnTo>
                  <a:lnTo>
                    <a:pt x="1160463" y="1453974"/>
                  </a:lnTo>
                  <a:lnTo>
                    <a:pt x="1144134" y="1484313"/>
                  </a:lnTo>
                  <a:lnTo>
                    <a:pt x="1140457" y="1484313"/>
                  </a:lnTo>
                  <a:lnTo>
                    <a:pt x="1131895" y="1497535"/>
                  </a:lnTo>
                  <a:lnTo>
                    <a:pt x="1109109" y="1525588"/>
                  </a:lnTo>
                  <a:lnTo>
                    <a:pt x="1086322" y="1478832"/>
                  </a:lnTo>
                  <a:lnTo>
                    <a:pt x="1063536" y="1431987"/>
                  </a:lnTo>
                  <a:lnTo>
                    <a:pt x="1025650" y="1347827"/>
                  </a:lnTo>
                  <a:lnTo>
                    <a:pt x="1002795" y="1271325"/>
                  </a:lnTo>
                  <a:cubicBezTo>
                    <a:pt x="997762" y="1212101"/>
                    <a:pt x="992660" y="1152788"/>
                    <a:pt x="987627" y="1093564"/>
                  </a:cubicBezTo>
                  <a:lnTo>
                    <a:pt x="942122" y="1130968"/>
                  </a:lnTo>
                  <a:lnTo>
                    <a:pt x="919336" y="1093564"/>
                  </a:lnTo>
                  <a:lnTo>
                    <a:pt x="889609" y="1047660"/>
                  </a:lnTo>
                  <a:lnTo>
                    <a:pt x="870677" y="1031471"/>
                  </a:lnTo>
                  <a:cubicBezTo>
                    <a:pt x="846660" y="1018307"/>
                    <a:pt x="810105" y="1013581"/>
                    <a:pt x="782595" y="1009142"/>
                  </a:cubicBezTo>
                  <a:cubicBezTo>
                    <a:pt x="745915" y="1003224"/>
                    <a:pt x="670035" y="1018863"/>
                    <a:pt x="669675" y="1012160"/>
                  </a:cubicBezTo>
                  <a:cubicBezTo>
                    <a:pt x="668595" y="991935"/>
                    <a:pt x="682675" y="979745"/>
                    <a:pt x="694955" y="968104"/>
                  </a:cubicBezTo>
                  <a:cubicBezTo>
                    <a:pt x="704235" y="959324"/>
                    <a:pt x="699155" y="948663"/>
                    <a:pt x="699795" y="942314"/>
                  </a:cubicBezTo>
                  <a:cubicBezTo>
                    <a:pt x="700435" y="935964"/>
                    <a:pt x="699115" y="934200"/>
                    <a:pt x="698835" y="930045"/>
                  </a:cubicBezTo>
                  <a:cubicBezTo>
                    <a:pt x="698555" y="925891"/>
                    <a:pt x="702475" y="921501"/>
                    <a:pt x="698155" y="917307"/>
                  </a:cubicBezTo>
                  <a:cubicBezTo>
                    <a:pt x="693835" y="913113"/>
                    <a:pt x="680715" y="912290"/>
                    <a:pt x="672955" y="904921"/>
                  </a:cubicBezTo>
                  <a:cubicBezTo>
                    <a:pt x="665195" y="897552"/>
                    <a:pt x="646875" y="878072"/>
                    <a:pt x="651675" y="873172"/>
                  </a:cubicBezTo>
                  <a:cubicBezTo>
                    <a:pt x="654075" y="870723"/>
                    <a:pt x="662435" y="872888"/>
                    <a:pt x="672265" y="874887"/>
                  </a:cubicBezTo>
                  <a:lnTo>
                    <a:pt x="693615" y="875407"/>
                  </a:lnTo>
                  <a:lnTo>
                    <a:pt x="689594" y="874779"/>
                  </a:lnTo>
                  <a:cubicBezTo>
                    <a:pt x="684645" y="873550"/>
                    <a:pt x="682085" y="875631"/>
                    <a:pt x="674474" y="874503"/>
                  </a:cubicBezTo>
                  <a:cubicBezTo>
                    <a:pt x="670669" y="873939"/>
                    <a:pt x="663876" y="873532"/>
                    <a:pt x="657622" y="872651"/>
                  </a:cubicBezTo>
                  <a:lnTo>
                    <a:pt x="644254" y="868048"/>
                  </a:lnTo>
                  <a:lnTo>
                    <a:pt x="642091" y="874482"/>
                  </a:lnTo>
                  <a:cubicBezTo>
                    <a:pt x="642091" y="874482"/>
                    <a:pt x="642091" y="874482"/>
                    <a:pt x="649923" y="890010"/>
                  </a:cubicBezTo>
                  <a:cubicBezTo>
                    <a:pt x="649923" y="890010"/>
                    <a:pt x="649923" y="890010"/>
                    <a:pt x="681249" y="921067"/>
                  </a:cubicBezTo>
                  <a:cubicBezTo>
                    <a:pt x="681249" y="921067"/>
                    <a:pt x="681249" y="921067"/>
                    <a:pt x="689081" y="936596"/>
                  </a:cubicBezTo>
                  <a:cubicBezTo>
                    <a:pt x="689081" y="936596"/>
                    <a:pt x="689081" y="936596"/>
                    <a:pt x="696913" y="959889"/>
                  </a:cubicBezTo>
                  <a:cubicBezTo>
                    <a:pt x="696913" y="959889"/>
                    <a:pt x="696913" y="959889"/>
                    <a:pt x="657754" y="975418"/>
                  </a:cubicBezTo>
                  <a:cubicBezTo>
                    <a:pt x="657754" y="975418"/>
                    <a:pt x="657754" y="975418"/>
                    <a:pt x="657754" y="1006475"/>
                  </a:cubicBezTo>
                  <a:cubicBezTo>
                    <a:pt x="657754" y="1006475"/>
                    <a:pt x="657754" y="1006475"/>
                    <a:pt x="642091" y="1006475"/>
                  </a:cubicBezTo>
                  <a:cubicBezTo>
                    <a:pt x="642091" y="1006475"/>
                    <a:pt x="642091" y="1006475"/>
                    <a:pt x="555943" y="983182"/>
                  </a:cubicBezTo>
                  <a:cubicBezTo>
                    <a:pt x="555943" y="983182"/>
                    <a:pt x="555943" y="983182"/>
                    <a:pt x="532448" y="952125"/>
                  </a:cubicBezTo>
                  <a:cubicBezTo>
                    <a:pt x="532448" y="952125"/>
                    <a:pt x="532448" y="952125"/>
                    <a:pt x="493289" y="959889"/>
                  </a:cubicBezTo>
                  <a:cubicBezTo>
                    <a:pt x="493289" y="959889"/>
                    <a:pt x="493289" y="959889"/>
                    <a:pt x="446299" y="952125"/>
                  </a:cubicBezTo>
                  <a:cubicBezTo>
                    <a:pt x="446299" y="952125"/>
                    <a:pt x="446299" y="952125"/>
                    <a:pt x="407141" y="921067"/>
                  </a:cubicBezTo>
                  <a:cubicBezTo>
                    <a:pt x="407141" y="921067"/>
                    <a:pt x="407141" y="921067"/>
                    <a:pt x="375814" y="882246"/>
                  </a:cubicBezTo>
                  <a:cubicBezTo>
                    <a:pt x="375814" y="882246"/>
                    <a:pt x="375814" y="882246"/>
                    <a:pt x="344488" y="858953"/>
                  </a:cubicBezTo>
                  <a:cubicBezTo>
                    <a:pt x="344488" y="858953"/>
                    <a:pt x="344488" y="858953"/>
                    <a:pt x="336656" y="874482"/>
                  </a:cubicBezTo>
                  <a:cubicBezTo>
                    <a:pt x="336656" y="874482"/>
                    <a:pt x="336656" y="874482"/>
                    <a:pt x="320993" y="843424"/>
                  </a:cubicBezTo>
                  <a:cubicBezTo>
                    <a:pt x="320993" y="843424"/>
                    <a:pt x="320993" y="843424"/>
                    <a:pt x="305329" y="804603"/>
                  </a:cubicBezTo>
                  <a:cubicBezTo>
                    <a:pt x="305329" y="804603"/>
                    <a:pt x="305329" y="804603"/>
                    <a:pt x="258339" y="765781"/>
                  </a:cubicBezTo>
                  <a:cubicBezTo>
                    <a:pt x="258339" y="765781"/>
                    <a:pt x="258339" y="765781"/>
                    <a:pt x="258339" y="734724"/>
                  </a:cubicBezTo>
                  <a:cubicBezTo>
                    <a:pt x="258339" y="734724"/>
                    <a:pt x="258339" y="734724"/>
                    <a:pt x="266171" y="703667"/>
                  </a:cubicBezTo>
                  <a:cubicBezTo>
                    <a:pt x="266171" y="703667"/>
                    <a:pt x="266171" y="703667"/>
                    <a:pt x="234844" y="657081"/>
                  </a:cubicBezTo>
                  <a:cubicBezTo>
                    <a:pt x="234844" y="657081"/>
                    <a:pt x="227013" y="633788"/>
                    <a:pt x="227013" y="633788"/>
                  </a:cubicBezTo>
                  <a:cubicBezTo>
                    <a:pt x="227013" y="626024"/>
                    <a:pt x="227013" y="579438"/>
                    <a:pt x="227013" y="579438"/>
                  </a:cubicBezTo>
                  <a:cubicBezTo>
                    <a:pt x="227013" y="579438"/>
                    <a:pt x="227013" y="579438"/>
                    <a:pt x="250508" y="594966"/>
                  </a:cubicBezTo>
                  <a:cubicBezTo>
                    <a:pt x="250508" y="594966"/>
                    <a:pt x="250508" y="594966"/>
                    <a:pt x="274003" y="602731"/>
                  </a:cubicBezTo>
                  <a:cubicBezTo>
                    <a:pt x="274003" y="602731"/>
                    <a:pt x="274003" y="602731"/>
                    <a:pt x="305329" y="579438"/>
                  </a:cubicBezTo>
                  <a:cubicBezTo>
                    <a:pt x="305329" y="579438"/>
                    <a:pt x="305329" y="579438"/>
                    <a:pt x="320993" y="594966"/>
                  </a:cubicBezTo>
                  <a:cubicBezTo>
                    <a:pt x="320993" y="594966"/>
                    <a:pt x="320993" y="594966"/>
                    <a:pt x="320993" y="610495"/>
                  </a:cubicBezTo>
                  <a:cubicBezTo>
                    <a:pt x="320993" y="610495"/>
                    <a:pt x="320993" y="610495"/>
                    <a:pt x="344488" y="626024"/>
                  </a:cubicBezTo>
                  <a:cubicBezTo>
                    <a:pt x="344488" y="626024"/>
                    <a:pt x="344488" y="626024"/>
                    <a:pt x="344488" y="649317"/>
                  </a:cubicBezTo>
                  <a:cubicBezTo>
                    <a:pt x="344488" y="649317"/>
                    <a:pt x="344488" y="649317"/>
                    <a:pt x="375814" y="649317"/>
                  </a:cubicBezTo>
                  <a:cubicBezTo>
                    <a:pt x="375814" y="649317"/>
                    <a:pt x="375814" y="649317"/>
                    <a:pt x="399309" y="664845"/>
                  </a:cubicBezTo>
                  <a:cubicBezTo>
                    <a:pt x="399309" y="664845"/>
                    <a:pt x="399309" y="664845"/>
                    <a:pt x="430636" y="664845"/>
                  </a:cubicBezTo>
                  <a:cubicBezTo>
                    <a:pt x="430636" y="664845"/>
                    <a:pt x="430636" y="664845"/>
                    <a:pt x="461963" y="657081"/>
                  </a:cubicBezTo>
                  <a:cubicBezTo>
                    <a:pt x="461963" y="657081"/>
                    <a:pt x="461963" y="657081"/>
                    <a:pt x="469794" y="641552"/>
                  </a:cubicBezTo>
                  <a:cubicBezTo>
                    <a:pt x="469794" y="641552"/>
                    <a:pt x="469794" y="641552"/>
                    <a:pt x="508953" y="626024"/>
                  </a:cubicBezTo>
                  <a:cubicBezTo>
                    <a:pt x="508953" y="626024"/>
                    <a:pt x="508953" y="626024"/>
                    <a:pt x="540279" y="618259"/>
                  </a:cubicBezTo>
                  <a:cubicBezTo>
                    <a:pt x="540279" y="618259"/>
                    <a:pt x="540279" y="618259"/>
                    <a:pt x="579438" y="641552"/>
                  </a:cubicBezTo>
                  <a:cubicBezTo>
                    <a:pt x="579438" y="641552"/>
                    <a:pt x="579438" y="641552"/>
                    <a:pt x="610764" y="664845"/>
                  </a:cubicBezTo>
                  <a:cubicBezTo>
                    <a:pt x="610764" y="664845"/>
                    <a:pt x="610764" y="664845"/>
                    <a:pt x="623980" y="668121"/>
                  </a:cubicBezTo>
                  <a:lnTo>
                    <a:pt x="641584" y="672484"/>
                  </a:lnTo>
                  <a:lnTo>
                    <a:pt x="641584" y="670623"/>
                  </a:lnTo>
                  <a:cubicBezTo>
                    <a:pt x="641584" y="670623"/>
                    <a:pt x="641584" y="670623"/>
                    <a:pt x="610228" y="662825"/>
                  </a:cubicBezTo>
                  <a:cubicBezTo>
                    <a:pt x="610228" y="662825"/>
                    <a:pt x="610228" y="662825"/>
                    <a:pt x="578872" y="639431"/>
                  </a:cubicBezTo>
                  <a:cubicBezTo>
                    <a:pt x="578872" y="639431"/>
                    <a:pt x="578872" y="639431"/>
                    <a:pt x="539676" y="616038"/>
                  </a:cubicBezTo>
                  <a:cubicBezTo>
                    <a:pt x="539676" y="616038"/>
                    <a:pt x="539676" y="616038"/>
                    <a:pt x="508320" y="623835"/>
                  </a:cubicBezTo>
                  <a:cubicBezTo>
                    <a:pt x="508320" y="623835"/>
                    <a:pt x="508320" y="623835"/>
                    <a:pt x="469125" y="639431"/>
                  </a:cubicBezTo>
                  <a:cubicBezTo>
                    <a:pt x="469125" y="639431"/>
                    <a:pt x="469125" y="639431"/>
                    <a:pt x="461286" y="655027"/>
                  </a:cubicBezTo>
                  <a:cubicBezTo>
                    <a:pt x="461286" y="655027"/>
                    <a:pt x="461286" y="655027"/>
                    <a:pt x="469125" y="592644"/>
                  </a:cubicBezTo>
                  <a:cubicBezTo>
                    <a:pt x="469125" y="592644"/>
                    <a:pt x="469125" y="592644"/>
                    <a:pt x="437769" y="561452"/>
                  </a:cubicBezTo>
                  <a:cubicBezTo>
                    <a:pt x="437769" y="561452"/>
                    <a:pt x="437769" y="499068"/>
                    <a:pt x="437769" y="491270"/>
                  </a:cubicBezTo>
                  <a:cubicBezTo>
                    <a:pt x="437769" y="483472"/>
                    <a:pt x="406412" y="460079"/>
                    <a:pt x="406412" y="460079"/>
                  </a:cubicBezTo>
                  <a:cubicBezTo>
                    <a:pt x="406412" y="460079"/>
                    <a:pt x="406412" y="460079"/>
                    <a:pt x="382895" y="405493"/>
                  </a:cubicBezTo>
                  <a:cubicBezTo>
                    <a:pt x="382895" y="405493"/>
                    <a:pt x="382895" y="405493"/>
                    <a:pt x="406412" y="389897"/>
                  </a:cubicBezTo>
                  <a:cubicBezTo>
                    <a:pt x="406412" y="389897"/>
                    <a:pt x="406412" y="389897"/>
                    <a:pt x="437769" y="389897"/>
                  </a:cubicBezTo>
                  <a:cubicBezTo>
                    <a:pt x="437769" y="389897"/>
                    <a:pt x="437769" y="389897"/>
                    <a:pt x="484803" y="382099"/>
                  </a:cubicBezTo>
                  <a:cubicBezTo>
                    <a:pt x="484803" y="382099"/>
                    <a:pt x="484803" y="382099"/>
                    <a:pt x="429930" y="319716"/>
                  </a:cubicBezTo>
                  <a:cubicBezTo>
                    <a:pt x="429930" y="319716"/>
                    <a:pt x="429930" y="319716"/>
                    <a:pt x="382895" y="319716"/>
                  </a:cubicBezTo>
                  <a:cubicBezTo>
                    <a:pt x="382895" y="319716"/>
                    <a:pt x="382895" y="319716"/>
                    <a:pt x="328022" y="327514"/>
                  </a:cubicBezTo>
                  <a:cubicBezTo>
                    <a:pt x="328022" y="327514"/>
                    <a:pt x="328022" y="327514"/>
                    <a:pt x="312344" y="288524"/>
                  </a:cubicBezTo>
                  <a:cubicBezTo>
                    <a:pt x="312344" y="288524"/>
                    <a:pt x="312344" y="288524"/>
                    <a:pt x="280988" y="257332"/>
                  </a:cubicBezTo>
                  <a:cubicBezTo>
                    <a:pt x="280988" y="257332"/>
                    <a:pt x="280988" y="257332"/>
                    <a:pt x="304505" y="202746"/>
                  </a:cubicBezTo>
                  <a:cubicBezTo>
                    <a:pt x="304505" y="202746"/>
                    <a:pt x="304505" y="202746"/>
                    <a:pt x="382895" y="163757"/>
                  </a:cubicBezTo>
                  <a:cubicBezTo>
                    <a:pt x="382895" y="163757"/>
                    <a:pt x="382895" y="163757"/>
                    <a:pt x="453447" y="155959"/>
                  </a:cubicBezTo>
                  <a:cubicBezTo>
                    <a:pt x="453447" y="155959"/>
                    <a:pt x="453447" y="155959"/>
                    <a:pt x="492642" y="187151"/>
                  </a:cubicBezTo>
                  <a:cubicBezTo>
                    <a:pt x="492642" y="187151"/>
                    <a:pt x="492642" y="187151"/>
                    <a:pt x="539676" y="179353"/>
                  </a:cubicBezTo>
                  <a:cubicBezTo>
                    <a:pt x="539676" y="179353"/>
                    <a:pt x="539676" y="179353"/>
                    <a:pt x="594550" y="187151"/>
                  </a:cubicBezTo>
                  <a:cubicBezTo>
                    <a:pt x="594550" y="187151"/>
                    <a:pt x="594550" y="187151"/>
                    <a:pt x="649423" y="179353"/>
                  </a:cubicBezTo>
                  <a:cubicBezTo>
                    <a:pt x="649423" y="179353"/>
                    <a:pt x="649423" y="179353"/>
                    <a:pt x="633745" y="124767"/>
                  </a:cubicBezTo>
                  <a:cubicBezTo>
                    <a:pt x="633745" y="124767"/>
                    <a:pt x="633745" y="124767"/>
                    <a:pt x="665101" y="54585"/>
                  </a:cubicBezTo>
                  <a:cubicBezTo>
                    <a:pt x="665101" y="54585"/>
                    <a:pt x="665101" y="54585"/>
                    <a:pt x="767009" y="23394"/>
                  </a:cubicBezTo>
                  <a:cubicBezTo>
                    <a:pt x="767009" y="23394"/>
                    <a:pt x="767009" y="23394"/>
                    <a:pt x="861077" y="0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  <a:scene3d>
              <a:camera prst="orthographicFront"/>
              <a:lightRig rig="contrasting" dir="t"/>
            </a:scene3d>
            <a:sp3d z="63500" prstMaterial="metal">
              <a:bevelB w="0" h="0"/>
            </a:sp3d>
          </p:spPr>
          <p:txBody>
            <a:bodyPr wrap="square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73" name="Freeform 407">
            <a:extLst>
              <a:ext uri="{FF2B5EF4-FFF2-40B4-BE49-F238E27FC236}">
                <a16:creationId xmlns:a16="http://schemas.microsoft.com/office/drawing/2014/main" id="{F87B7006-D00E-448E-9909-B7B453D3B2E2}"/>
              </a:ext>
            </a:extLst>
          </p:cNvPr>
          <p:cNvSpPr/>
          <p:nvPr/>
        </p:nvSpPr>
        <p:spPr>
          <a:xfrm>
            <a:off x="2026544" y="2004844"/>
            <a:ext cx="3286699" cy="3953591"/>
          </a:xfrm>
          <a:custGeom>
            <a:avLst/>
            <a:gdLst>
              <a:gd name="connsiteX0" fmla="*/ 3357754 w 4318753"/>
              <a:gd name="connsiteY0" fmla="*/ 7304 h 4889547"/>
              <a:gd name="connsiteX1" fmla="*/ 358245 w 4318753"/>
              <a:gd name="connsiteY1" fmla="*/ 284395 h 4889547"/>
              <a:gd name="connsiteX2" fmla="*/ 115791 w 4318753"/>
              <a:gd name="connsiteY2" fmla="*/ 1510522 h 4889547"/>
              <a:gd name="connsiteX3" fmla="*/ 905500 w 4318753"/>
              <a:gd name="connsiteY3" fmla="*/ 1337341 h 4889547"/>
              <a:gd name="connsiteX4" fmla="*/ 1030191 w 4318753"/>
              <a:gd name="connsiteY4" fmla="*/ 2106268 h 4889547"/>
              <a:gd name="connsiteX5" fmla="*/ 1619009 w 4318753"/>
              <a:gd name="connsiteY5" fmla="*/ 2895977 h 4889547"/>
              <a:gd name="connsiteX6" fmla="*/ 2193973 w 4318753"/>
              <a:gd name="connsiteY6" fmla="*/ 2909832 h 4889547"/>
              <a:gd name="connsiteX7" fmla="*/ 2200900 w 4318753"/>
              <a:gd name="connsiteY7" fmla="*/ 3464013 h 4889547"/>
              <a:gd name="connsiteX8" fmla="*/ 2339445 w 4318753"/>
              <a:gd name="connsiteY8" fmla="*/ 3644122 h 4889547"/>
              <a:gd name="connsiteX9" fmla="*/ 2027718 w 4318753"/>
              <a:gd name="connsiteY9" fmla="*/ 4537741 h 4889547"/>
              <a:gd name="connsiteX10" fmla="*/ 2588827 w 4318753"/>
              <a:gd name="connsiteY10" fmla="*/ 4884104 h 4889547"/>
              <a:gd name="connsiteX11" fmla="*/ 2817427 w 4318753"/>
              <a:gd name="connsiteY11" fmla="*/ 4302213 h 4889547"/>
              <a:gd name="connsiteX12" fmla="*/ 3406245 w 4318753"/>
              <a:gd name="connsiteY12" fmla="*/ 3706468 h 4889547"/>
              <a:gd name="connsiteX13" fmla="*/ 3981209 w 4318753"/>
              <a:gd name="connsiteY13" fmla="*/ 2944468 h 4889547"/>
              <a:gd name="connsiteX14" fmla="*/ 3087591 w 4318753"/>
              <a:gd name="connsiteY14" fmla="*/ 2321013 h 4889547"/>
              <a:gd name="connsiteX15" fmla="*/ 2900554 w 4318753"/>
              <a:gd name="connsiteY15" fmla="*/ 1960795 h 4889547"/>
              <a:gd name="connsiteX16" fmla="*/ 3420100 w 4318753"/>
              <a:gd name="connsiteY16" fmla="*/ 1683704 h 4889547"/>
              <a:gd name="connsiteX17" fmla="*/ 3579427 w 4318753"/>
              <a:gd name="connsiteY17" fmla="*/ 1122595 h 4889547"/>
              <a:gd name="connsiteX18" fmla="*/ 4265227 w 4318753"/>
              <a:gd name="connsiteY18" fmla="*/ 596122 h 4889547"/>
              <a:gd name="connsiteX19" fmla="*/ 4175173 w 4318753"/>
              <a:gd name="connsiteY19" fmla="*/ 125068 h 4889547"/>
              <a:gd name="connsiteX20" fmla="*/ 3357754 w 4318753"/>
              <a:gd name="connsiteY20" fmla="*/ 7304 h 4889547"/>
              <a:gd name="connsiteX0" fmla="*/ 3735507 w 4696506"/>
              <a:gd name="connsiteY0" fmla="*/ 7304 h 4889547"/>
              <a:gd name="connsiteX1" fmla="*/ 735998 w 4696506"/>
              <a:gd name="connsiteY1" fmla="*/ 284395 h 4889547"/>
              <a:gd name="connsiteX2" fmla="*/ 21829 w 4696506"/>
              <a:gd name="connsiteY2" fmla="*/ 1598705 h 4889547"/>
              <a:gd name="connsiteX3" fmla="*/ 1283253 w 4696506"/>
              <a:gd name="connsiteY3" fmla="*/ 1337341 h 4889547"/>
              <a:gd name="connsiteX4" fmla="*/ 1407944 w 4696506"/>
              <a:gd name="connsiteY4" fmla="*/ 2106268 h 4889547"/>
              <a:gd name="connsiteX5" fmla="*/ 1996762 w 4696506"/>
              <a:gd name="connsiteY5" fmla="*/ 2895977 h 4889547"/>
              <a:gd name="connsiteX6" fmla="*/ 2571726 w 4696506"/>
              <a:gd name="connsiteY6" fmla="*/ 2909832 h 4889547"/>
              <a:gd name="connsiteX7" fmla="*/ 2578653 w 4696506"/>
              <a:gd name="connsiteY7" fmla="*/ 3464013 h 4889547"/>
              <a:gd name="connsiteX8" fmla="*/ 2717198 w 4696506"/>
              <a:gd name="connsiteY8" fmla="*/ 3644122 h 4889547"/>
              <a:gd name="connsiteX9" fmla="*/ 2405471 w 4696506"/>
              <a:gd name="connsiteY9" fmla="*/ 4537741 h 4889547"/>
              <a:gd name="connsiteX10" fmla="*/ 2966580 w 4696506"/>
              <a:gd name="connsiteY10" fmla="*/ 4884104 h 4889547"/>
              <a:gd name="connsiteX11" fmla="*/ 3195180 w 4696506"/>
              <a:gd name="connsiteY11" fmla="*/ 4302213 h 4889547"/>
              <a:gd name="connsiteX12" fmla="*/ 3783998 w 4696506"/>
              <a:gd name="connsiteY12" fmla="*/ 3706468 h 4889547"/>
              <a:gd name="connsiteX13" fmla="*/ 4358962 w 4696506"/>
              <a:gd name="connsiteY13" fmla="*/ 2944468 h 4889547"/>
              <a:gd name="connsiteX14" fmla="*/ 3465344 w 4696506"/>
              <a:gd name="connsiteY14" fmla="*/ 2321013 h 4889547"/>
              <a:gd name="connsiteX15" fmla="*/ 3278307 w 4696506"/>
              <a:gd name="connsiteY15" fmla="*/ 1960795 h 4889547"/>
              <a:gd name="connsiteX16" fmla="*/ 3797853 w 4696506"/>
              <a:gd name="connsiteY16" fmla="*/ 1683704 h 4889547"/>
              <a:gd name="connsiteX17" fmla="*/ 3957180 w 4696506"/>
              <a:gd name="connsiteY17" fmla="*/ 1122595 h 4889547"/>
              <a:gd name="connsiteX18" fmla="*/ 4642980 w 4696506"/>
              <a:gd name="connsiteY18" fmla="*/ 596122 h 4889547"/>
              <a:gd name="connsiteX19" fmla="*/ 4552926 w 4696506"/>
              <a:gd name="connsiteY19" fmla="*/ 125068 h 4889547"/>
              <a:gd name="connsiteX20" fmla="*/ 3735507 w 4696506"/>
              <a:gd name="connsiteY20" fmla="*/ 7304 h 4889547"/>
              <a:gd name="connsiteX0" fmla="*/ 3850991 w 4811990"/>
              <a:gd name="connsiteY0" fmla="*/ 5412 h 4887655"/>
              <a:gd name="connsiteX1" fmla="*/ 452340 w 4811990"/>
              <a:gd name="connsiteY1" fmla="*/ 251008 h 4887655"/>
              <a:gd name="connsiteX2" fmla="*/ 137313 w 4811990"/>
              <a:gd name="connsiteY2" fmla="*/ 1596813 h 4887655"/>
              <a:gd name="connsiteX3" fmla="*/ 1398737 w 4811990"/>
              <a:gd name="connsiteY3" fmla="*/ 1335449 h 4887655"/>
              <a:gd name="connsiteX4" fmla="*/ 1523428 w 4811990"/>
              <a:gd name="connsiteY4" fmla="*/ 2104376 h 4887655"/>
              <a:gd name="connsiteX5" fmla="*/ 2112246 w 4811990"/>
              <a:gd name="connsiteY5" fmla="*/ 2894085 h 4887655"/>
              <a:gd name="connsiteX6" fmla="*/ 2687210 w 4811990"/>
              <a:gd name="connsiteY6" fmla="*/ 2907940 h 4887655"/>
              <a:gd name="connsiteX7" fmla="*/ 2694137 w 4811990"/>
              <a:gd name="connsiteY7" fmla="*/ 3462121 h 4887655"/>
              <a:gd name="connsiteX8" fmla="*/ 2832682 w 4811990"/>
              <a:gd name="connsiteY8" fmla="*/ 3642230 h 4887655"/>
              <a:gd name="connsiteX9" fmla="*/ 2520955 w 4811990"/>
              <a:gd name="connsiteY9" fmla="*/ 4535849 h 4887655"/>
              <a:gd name="connsiteX10" fmla="*/ 3082064 w 4811990"/>
              <a:gd name="connsiteY10" fmla="*/ 4882212 h 4887655"/>
              <a:gd name="connsiteX11" fmla="*/ 3310664 w 4811990"/>
              <a:gd name="connsiteY11" fmla="*/ 4300321 h 4887655"/>
              <a:gd name="connsiteX12" fmla="*/ 3899482 w 4811990"/>
              <a:gd name="connsiteY12" fmla="*/ 3704576 h 4887655"/>
              <a:gd name="connsiteX13" fmla="*/ 4474446 w 4811990"/>
              <a:gd name="connsiteY13" fmla="*/ 2942576 h 4887655"/>
              <a:gd name="connsiteX14" fmla="*/ 3580828 w 4811990"/>
              <a:gd name="connsiteY14" fmla="*/ 2319121 h 4887655"/>
              <a:gd name="connsiteX15" fmla="*/ 3393791 w 4811990"/>
              <a:gd name="connsiteY15" fmla="*/ 1958903 h 4887655"/>
              <a:gd name="connsiteX16" fmla="*/ 3913337 w 4811990"/>
              <a:gd name="connsiteY16" fmla="*/ 1681812 h 4887655"/>
              <a:gd name="connsiteX17" fmla="*/ 4072664 w 4811990"/>
              <a:gd name="connsiteY17" fmla="*/ 1120703 h 4887655"/>
              <a:gd name="connsiteX18" fmla="*/ 4758464 w 4811990"/>
              <a:gd name="connsiteY18" fmla="*/ 594230 h 4887655"/>
              <a:gd name="connsiteX19" fmla="*/ 4668410 w 4811990"/>
              <a:gd name="connsiteY19" fmla="*/ 123176 h 4887655"/>
              <a:gd name="connsiteX20" fmla="*/ 3850991 w 4811990"/>
              <a:gd name="connsiteY20" fmla="*/ 5412 h 4887655"/>
              <a:gd name="connsiteX0" fmla="*/ 3980960 w 4941959"/>
              <a:gd name="connsiteY0" fmla="*/ 5412 h 4887655"/>
              <a:gd name="connsiteX1" fmla="*/ 582309 w 4941959"/>
              <a:gd name="connsiteY1" fmla="*/ 251008 h 4887655"/>
              <a:gd name="connsiteX2" fmla="*/ 267282 w 4941959"/>
              <a:gd name="connsiteY2" fmla="*/ 1596813 h 4887655"/>
              <a:gd name="connsiteX3" fmla="*/ 1528706 w 4941959"/>
              <a:gd name="connsiteY3" fmla="*/ 1335449 h 4887655"/>
              <a:gd name="connsiteX4" fmla="*/ 1653397 w 4941959"/>
              <a:gd name="connsiteY4" fmla="*/ 2104376 h 4887655"/>
              <a:gd name="connsiteX5" fmla="*/ 2242215 w 4941959"/>
              <a:gd name="connsiteY5" fmla="*/ 2894085 h 4887655"/>
              <a:gd name="connsiteX6" fmla="*/ 2817179 w 4941959"/>
              <a:gd name="connsiteY6" fmla="*/ 2907940 h 4887655"/>
              <a:gd name="connsiteX7" fmla="*/ 2824106 w 4941959"/>
              <a:gd name="connsiteY7" fmla="*/ 3462121 h 4887655"/>
              <a:gd name="connsiteX8" fmla="*/ 2962651 w 4941959"/>
              <a:gd name="connsiteY8" fmla="*/ 3642230 h 4887655"/>
              <a:gd name="connsiteX9" fmla="*/ 2650924 w 4941959"/>
              <a:gd name="connsiteY9" fmla="*/ 4535849 h 4887655"/>
              <a:gd name="connsiteX10" fmla="*/ 3212033 w 4941959"/>
              <a:gd name="connsiteY10" fmla="*/ 4882212 h 4887655"/>
              <a:gd name="connsiteX11" fmla="*/ 3440633 w 4941959"/>
              <a:gd name="connsiteY11" fmla="*/ 4300321 h 4887655"/>
              <a:gd name="connsiteX12" fmla="*/ 4029451 w 4941959"/>
              <a:gd name="connsiteY12" fmla="*/ 3704576 h 4887655"/>
              <a:gd name="connsiteX13" fmla="*/ 4604415 w 4941959"/>
              <a:gd name="connsiteY13" fmla="*/ 2942576 h 4887655"/>
              <a:gd name="connsiteX14" fmla="*/ 3710797 w 4941959"/>
              <a:gd name="connsiteY14" fmla="*/ 2319121 h 4887655"/>
              <a:gd name="connsiteX15" fmla="*/ 3523760 w 4941959"/>
              <a:gd name="connsiteY15" fmla="*/ 1958903 h 4887655"/>
              <a:gd name="connsiteX16" fmla="*/ 4043306 w 4941959"/>
              <a:gd name="connsiteY16" fmla="*/ 1681812 h 4887655"/>
              <a:gd name="connsiteX17" fmla="*/ 4202633 w 4941959"/>
              <a:gd name="connsiteY17" fmla="*/ 1120703 h 4887655"/>
              <a:gd name="connsiteX18" fmla="*/ 4888433 w 4941959"/>
              <a:gd name="connsiteY18" fmla="*/ 594230 h 4887655"/>
              <a:gd name="connsiteX19" fmla="*/ 4798379 w 4941959"/>
              <a:gd name="connsiteY19" fmla="*/ 123176 h 4887655"/>
              <a:gd name="connsiteX20" fmla="*/ 3980960 w 4941959"/>
              <a:gd name="connsiteY20" fmla="*/ 5412 h 4887655"/>
              <a:gd name="connsiteX0" fmla="*/ 3991320 w 4952319"/>
              <a:gd name="connsiteY0" fmla="*/ 5412 h 4887655"/>
              <a:gd name="connsiteX1" fmla="*/ 592669 w 4952319"/>
              <a:gd name="connsiteY1" fmla="*/ 251008 h 4887655"/>
              <a:gd name="connsiteX2" fmla="*/ 277642 w 4952319"/>
              <a:gd name="connsiteY2" fmla="*/ 1596813 h 4887655"/>
              <a:gd name="connsiteX3" fmla="*/ 1539066 w 4952319"/>
              <a:gd name="connsiteY3" fmla="*/ 1335449 h 4887655"/>
              <a:gd name="connsiteX4" fmla="*/ 1663757 w 4952319"/>
              <a:gd name="connsiteY4" fmla="*/ 2104376 h 4887655"/>
              <a:gd name="connsiteX5" fmla="*/ 2252575 w 4952319"/>
              <a:gd name="connsiteY5" fmla="*/ 2894085 h 4887655"/>
              <a:gd name="connsiteX6" fmla="*/ 2827539 w 4952319"/>
              <a:gd name="connsiteY6" fmla="*/ 2907940 h 4887655"/>
              <a:gd name="connsiteX7" fmla="*/ 2834466 w 4952319"/>
              <a:gd name="connsiteY7" fmla="*/ 3462121 h 4887655"/>
              <a:gd name="connsiteX8" fmla="*/ 2973011 w 4952319"/>
              <a:gd name="connsiteY8" fmla="*/ 3642230 h 4887655"/>
              <a:gd name="connsiteX9" fmla="*/ 2661284 w 4952319"/>
              <a:gd name="connsiteY9" fmla="*/ 4535849 h 4887655"/>
              <a:gd name="connsiteX10" fmla="*/ 3222393 w 4952319"/>
              <a:gd name="connsiteY10" fmla="*/ 4882212 h 4887655"/>
              <a:gd name="connsiteX11" fmla="*/ 3450993 w 4952319"/>
              <a:gd name="connsiteY11" fmla="*/ 4300321 h 4887655"/>
              <a:gd name="connsiteX12" fmla="*/ 4039811 w 4952319"/>
              <a:gd name="connsiteY12" fmla="*/ 3704576 h 4887655"/>
              <a:gd name="connsiteX13" fmla="*/ 4614775 w 4952319"/>
              <a:gd name="connsiteY13" fmla="*/ 2942576 h 4887655"/>
              <a:gd name="connsiteX14" fmla="*/ 3721157 w 4952319"/>
              <a:gd name="connsiteY14" fmla="*/ 2319121 h 4887655"/>
              <a:gd name="connsiteX15" fmla="*/ 3534120 w 4952319"/>
              <a:gd name="connsiteY15" fmla="*/ 1958903 h 4887655"/>
              <a:gd name="connsiteX16" fmla="*/ 4053666 w 4952319"/>
              <a:gd name="connsiteY16" fmla="*/ 1681812 h 4887655"/>
              <a:gd name="connsiteX17" fmla="*/ 4212993 w 4952319"/>
              <a:gd name="connsiteY17" fmla="*/ 1120703 h 4887655"/>
              <a:gd name="connsiteX18" fmla="*/ 4898793 w 4952319"/>
              <a:gd name="connsiteY18" fmla="*/ 594230 h 4887655"/>
              <a:gd name="connsiteX19" fmla="*/ 4808739 w 4952319"/>
              <a:gd name="connsiteY19" fmla="*/ 123176 h 4887655"/>
              <a:gd name="connsiteX20" fmla="*/ 3991320 w 4952319"/>
              <a:gd name="connsiteY20" fmla="*/ 5412 h 4887655"/>
              <a:gd name="connsiteX0" fmla="*/ 3980961 w 4943453"/>
              <a:gd name="connsiteY0" fmla="*/ 3533 h 4929868"/>
              <a:gd name="connsiteX1" fmla="*/ 582310 w 4943453"/>
              <a:gd name="connsiteY1" fmla="*/ 293221 h 4929868"/>
              <a:gd name="connsiteX2" fmla="*/ 267283 w 4943453"/>
              <a:gd name="connsiteY2" fmla="*/ 1639026 h 4929868"/>
              <a:gd name="connsiteX3" fmla="*/ 1528707 w 4943453"/>
              <a:gd name="connsiteY3" fmla="*/ 1377662 h 4929868"/>
              <a:gd name="connsiteX4" fmla="*/ 1653398 w 4943453"/>
              <a:gd name="connsiteY4" fmla="*/ 2146589 h 4929868"/>
              <a:gd name="connsiteX5" fmla="*/ 2242216 w 4943453"/>
              <a:gd name="connsiteY5" fmla="*/ 2936298 h 4929868"/>
              <a:gd name="connsiteX6" fmla="*/ 2817180 w 4943453"/>
              <a:gd name="connsiteY6" fmla="*/ 2950153 h 4929868"/>
              <a:gd name="connsiteX7" fmla="*/ 2824107 w 4943453"/>
              <a:gd name="connsiteY7" fmla="*/ 3504334 h 4929868"/>
              <a:gd name="connsiteX8" fmla="*/ 2962652 w 4943453"/>
              <a:gd name="connsiteY8" fmla="*/ 3684443 h 4929868"/>
              <a:gd name="connsiteX9" fmla="*/ 2650925 w 4943453"/>
              <a:gd name="connsiteY9" fmla="*/ 4578062 h 4929868"/>
              <a:gd name="connsiteX10" fmla="*/ 3212034 w 4943453"/>
              <a:gd name="connsiteY10" fmla="*/ 4924425 h 4929868"/>
              <a:gd name="connsiteX11" fmla="*/ 3440634 w 4943453"/>
              <a:gd name="connsiteY11" fmla="*/ 4342534 h 4929868"/>
              <a:gd name="connsiteX12" fmla="*/ 4029452 w 4943453"/>
              <a:gd name="connsiteY12" fmla="*/ 3746789 h 4929868"/>
              <a:gd name="connsiteX13" fmla="*/ 4604416 w 4943453"/>
              <a:gd name="connsiteY13" fmla="*/ 2984789 h 4929868"/>
              <a:gd name="connsiteX14" fmla="*/ 3710798 w 4943453"/>
              <a:gd name="connsiteY14" fmla="*/ 2361334 h 4929868"/>
              <a:gd name="connsiteX15" fmla="*/ 3523761 w 4943453"/>
              <a:gd name="connsiteY15" fmla="*/ 2001116 h 4929868"/>
              <a:gd name="connsiteX16" fmla="*/ 4043307 w 4943453"/>
              <a:gd name="connsiteY16" fmla="*/ 1724025 h 4929868"/>
              <a:gd name="connsiteX17" fmla="*/ 4202634 w 4943453"/>
              <a:gd name="connsiteY17" fmla="*/ 1162916 h 4929868"/>
              <a:gd name="connsiteX18" fmla="*/ 4888434 w 4943453"/>
              <a:gd name="connsiteY18" fmla="*/ 636443 h 4929868"/>
              <a:gd name="connsiteX19" fmla="*/ 4798380 w 4943453"/>
              <a:gd name="connsiteY19" fmla="*/ 165389 h 4929868"/>
              <a:gd name="connsiteX20" fmla="*/ 3980961 w 4943453"/>
              <a:gd name="connsiteY20" fmla="*/ 3533 h 4929868"/>
              <a:gd name="connsiteX0" fmla="*/ 3980961 w 4931782"/>
              <a:gd name="connsiteY0" fmla="*/ 3154 h 4929489"/>
              <a:gd name="connsiteX1" fmla="*/ 582310 w 4931782"/>
              <a:gd name="connsiteY1" fmla="*/ 292842 h 4929489"/>
              <a:gd name="connsiteX2" fmla="*/ 267283 w 4931782"/>
              <a:gd name="connsiteY2" fmla="*/ 1638647 h 4929489"/>
              <a:gd name="connsiteX3" fmla="*/ 1528707 w 4931782"/>
              <a:gd name="connsiteY3" fmla="*/ 1377283 h 4929489"/>
              <a:gd name="connsiteX4" fmla="*/ 1653398 w 4931782"/>
              <a:gd name="connsiteY4" fmla="*/ 2146210 h 4929489"/>
              <a:gd name="connsiteX5" fmla="*/ 2242216 w 4931782"/>
              <a:gd name="connsiteY5" fmla="*/ 2935919 h 4929489"/>
              <a:gd name="connsiteX6" fmla="*/ 2817180 w 4931782"/>
              <a:gd name="connsiteY6" fmla="*/ 2949774 h 4929489"/>
              <a:gd name="connsiteX7" fmla="*/ 2824107 w 4931782"/>
              <a:gd name="connsiteY7" fmla="*/ 3503955 h 4929489"/>
              <a:gd name="connsiteX8" fmla="*/ 2962652 w 4931782"/>
              <a:gd name="connsiteY8" fmla="*/ 3684064 h 4929489"/>
              <a:gd name="connsiteX9" fmla="*/ 2650925 w 4931782"/>
              <a:gd name="connsiteY9" fmla="*/ 4577683 h 4929489"/>
              <a:gd name="connsiteX10" fmla="*/ 3212034 w 4931782"/>
              <a:gd name="connsiteY10" fmla="*/ 4924046 h 4929489"/>
              <a:gd name="connsiteX11" fmla="*/ 3440634 w 4931782"/>
              <a:gd name="connsiteY11" fmla="*/ 4342155 h 4929489"/>
              <a:gd name="connsiteX12" fmla="*/ 4029452 w 4931782"/>
              <a:gd name="connsiteY12" fmla="*/ 3746410 h 4929489"/>
              <a:gd name="connsiteX13" fmla="*/ 4604416 w 4931782"/>
              <a:gd name="connsiteY13" fmla="*/ 2984410 h 4929489"/>
              <a:gd name="connsiteX14" fmla="*/ 3710798 w 4931782"/>
              <a:gd name="connsiteY14" fmla="*/ 2360955 h 4929489"/>
              <a:gd name="connsiteX15" fmla="*/ 3523761 w 4931782"/>
              <a:gd name="connsiteY15" fmla="*/ 2000737 h 4929489"/>
              <a:gd name="connsiteX16" fmla="*/ 4043307 w 4931782"/>
              <a:gd name="connsiteY16" fmla="*/ 1723646 h 4929489"/>
              <a:gd name="connsiteX17" fmla="*/ 4202634 w 4931782"/>
              <a:gd name="connsiteY17" fmla="*/ 1162537 h 4929489"/>
              <a:gd name="connsiteX18" fmla="*/ 4888434 w 4931782"/>
              <a:gd name="connsiteY18" fmla="*/ 636064 h 4929489"/>
              <a:gd name="connsiteX19" fmla="*/ 4798380 w 4931782"/>
              <a:gd name="connsiteY19" fmla="*/ 165010 h 4929489"/>
              <a:gd name="connsiteX20" fmla="*/ 3980961 w 4931782"/>
              <a:gd name="connsiteY20" fmla="*/ 3154 h 4929489"/>
              <a:gd name="connsiteX0" fmla="*/ 3980961 w 4902405"/>
              <a:gd name="connsiteY0" fmla="*/ 50 h 4926385"/>
              <a:gd name="connsiteX1" fmla="*/ 582310 w 4902405"/>
              <a:gd name="connsiteY1" fmla="*/ 289738 h 4926385"/>
              <a:gd name="connsiteX2" fmla="*/ 267283 w 4902405"/>
              <a:gd name="connsiteY2" fmla="*/ 1635543 h 4926385"/>
              <a:gd name="connsiteX3" fmla="*/ 1528707 w 4902405"/>
              <a:gd name="connsiteY3" fmla="*/ 1374179 h 4926385"/>
              <a:gd name="connsiteX4" fmla="*/ 1653398 w 4902405"/>
              <a:gd name="connsiteY4" fmla="*/ 2143106 h 4926385"/>
              <a:gd name="connsiteX5" fmla="*/ 2242216 w 4902405"/>
              <a:gd name="connsiteY5" fmla="*/ 2932815 h 4926385"/>
              <a:gd name="connsiteX6" fmla="*/ 2817180 w 4902405"/>
              <a:gd name="connsiteY6" fmla="*/ 2946670 h 4926385"/>
              <a:gd name="connsiteX7" fmla="*/ 2824107 w 4902405"/>
              <a:gd name="connsiteY7" fmla="*/ 3500851 h 4926385"/>
              <a:gd name="connsiteX8" fmla="*/ 2962652 w 4902405"/>
              <a:gd name="connsiteY8" fmla="*/ 3680960 h 4926385"/>
              <a:gd name="connsiteX9" fmla="*/ 2650925 w 4902405"/>
              <a:gd name="connsiteY9" fmla="*/ 4574579 h 4926385"/>
              <a:gd name="connsiteX10" fmla="*/ 3212034 w 4902405"/>
              <a:gd name="connsiteY10" fmla="*/ 4920942 h 4926385"/>
              <a:gd name="connsiteX11" fmla="*/ 3440634 w 4902405"/>
              <a:gd name="connsiteY11" fmla="*/ 4339051 h 4926385"/>
              <a:gd name="connsiteX12" fmla="*/ 4029452 w 4902405"/>
              <a:gd name="connsiteY12" fmla="*/ 3743306 h 4926385"/>
              <a:gd name="connsiteX13" fmla="*/ 4604416 w 4902405"/>
              <a:gd name="connsiteY13" fmla="*/ 2981306 h 4926385"/>
              <a:gd name="connsiteX14" fmla="*/ 3710798 w 4902405"/>
              <a:gd name="connsiteY14" fmla="*/ 2357851 h 4926385"/>
              <a:gd name="connsiteX15" fmla="*/ 3523761 w 4902405"/>
              <a:gd name="connsiteY15" fmla="*/ 1997633 h 4926385"/>
              <a:gd name="connsiteX16" fmla="*/ 4043307 w 4902405"/>
              <a:gd name="connsiteY16" fmla="*/ 1720542 h 4926385"/>
              <a:gd name="connsiteX17" fmla="*/ 4202634 w 4902405"/>
              <a:gd name="connsiteY17" fmla="*/ 1159433 h 4926385"/>
              <a:gd name="connsiteX18" fmla="*/ 4888434 w 4902405"/>
              <a:gd name="connsiteY18" fmla="*/ 632960 h 4926385"/>
              <a:gd name="connsiteX19" fmla="*/ 4428265 w 4902405"/>
              <a:gd name="connsiteY19" fmla="*/ 268986 h 4926385"/>
              <a:gd name="connsiteX20" fmla="*/ 3980961 w 4902405"/>
              <a:gd name="connsiteY20" fmla="*/ 50 h 4926385"/>
              <a:gd name="connsiteX0" fmla="*/ 3980961 w 4608883"/>
              <a:gd name="connsiteY0" fmla="*/ 63 h 4926398"/>
              <a:gd name="connsiteX1" fmla="*/ 582310 w 4608883"/>
              <a:gd name="connsiteY1" fmla="*/ 289751 h 4926398"/>
              <a:gd name="connsiteX2" fmla="*/ 267283 w 4608883"/>
              <a:gd name="connsiteY2" fmla="*/ 1635556 h 4926398"/>
              <a:gd name="connsiteX3" fmla="*/ 1528707 w 4608883"/>
              <a:gd name="connsiteY3" fmla="*/ 1374192 h 4926398"/>
              <a:gd name="connsiteX4" fmla="*/ 1653398 w 4608883"/>
              <a:gd name="connsiteY4" fmla="*/ 2143119 h 4926398"/>
              <a:gd name="connsiteX5" fmla="*/ 2242216 w 4608883"/>
              <a:gd name="connsiteY5" fmla="*/ 2932828 h 4926398"/>
              <a:gd name="connsiteX6" fmla="*/ 2817180 w 4608883"/>
              <a:gd name="connsiteY6" fmla="*/ 2946683 h 4926398"/>
              <a:gd name="connsiteX7" fmla="*/ 2824107 w 4608883"/>
              <a:gd name="connsiteY7" fmla="*/ 3500864 h 4926398"/>
              <a:gd name="connsiteX8" fmla="*/ 2962652 w 4608883"/>
              <a:gd name="connsiteY8" fmla="*/ 3680973 h 4926398"/>
              <a:gd name="connsiteX9" fmla="*/ 2650925 w 4608883"/>
              <a:gd name="connsiteY9" fmla="*/ 4574592 h 4926398"/>
              <a:gd name="connsiteX10" fmla="*/ 3212034 w 4608883"/>
              <a:gd name="connsiteY10" fmla="*/ 4920955 h 4926398"/>
              <a:gd name="connsiteX11" fmla="*/ 3440634 w 4608883"/>
              <a:gd name="connsiteY11" fmla="*/ 4339064 h 4926398"/>
              <a:gd name="connsiteX12" fmla="*/ 4029452 w 4608883"/>
              <a:gd name="connsiteY12" fmla="*/ 3743319 h 4926398"/>
              <a:gd name="connsiteX13" fmla="*/ 4604416 w 4608883"/>
              <a:gd name="connsiteY13" fmla="*/ 2981319 h 4926398"/>
              <a:gd name="connsiteX14" fmla="*/ 3710798 w 4608883"/>
              <a:gd name="connsiteY14" fmla="*/ 2357864 h 4926398"/>
              <a:gd name="connsiteX15" fmla="*/ 3523761 w 4608883"/>
              <a:gd name="connsiteY15" fmla="*/ 1997646 h 4926398"/>
              <a:gd name="connsiteX16" fmla="*/ 4043307 w 4608883"/>
              <a:gd name="connsiteY16" fmla="*/ 1720555 h 4926398"/>
              <a:gd name="connsiteX17" fmla="*/ 4202634 w 4608883"/>
              <a:gd name="connsiteY17" fmla="*/ 1159446 h 4926398"/>
              <a:gd name="connsiteX18" fmla="*/ 4540091 w 4608883"/>
              <a:gd name="connsiteY18" fmla="*/ 803041 h 4926398"/>
              <a:gd name="connsiteX19" fmla="*/ 4428265 w 4608883"/>
              <a:gd name="connsiteY19" fmla="*/ 268999 h 4926398"/>
              <a:gd name="connsiteX20" fmla="*/ 3980961 w 4608883"/>
              <a:gd name="connsiteY20" fmla="*/ 63 h 4926398"/>
              <a:gd name="connsiteX0" fmla="*/ 3654699 w 4594678"/>
              <a:gd name="connsiteY0" fmla="*/ 63 h 4926398"/>
              <a:gd name="connsiteX1" fmla="*/ 568105 w 4594678"/>
              <a:gd name="connsiteY1" fmla="*/ 289751 h 4926398"/>
              <a:gd name="connsiteX2" fmla="*/ 253078 w 4594678"/>
              <a:gd name="connsiteY2" fmla="*/ 1635556 h 4926398"/>
              <a:gd name="connsiteX3" fmla="*/ 1514502 w 4594678"/>
              <a:gd name="connsiteY3" fmla="*/ 1374192 h 4926398"/>
              <a:gd name="connsiteX4" fmla="*/ 1639193 w 4594678"/>
              <a:gd name="connsiteY4" fmla="*/ 2143119 h 4926398"/>
              <a:gd name="connsiteX5" fmla="*/ 2228011 w 4594678"/>
              <a:gd name="connsiteY5" fmla="*/ 2932828 h 4926398"/>
              <a:gd name="connsiteX6" fmla="*/ 2802975 w 4594678"/>
              <a:gd name="connsiteY6" fmla="*/ 2946683 h 4926398"/>
              <a:gd name="connsiteX7" fmla="*/ 2809902 w 4594678"/>
              <a:gd name="connsiteY7" fmla="*/ 3500864 h 4926398"/>
              <a:gd name="connsiteX8" fmla="*/ 2948447 w 4594678"/>
              <a:gd name="connsiteY8" fmla="*/ 3680973 h 4926398"/>
              <a:gd name="connsiteX9" fmla="*/ 2636720 w 4594678"/>
              <a:gd name="connsiteY9" fmla="*/ 4574592 h 4926398"/>
              <a:gd name="connsiteX10" fmla="*/ 3197829 w 4594678"/>
              <a:gd name="connsiteY10" fmla="*/ 4920955 h 4926398"/>
              <a:gd name="connsiteX11" fmla="*/ 3426429 w 4594678"/>
              <a:gd name="connsiteY11" fmla="*/ 4339064 h 4926398"/>
              <a:gd name="connsiteX12" fmla="*/ 4015247 w 4594678"/>
              <a:gd name="connsiteY12" fmla="*/ 3743319 h 4926398"/>
              <a:gd name="connsiteX13" fmla="*/ 4590211 w 4594678"/>
              <a:gd name="connsiteY13" fmla="*/ 2981319 h 4926398"/>
              <a:gd name="connsiteX14" fmla="*/ 3696593 w 4594678"/>
              <a:gd name="connsiteY14" fmla="*/ 2357864 h 4926398"/>
              <a:gd name="connsiteX15" fmla="*/ 3509556 w 4594678"/>
              <a:gd name="connsiteY15" fmla="*/ 1997646 h 4926398"/>
              <a:gd name="connsiteX16" fmla="*/ 4029102 w 4594678"/>
              <a:gd name="connsiteY16" fmla="*/ 1720555 h 4926398"/>
              <a:gd name="connsiteX17" fmla="*/ 4188429 w 4594678"/>
              <a:gd name="connsiteY17" fmla="*/ 1159446 h 4926398"/>
              <a:gd name="connsiteX18" fmla="*/ 4525886 w 4594678"/>
              <a:gd name="connsiteY18" fmla="*/ 803041 h 4926398"/>
              <a:gd name="connsiteX19" fmla="*/ 4414060 w 4594678"/>
              <a:gd name="connsiteY19" fmla="*/ 268999 h 4926398"/>
              <a:gd name="connsiteX20" fmla="*/ 3654699 w 4594678"/>
              <a:gd name="connsiteY20" fmla="*/ 63 h 4926398"/>
              <a:gd name="connsiteX0" fmla="*/ 3654699 w 4594678"/>
              <a:gd name="connsiteY0" fmla="*/ 1469 h 4927804"/>
              <a:gd name="connsiteX1" fmla="*/ 568105 w 4594678"/>
              <a:gd name="connsiteY1" fmla="*/ 291157 h 4927804"/>
              <a:gd name="connsiteX2" fmla="*/ 253078 w 4594678"/>
              <a:gd name="connsiteY2" fmla="*/ 1636962 h 4927804"/>
              <a:gd name="connsiteX3" fmla="*/ 1514502 w 4594678"/>
              <a:gd name="connsiteY3" fmla="*/ 1375598 h 4927804"/>
              <a:gd name="connsiteX4" fmla="*/ 1639193 w 4594678"/>
              <a:gd name="connsiteY4" fmla="*/ 2144525 h 4927804"/>
              <a:gd name="connsiteX5" fmla="*/ 2228011 w 4594678"/>
              <a:gd name="connsiteY5" fmla="*/ 2934234 h 4927804"/>
              <a:gd name="connsiteX6" fmla="*/ 2802975 w 4594678"/>
              <a:gd name="connsiteY6" fmla="*/ 2948089 h 4927804"/>
              <a:gd name="connsiteX7" fmla="*/ 2809902 w 4594678"/>
              <a:gd name="connsiteY7" fmla="*/ 3502270 h 4927804"/>
              <a:gd name="connsiteX8" fmla="*/ 2948447 w 4594678"/>
              <a:gd name="connsiteY8" fmla="*/ 3682379 h 4927804"/>
              <a:gd name="connsiteX9" fmla="*/ 2636720 w 4594678"/>
              <a:gd name="connsiteY9" fmla="*/ 4575998 h 4927804"/>
              <a:gd name="connsiteX10" fmla="*/ 3197829 w 4594678"/>
              <a:gd name="connsiteY10" fmla="*/ 4922361 h 4927804"/>
              <a:gd name="connsiteX11" fmla="*/ 3426429 w 4594678"/>
              <a:gd name="connsiteY11" fmla="*/ 4340470 h 4927804"/>
              <a:gd name="connsiteX12" fmla="*/ 4015247 w 4594678"/>
              <a:gd name="connsiteY12" fmla="*/ 3744725 h 4927804"/>
              <a:gd name="connsiteX13" fmla="*/ 4590211 w 4594678"/>
              <a:gd name="connsiteY13" fmla="*/ 2982725 h 4927804"/>
              <a:gd name="connsiteX14" fmla="*/ 3696593 w 4594678"/>
              <a:gd name="connsiteY14" fmla="*/ 2359270 h 4927804"/>
              <a:gd name="connsiteX15" fmla="*/ 3509556 w 4594678"/>
              <a:gd name="connsiteY15" fmla="*/ 1999052 h 4927804"/>
              <a:gd name="connsiteX16" fmla="*/ 4029102 w 4594678"/>
              <a:gd name="connsiteY16" fmla="*/ 1721961 h 4927804"/>
              <a:gd name="connsiteX17" fmla="*/ 4188429 w 4594678"/>
              <a:gd name="connsiteY17" fmla="*/ 1160852 h 4927804"/>
              <a:gd name="connsiteX18" fmla="*/ 4525886 w 4594678"/>
              <a:gd name="connsiteY18" fmla="*/ 804447 h 4927804"/>
              <a:gd name="connsiteX19" fmla="*/ 4414060 w 4594678"/>
              <a:gd name="connsiteY19" fmla="*/ 270405 h 4927804"/>
              <a:gd name="connsiteX20" fmla="*/ 3654699 w 4594678"/>
              <a:gd name="connsiteY20" fmla="*/ 1469 h 4927804"/>
              <a:gd name="connsiteX0" fmla="*/ 3488469 w 4428448"/>
              <a:gd name="connsiteY0" fmla="*/ 1469 h 4927804"/>
              <a:gd name="connsiteX1" fmla="*/ 401875 w 4428448"/>
              <a:gd name="connsiteY1" fmla="*/ 291157 h 4927804"/>
              <a:gd name="connsiteX2" fmla="*/ 86848 w 4428448"/>
              <a:gd name="connsiteY2" fmla="*/ 1636962 h 4927804"/>
              <a:gd name="connsiteX3" fmla="*/ 862044 w 4428448"/>
              <a:gd name="connsiteY3" fmla="*/ 1444885 h 4927804"/>
              <a:gd name="connsiteX4" fmla="*/ 1472963 w 4428448"/>
              <a:gd name="connsiteY4" fmla="*/ 2144525 h 4927804"/>
              <a:gd name="connsiteX5" fmla="*/ 2061781 w 4428448"/>
              <a:gd name="connsiteY5" fmla="*/ 2934234 h 4927804"/>
              <a:gd name="connsiteX6" fmla="*/ 2636745 w 4428448"/>
              <a:gd name="connsiteY6" fmla="*/ 2948089 h 4927804"/>
              <a:gd name="connsiteX7" fmla="*/ 2643672 w 4428448"/>
              <a:gd name="connsiteY7" fmla="*/ 3502270 h 4927804"/>
              <a:gd name="connsiteX8" fmla="*/ 2782217 w 4428448"/>
              <a:gd name="connsiteY8" fmla="*/ 3682379 h 4927804"/>
              <a:gd name="connsiteX9" fmla="*/ 2470490 w 4428448"/>
              <a:gd name="connsiteY9" fmla="*/ 4575998 h 4927804"/>
              <a:gd name="connsiteX10" fmla="*/ 3031599 w 4428448"/>
              <a:gd name="connsiteY10" fmla="*/ 4922361 h 4927804"/>
              <a:gd name="connsiteX11" fmla="*/ 3260199 w 4428448"/>
              <a:gd name="connsiteY11" fmla="*/ 4340470 h 4927804"/>
              <a:gd name="connsiteX12" fmla="*/ 3849017 w 4428448"/>
              <a:gd name="connsiteY12" fmla="*/ 3744725 h 4927804"/>
              <a:gd name="connsiteX13" fmla="*/ 4423981 w 4428448"/>
              <a:gd name="connsiteY13" fmla="*/ 2982725 h 4927804"/>
              <a:gd name="connsiteX14" fmla="*/ 3530363 w 4428448"/>
              <a:gd name="connsiteY14" fmla="*/ 2359270 h 4927804"/>
              <a:gd name="connsiteX15" fmla="*/ 3343326 w 4428448"/>
              <a:gd name="connsiteY15" fmla="*/ 1999052 h 4927804"/>
              <a:gd name="connsiteX16" fmla="*/ 3862872 w 4428448"/>
              <a:gd name="connsiteY16" fmla="*/ 1721961 h 4927804"/>
              <a:gd name="connsiteX17" fmla="*/ 4022199 w 4428448"/>
              <a:gd name="connsiteY17" fmla="*/ 1160852 h 4927804"/>
              <a:gd name="connsiteX18" fmla="*/ 4359656 w 4428448"/>
              <a:gd name="connsiteY18" fmla="*/ 804447 h 4927804"/>
              <a:gd name="connsiteX19" fmla="*/ 4247830 w 4428448"/>
              <a:gd name="connsiteY19" fmla="*/ 270405 h 4927804"/>
              <a:gd name="connsiteX20" fmla="*/ 3488469 w 4428448"/>
              <a:gd name="connsiteY20" fmla="*/ 1469 h 4927804"/>
              <a:gd name="connsiteX0" fmla="*/ 3488469 w 4428448"/>
              <a:gd name="connsiteY0" fmla="*/ 1469 h 4927804"/>
              <a:gd name="connsiteX1" fmla="*/ 401875 w 4428448"/>
              <a:gd name="connsiteY1" fmla="*/ 291157 h 4927804"/>
              <a:gd name="connsiteX2" fmla="*/ 86848 w 4428448"/>
              <a:gd name="connsiteY2" fmla="*/ 1636962 h 4927804"/>
              <a:gd name="connsiteX3" fmla="*/ 862044 w 4428448"/>
              <a:gd name="connsiteY3" fmla="*/ 1444885 h 4927804"/>
              <a:gd name="connsiteX4" fmla="*/ 1226221 w 4428448"/>
              <a:gd name="connsiteY4" fmla="*/ 2257904 h 4927804"/>
              <a:gd name="connsiteX5" fmla="*/ 2061781 w 4428448"/>
              <a:gd name="connsiteY5" fmla="*/ 2934234 h 4927804"/>
              <a:gd name="connsiteX6" fmla="*/ 2636745 w 4428448"/>
              <a:gd name="connsiteY6" fmla="*/ 2948089 h 4927804"/>
              <a:gd name="connsiteX7" fmla="*/ 2643672 w 4428448"/>
              <a:gd name="connsiteY7" fmla="*/ 3502270 h 4927804"/>
              <a:gd name="connsiteX8" fmla="*/ 2782217 w 4428448"/>
              <a:gd name="connsiteY8" fmla="*/ 3682379 h 4927804"/>
              <a:gd name="connsiteX9" fmla="*/ 2470490 w 4428448"/>
              <a:gd name="connsiteY9" fmla="*/ 4575998 h 4927804"/>
              <a:gd name="connsiteX10" fmla="*/ 3031599 w 4428448"/>
              <a:gd name="connsiteY10" fmla="*/ 4922361 h 4927804"/>
              <a:gd name="connsiteX11" fmla="*/ 3260199 w 4428448"/>
              <a:gd name="connsiteY11" fmla="*/ 4340470 h 4927804"/>
              <a:gd name="connsiteX12" fmla="*/ 3849017 w 4428448"/>
              <a:gd name="connsiteY12" fmla="*/ 3744725 h 4927804"/>
              <a:gd name="connsiteX13" fmla="*/ 4423981 w 4428448"/>
              <a:gd name="connsiteY13" fmla="*/ 2982725 h 4927804"/>
              <a:gd name="connsiteX14" fmla="*/ 3530363 w 4428448"/>
              <a:gd name="connsiteY14" fmla="*/ 2359270 h 4927804"/>
              <a:gd name="connsiteX15" fmla="*/ 3343326 w 4428448"/>
              <a:gd name="connsiteY15" fmla="*/ 1999052 h 4927804"/>
              <a:gd name="connsiteX16" fmla="*/ 3862872 w 4428448"/>
              <a:gd name="connsiteY16" fmla="*/ 1721961 h 4927804"/>
              <a:gd name="connsiteX17" fmla="*/ 4022199 w 4428448"/>
              <a:gd name="connsiteY17" fmla="*/ 1160852 h 4927804"/>
              <a:gd name="connsiteX18" fmla="*/ 4359656 w 4428448"/>
              <a:gd name="connsiteY18" fmla="*/ 804447 h 4927804"/>
              <a:gd name="connsiteX19" fmla="*/ 4247830 w 4428448"/>
              <a:gd name="connsiteY19" fmla="*/ 270405 h 4927804"/>
              <a:gd name="connsiteX20" fmla="*/ 3488469 w 4428448"/>
              <a:gd name="connsiteY20" fmla="*/ 1469 h 4927804"/>
              <a:gd name="connsiteX0" fmla="*/ 3663727 w 4603706"/>
              <a:gd name="connsiteY0" fmla="*/ 1469 h 4927804"/>
              <a:gd name="connsiteX1" fmla="*/ 577133 w 4603706"/>
              <a:gd name="connsiteY1" fmla="*/ 291157 h 4927804"/>
              <a:gd name="connsiteX2" fmla="*/ 262106 w 4603706"/>
              <a:gd name="connsiteY2" fmla="*/ 1636962 h 4927804"/>
              <a:gd name="connsiteX3" fmla="*/ 1037302 w 4603706"/>
              <a:gd name="connsiteY3" fmla="*/ 1444885 h 4927804"/>
              <a:gd name="connsiteX4" fmla="*/ 1401479 w 4603706"/>
              <a:gd name="connsiteY4" fmla="*/ 2257904 h 4927804"/>
              <a:gd name="connsiteX5" fmla="*/ 2237039 w 4603706"/>
              <a:gd name="connsiteY5" fmla="*/ 2934234 h 4927804"/>
              <a:gd name="connsiteX6" fmla="*/ 2812003 w 4603706"/>
              <a:gd name="connsiteY6" fmla="*/ 2948089 h 4927804"/>
              <a:gd name="connsiteX7" fmla="*/ 2818930 w 4603706"/>
              <a:gd name="connsiteY7" fmla="*/ 3502270 h 4927804"/>
              <a:gd name="connsiteX8" fmla="*/ 2957475 w 4603706"/>
              <a:gd name="connsiteY8" fmla="*/ 3682379 h 4927804"/>
              <a:gd name="connsiteX9" fmla="*/ 2645748 w 4603706"/>
              <a:gd name="connsiteY9" fmla="*/ 4575998 h 4927804"/>
              <a:gd name="connsiteX10" fmla="*/ 3206857 w 4603706"/>
              <a:gd name="connsiteY10" fmla="*/ 4922361 h 4927804"/>
              <a:gd name="connsiteX11" fmla="*/ 3435457 w 4603706"/>
              <a:gd name="connsiteY11" fmla="*/ 4340470 h 4927804"/>
              <a:gd name="connsiteX12" fmla="*/ 4024275 w 4603706"/>
              <a:gd name="connsiteY12" fmla="*/ 3744725 h 4927804"/>
              <a:gd name="connsiteX13" fmla="*/ 4599239 w 4603706"/>
              <a:gd name="connsiteY13" fmla="*/ 2982725 h 4927804"/>
              <a:gd name="connsiteX14" fmla="*/ 3705621 w 4603706"/>
              <a:gd name="connsiteY14" fmla="*/ 2359270 h 4927804"/>
              <a:gd name="connsiteX15" fmla="*/ 3518584 w 4603706"/>
              <a:gd name="connsiteY15" fmla="*/ 1999052 h 4927804"/>
              <a:gd name="connsiteX16" fmla="*/ 4038130 w 4603706"/>
              <a:gd name="connsiteY16" fmla="*/ 1721961 h 4927804"/>
              <a:gd name="connsiteX17" fmla="*/ 4197457 w 4603706"/>
              <a:gd name="connsiteY17" fmla="*/ 1160852 h 4927804"/>
              <a:gd name="connsiteX18" fmla="*/ 4534914 w 4603706"/>
              <a:gd name="connsiteY18" fmla="*/ 804447 h 4927804"/>
              <a:gd name="connsiteX19" fmla="*/ 4423088 w 4603706"/>
              <a:gd name="connsiteY19" fmla="*/ 270405 h 4927804"/>
              <a:gd name="connsiteX20" fmla="*/ 3663727 w 4603706"/>
              <a:gd name="connsiteY20" fmla="*/ 1469 h 4927804"/>
              <a:gd name="connsiteX0" fmla="*/ 3648011 w 4587990"/>
              <a:gd name="connsiteY0" fmla="*/ 1206 h 4927541"/>
              <a:gd name="connsiteX1" fmla="*/ 561417 w 4587990"/>
              <a:gd name="connsiteY1" fmla="*/ 290894 h 4927541"/>
              <a:gd name="connsiteX2" fmla="*/ 268162 w 4587990"/>
              <a:gd name="connsiteY2" fmla="*/ 1567412 h 4927541"/>
              <a:gd name="connsiteX3" fmla="*/ 1021586 w 4587990"/>
              <a:gd name="connsiteY3" fmla="*/ 1444622 h 4927541"/>
              <a:gd name="connsiteX4" fmla="*/ 1385763 w 4587990"/>
              <a:gd name="connsiteY4" fmla="*/ 2257641 h 4927541"/>
              <a:gd name="connsiteX5" fmla="*/ 2221323 w 4587990"/>
              <a:gd name="connsiteY5" fmla="*/ 2933971 h 4927541"/>
              <a:gd name="connsiteX6" fmla="*/ 2796287 w 4587990"/>
              <a:gd name="connsiteY6" fmla="*/ 2947826 h 4927541"/>
              <a:gd name="connsiteX7" fmla="*/ 2803214 w 4587990"/>
              <a:gd name="connsiteY7" fmla="*/ 3502007 h 4927541"/>
              <a:gd name="connsiteX8" fmla="*/ 2941759 w 4587990"/>
              <a:gd name="connsiteY8" fmla="*/ 3682116 h 4927541"/>
              <a:gd name="connsiteX9" fmla="*/ 2630032 w 4587990"/>
              <a:gd name="connsiteY9" fmla="*/ 4575735 h 4927541"/>
              <a:gd name="connsiteX10" fmla="*/ 3191141 w 4587990"/>
              <a:gd name="connsiteY10" fmla="*/ 4922098 h 4927541"/>
              <a:gd name="connsiteX11" fmla="*/ 3419741 w 4587990"/>
              <a:gd name="connsiteY11" fmla="*/ 4340207 h 4927541"/>
              <a:gd name="connsiteX12" fmla="*/ 4008559 w 4587990"/>
              <a:gd name="connsiteY12" fmla="*/ 3744462 h 4927541"/>
              <a:gd name="connsiteX13" fmla="*/ 4583523 w 4587990"/>
              <a:gd name="connsiteY13" fmla="*/ 2982462 h 4927541"/>
              <a:gd name="connsiteX14" fmla="*/ 3689905 w 4587990"/>
              <a:gd name="connsiteY14" fmla="*/ 2359007 h 4927541"/>
              <a:gd name="connsiteX15" fmla="*/ 3502868 w 4587990"/>
              <a:gd name="connsiteY15" fmla="*/ 1998789 h 4927541"/>
              <a:gd name="connsiteX16" fmla="*/ 4022414 w 4587990"/>
              <a:gd name="connsiteY16" fmla="*/ 1721698 h 4927541"/>
              <a:gd name="connsiteX17" fmla="*/ 4181741 w 4587990"/>
              <a:gd name="connsiteY17" fmla="*/ 1160589 h 4927541"/>
              <a:gd name="connsiteX18" fmla="*/ 4519198 w 4587990"/>
              <a:gd name="connsiteY18" fmla="*/ 804184 h 4927541"/>
              <a:gd name="connsiteX19" fmla="*/ 4407372 w 4587990"/>
              <a:gd name="connsiteY19" fmla="*/ 270142 h 4927541"/>
              <a:gd name="connsiteX20" fmla="*/ 3648011 w 4587990"/>
              <a:gd name="connsiteY20" fmla="*/ 1206 h 4927541"/>
              <a:gd name="connsiteX0" fmla="*/ 3668483 w 4608462"/>
              <a:gd name="connsiteY0" fmla="*/ 571 h 4926906"/>
              <a:gd name="connsiteX1" fmla="*/ 581889 w 4608462"/>
              <a:gd name="connsiteY1" fmla="*/ 290259 h 4926906"/>
              <a:gd name="connsiteX2" fmla="*/ 288634 w 4608462"/>
              <a:gd name="connsiteY2" fmla="*/ 1566777 h 4926906"/>
              <a:gd name="connsiteX3" fmla="*/ 1042058 w 4608462"/>
              <a:gd name="connsiteY3" fmla="*/ 1443987 h 4926906"/>
              <a:gd name="connsiteX4" fmla="*/ 1406235 w 4608462"/>
              <a:gd name="connsiteY4" fmla="*/ 2257006 h 4926906"/>
              <a:gd name="connsiteX5" fmla="*/ 2241795 w 4608462"/>
              <a:gd name="connsiteY5" fmla="*/ 2933336 h 4926906"/>
              <a:gd name="connsiteX6" fmla="*/ 2816759 w 4608462"/>
              <a:gd name="connsiteY6" fmla="*/ 2947191 h 4926906"/>
              <a:gd name="connsiteX7" fmla="*/ 2823686 w 4608462"/>
              <a:gd name="connsiteY7" fmla="*/ 3501372 h 4926906"/>
              <a:gd name="connsiteX8" fmla="*/ 2962231 w 4608462"/>
              <a:gd name="connsiteY8" fmla="*/ 3681481 h 4926906"/>
              <a:gd name="connsiteX9" fmla="*/ 2650504 w 4608462"/>
              <a:gd name="connsiteY9" fmla="*/ 4575100 h 4926906"/>
              <a:gd name="connsiteX10" fmla="*/ 3211613 w 4608462"/>
              <a:gd name="connsiteY10" fmla="*/ 4921463 h 4926906"/>
              <a:gd name="connsiteX11" fmla="*/ 3440213 w 4608462"/>
              <a:gd name="connsiteY11" fmla="*/ 4339572 h 4926906"/>
              <a:gd name="connsiteX12" fmla="*/ 4029031 w 4608462"/>
              <a:gd name="connsiteY12" fmla="*/ 3743827 h 4926906"/>
              <a:gd name="connsiteX13" fmla="*/ 4603995 w 4608462"/>
              <a:gd name="connsiteY13" fmla="*/ 2981827 h 4926906"/>
              <a:gd name="connsiteX14" fmla="*/ 3710377 w 4608462"/>
              <a:gd name="connsiteY14" fmla="*/ 2358372 h 4926906"/>
              <a:gd name="connsiteX15" fmla="*/ 3523340 w 4608462"/>
              <a:gd name="connsiteY15" fmla="*/ 1998154 h 4926906"/>
              <a:gd name="connsiteX16" fmla="*/ 4042886 w 4608462"/>
              <a:gd name="connsiteY16" fmla="*/ 1721063 h 4926906"/>
              <a:gd name="connsiteX17" fmla="*/ 4202213 w 4608462"/>
              <a:gd name="connsiteY17" fmla="*/ 1159954 h 4926906"/>
              <a:gd name="connsiteX18" fmla="*/ 4539670 w 4608462"/>
              <a:gd name="connsiteY18" fmla="*/ 803549 h 4926906"/>
              <a:gd name="connsiteX19" fmla="*/ 4427844 w 4608462"/>
              <a:gd name="connsiteY19" fmla="*/ 269507 h 4926906"/>
              <a:gd name="connsiteX20" fmla="*/ 3668483 w 4608462"/>
              <a:gd name="connsiteY20" fmla="*/ 571 h 4926906"/>
              <a:gd name="connsiteX0" fmla="*/ 3668483 w 4608462"/>
              <a:gd name="connsiteY0" fmla="*/ 571 h 4782492"/>
              <a:gd name="connsiteX1" fmla="*/ 581889 w 4608462"/>
              <a:gd name="connsiteY1" fmla="*/ 290259 h 4782492"/>
              <a:gd name="connsiteX2" fmla="*/ 288634 w 4608462"/>
              <a:gd name="connsiteY2" fmla="*/ 1566777 h 4782492"/>
              <a:gd name="connsiteX3" fmla="*/ 1042058 w 4608462"/>
              <a:gd name="connsiteY3" fmla="*/ 1443987 h 4782492"/>
              <a:gd name="connsiteX4" fmla="*/ 1406235 w 4608462"/>
              <a:gd name="connsiteY4" fmla="*/ 2257006 h 4782492"/>
              <a:gd name="connsiteX5" fmla="*/ 2241795 w 4608462"/>
              <a:gd name="connsiteY5" fmla="*/ 2933336 h 4782492"/>
              <a:gd name="connsiteX6" fmla="*/ 2816759 w 4608462"/>
              <a:gd name="connsiteY6" fmla="*/ 2947191 h 4782492"/>
              <a:gd name="connsiteX7" fmla="*/ 2823686 w 4608462"/>
              <a:gd name="connsiteY7" fmla="*/ 3501372 h 4782492"/>
              <a:gd name="connsiteX8" fmla="*/ 2962231 w 4608462"/>
              <a:gd name="connsiteY8" fmla="*/ 3681481 h 4782492"/>
              <a:gd name="connsiteX9" fmla="*/ 2650504 w 4608462"/>
              <a:gd name="connsiteY9" fmla="*/ 4575100 h 4782492"/>
              <a:gd name="connsiteX10" fmla="*/ 3378527 w 4608462"/>
              <a:gd name="connsiteY10" fmla="*/ 4770291 h 4782492"/>
              <a:gd name="connsiteX11" fmla="*/ 3440213 w 4608462"/>
              <a:gd name="connsiteY11" fmla="*/ 4339572 h 4782492"/>
              <a:gd name="connsiteX12" fmla="*/ 4029031 w 4608462"/>
              <a:gd name="connsiteY12" fmla="*/ 3743827 h 4782492"/>
              <a:gd name="connsiteX13" fmla="*/ 4603995 w 4608462"/>
              <a:gd name="connsiteY13" fmla="*/ 2981827 h 4782492"/>
              <a:gd name="connsiteX14" fmla="*/ 3710377 w 4608462"/>
              <a:gd name="connsiteY14" fmla="*/ 2358372 h 4782492"/>
              <a:gd name="connsiteX15" fmla="*/ 3523340 w 4608462"/>
              <a:gd name="connsiteY15" fmla="*/ 1998154 h 4782492"/>
              <a:gd name="connsiteX16" fmla="*/ 4042886 w 4608462"/>
              <a:gd name="connsiteY16" fmla="*/ 1721063 h 4782492"/>
              <a:gd name="connsiteX17" fmla="*/ 4202213 w 4608462"/>
              <a:gd name="connsiteY17" fmla="*/ 1159954 h 4782492"/>
              <a:gd name="connsiteX18" fmla="*/ 4539670 w 4608462"/>
              <a:gd name="connsiteY18" fmla="*/ 803549 h 4782492"/>
              <a:gd name="connsiteX19" fmla="*/ 4427844 w 4608462"/>
              <a:gd name="connsiteY19" fmla="*/ 269507 h 4782492"/>
              <a:gd name="connsiteX20" fmla="*/ 3668483 w 4608462"/>
              <a:gd name="connsiteY20" fmla="*/ 571 h 4782492"/>
              <a:gd name="connsiteX0" fmla="*/ 3668483 w 4608181"/>
              <a:gd name="connsiteY0" fmla="*/ 571 h 4789176"/>
              <a:gd name="connsiteX1" fmla="*/ 581889 w 4608181"/>
              <a:gd name="connsiteY1" fmla="*/ 290259 h 4789176"/>
              <a:gd name="connsiteX2" fmla="*/ 288634 w 4608181"/>
              <a:gd name="connsiteY2" fmla="*/ 1566777 h 4789176"/>
              <a:gd name="connsiteX3" fmla="*/ 1042058 w 4608181"/>
              <a:gd name="connsiteY3" fmla="*/ 1443987 h 4789176"/>
              <a:gd name="connsiteX4" fmla="*/ 1406235 w 4608181"/>
              <a:gd name="connsiteY4" fmla="*/ 2257006 h 4789176"/>
              <a:gd name="connsiteX5" fmla="*/ 2241795 w 4608181"/>
              <a:gd name="connsiteY5" fmla="*/ 2933336 h 4789176"/>
              <a:gd name="connsiteX6" fmla="*/ 2816759 w 4608181"/>
              <a:gd name="connsiteY6" fmla="*/ 2947191 h 4789176"/>
              <a:gd name="connsiteX7" fmla="*/ 2823686 w 4608181"/>
              <a:gd name="connsiteY7" fmla="*/ 3501372 h 4789176"/>
              <a:gd name="connsiteX8" fmla="*/ 2962231 w 4608181"/>
              <a:gd name="connsiteY8" fmla="*/ 3681481 h 4789176"/>
              <a:gd name="connsiteX9" fmla="*/ 2650504 w 4608181"/>
              <a:gd name="connsiteY9" fmla="*/ 4575100 h 4789176"/>
              <a:gd name="connsiteX10" fmla="*/ 3378527 w 4608181"/>
              <a:gd name="connsiteY10" fmla="*/ 4770291 h 4789176"/>
              <a:gd name="connsiteX11" fmla="*/ 3636155 w 4608181"/>
              <a:gd name="connsiteY11" fmla="*/ 4238792 h 4789176"/>
              <a:gd name="connsiteX12" fmla="*/ 4029031 w 4608181"/>
              <a:gd name="connsiteY12" fmla="*/ 3743827 h 4789176"/>
              <a:gd name="connsiteX13" fmla="*/ 4603995 w 4608181"/>
              <a:gd name="connsiteY13" fmla="*/ 2981827 h 4789176"/>
              <a:gd name="connsiteX14" fmla="*/ 3710377 w 4608181"/>
              <a:gd name="connsiteY14" fmla="*/ 2358372 h 4789176"/>
              <a:gd name="connsiteX15" fmla="*/ 3523340 w 4608181"/>
              <a:gd name="connsiteY15" fmla="*/ 1998154 h 4789176"/>
              <a:gd name="connsiteX16" fmla="*/ 4042886 w 4608181"/>
              <a:gd name="connsiteY16" fmla="*/ 1721063 h 4789176"/>
              <a:gd name="connsiteX17" fmla="*/ 4202213 w 4608181"/>
              <a:gd name="connsiteY17" fmla="*/ 1159954 h 4789176"/>
              <a:gd name="connsiteX18" fmla="*/ 4539670 w 4608181"/>
              <a:gd name="connsiteY18" fmla="*/ 803549 h 4789176"/>
              <a:gd name="connsiteX19" fmla="*/ 4427844 w 4608181"/>
              <a:gd name="connsiteY19" fmla="*/ 269507 h 4789176"/>
              <a:gd name="connsiteX20" fmla="*/ 3668483 w 4608181"/>
              <a:gd name="connsiteY20" fmla="*/ 571 h 4789176"/>
              <a:gd name="connsiteX0" fmla="*/ 3668483 w 4614553"/>
              <a:gd name="connsiteY0" fmla="*/ 571 h 4789176"/>
              <a:gd name="connsiteX1" fmla="*/ 581889 w 4614553"/>
              <a:gd name="connsiteY1" fmla="*/ 290259 h 4789176"/>
              <a:gd name="connsiteX2" fmla="*/ 288634 w 4614553"/>
              <a:gd name="connsiteY2" fmla="*/ 1566777 h 4789176"/>
              <a:gd name="connsiteX3" fmla="*/ 1042058 w 4614553"/>
              <a:gd name="connsiteY3" fmla="*/ 1443987 h 4789176"/>
              <a:gd name="connsiteX4" fmla="*/ 1406235 w 4614553"/>
              <a:gd name="connsiteY4" fmla="*/ 2257006 h 4789176"/>
              <a:gd name="connsiteX5" fmla="*/ 2241795 w 4614553"/>
              <a:gd name="connsiteY5" fmla="*/ 2933336 h 4789176"/>
              <a:gd name="connsiteX6" fmla="*/ 2816759 w 4614553"/>
              <a:gd name="connsiteY6" fmla="*/ 2947191 h 4789176"/>
              <a:gd name="connsiteX7" fmla="*/ 2823686 w 4614553"/>
              <a:gd name="connsiteY7" fmla="*/ 3501372 h 4789176"/>
              <a:gd name="connsiteX8" fmla="*/ 2962231 w 4614553"/>
              <a:gd name="connsiteY8" fmla="*/ 3681481 h 4789176"/>
              <a:gd name="connsiteX9" fmla="*/ 2650504 w 4614553"/>
              <a:gd name="connsiteY9" fmla="*/ 4575100 h 4789176"/>
              <a:gd name="connsiteX10" fmla="*/ 3378527 w 4614553"/>
              <a:gd name="connsiteY10" fmla="*/ 4770291 h 4789176"/>
              <a:gd name="connsiteX11" fmla="*/ 3636155 w 4614553"/>
              <a:gd name="connsiteY11" fmla="*/ 4238792 h 4789176"/>
              <a:gd name="connsiteX12" fmla="*/ 4029031 w 4614553"/>
              <a:gd name="connsiteY12" fmla="*/ 3743827 h 4789176"/>
              <a:gd name="connsiteX13" fmla="*/ 4603995 w 4614553"/>
              <a:gd name="connsiteY13" fmla="*/ 2981827 h 4789176"/>
              <a:gd name="connsiteX14" fmla="*/ 3492662 w 4614553"/>
              <a:gd name="connsiteY14" fmla="*/ 2553636 h 4789176"/>
              <a:gd name="connsiteX15" fmla="*/ 3523340 w 4614553"/>
              <a:gd name="connsiteY15" fmla="*/ 1998154 h 4789176"/>
              <a:gd name="connsiteX16" fmla="*/ 4042886 w 4614553"/>
              <a:gd name="connsiteY16" fmla="*/ 1721063 h 4789176"/>
              <a:gd name="connsiteX17" fmla="*/ 4202213 w 4614553"/>
              <a:gd name="connsiteY17" fmla="*/ 1159954 h 4789176"/>
              <a:gd name="connsiteX18" fmla="*/ 4539670 w 4614553"/>
              <a:gd name="connsiteY18" fmla="*/ 803549 h 4789176"/>
              <a:gd name="connsiteX19" fmla="*/ 4427844 w 4614553"/>
              <a:gd name="connsiteY19" fmla="*/ 269507 h 4789176"/>
              <a:gd name="connsiteX20" fmla="*/ 3668483 w 4614553"/>
              <a:gd name="connsiteY20" fmla="*/ 571 h 4789176"/>
              <a:gd name="connsiteX0" fmla="*/ 3668483 w 4587082"/>
              <a:gd name="connsiteY0" fmla="*/ 571 h 4789176"/>
              <a:gd name="connsiteX1" fmla="*/ 581889 w 4587082"/>
              <a:gd name="connsiteY1" fmla="*/ 290259 h 4789176"/>
              <a:gd name="connsiteX2" fmla="*/ 288634 w 4587082"/>
              <a:gd name="connsiteY2" fmla="*/ 1566777 h 4789176"/>
              <a:gd name="connsiteX3" fmla="*/ 1042058 w 4587082"/>
              <a:gd name="connsiteY3" fmla="*/ 1443987 h 4789176"/>
              <a:gd name="connsiteX4" fmla="*/ 1406235 w 4587082"/>
              <a:gd name="connsiteY4" fmla="*/ 2257006 h 4789176"/>
              <a:gd name="connsiteX5" fmla="*/ 2241795 w 4587082"/>
              <a:gd name="connsiteY5" fmla="*/ 2933336 h 4789176"/>
              <a:gd name="connsiteX6" fmla="*/ 2816759 w 4587082"/>
              <a:gd name="connsiteY6" fmla="*/ 2947191 h 4789176"/>
              <a:gd name="connsiteX7" fmla="*/ 2823686 w 4587082"/>
              <a:gd name="connsiteY7" fmla="*/ 3501372 h 4789176"/>
              <a:gd name="connsiteX8" fmla="*/ 2962231 w 4587082"/>
              <a:gd name="connsiteY8" fmla="*/ 3681481 h 4789176"/>
              <a:gd name="connsiteX9" fmla="*/ 2650504 w 4587082"/>
              <a:gd name="connsiteY9" fmla="*/ 4575100 h 4789176"/>
              <a:gd name="connsiteX10" fmla="*/ 3378527 w 4587082"/>
              <a:gd name="connsiteY10" fmla="*/ 4770291 h 4789176"/>
              <a:gd name="connsiteX11" fmla="*/ 3636155 w 4587082"/>
              <a:gd name="connsiteY11" fmla="*/ 4238792 h 4789176"/>
              <a:gd name="connsiteX12" fmla="*/ 4029031 w 4587082"/>
              <a:gd name="connsiteY12" fmla="*/ 3743827 h 4789176"/>
              <a:gd name="connsiteX13" fmla="*/ 4495138 w 4587082"/>
              <a:gd name="connsiteY13" fmla="*/ 3132998 h 4789176"/>
              <a:gd name="connsiteX14" fmla="*/ 3492662 w 4587082"/>
              <a:gd name="connsiteY14" fmla="*/ 2553636 h 4789176"/>
              <a:gd name="connsiteX15" fmla="*/ 3523340 w 4587082"/>
              <a:gd name="connsiteY15" fmla="*/ 1998154 h 4789176"/>
              <a:gd name="connsiteX16" fmla="*/ 4042886 w 4587082"/>
              <a:gd name="connsiteY16" fmla="*/ 1721063 h 4789176"/>
              <a:gd name="connsiteX17" fmla="*/ 4202213 w 4587082"/>
              <a:gd name="connsiteY17" fmla="*/ 1159954 h 4789176"/>
              <a:gd name="connsiteX18" fmla="*/ 4539670 w 4587082"/>
              <a:gd name="connsiteY18" fmla="*/ 803549 h 4789176"/>
              <a:gd name="connsiteX19" fmla="*/ 4427844 w 4587082"/>
              <a:gd name="connsiteY19" fmla="*/ 269507 h 4789176"/>
              <a:gd name="connsiteX20" fmla="*/ 3668483 w 4587082"/>
              <a:gd name="connsiteY20" fmla="*/ 571 h 4789176"/>
              <a:gd name="connsiteX0" fmla="*/ 3668483 w 4587082"/>
              <a:gd name="connsiteY0" fmla="*/ 571 h 4789176"/>
              <a:gd name="connsiteX1" fmla="*/ 581889 w 4587082"/>
              <a:gd name="connsiteY1" fmla="*/ 290259 h 4789176"/>
              <a:gd name="connsiteX2" fmla="*/ 288634 w 4587082"/>
              <a:gd name="connsiteY2" fmla="*/ 1566777 h 4789176"/>
              <a:gd name="connsiteX3" fmla="*/ 1042058 w 4587082"/>
              <a:gd name="connsiteY3" fmla="*/ 1443987 h 4789176"/>
              <a:gd name="connsiteX4" fmla="*/ 1406235 w 4587082"/>
              <a:gd name="connsiteY4" fmla="*/ 2257006 h 4789176"/>
              <a:gd name="connsiteX5" fmla="*/ 2241795 w 4587082"/>
              <a:gd name="connsiteY5" fmla="*/ 2933336 h 4789176"/>
              <a:gd name="connsiteX6" fmla="*/ 2816759 w 4587082"/>
              <a:gd name="connsiteY6" fmla="*/ 2947191 h 4789176"/>
              <a:gd name="connsiteX7" fmla="*/ 2823686 w 4587082"/>
              <a:gd name="connsiteY7" fmla="*/ 3501372 h 4789176"/>
              <a:gd name="connsiteX8" fmla="*/ 2962231 w 4587082"/>
              <a:gd name="connsiteY8" fmla="*/ 3681481 h 4789176"/>
              <a:gd name="connsiteX9" fmla="*/ 2650504 w 4587082"/>
              <a:gd name="connsiteY9" fmla="*/ 4575100 h 4789176"/>
              <a:gd name="connsiteX10" fmla="*/ 3378527 w 4587082"/>
              <a:gd name="connsiteY10" fmla="*/ 4770291 h 4789176"/>
              <a:gd name="connsiteX11" fmla="*/ 3636155 w 4587082"/>
              <a:gd name="connsiteY11" fmla="*/ 4238792 h 4789176"/>
              <a:gd name="connsiteX12" fmla="*/ 4029031 w 4587082"/>
              <a:gd name="connsiteY12" fmla="*/ 3743827 h 4789176"/>
              <a:gd name="connsiteX13" fmla="*/ 4495138 w 4587082"/>
              <a:gd name="connsiteY13" fmla="*/ 3132998 h 4789176"/>
              <a:gd name="connsiteX14" fmla="*/ 3492662 w 4587082"/>
              <a:gd name="connsiteY14" fmla="*/ 2553636 h 4789176"/>
              <a:gd name="connsiteX15" fmla="*/ 3523340 w 4587082"/>
              <a:gd name="connsiteY15" fmla="*/ 1998154 h 4789176"/>
              <a:gd name="connsiteX16" fmla="*/ 4042886 w 4587082"/>
              <a:gd name="connsiteY16" fmla="*/ 1721063 h 4789176"/>
              <a:gd name="connsiteX17" fmla="*/ 4202213 w 4587082"/>
              <a:gd name="connsiteY17" fmla="*/ 1159954 h 4789176"/>
              <a:gd name="connsiteX18" fmla="*/ 4539670 w 4587082"/>
              <a:gd name="connsiteY18" fmla="*/ 803549 h 4789176"/>
              <a:gd name="connsiteX19" fmla="*/ 4427844 w 4587082"/>
              <a:gd name="connsiteY19" fmla="*/ 269507 h 4789176"/>
              <a:gd name="connsiteX20" fmla="*/ 3668483 w 4587082"/>
              <a:gd name="connsiteY20" fmla="*/ 571 h 4789176"/>
              <a:gd name="connsiteX0" fmla="*/ 3668483 w 4587082"/>
              <a:gd name="connsiteY0" fmla="*/ 571 h 4789176"/>
              <a:gd name="connsiteX1" fmla="*/ 581889 w 4587082"/>
              <a:gd name="connsiteY1" fmla="*/ 290259 h 4789176"/>
              <a:gd name="connsiteX2" fmla="*/ 288634 w 4587082"/>
              <a:gd name="connsiteY2" fmla="*/ 1566777 h 4789176"/>
              <a:gd name="connsiteX3" fmla="*/ 1042058 w 4587082"/>
              <a:gd name="connsiteY3" fmla="*/ 1443987 h 4789176"/>
              <a:gd name="connsiteX4" fmla="*/ 1406235 w 4587082"/>
              <a:gd name="connsiteY4" fmla="*/ 2257006 h 4789176"/>
              <a:gd name="connsiteX5" fmla="*/ 2241795 w 4587082"/>
              <a:gd name="connsiteY5" fmla="*/ 2933336 h 4789176"/>
              <a:gd name="connsiteX6" fmla="*/ 2816759 w 4587082"/>
              <a:gd name="connsiteY6" fmla="*/ 2947191 h 4789176"/>
              <a:gd name="connsiteX7" fmla="*/ 2823686 w 4587082"/>
              <a:gd name="connsiteY7" fmla="*/ 3501372 h 4789176"/>
              <a:gd name="connsiteX8" fmla="*/ 2962231 w 4587082"/>
              <a:gd name="connsiteY8" fmla="*/ 3681481 h 4789176"/>
              <a:gd name="connsiteX9" fmla="*/ 2650504 w 4587082"/>
              <a:gd name="connsiteY9" fmla="*/ 4575100 h 4789176"/>
              <a:gd name="connsiteX10" fmla="*/ 3378527 w 4587082"/>
              <a:gd name="connsiteY10" fmla="*/ 4770291 h 4789176"/>
              <a:gd name="connsiteX11" fmla="*/ 3636155 w 4587082"/>
              <a:gd name="connsiteY11" fmla="*/ 4238792 h 4789176"/>
              <a:gd name="connsiteX12" fmla="*/ 4029031 w 4587082"/>
              <a:gd name="connsiteY12" fmla="*/ 3743827 h 4789176"/>
              <a:gd name="connsiteX13" fmla="*/ 4495138 w 4587082"/>
              <a:gd name="connsiteY13" fmla="*/ 3132998 h 4789176"/>
              <a:gd name="connsiteX14" fmla="*/ 3492662 w 4587082"/>
              <a:gd name="connsiteY14" fmla="*/ 2553636 h 4789176"/>
              <a:gd name="connsiteX15" fmla="*/ 3523340 w 4587082"/>
              <a:gd name="connsiteY15" fmla="*/ 1998154 h 4789176"/>
              <a:gd name="connsiteX16" fmla="*/ 4042886 w 4587082"/>
              <a:gd name="connsiteY16" fmla="*/ 1721063 h 4789176"/>
              <a:gd name="connsiteX17" fmla="*/ 4202213 w 4587082"/>
              <a:gd name="connsiteY17" fmla="*/ 1159954 h 4789176"/>
              <a:gd name="connsiteX18" fmla="*/ 4539670 w 4587082"/>
              <a:gd name="connsiteY18" fmla="*/ 803549 h 4789176"/>
              <a:gd name="connsiteX19" fmla="*/ 4427844 w 4587082"/>
              <a:gd name="connsiteY19" fmla="*/ 269507 h 4789176"/>
              <a:gd name="connsiteX20" fmla="*/ 3668483 w 4587082"/>
              <a:gd name="connsiteY20" fmla="*/ 571 h 4789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587082" h="4789176">
                <a:moveTo>
                  <a:pt x="3668483" y="571"/>
                </a:moveTo>
                <a:cubicBezTo>
                  <a:pt x="3303262" y="-8568"/>
                  <a:pt x="1217769" y="92214"/>
                  <a:pt x="581889" y="290259"/>
                </a:cubicBezTo>
                <a:cubicBezTo>
                  <a:pt x="-53991" y="488304"/>
                  <a:pt x="-194461" y="1280007"/>
                  <a:pt x="288634" y="1566777"/>
                </a:cubicBezTo>
                <a:cubicBezTo>
                  <a:pt x="771729" y="1853547"/>
                  <a:pt x="855791" y="1328949"/>
                  <a:pt x="1042058" y="1443987"/>
                </a:cubicBezTo>
                <a:cubicBezTo>
                  <a:pt x="1228325" y="1559025"/>
                  <a:pt x="1206279" y="2008781"/>
                  <a:pt x="1406235" y="2257006"/>
                </a:cubicBezTo>
                <a:cubicBezTo>
                  <a:pt x="1606191" y="2505231"/>
                  <a:pt x="2006708" y="2818305"/>
                  <a:pt x="2241795" y="2933336"/>
                </a:cubicBezTo>
                <a:cubicBezTo>
                  <a:pt x="2476882" y="3048367"/>
                  <a:pt x="2719777" y="2852518"/>
                  <a:pt x="2816759" y="2947191"/>
                </a:cubicBezTo>
                <a:cubicBezTo>
                  <a:pt x="2913741" y="3041864"/>
                  <a:pt x="2799441" y="3378990"/>
                  <a:pt x="2823686" y="3501372"/>
                </a:cubicBezTo>
                <a:cubicBezTo>
                  <a:pt x="2847931" y="3623754"/>
                  <a:pt x="2991095" y="3502526"/>
                  <a:pt x="2962231" y="3681481"/>
                </a:cubicBezTo>
                <a:cubicBezTo>
                  <a:pt x="2933367" y="3860436"/>
                  <a:pt x="2581121" y="4393632"/>
                  <a:pt x="2650504" y="4575100"/>
                </a:cubicBezTo>
                <a:cubicBezTo>
                  <a:pt x="2719887" y="4756568"/>
                  <a:pt x="3214252" y="4826342"/>
                  <a:pt x="3378527" y="4770291"/>
                </a:cubicBezTo>
                <a:cubicBezTo>
                  <a:pt x="3542802" y="4714240"/>
                  <a:pt x="3527738" y="4409869"/>
                  <a:pt x="3636155" y="4238792"/>
                </a:cubicBezTo>
                <a:cubicBezTo>
                  <a:pt x="3744572" y="4067715"/>
                  <a:pt x="3885867" y="3928126"/>
                  <a:pt x="4029031" y="3743827"/>
                </a:cubicBezTo>
                <a:cubicBezTo>
                  <a:pt x="4172195" y="3559528"/>
                  <a:pt x="4562762" y="3325065"/>
                  <a:pt x="4495138" y="3132998"/>
                </a:cubicBezTo>
                <a:cubicBezTo>
                  <a:pt x="4376714" y="2796059"/>
                  <a:pt x="3654628" y="2742777"/>
                  <a:pt x="3492662" y="2553636"/>
                </a:cubicBezTo>
                <a:cubicBezTo>
                  <a:pt x="3330696" y="2364495"/>
                  <a:pt x="3431636" y="2136916"/>
                  <a:pt x="3523340" y="1998154"/>
                </a:cubicBezTo>
                <a:cubicBezTo>
                  <a:pt x="3615044" y="1859392"/>
                  <a:pt x="3929741" y="1860763"/>
                  <a:pt x="4042886" y="1721063"/>
                </a:cubicBezTo>
                <a:cubicBezTo>
                  <a:pt x="4156031" y="1581363"/>
                  <a:pt x="4119416" y="1312873"/>
                  <a:pt x="4202213" y="1159954"/>
                </a:cubicBezTo>
                <a:cubicBezTo>
                  <a:pt x="4285010" y="1007035"/>
                  <a:pt x="4440379" y="969804"/>
                  <a:pt x="4539670" y="803549"/>
                </a:cubicBezTo>
                <a:cubicBezTo>
                  <a:pt x="4638961" y="637295"/>
                  <a:pt x="4573042" y="403337"/>
                  <a:pt x="4427844" y="269507"/>
                </a:cubicBezTo>
                <a:cubicBezTo>
                  <a:pt x="4282646" y="135677"/>
                  <a:pt x="4033704" y="9710"/>
                  <a:pt x="3668483" y="571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  <a:ln w="12700">
            <a:noFill/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4" name="Freeform 415">
            <a:extLst>
              <a:ext uri="{FF2B5EF4-FFF2-40B4-BE49-F238E27FC236}">
                <a16:creationId xmlns:a16="http://schemas.microsoft.com/office/drawing/2014/main" id="{2000F948-349F-49E4-B3B5-A79876C1752C}"/>
              </a:ext>
            </a:extLst>
          </p:cNvPr>
          <p:cNvSpPr/>
          <p:nvPr/>
        </p:nvSpPr>
        <p:spPr>
          <a:xfrm>
            <a:off x="5657079" y="2364073"/>
            <a:ext cx="1474110" cy="1393158"/>
          </a:xfrm>
          <a:custGeom>
            <a:avLst/>
            <a:gdLst>
              <a:gd name="connsiteX0" fmla="*/ 453186 w 2057342"/>
              <a:gd name="connsiteY0" fmla="*/ 907953 h 2002160"/>
              <a:gd name="connsiteX1" fmla="*/ 10500 w 2057342"/>
              <a:gd name="connsiteY1" fmla="*/ 1517553 h 2002160"/>
              <a:gd name="connsiteX2" fmla="*/ 191929 w 2057342"/>
              <a:gd name="connsiteY2" fmla="*/ 1974753 h 2002160"/>
              <a:gd name="connsiteX3" fmla="*/ 772500 w 2057342"/>
              <a:gd name="connsiteY3" fmla="*/ 1923953 h 2002160"/>
              <a:gd name="connsiteX4" fmla="*/ 1222443 w 2057342"/>
              <a:gd name="connsiteY4" fmla="*/ 1989268 h 2002160"/>
              <a:gd name="connsiteX5" fmla="*/ 1643357 w 2057342"/>
              <a:gd name="connsiteY5" fmla="*/ 1982011 h 2002160"/>
              <a:gd name="connsiteX6" fmla="*/ 1962672 w 2057342"/>
              <a:gd name="connsiteY6" fmla="*/ 1786068 h 2002160"/>
              <a:gd name="connsiteX7" fmla="*/ 2057014 w 2057342"/>
              <a:gd name="connsiteY7" fmla="*/ 1328868 h 2002160"/>
              <a:gd name="connsiteX8" fmla="*/ 1984443 w 2057342"/>
              <a:gd name="connsiteY8" fmla="*/ 487039 h 2002160"/>
              <a:gd name="connsiteX9" fmla="*/ 1759472 w 2057342"/>
              <a:gd name="connsiteY9" fmla="*/ 102411 h 2002160"/>
              <a:gd name="connsiteX10" fmla="*/ 1120843 w 2057342"/>
              <a:gd name="connsiteY10" fmla="*/ 66125 h 2002160"/>
              <a:gd name="connsiteX11" fmla="*/ 453186 w 2057342"/>
              <a:gd name="connsiteY11" fmla="*/ 907953 h 200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57342" h="2002160">
                <a:moveTo>
                  <a:pt x="453186" y="907953"/>
                </a:moveTo>
                <a:cubicBezTo>
                  <a:pt x="268129" y="1149858"/>
                  <a:pt x="54043" y="1339753"/>
                  <a:pt x="10500" y="1517553"/>
                </a:cubicBezTo>
                <a:cubicBezTo>
                  <a:pt x="-33043" y="1695353"/>
                  <a:pt x="64929" y="1907020"/>
                  <a:pt x="191929" y="1974753"/>
                </a:cubicBezTo>
                <a:cubicBezTo>
                  <a:pt x="318929" y="2042486"/>
                  <a:pt x="600748" y="1921534"/>
                  <a:pt x="772500" y="1923953"/>
                </a:cubicBezTo>
                <a:cubicBezTo>
                  <a:pt x="944252" y="1926372"/>
                  <a:pt x="1077300" y="1979592"/>
                  <a:pt x="1222443" y="1989268"/>
                </a:cubicBezTo>
                <a:cubicBezTo>
                  <a:pt x="1367586" y="1998944"/>
                  <a:pt x="1519986" y="2015878"/>
                  <a:pt x="1643357" y="1982011"/>
                </a:cubicBezTo>
                <a:cubicBezTo>
                  <a:pt x="1766728" y="1948144"/>
                  <a:pt x="1893729" y="1894925"/>
                  <a:pt x="1962672" y="1786068"/>
                </a:cubicBezTo>
                <a:cubicBezTo>
                  <a:pt x="2031615" y="1677211"/>
                  <a:pt x="2053386" y="1545373"/>
                  <a:pt x="2057014" y="1328868"/>
                </a:cubicBezTo>
                <a:cubicBezTo>
                  <a:pt x="2060642" y="1112363"/>
                  <a:pt x="2034033" y="691448"/>
                  <a:pt x="1984443" y="487039"/>
                </a:cubicBezTo>
                <a:cubicBezTo>
                  <a:pt x="1934853" y="282629"/>
                  <a:pt x="1903405" y="172563"/>
                  <a:pt x="1759472" y="102411"/>
                </a:cubicBezTo>
                <a:cubicBezTo>
                  <a:pt x="1615539" y="32259"/>
                  <a:pt x="1337348" y="-68132"/>
                  <a:pt x="1120843" y="66125"/>
                </a:cubicBezTo>
                <a:cubicBezTo>
                  <a:pt x="904338" y="200382"/>
                  <a:pt x="638243" y="666048"/>
                  <a:pt x="453186" y="907953"/>
                </a:cubicBezTo>
                <a:close/>
              </a:path>
            </a:pathLst>
          </a:custGeom>
          <a:solidFill>
            <a:schemeClr val="accent5">
              <a:alpha val="30000"/>
            </a:schemeClr>
          </a:solidFill>
          <a:ln w="12700">
            <a:noFill/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5" name="Freeform 440">
            <a:extLst>
              <a:ext uri="{FF2B5EF4-FFF2-40B4-BE49-F238E27FC236}">
                <a16:creationId xmlns:a16="http://schemas.microsoft.com/office/drawing/2014/main" id="{B1D81D86-059B-4C31-9D33-E9C6AE369B7A}"/>
              </a:ext>
            </a:extLst>
          </p:cNvPr>
          <p:cNvSpPr/>
          <p:nvPr/>
        </p:nvSpPr>
        <p:spPr>
          <a:xfrm>
            <a:off x="5639176" y="4129116"/>
            <a:ext cx="1741985" cy="1341913"/>
          </a:xfrm>
          <a:custGeom>
            <a:avLst/>
            <a:gdLst>
              <a:gd name="connsiteX0" fmla="*/ 1755478 w 2474193"/>
              <a:gd name="connsiteY0" fmla="*/ 139250 h 2420887"/>
              <a:gd name="connsiteX1" fmla="*/ 1044278 w 2474193"/>
              <a:gd name="connsiteY1" fmla="*/ 15878 h 2420887"/>
              <a:gd name="connsiteX2" fmla="*/ 463707 w 2474193"/>
              <a:gd name="connsiteY2" fmla="*/ 15878 h 2420887"/>
              <a:gd name="connsiteX3" fmla="*/ 245992 w 2474193"/>
              <a:gd name="connsiteY3" fmla="*/ 146507 h 2420887"/>
              <a:gd name="connsiteX4" fmla="*/ 6507 w 2474193"/>
              <a:gd name="connsiteY4" fmla="*/ 494850 h 2420887"/>
              <a:gd name="connsiteX5" fmla="*/ 122621 w 2474193"/>
              <a:gd name="connsiteY5" fmla="*/ 1017364 h 2420887"/>
              <a:gd name="connsiteX6" fmla="*/ 674164 w 2474193"/>
              <a:gd name="connsiteY6" fmla="*/ 1213307 h 2420887"/>
              <a:gd name="connsiteX7" fmla="*/ 870107 w 2474193"/>
              <a:gd name="connsiteY7" fmla="*/ 1249592 h 2420887"/>
              <a:gd name="connsiteX8" fmla="*/ 928164 w 2474193"/>
              <a:gd name="connsiteY8" fmla="*/ 1460050 h 2420887"/>
              <a:gd name="connsiteX9" fmla="*/ 1080564 w 2474193"/>
              <a:gd name="connsiteY9" fmla="*/ 2033364 h 2420887"/>
              <a:gd name="connsiteX10" fmla="*/ 1349078 w 2474193"/>
              <a:gd name="connsiteY10" fmla="*/ 2381707 h 2420887"/>
              <a:gd name="connsiteX11" fmla="*/ 1842564 w 2474193"/>
              <a:gd name="connsiteY11" fmla="*/ 2374450 h 2420887"/>
              <a:gd name="connsiteX12" fmla="*/ 2140107 w 2474193"/>
              <a:gd name="connsiteY12" fmla="*/ 2040621 h 2420887"/>
              <a:gd name="connsiteX13" fmla="*/ 2357821 w 2474193"/>
              <a:gd name="connsiteY13" fmla="*/ 2011592 h 2420887"/>
              <a:gd name="connsiteX14" fmla="*/ 2444907 w 2474193"/>
              <a:gd name="connsiteY14" fmla="*/ 1714050 h 2420887"/>
              <a:gd name="connsiteX15" fmla="*/ 2444907 w 2474193"/>
              <a:gd name="connsiteY15" fmla="*/ 1372964 h 2420887"/>
              <a:gd name="connsiteX16" fmla="*/ 2176392 w 2474193"/>
              <a:gd name="connsiteY16" fmla="*/ 1307650 h 2420887"/>
              <a:gd name="connsiteX17" fmla="*/ 2234450 w 2474193"/>
              <a:gd name="connsiteY17" fmla="*/ 1162507 h 2420887"/>
              <a:gd name="connsiteX18" fmla="*/ 2473935 w 2474193"/>
              <a:gd name="connsiteY18" fmla="*/ 835935 h 2420887"/>
              <a:gd name="connsiteX19" fmla="*/ 2277992 w 2474193"/>
              <a:gd name="connsiteY19" fmla="*/ 770621 h 2420887"/>
              <a:gd name="connsiteX20" fmla="*/ 2140107 w 2474193"/>
              <a:gd name="connsiteY20" fmla="*/ 777878 h 2420887"/>
              <a:gd name="connsiteX21" fmla="*/ 1973192 w 2474193"/>
              <a:gd name="connsiteY21" fmla="*/ 610964 h 2420887"/>
              <a:gd name="connsiteX22" fmla="*/ 1849821 w 2474193"/>
              <a:gd name="connsiteY22" fmla="*/ 313421 h 2420887"/>
              <a:gd name="connsiteX23" fmla="*/ 1755478 w 2474193"/>
              <a:gd name="connsiteY23" fmla="*/ 139250 h 2420887"/>
              <a:gd name="connsiteX0" fmla="*/ 1755478 w 2474193"/>
              <a:gd name="connsiteY0" fmla="*/ 123387 h 2405024"/>
              <a:gd name="connsiteX1" fmla="*/ 1044278 w 2474193"/>
              <a:gd name="connsiteY1" fmla="*/ 15 h 2405024"/>
              <a:gd name="connsiteX2" fmla="*/ 245992 w 2474193"/>
              <a:gd name="connsiteY2" fmla="*/ 130644 h 2405024"/>
              <a:gd name="connsiteX3" fmla="*/ 6507 w 2474193"/>
              <a:gd name="connsiteY3" fmla="*/ 478987 h 2405024"/>
              <a:gd name="connsiteX4" fmla="*/ 122621 w 2474193"/>
              <a:gd name="connsiteY4" fmla="*/ 1001501 h 2405024"/>
              <a:gd name="connsiteX5" fmla="*/ 674164 w 2474193"/>
              <a:gd name="connsiteY5" fmla="*/ 1197444 h 2405024"/>
              <a:gd name="connsiteX6" fmla="*/ 870107 w 2474193"/>
              <a:gd name="connsiteY6" fmla="*/ 1233729 h 2405024"/>
              <a:gd name="connsiteX7" fmla="*/ 928164 w 2474193"/>
              <a:gd name="connsiteY7" fmla="*/ 1444187 h 2405024"/>
              <a:gd name="connsiteX8" fmla="*/ 1080564 w 2474193"/>
              <a:gd name="connsiteY8" fmla="*/ 2017501 h 2405024"/>
              <a:gd name="connsiteX9" fmla="*/ 1349078 w 2474193"/>
              <a:gd name="connsiteY9" fmla="*/ 2365844 h 2405024"/>
              <a:gd name="connsiteX10" fmla="*/ 1842564 w 2474193"/>
              <a:gd name="connsiteY10" fmla="*/ 2358587 h 2405024"/>
              <a:gd name="connsiteX11" fmla="*/ 2140107 w 2474193"/>
              <a:gd name="connsiteY11" fmla="*/ 2024758 h 2405024"/>
              <a:gd name="connsiteX12" fmla="*/ 2357821 w 2474193"/>
              <a:gd name="connsiteY12" fmla="*/ 1995729 h 2405024"/>
              <a:gd name="connsiteX13" fmla="*/ 2444907 w 2474193"/>
              <a:gd name="connsiteY13" fmla="*/ 1698187 h 2405024"/>
              <a:gd name="connsiteX14" fmla="*/ 2444907 w 2474193"/>
              <a:gd name="connsiteY14" fmla="*/ 1357101 h 2405024"/>
              <a:gd name="connsiteX15" fmla="*/ 2176392 w 2474193"/>
              <a:gd name="connsiteY15" fmla="*/ 1291787 h 2405024"/>
              <a:gd name="connsiteX16" fmla="*/ 2234450 w 2474193"/>
              <a:gd name="connsiteY16" fmla="*/ 1146644 h 2405024"/>
              <a:gd name="connsiteX17" fmla="*/ 2473935 w 2474193"/>
              <a:gd name="connsiteY17" fmla="*/ 820072 h 2405024"/>
              <a:gd name="connsiteX18" fmla="*/ 2277992 w 2474193"/>
              <a:gd name="connsiteY18" fmla="*/ 754758 h 2405024"/>
              <a:gd name="connsiteX19" fmla="*/ 2140107 w 2474193"/>
              <a:gd name="connsiteY19" fmla="*/ 762015 h 2405024"/>
              <a:gd name="connsiteX20" fmla="*/ 1973192 w 2474193"/>
              <a:gd name="connsiteY20" fmla="*/ 595101 h 2405024"/>
              <a:gd name="connsiteX21" fmla="*/ 1849821 w 2474193"/>
              <a:gd name="connsiteY21" fmla="*/ 297558 h 2405024"/>
              <a:gd name="connsiteX22" fmla="*/ 1755478 w 2474193"/>
              <a:gd name="connsiteY22" fmla="*/ 123387 h 2405024"/>
              <a:gd name="connsiteX0" fmla="*/ 1755478 w 2474193"/>
              <a:gd name="connsiteY0" fmla="*/ 29329 h 2310966"/>
              <a:gd name="connsiteX1" fmla="*/ 245992 w 2474193"/>
              <a:gd name="connsiteY1" fmla="*/ 36586 h 2310966"/>
              <a:gd name="connsiteX2" fmla="*/ 6507 w 2474193"/>
              <a:gd name="connsiteY2" fmla="*/ 384929 h 2310966"/>
              <a:gd name="connsiteX3" fmla="*/ 122621 w 2474193"/>
              <a:gd name="connsiteY3" fmla="*/ 907443 h 2310966"/>
              <a:gd name="connsiteX4" fmla="*/ 674164 w 2474193"/>
              <a:gd name="connsiteY4" fmla="*/ 1103386 h 2310966"/>
              <a:gd name="connsiteX5" fmla="*/ 870107 w 2474193"/>
              <a:gd name="connsiteY5" fmla="*/ 1139671 h 2310966"/>
              <a:gd name="connsiteX6" fmla="*/ 928164 w 2474193"/>
              <a:gd name="connsiteY6" fmla="*/ 1350129 h 2310966"/>
              <a:gd name="connsiteX7" fmla="*/ 1080564 w 2474193"/>
              <a:gd name="connsiteY7" fmla="*/ 1923443 h 2310966"/>
              <a:gd name="connsiteX8" fmla="*/ 1349078 w 2474193"/>
              <a:gd name="connsiteY8" fmla="*/ 2271786 h 2310966"/>
              <a:gd name="connsiteX9" fmla="*/ 1842564 w 2474193"/>
              <a:gd name="connsiteY9" fmla="*/ 2264529 h 2310966"/>
              <a:gd name="connsiteX10" fmla="*/ 2140107 w 2474193"/>
              <a:gd name="connsiteY10" fmla="*/ 1930700 h 2310966"/>
              <a:gd name="connsiteX11" fmla="*/ 2357821 w 2474193"/>
              <a:gd name="connsiteY11" fmla="*/ 1901671 h 2310966"/>
              <a:gd name="connsiteX12" fmla="*/ 2444907 w 2474193"/>
              <a:gd name="connsiteY12" fmla="*/ 1604129 h 2310966"/>
              <a:gd name="connsiteX13" fmla="*/ 2444907 w 2474193"/>
              <a:gd name="connsiteY13" fmla="*/ 1263043 h 2310966"/>
              <a:gd name="connsiteX14" fmla="*/ 2176392 w 2474193"/>
              <a:gd name="connsiteY14" fmla="*/ 1197729 h 2310966"/>
              <a:gd name="connsiteX15" fmla="*/ 2234450 w 2474193"/>
              <a:gd name="connsiteY15" fmla="*/ 1052586 h 2310966"/>
              <a:gd name="connsiteX16" fmla="*/ 2473935 w 2474193"/>
              <a:gd name="connsiteY16" fmla="*/ 726014 h 2310966"/>
              <a:gd name="connsiteX17" fmla="*/ 2277992 w 2474193"/>
              <a:gd name="connsiteY17" fmla="*/ 660700 h 2310966"/>
              <a:gd name="connsiteX18" fmla="*/ 2140107 w 2474193"/>
              <a:gd name="connsiteY18" fmla="*/ 667957 h 2310966"/>
              <a:gd name="connsiteX19" fmla="*/ 1973192 w 2474193"/>
              <a:gd name="connsiteY19" fmla="*/ 501043 h 2310966"/>
              <a:gd name="connsiteX20" fmla="*/ 1849821 w 2474193"/>
              <a:gd name="connsiteY20" fmla="*/ 203500 h 2310966"/>
              <a:gd name="connsiteX21" fmla="*/ 1755478 w 2474193"/>
              <a:gd name="connsiteY21" fmla="*/ 29329 h 2310966"/>
              <a:gd name="connsiteX0" fmla="*/ 1849821 w 2474193"/>
              <a:gd name="connsiteY0" fmla="*/ 171706 h 2279172"/>
              <a:gd name="connsiteX1" fmla="*/ 245992 w 2474193"/>
              <a:gd name="connsiteY1" fmla="*/ 4792 h 2279172"/>
              <a:gd name="connsiteX2" fmla="*/ 6507 w 2474193"/>
              <a:gd name="connsiteY2" fmla="*/ 353135 h 2279172"/>
              <a:gd name="connsiteX3" fmla="*/ 122621 w 2474193"/>
              <a:gd name="connsiteY3" fmla="*/ 875649 h 2279172"/>
              <a:gd name="connsiteX4" fmla="*/ 674164 w 2474193"/>
              <a:gd name="connsiteY4" fmla="*/ 1071592 h 2279172"/>
              <a:gd name="connsiteX5" fmla="*/ 870107 w 2474193"/>
              <a:gd name="connsiteY5" fmla="*/ 1107877 h 2279172"/>
              <a:gd name="connsiteX6" fmla="*/ 928164 w 2474193"/>
              <a:gd name="connsiteY6" fmla="*/ 1318335 h 2279172"/>
              <a:gd name="connsiteX7" fmla="*/ 1080564 w 2474193"/>
              <a:gd name="connsiteY7" fmla="*/ 1891649 h 2279172"/>
              <a:gd name="connsiteX8" fmla="*/ 1349078 w 2474193"/>
              <a:gd name="connsiteY8" fmla="*/ 2239992 h 2279172"/>
              <a:gd name="connsiteX9" fmla="*/ 1842564 w 2474193"/>
              <a:gd name="connsiteY9" fmla="*/ 2232735 h 2279172"/>
              <a:gd name="connsiteX10" fmla="*/ 2140107 w 2474193"/>
              <a:gd name="connsiteY10" fmla="*/ 1898906 h 2279172"/>
              <a:gd name="connsiteX11" fmla="*/ 2357821 w 2474193"/>
              <a:gd name="connsiteY11" fmla="*/ 1869877 h 2279172"/>
              <a:gd name="connsiteX12" fmla="*/ 2444907 w 2474193"/>
              <a:gd name="connsiteY12" fmla="*/ 1572335 h 2279172"/>
              <a:gd name="connsiteX13" fmla="*/ 2444907 w 2474193"/>
              <a:gd name="connsiteY13" fmla="*/ 1231249 h 2279172"/>
              <a:gd name="connsiteX14" fmla="*/ 2176392 w 2474193"/>
              <a:gd name="connsiteY14" fmla="*/ 1165935 h 2279172"/>
              <a:gd name="connsiteX15" fmla="*/ 2234450 w 2474193"/>
              <a:gd name="connsiteY15" fmla="*/ 1020792 h 2279172"/>
              <a:gd name="connsiteX16" fmla="*/ 2473935 w 2474193"/>
              <a:gd name="connsiteY16" fmla="*/ 694220 h 2279172"/>
              <a:gd name="connsiteX17" fmla="*/ 2277992 w 2474193"/>
              <a:gd name="connsiteY17" fmla="*/ 628906 h 2279172"/>
              <a:gd name="connsiteX18" fmla="*/ 2140107 w 2474193"/>
              <a:gd name="connsiteY18" fmla="*/ 636163 h 2279172"/>
              <a:gd name="connsiteX19" fmla="*/ 1973192 w 2474193"/>
              <a:gd name="connsiteY19" fmla="*/ 469249 h 2279172"/>
              <a:gd name="connsiteX20" fmla="*/ 1849821 w 2474193"/>
              <a:gd name="connsiteY20" fmla="*/ 171706 h 2279172"/>
              <a:gd name="connsiteX0" fmla="*/ 1973192 w 2474193"/>
              <a:gd name="connsiteY0" fmla="*/ 465640 h 2275563"/>
              <a:gd name="connsiteX1" fmla="*/ 245992 w 2474193"/>
              <a:gd name="connsiteY1" fmla="*/ 1183 h 2275563"/>
              <a:gd name="connsiteX2" fmla="*/ 6507 w 2474193"/>
              <a:gd name="connsiteY2" fmla="*/ 349526 h 2275563"/>
              <a:gd name="connsiteX3" fmla="*/ 122621 w 2474193"/>
              <a:gd name="connsiteY3" fmla="*/ 872040 h 2275563"/>
              <a:gd name="connsiteX4" fmla="*/ 674164 w 2474193"/>
              <a:gd name="connsiteY4" fmla="*/ 1067983 h 2275563"/>
              <a:gd name="connsiteX5" fmla="*/ 870107 w 2474193"/>
              <a:gd name="connsiteY5" fmla="*/ 1104268 h 2275563"/>
              <a:gd name="connsiteX6" fmla="*/ 928164 w 2474193"/>
              <a:gd name="connsiteY6" fmla="*/ 1314726 h 2275563"/>
              <a:gd name="connsiteX7" fmla="*/ 1080564 w 2474193"/>
              <a:gd name="connsiteY7" fmla="*/ 1888040 h 2275563"/>
              <a:gd name="connsiteX8" fmla="*/ 1349078 w 2474193"/>
              <a:gd name="connsiteY8" fmla="*/ 2236383 h 2275563"/>
              <a:gd name="connsiteX9" fmla="*/ 1842564 w 2474193"/>
              <a:gd name="connsiteY9" fmla="*/ 2229126 h 2275563"/>
              <a:gd name="connsiteX10" fmla="*/ 2140107 w 2474193"/>
              <a:gd name="connsiteY10" fmla="*/ 1895297 h 2275563"/>
              <a:gd name="connsiteX11" fmla="*/ 2357821 w 2474193"/>
              <a:gd name="connsiteY11" fmla="*/ 1866268 h 2275563"/>
              <a:gd name="connsiteX12" fmla="*/ 2444907 w 2474193"/>
              <a:gd name="connsiteY12" fmla="*/ 1568726 h 2275563"/>
              <a:gd name="connsiteX13" fmla="*/ 2444907 w 2474193"/>
              <a:gd name="connsiteY13" fmla="*/ 1227640 h 2275563"/>
              <a:gd name="connsiteX14" fmla="*/ 2176392 w 2474193"/>
              <a:gd name="connsiteY14" fmla="*/ 1162326 h 2275563"/>
              <a:gd name="connsiteX15" fmla="*/ 2234450 w 2474193"/>
              <a:gd name="connsiteY15" fmla="*/ 1017183 h 2275563"/>
              <a:gd name="connsiteX16" fmla="*/ 2473935 w 2474193"/>
              <a:gd name="connsiteY16" fmla="*/ 690611 h 2275563"/>
              <a:gd name="connsiteX17" fmla="*/ 2277992 w 2474193"/>
              <a:gd name="connsiteY17" fmla="*/ 625297 h 2275563"/>
              <a:gd name="connsiteX18" fmla="*/ 2140107 w 2474193"/>
              <a:gd name="connsiteY18" fmla="*/ 632554 h 2275563"/>
              <a:gd name="connsiteX19" fmla="*/ 1973192 w 2474193"/>
              <a:gd name="connsiteY19" fmla="*/ 465640 h 2275563"/>
              <a:gd name="connsiteX0" fmla="*/ 2098836 w 2599837"/>
              <a:gd name="connsiteY0" fmla="*/ 134603 h 1944526"/>
              <a:gd name="connsiteX1" fmla="*/ 132151 w 2599837"/>
              <a:gd name="connsiteY1" fmla="*/ 18489 h 1944526"/>
              <a:gd name="connsiteX2" fmla="*/ 248265 w 2599837"/>
              <a:gd name="connsiteY2" fmla="*/ 541003 h 1944526"/>
              <a:gd name="connsiteX3" fmla="*/ 799808 w 2599837"/>
              <a:gd name="connsiteY3" fmla="*/ 736946 h 1944526"/>
              <a:gd name="connsiteX4" fmla="*/ 995751 w 2599837"/>
              <a:gd name="connsiteY4" fmla="*/ 773231 h 1944526"/>
              <a:gd name="connsiteX5" fmla="*/ 1053808 w 2599837"/>
              <a:gd name="connsiteY5" fmla="*/ 983689 h 1944526"/>
              <a:gd name="connsiteX6" fmla="*/ 1206208 w 2599837"/>
              <a:gd name="connsiteY6" fmla="*/ 1557003 h 1944526"/>
              <a:gd name="connsiteX7" fmla="*/ 1474722 w 2599837"/>
              <a:gd name="connsiteY7" fmla="*/ 1905346 h 1944526"/>
              <a:gd name="connsiteX8" fmla="*/ 1968208 w 2599837"/>
              <a:gd name="connsiteY8" fmla="*/ 1898089 h 1944526"/>
              <a:gd name="connsiteX9" fmla="*/ 2265751 w 2599837"/>
              <a:gd name="connsiteY9" fmla="*/ 1564260 h 1944526"/>
              <a:gd name="connsiteX10" fmla="*/ 2483465 w 2599837"/>
              <a:gd name="connsiteY10" fmla="*/ 1535231 h 1944526"/>
              <a:gd name="connsiteX11" fmla="*/ 2570551 w 2599837"/>
              <a:gd name="connsiteY11" fmla="*/ 1237689 h 1944526"/>
              <a:gd name="connsiteX12" fmla="*/ 2570551 w 2599837"/>
              <a:gd name="connsiteY12" fmla="*/ 896603 h 1944526"/>
              <a:gd name="connsiteX13" fmla="*/ 2302036 w 2599837"/>
              <a:gd name="connsiteY13" fmla="*/ 831289 h 1944526"/>
              <a:gd name="connsiteX14" fmla="*/ 2360094 w 2599837"/>
              <a:gd name="connsiteY14" fmla="*/ 686146 h 1944526"/>
              <a:gd name="connsiteX15" fmla="*/ 2599579 w 2599837"/>
              <a:gd name="connsiteY15" fmla="*/ 359574 h 1944526"/>
              <a:gd name="connsiteX16" fmla="*/ 2403636 w 2599837"/>
              <a:gd name="connsiteY16" fmla="*/ 294260 h 1944526"/>
              <a:gd name="connsiteX17" fmla="*/ 2265751 w 2599837"/>
              <a:gd name="connsiteY17" fmla="*/ 301517 h 1944526"/>
              <a:gd name="connsiteX18" fmla="*/ 2098836 w 2599837"/>
              <a:gd name="connsiteY18" fmla="*/ 134603 h 1944526"/>
              <a:gd name="connsiteX0" fmla="*/ 1919690 w 2420691"/>
              <a:gd name="connsiteY0" fmla="*/ 84435 h 1894358"/>
              <a:gd name="connsiteX1" fmla="*/ 214262 w 2420691"/>
              <a:gd name="connsiteY1" fmla="*/ 26378 h 1894358"/>
              <a:gd name="connsiteX2" fmla="*/ 69119 w 2420691"/>
              <a:gd name="connsiteY2" fmla="*/ 490835 h 1894358"/>
              <a:gd name="connsiteX3" fmla="*/ 620662 w 2420691"/>
              <a:gd name="connsiteY3" fmla="*/ 686778 h 1894358"/>
              <a:gd name="connsiteX4" fmla="*/ 816605 w 2420691"/>
              <a:gd name="connsiteY4" fmla="*/ 723063 h 1894358"/>
              <a:gd name="connsiteX5" fmla="*/ 874662 w 2420691"/>
              <a:gd name="connsiteY5" fmla="*/ 933521 h 1894358"/>
              <a:gd name="connsiteX6" fmla="*/ 1027062 w 2420691"/>
              <a:gd name="connsiteY6" fmla="*/ 1506835 h 1894358"/>
              <a:gd name="connsiteX7" fmla="*/ 1295576 w 2420691"/>
              <a:gd name="connsiteY7" fmla="*/ 1855178 h 1894358"/>
              <a:gd name="connsiteX8" fmla="*/ 1789062 w 2420691"/>
              <a:gd name="connsiteY8" fmla="*/ 1847921 h 1894358"/>
              <a:gd name="connsiteX9" fmla="*/ 2086605 w 2420691"/>
              <a:gd name="connsiteY9" fmla="*/ 1514092 h 1894358"/>
              <a:gd name="connsiteX10" fmla="*/ 2304319 w 2420691"/>
              <a:gd name="connsiteY10" fmla="*/ 1485063 h 1894358"/>
              <a:gd name="connsiteX11" fmla="*/ 2391405 w 2420691"/>
              <a:gd name="connsiteY11" fmla="*/ 1187521 h 1894358"/>
              <a:gd name="connsiteX12" fmla="*/ 2391405 w 2420691"/>
              <a:gd name="connsiteY12" fmla="*/ 846435 h 1894358"/>
              <a:gd name="connsiteX13" fmla="*/ 2122890 w 2420691"/>
              <a:gd name="connsiteY13" fmla="*/ 781121 h 1894358"/>
              <a:gd name="connsiteX14" fmla="*/ 2180948 w 2420691"/>
              <a:gd name="connsiteY14" fmla="*/ 635978 h 1894358"/>
              <a:gd name="connsiteX15" fmla="*/ 2420433 w 2420691"/>
              <a:gd name="connsiteY15" fmla="*/ 309406 h 1894358"/>
              <a:gd name="connsiteX16" fmla="*/ 2224490 w 2420691"/>
              <a:gd name="connsiteY16" fmla="*/ 244092 h 1894358"/>
              <a:gd name="connsiteX17" fmla="*/ 2086605 w 2420691"/>
              <a:gd name="connsiteY17" fmla="*/ 251349 h 1894358"/>
              <a:gd name="connsiteX18" fmla="*/ 1919690 w 2420691"/>
              <a:gd name="connsiteY18" fmla="*/ 84435 h 1894358"/>
              <a:gd name="connsiteX0" fmla="*/ 1917185 w 2418186"/>
              <a:gd name="connsiteY0" fmla="*/ 65922 h 1875845"/>
              <a:gd name="connsiteX1" fmla="*/ 211757 w 2418186"/>
              <a:gd name="connsiteY1" fmla="*/ 7865 h 1875845"/>
              <a:gd name="connsiteX2" fmla="*/ 66614 w 2418186"/>
              <a:gd name="connsiteY2" fmla="*/ 472322 h 1875845"/>
              <a:gd name="connsiteX3" fmla="*/ 618157 w 2418186"/>
              <a:gd name="connsiteY3" fmla="*/ 668265 h 1875845"/>
              <a:gd name="connsiteX4" fmla="*/ 814100 w 2418186"/>
              <a:gd name="connsiteY4" fmla="*/ 704550 h 1875845"/>
              <a:gd name="connsiteX5" fmla="*/ 872157 w 2418186"/>
              <a:gd name="connsiteY5" fmla="*/ 915008 h 1875845"/>
              <a:gd name="connsiteX6" fmla="*/ 1024557 w 2418186"/>
              <a:gd name="connsiteY6" fmla="*/ 1488322 h 1875845"/>
              <a:gd name="connsiteX7" fmla="*/ 1293071 w 2418186"/>
              <a:gd name="connsiteY7" fmla="*/ 1836665 h 1875845"/>
              <a:gd name="connsiteX8" fmla="*/ 1786557 w 2418186"/>
              <a:gd name="connsiteY8" fmla="*/ 1829408 h 1875845"/>
              <a:gd name="connsiteX9" fmla="*/ 2084100 w 2418186"/>
              <a:gd name="connsiteY9" fmla="*/ 1495579 h 1875845"/>
              <a:gd name="connsiteX10" fmla="*/ 2301814 w 2418186"/>
              <a:gd name="connsiteY10" fmla="*/ 1466550 h 1875845"/>
              <a:gd name="connsiteX11" fmla="*/ 2388900 w 2418186"/>
              <a:gd name="connsiteY11" fmla="*/ 1169008 h 1875845"/>
              <a:gd name="connsiteX12" fmla="*/ 2388900 w 2418186"/>
              <a:gd name="connsiteY12" fmla="*/ 827922 h 1875845"/>
              <a:gd name="connsiteX13" fmla="*/ 2120385 w 2418186"/>
              <a:gd name="connsiteY13" fmla="*/ 762608 h 1875845"/>
              <a:gd name="connsiteX14" fmla="*/ 2178443 w 2418186"/>
              <a:gd name="connsiteY14" fmla="*/ 617465 h 1875845"/>
              <a:gd name="connsiteX15" fmla="*/ 2417928 w 2418186"/>
              <a:gd name="connsiteY15" fmla="*/ 290893 h 1875845"/>
              <a:gd name="connsiteX16" fmla="*/ 2221985 w 2418186"/>
              <a:gd name="connsiteY16" fmla="*/ 225579 h 1875845"/>
              <a:gd name="connsiteX17" fmla="*/ 2084100 w 2418186"/>
              <a:gd name="connsiteY17" fmla="*/ 232836 h 1875845"/>
              <a:gd name="connsiteX18" fmla="*/ 1917185 w 2418186"/>
              <a:gd name="connsiteY18" fmla="*/ 65922 h 1875845"/>
              <a:gd name="connsiteX0" fmla="*/ 1917185 w 2418783"/>
              <a:gd name="connsiteY0" fmla="*/ 65922 h 1875845"/>
              <a:gd name="connsiteX1" fmla="*/ 211757 w 2418783"/>
              <a:gd name="connsiteY1" fmla="*/ 7865 h 1875845"/>
              <a:gd name="connsiteX2" fmla="*/ 66614 w 2418783"/>
              <a:gd name="connsiteY2" fmla="*/ 472322 h 1875845"/>
              <a:gd name="connsiteX3" fmla="*/ 618157 w 2418783"/>
              <a:gd name="connsiteY3" fmla="*/ 668265 h 1875845"/>
              <a:gd name="connsiteX4" fmla="*/ 814100 w 2418783"/>
              <a:gd name="connsiteY4" fmla="*/ 704550 h 1875845"/>
              <a:gd name="connsiteX5" fmla="*/ 872157 w 2418783"/>
              <a:gd name="connsiteY5" fmla="*/ 915008 h 1875845"/>
              <a:gd name="connsiteX6" fmla="*/ 1024557 w 2418783"/>
              <a:gd name="connsiteY6" fmla="*/ 1488322 h 1875845"/>
              <a:gd name="connsiteX7" fmla="*/ 1293071 w 2418783"/>
              <a:gd name="connsiteY7" fmla="*/ 1836665 h 1875845"/>
              <a:gd name="connsiteX8" fmla="*/ 1786557 w 2418783"/>
              <a:gd name="connsiteY8" fmla="*/ 1829408 h 1875845"/>
              <a:gd name="connsiteX9" fmla="*/ 2084100 w 2418783"/>
              <a:gd name="connsiteY9" fmla="*/ 1495579 h 1875845"/>
              <a:gd name="connsiteX10" fmla="*/ 2301814 w 2418783"/>
              <a:gd name="connsiteY10" fmla="*/ 1466550 h 1875845"/>
              <a:gd name="connsiteX11" fmla="*/ 2388900 w 2418783"/>
              <a:gd name="connsiteY11" fmla="*/ 1169008 h 1875845"/>
              <a:gd name="connsiteX12" fmla="*/ 2388900 w 2418783"/>
              <a:gd name="connsiteY12" fmla="*/ 827922 h 1875845"/>
              <a:gd name="connsiteX13" fmla="*/ 2120385 w 2418783"/>
              <a:gd name="connsiteY13" fmla="*/ 762608 h 1875845"/>
              <a:gd name="connsiteX14" fmla="*/ 2178443 w 2418783"/>
              <a:gd name="connsiteY14" fmla="*/ 617465 h 1875845"/>
              <a:gd name="connsiteX15" fmla="*/ 2417928 w 2418783"/>
              <a:gd name="connsiteY15" fmla="*/ 290893 h 1875845"/>
              <a:gd name="connsiteX16" fmla="*/ 2084100 w 2418783"/>
              <a:gd name="connsiteY16" fmla="*/ 232836 h 1875845"/>
              <a:gd name="connsiteX17" fmla="*/ 1917185 w 2418783"/>
              <a:gd name="connsiteY17" fmla="*/ 65922 h 1875845"/>
              <a:gd name="connsiteX0" fmla="*/ 1728092 w 2411118"/>
              <a:gd name="connsiteY0" fmla="*/ 40377 h 1922872"/>
              <a:gd name="connsiteX1" fmla="*/ 204092 w 2411118"/>
              <a:gd name="connsiteY1" fmla="*/ 54892 h 1922872"/>
              <a:gd name="connsiteX2" fmla="*/ 58949 w 2411118"/>
              <a:gd name="connsiteY2" fmla="*/ 519349 h 1922872"/>
              <a:gd name="connsiteX3" fmla="*/ 610492 w 2411118"/>
              <a:gd name="connsiteY3" fmla="*/ 715292 h 1922872"/>
              <a:gd name="connsiteX4" fmla="*/ 806435 w 2411118"/>
              <a:gd name="connsiteY4" fmla="*/ 751577 h 1922872"/>
              <a:gd name="connsiteX5" fmla="*/ 864492 w 2411118"/>
              <a:gd name="connsiteY5" fmla="*/ 962035 h 1922872"/>
              <a:gd name="connsiteX6" fmla="*/ 1016892 w 2411118"/>
              <a:gd name="connsiteY6" fmla="*/ 1535349 h 1922872"/>
              <a:gd name="connsiteX7" fmla="*/ 1285406 w 2411118"/>
              <a:gd name="connsiteY7" fmla="*/ 1883692 h 1922872"/>
              <a:gd name="connsiteX8" fmla="*/ 1778892 w 2411118"/>
              <a:gd name="connsiteY8" fmla="*/ 1876435 h 1922872"/>
              <a:gd name="connsiteX9" fmla="*/ 2076435 w 2411118"/>
              <a:gd name="connsiteY9" fmla="*/ 1542606 h 1922872"/>
              <a:gd name="connsiteX10" fmla="*/ 2294149 w 2411118"/>
              <a:gd name="connsiteY10" fmla="*/ 1513577 h 1922872"/>
              <a:gd name="connsiteX11" fmla="*/ 2381235 w 2411118"/>
              <a:gd name="connsiteY11" fmla="*/ 1216035 h 1922872"/>
              <a:gd name="connsiteX12" fmla="*/ 2381235 w 2411118"/>
              <a:gd name="connsiteY12" fmla="*/ 874949 h 1922872"/>
              <a:gd name="connsiteX13" fmla="*/ 2112720 w 2411118"/>
              <a:gd name="connsiteY13" fmla="*/ 809635 h 1922872"/>
              <a:gd name="connsiteX14" fmla="*/ 2170778 w 2411118"/>
              <a:gd name="connsiteY14" fmla="*/ 664492 h 1922872"/>
              <a:gd name="connsiteX15" fmla="*/ 2410263 w 2411118"/>
              <a:gd name="connsiteY15" fmla="*/ 337920 h 1922872"/>
              <a:gd name="connsiteX16" fmla="*/ 2076435 w 2411118"/>
              <a:gd name="connsiteY16" fmla="*/ 279863 h 1922872"/>
              <a:gd name="connsiteX17" fmla="*/ 1728092 w 2411118"/>
              <a:gd name="connsiteY17" fmla="*/ 40377 h 1922872"/>
              <a:gd name="connsiteX0" fmla="*/ 1689863 w 2409175"/>
              <a:gd name="connsiteY0" fmla="*/ 84435 h 1894358"/>
              <a:gd name="connsiteX1" fmla="*/ 202149 w 2409175"/>
              <a:gd name="connsiteY1" fmla="*/ 26378 h 1894358"/>
              <a:gd name="connsiteX2" fmla="*/ 57006 w 2409175"/>
              <a:gd name="connsiteY2" fmla="*/ 490835 h 1894358"/>
              <a:gd name="connsiteX3" fmla="*/ 608549 w 2409175"/>
              <a:gd name="connsiteY3" fmla="*/ 686778 h 1894358"/>
              <a:gd name="connsiteX4" fmla="*/ 804492 w 2409175"/>
              <a:gd name="connsiteY4" fmla="*/ 723063 h 1894358"/>
              <a:gd name="connsiteX5" fmla="*/ 862549 w 2409175"/>
              <a:gd name="connsiteY5" fmla="*/ 933521 h 1894358"/>
              <a:gd name="connsiteX6" fmla="*/ 1014949 w 2409175"/>
              <a:gd name="connsiteY6" fmla="*/ 1506835 h 1894358"/>
              <a:gd name="connsiteX7" fmla="*/ 1283463 w 2409175"/>
              <a:gd name="connsiteY7" fmla="*/ 1855178 h 1894358"/>
              <a:gd name="connsiteX8" fmla="*/ 1776949 w 2409175"/>
              <a:gd name="connsiteY8" fmla="*/ 1847921 h 1894358"/>
              <a:gd name="connsiteX9" fmla="*/ 2074492 w 2409175"/>
              <a:gd name="connsiteY9" fmla="*/ 1514092 h 1894358"/>
              <a:gd name="connsiteX10" fmla="*/ 2292206 w 2409175"/>
              <a:gd name="connsiteY10" fmla="*/ 1485063 h 1894358"/>
              <a:gd name="connsiteX11" fmla="*/ 2379292 w 2409175"/>
              <a:gd name="connsiteY11" fmla="*/ 1187521 h 1894358"/>
              <a:gd name="connsiteX12" fmla="*/ 2379292 w 2409175"/>
              <a:gd name="connsiteY12" fmla="*/ 846435 h 1894358"/>
              <a:gd name="connsiteX13" fmla="*/ 2110777 w 2409175"/>
              <a:gd name="connsiteY13" fmla="*/ 781121 h 1894358"/>
              <a:gd name="connsiteX14" fmla="*/ 2168835 w 2409175"/>
              <a:gd name="connsiteY14" fmla="*/ 635978 h 1894358"/>
              <a:gd name="connsiteX15" fmla="*/ 2408320 w 2409175"/>
              <a:gd name="connsiteY15" fmla="*/ 309406 h 1894358"/>
              <a:gd name="connsiteX16" fmla="*/ 2074492 w 2409175"/>
              <a:gd name="connsiteY16" fmla="*/ 251349 h 1894358"/>
              <a:gd name="connsiteX17" fmla="*/ 1689863 w 2409175"/>
              <a:gd name="connsiteY17" fmla="*/ 84435 h 1894358"/>
              <a:gd name="connsiteX0" fmla="*/ 2096518 w 2431201"/>
              <a:gd name="connsiteY0" fmla="*/ 229831 h 1872840"/>
              <a:gd name="connsiteX1" fmla="*/ 224175 w 2431201"/>
              <a:gd name="connsiteY1" fmla="*/ 4860 h 1872840"/>
              <a:gd name="connsiteX2" fmla="*/ 79032 w 2431201"/>
              <a:gd name="connsiteY2" fmla="*/ 469317 h 1872840"/>
              <a:gd name="connsiteX3" fmla="*/ 630575 w 2431201"/>
              <a:gd name="connsiteY3" fmla="*/ 665260 h 1872840"/>
              <a:gd name="connsiteX4" fmla="*/ 826518 w 2431201"/>
              <a:gd name="connsiteY4" fmla="*/ 701545 h 1872840"/>
              <a:gd name="connsiteX5" fmla="*/ 884575 w 2431201"/>
              <a:gd name="connsiteY5" fmla="*/ 912003 h 1872840"/>
              <a:gd name="connsiteX6" fmla="*/ 1036975 w 2431201"/>
              <a:gd name="connsiteY6" fmla="*/ 1485317 h 1872840"/>
              <a:gd name="connsiteX7" fmla="*/ 1305489 w 2431201"/>
              <a:gd name="connsiteY7" fmla="*/ 1833660 h 1872840"/>
              <a:gd name="connsiteX8" fmla="*/ 1798975 w 2431201"/>
              <a:gd name="connsiteY8" fmla="*/ 1826403 h 1872840"/>
              <a:gd name="connsiteX9" fmla="*/ 2096518 w 2431201"/>
              <a:gd name="connsiteY9" fmla="*/ 1492574 h 1872840"/>
              <a:gd name="connsiteX10" fmla="*/ 2314232 w 2431201"/>
              <a:gd name="connsiteY10" fmla="*/ 1463545 h 1872840"/>
              <a:gd name="connsiteX11" fmla="*/ 2401318 w 2431201"/>
              <a:gd name="connsiteY11" fmla="*/ 1166003 h 1872840"/>
              <a:gd name="connsiteX12" fmla="*/ 2401318 w 2431201"/>
              <a:gd name="connsiteY12" fmla="*/ 824917 h 1872840"/>
              <a:gd name="connsiteX13" fmla="*/ 2132803 w 2431201"/>
              <a:gd name="connsiteY13" fmla="*/ 759603 h 1872840"/>
              <a:gd name="connsiteX14" fmla="*/ 2190861 w 2431201"/>
              <a:gd name="connsiteY14" fmla="*/ 614460 h 1872840"/>
              <a:gd name="connsiteX15" fmla="*/ 2430346 w 2431201"/>
              <a:gd name="connsiteY15" fmla="*/ 287888 h 1872840"/>
              <a:gd name="connsiteX16" fmla="*/ 2096518 w 2431201"/>
              <a:gd name="connsiteY16" fmla="*/ 229831 h 1872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431201" h="1872840">
                <a:moveTo>
                  <a:pt x="2096518" y="229831"/>
                </a:moveTo>
                <a:cubicBezTo>
                  <a:pt x="1728823" y="182660"/>
                  <a:pt x="560423" y="-35054"/>
                  <a:pt x="224175" y="4860"/>
                </a:cubicBezTo>
                <a:cubicBezTo>
                  <a:pt x="-112073" y="44774"/>
                  <a:pt x="11299" y="359250"/>
                  <a:pt x="79032" y="469317"/>
                </a:cubicBezTo>
                <a:cubicBezTo>
                  <a:pt x="146765" y="579384"/>
                  <a:pt x="505994" y="626555"/>
                  <a:pt x="630575" y="665260"/>
                </a:cubicBezTo>
                <a:cubicBezTo>
                  <a:pt x="755156" y="703965"/>
                  <a:pt x="784185" y="660421"/>
                  <a:pt x="826518" y="701545"/>
                </a:cubicBezTo>
                <a:cubicBezTo>
                  <a:pt x="868851" y="742669"/>
                  <a:pt x="849499" y="781374"/>
                  <a:pt x="884575" y="912003"/>
                </a:cubicBezTo>
                <a:cubicBezTo>
                  <a:pt x="919651" y="1042632"/>
                  <a:pt x="966823" y="1331708"/>
                  <a:pt x="1036975" y="1485317"/>
                </a:cubicBezTo>
                <a:cubicBezTo>
                  <a:pt x="1107127" y="1638926"/>
                  <a:pt x="1178489" y="1776812"/>
                  <a:pt x="1305489" y="1833660"/>
                </a:cubicBezTo>
                <a:cubicBezTo>
                  <a:pt x="1432489" y="1890508"/>
                  <a:pt x="1667137" y="1883251"/>
                  <a:pt x="1798975" y="1826403"/>
                </a:cubicBezTo>
                <a:cubicBezTo>
                  <a:pt x="1930813" y="1769555"/>
                  <a:pt x="2010642" y="1553050"/>
                  <a:pt x="2096518" y="1492574"/>
                </a:cubicBezTo>
                <a:cubicBezTo>
                  <a:pt x="2182394" y="1432098"/>
                  <a:pt x="2263432" y="1517974"/>
                  <a:pt x="2314232" y="1463545"/>
                </a:cubicBezTo>
                <a:cubicBezTo>
                  <a:pt x="2365032" y="1409116"/>
                  <a:pt x="2386804" y="1272441"/>
                  <a:pt x="2401318" y="1166003"/>
                </a:cubicBezTo>
                <a:cubicBezTo>
                  <a:pt x="2415832" y="1059565"/>
                  <a:pt x="2446070" y="892650"/>
                  <a:pt x="2401318" y="824917"/>
                </a:cubicBezTo>
                <a:cubicBezTo>
                  <a:pt x="2356566" y="757184"/>
                  <a:pt x="2167879" y="794679"/>
                  <a:pt x="2132803" y="759603"/>
                </a:cubicBezTo>
                <a:cubicBezTo>
                  <a:pt x="2097727" y="724527"/>
                  <a:pt x="2141270" y="693079"/>
                  <a:pt x="2190861" y="614460"/>
                </a:cubicBezTo>
                <a:cubicBezTo>
                  <a:pt x="2240452" y="535841"/>
                  <a:pt x="2446070" y="351993"/>
                  <a:pt x="2430346" y="287888"/>
                </a:cubicBezTo>
                <a:cubicBezTo>
                  <a:pt x="2414622" y="223783"/>
                  <a:pt x="2464213" y="277002"/>
                  <a:pt x="2096518" y="229831"/>
                </a:cubicBezTo>
                <a:close/>
              </a:path>
            </a:pathLst>
          </a:custGeom>
          <a:solidFill>
            <a:schemeClr val="accent5">
              <a:alpha val="30000"/>
            </a:schemeClr>
          </a:solidFill>
          <a:ln w="12700">
            <a:noFill/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6" name="Freeform 441">
            <a:extLst>
              <a:ext uri="{FF2B5EF4-FFF2-40B4-BE49-F238E27FC236}">
                <a16:creationId xmlns:a16="http://schemas.microsoft.com/office/drawing/2014/main" id="{C0FB960F-3235-48A6-A818-CAFCA4E575D4}"/>
              </a:ext>
            </a:extLst>
          </p:cNvPr>
          <p:cNvSpPr/>
          <p:nvPr/>
        </p:nvSpPr>
        <p:spPr>
          <a:xfrm>
            <a:off x="5628095" y="3688197"/>
            <a:ext cx="1908280" cy="596775"/>
          </a:xfrm>
          <a:custGeom>
            <a:avLst/>
            <a:gdLst>
              <a:gd name="connsiteX0" fmla="*/ 2532895 w 2658173"/>
              <a:gd name="connsiteY0" fmla="*/ 65314 h 857367"/>
              <a:gd name="connsiteX1" fmla="*/ 2162781 w 2658173"/>
              <a:gd name="connsiteY1" fmla="*/ 0 h 857367"/>
              <a:gd name="connsiteX2" fmla="*/ 1872495 w 2658173"/>
              <a:gd name="connsiteY2" fmla="*/ 65314 h 857367"/>
              <a:gd name="connsiteX3" fmla="*/ 1582209 w 2658173"/>
              <a:gd name="connsiteY3" fmla="*/ 137885 h 857367"/>
              <a:gd name="connsiteX4" fmla="*/ 1117752 w 2658173"/>
              <a:gd name="connsiteY4" fmla="*/ 101600 h 857367"/>
              <a:gd name="connsiteX5" fmla="*/ 878266 w 2658173"/>
              <a:gd name="connsiteY5" fmla="*/ 50800 h 857367"/>
              <a:gd name="connsiteX6" fmla="*/ 595238 w 2658173"/>
              <a:gd name="connsiteY6" fmla="*/ 79828 h 857367"/>
              <a:gd name="connsiteX7" fmla="*/ 326724 w 2658173"/>
              <a:gd name="connsiteY7" fmla="*/ 108857 h 857367"/>
              <a:gd name="connsiteX8" fmla="*/ 58209 w 2658173"/>
              <a:gd name="connsiteY8" fmla="*/ 203200 h 857367"/>
              <a:gd name="connsiteX9" fmla="*/ 152 w 2658173"/>
              <a:gd name="connsiteY9" fmla="*/ 471714 h 857367"/>
              <a:gd name="connsiteX10" fmla="*/ 65466 w 2658173"/>
              <a:gd name="connsiteY10" fmla="*/ 609600 h 857367"/>
              <a:gd name="connsiteX11" fmla="*/ 246895 w 2658173"/>
              <a:gd name="connsiteY11" fmla="*/ 587828 h 857367"/>
              <a:gd name="connsiteX12" fmla="*/ 638781 w 2658173"/>
              <a:gd name="connsiteY12" fmla="*/ 580571 h 857367"/>
              <a:gd name="connsiteX13" fmla="*/ 1444324 w 2658173"/>
              <a:gd name="connsiteY13" fmla="*/ 703942 h 857367"/>
              <a:gd name="connsiteX14" fmla="*/ 2402266 w 2658173"/>
              <a:gd name="connsiteY14" fmla="*/ 856342 h 857367"/>
              <a:gd name="connsiteX15" fmla="*/ 2641752 w 2658173"/>
              <a:gd name="connsiteY15" fmla="*/ 624114 h 857367"/>
              <a:gd name="connsiteX16" fmla="*/ 2627238 w 2658173"/>
              <a:gd name="connsiteY16" fmla="*/ 87085 h 857367"/>
              <a:gd name="connsiteX17" fmla="*/ 2532895 w 2658173"/>
              <a:gd name="connsiteY17" fmla="*/ 65314 h 857367"/>
              <a:gd name="connsiteX0" fmla="*/ 2489352 w 2660370"/>
              <a:gd name="connsiteY0" fmla="*/ 23701 h 859297"/>
              <a:gd name="connsiteX1" fmla="*/ 2162781 w 2660370"/>
              <a:gd name="connsiteY1" fmla="*/ 1930 h 859297"/>
              <a:gd name="connsiteX2" fmla="*/ 1872495 w 2660370"/>
              <a:gd name="connsiteY2" fmla="*/ 67244 h 859297"/>
              <a:gd name="connsiteX3" fmla="*/ 1582209 w 2660370"/>
              <a:gd name="connsiteY3" fmla="*/ 139815 h 859297"/>
              <a:gd name="connsiteX4" fmla="*/ 1117752 w 2660370"/>
              <a:gd name="connsiteY4" fmla="*/ 103530 h 859297"/>
              <a:gd name="connsiteX5" fmla="*/ 878266 w 2660370"/>
              <a:gd name="connsiteY5" fmla="*/ 52730 h 859297"/>
              <a:gd name="connsiteX6" fmla="*/ 595238 w 2660370"/>
              <a:gd name="connsiteY6" fmla="*/ 81758 h 859297"/>
              <a:gd name="connsiteX7" fmla="*/ 326724 w 2660370"/>
              <a:gd name="connsiteY7" fmla="*/ 110787 h 859297"/>
              <a:gd name="connsiteX8" fmla="*/ 58209 w 2660370"/>
              <a:gd name="connsiteY8" fmla="*/ 205130 h 859297"/>
              <a:gd name="connsiteX9" fmla="*/ 152 w 2660370"/>
              <a:gd name="connsiteY9" fmla="*/ 473644 h 859297"/>
              <a:gd name="connsiteX10" fmla="*/ 65466 w 2660370"/>
              <a:gd name="connsiteY10" fmla="*/ 611530 h 859297"/>
              <a:gd name="connsiteX11" fmla="*/ 246895 w 2660370"/>
              <a:gd name="connsiteY11" fmla="*/ 589758 h 859297"/>
              <a:gd name="connsiteX12" fmla="*/ 638781 w 2660370"/>
              <a:gd name="connsiteY12" fmla="*/ 582501 h 859297"/>
              <a:gd name="connsiteX13" fmla="*/ 1444324 w 2660370"/>
              <a:gd name="connsiteY13" fmla="*/ 705872 h 859297"/>
              <a:gd name="connsiteX14" fmla="*/ 2402266 w 2660370"/>
              <a:gd name="connsiteY14" fmla="*/ 858272 h 859297"/>
              <a:gd name="connsiteX15" fmla="*/ 2641752 w 2660370"/>
              <a:gd name="connsiteY15" fmla="*/ 626044 h 859297"/>
              <a:gd name="connsiteX16" fmla="*/ 2627238 w 2660370"/>
              <a:gd name="connsiteY16" fmla="*/ 89015 h 859297"/>
              <a:gd name="connsiteX17" fmla="*/ 2489352 w 2660370"/>
              <a:gd name="connsiteY17" fmla="*/ 23701 h 859297"/>
              <a:gd name="connsiteX0" fmla="*/ 2424037 w 2663291"/>
              <a:gd name="connsiteY0" fmla="*/ 17883 h 860736"/>
              <a:gd name="connsiteX1" fmla="*/ 2162781 w 2663291"/>
              <a:gd name="connsiteY1" fmla="*/ 3369 h 860736"/>
              <a:gd name="connsiteX2" fmla="*/ 1872495 w 2663291"/>
              <a:gd name="connsiteY2" fmla="*/ 68683 h 860736"/>
              <a:gd name="connsiteX3" fmla="*/ 1582209 w 2663291"/>
              <a:gd name="connsiteY3" fmla="*/ 141254 h 860736"/>
              <a:gd name="connsiteX4" fmla="*/ 1117752 w 2663291"/>
              <a:gd name="connsiteY4" fmla="*/ 104969 h 860736"/>
              <a:gd name="connsiteX5" fmla="*/ 878266 w 2663291"/>
              <a:gd name="connsiteY5" fmla="*/ 54169 h 860736"/>
              <a:gd name="connsiteX6" fmla="*/ 595238 w 2663291"/>
              <a:gd name="connsiteY6" fmla="*/ 83197 h 860736"/>
              <a:gd name="connsiteX7" fmla="*/ 326724 w 2663291"/>
              <a:gd name="connsiteY7" fmla="*/ 112226 h 860736"/>
              <a:gd name="connsiteX8" fmla="*/ 58209 w 2663291"/>
              <a:gd name="connsiteY8" fmla="*/ 206569 h 860736"/>
              <a:gd name="connsiteX9" fmla="*/ 152 w 2663291"/>
              <a:gd name="connsiteY9" fmla="*/ 475083 h 860736"/>
              <a:gd name="connsiteX10" fmla="*/ 65466 w 2663291"/>
              <a:gd name="connsiteY10" fmla="*/ 612969 h 860736"/>
              <a:gd name="connsiteX11" fmla="*/ 246895 w 2663291"/>
              <a:gd name="connsiteY11" fmla="*/ 591197 h 860736"/>
              <a:gd name="connsiteX12" fmla="*/ 638781 w 2663291"/>
              <a:gd name="connsiteY12" fmla="*/ 583940 h 860736"/>
              <a:gd name="connsiteX13" fmla="*/ 1444324 w 2663291"/>
              <a:gd name="connsiteY13" fmla="*/ 707311 h 860736"/>
              <a:gd name="connsiteX14" fmla="*/ 2402266 w 2663291"/>
              <a:gd name="connsiteY14" fmla="*/ 859711 h 860736"/>
              <a:gd name="connsiteX15" fmla="*/ 2641752 w 2663291"/>
              <a:gd name="connsiteY15" fmla="*/ 627483 h 860736"/>
              <a:gd name="connsiteX16" fmla="*/ 2627238 w 2663291"/>
              <a:gd name="connsiteY16" fmla="*/ 90454 h 860736"/>
              <a:gd name="connsiteX17" fmla="*/ 2424037 w 2663291"/>
              <a:gd name="connsiteY17" fmla="*/ 17883 h 860736"/>
              <a:gd name="connsiteX0" fmla="*/ 2424037 w 2663291"/>
              <a:gd name="connsiteY0" fmla="*/ 17883 h 832888"/>
              <a:gd name="connsiteX1" fmla="*/ 2162781 w 2663291"/>
              <a:gd name="connsiteY1" fmla="*/ 3369 h 832888"/>
              <a:gd name="connsiteX2" fmla="*/ 1872495 w 2663291"/>
              <a:gd name="connsiteY2" fmla="*/ 68683 h 832888"/>
              <a:gd name="connsiteX3" fmla="*/ 1582209 w 2663291"/>
              <a:gd name="connsiteY3" fmla="*/ 141254 h 832888"/>
              <a:gd name="connsiteX4" fmla="*/ 1117752 w 2663291"/>
              <a:gd name="connsiteY4" fmla="*/ 104969 h 832888"/>
              <a:gd name="connsiteX5" fmla="*/ 878266 w 2663291"/>
              <a:gd name="connsiteY5" fmla="*/ 54169 h 832888"/>
              <a:gd name="connsiteX6" fmla="*/ 595238 w 2663291"/>
              <a:gd name="connsiteY6" fmla="*/ 83197 h 832888"/>
              <a:gd name="connsiteX7" fmla="*/ 326724 w 2663291"/>
              <a:gd name="connsiteY7" fmla="*/ 112226 h 832888"/>
              <a:gd name="connsiteX8" fmla="*/ 58209 w 2663291"/>
              <a:gd name="connsiteY8" fmla="*/ 206569 h 832888"/>
              <a:gd name="connsiteX9" fmla="*/ 152 w 2663291"/>
              <a:gd name="connsiteY9" fmla="*/ 475083 h 832888"/>
              <a:gd name="connsiteX10" fmla="*/ 65466 w 2663291"/>
              <a:gd name="connsiteY10" fmla="*/ 612969 h 832888"/>
              <a:gd name="connsiteX11" fmla="*/ 246895 w 2663291"/>
              <a:gd name="connsiteY11" fmla="*/ 591197 h 832888"/>
              <a:gd name="connsiteX12" fmla="*/ 638781 w 2663291"/>
              <a:gd name="connsiteY12" fmla="*/ 583940 h 832888"/>
              <a:gd name="connsiteX13" fmla="*/ 1444324 w 2663291"/>
              <a:gd name="connsiteY13" fmla="*/ 707311 h 832888"/>
              <a:gd name="connsiteX14" fmla="*/ 2406276 w 2663291"/>
              <a:gd name="connsiteY14" fmla="*/ 831638 h 832888"/>
              <a:gd name="connsiteX15" fmla="*/ 2641752 w 2663291"/>
              <a:gd name="connsiteY15" fmla="*/ 627483 h 832888"/>
              <a:gd name="connsiteX16" fmla="*/ 2627238 w 2663291"/>
              <a:gd name="connsiteY16" fmla="*/ 90454 h 832888"/>
              <a:gd name="connsiteX17" fmla="*/ 2424037 w 2663291"/>
              <a:gd name="connsiteY17" fmla="*/ 17883 h 832888"/>
              <a:gd name="connsiteX0" fmla="*/ 2424037 w 2663291"/>
              <a:gd name="connsiteY0" fmla="*/ 17883 h 832888"/>
              <a:gd name="connsiteX1" fmla="*/ 2162781 w 2663291"/>
              <a:gd name="connsiteY1" fmla="*/ 3369 h 832888"/>
              <a:gd name="connsiteX2" fmla="*/ 1872495 w 2663291"/>
              <a:gd name="connsiteY2" fmla="*/ 68683 h 832888"/>
              <a:gd name="connsiteX3" fmla="*/ 1582209 w 2663291"/>
              <a:gd name="connsiteY3" fmla="*/ 141254 h 832888"/>
              <a:gd name="connsiteX4" fmla="*/ 1117752 w 2663291"/>
              <a:gd name="connsiteY4" fmla="*/ 104969 h 832888"/>
              <a:gd name="connsiteX5" fmla="*/ 878266 w 2663291"/>
              <a:gd name="connsiteY5" fmla="*/ 54169 h 832888"/>
              <a:gd name="connsiteX6" fmla="*/ 595238 w 2663291"/>
              <a:gd name="connsiteY6" fmla="*/ 83197 h 832888"/>
              <a:gd name="connsiteX7" fmla="*/ 326724 w 2663291"/>
              <a:gd name="connsiteY7" fmla="*/ 128269 h 832888"/>
              <a:gd name="connsiteX8" fmla="*/ 58209 w 2663291"/>
              <a:gd name="connsiteY8" fmla="*/ 206569 h 832888"/>
              <a:gd name="connsiteX9" fmla="*/ 152 w 2663291"/>
              <a:gd name="connsiteY9" fmla="*/ 475083 h 832888"/>
              <a:gd name="connsiteX10" fmla="*/ 65466 w 2663291"/>
              <a:gd name="connsiteY10" fmla="*/ 612969 h 832888"/>
              <a:gd name="connsiteX11" fmla="*/ 246895 w 2663291"/>
              <a:gd name="connsiteY11" fmla="*/ 591197 h 832888"/>
              <a:gd name="connsiteX12" fmla="*/ 638781 w 2663291"/>
              <a:gd name="connsiteY12" fmla="*/ 583940 h 832888"/>
              <a:gd name="connsiteX13" fmla="*/ 1444324 w 2663291"/>
              <a:gd name="connsiteY13" fmla="*/ 707311 h 832888"/>
              <a:gd name="connsiteX14" fmla="*/ 2406276 w 2663291"/>
              <a:gd name="connsiteY14" fmla="*/ 831638 h 832888"/>
              <a:gd name="connsiteX15" fmla="*/ 2641752 w 2663291"/>
              <a:gd name="connsiteY15" fmla="*/ 627483 h 832888"/>
              <a:gd name="connsiteX16" fmla="*/ 2627238 w 2663291"/>
              <a:gd name="connsiteY16" fmla="*/ 90454 h 832888"/>
              <a:gd name="connsiteX17" fmla="*/ 2424037 w 2663291"/>
              <a:gd name="connsiteY17" fmla="*/ 17883 h 832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663291" h="832888">
                <a:moveTo>
                  <a:pt x="2424037" y="17883"/>
                </a:moveTo>
                <a:cubicBezTo>
                  <a:pt x="2346628" y="3369"/>
                  <a:pt x="2254705" y="-5098"/>
                  <a:pt x="2162781" y="3369"/>
                </a:cubicBezTo>
                <a:cubicBezTo>
                  <a:pt x="2070857" y="11836"/>
                  <a:pt x="1969257" y="45702"/>
                  <a:pt x="1872495" y="68683"/>
                </a:cubicBezTo>
                <a:cubicBezTo>
                  <a:pt x="1775733" y="91664"/>
                  <a:pt x="1707999" y="135206"/>
                  <a:pt x="1582209" y="141254"/>
                </a:cubicBezTo>
                <a:cubicBezTo>
                  <a:pt x="1456419" y="147302"/>
                  <a:pt x="1235076" y="119483"/>
                  <a:pt x="1117752" y="104969"/>
                </a:cubicBezTo>
                <a:cubicBezTo>
                  <a:pt x="1000428" y="90455"/>
                  <a:pt x="965352" y="57798"/>
                  <a:pt x="878266" y="54169"/>
                </a:cubicBezTo>
                <a:cubicBezTo>
                  <a:pt x="791180" y="50540"/>
                  <a:pt x="687162" y="70847"/>
                  <a:pt x="595238" y="83197"/>
                </a:cubicBezTo>
                <a:cubicBezTo>
                  <a:pt x="503314" y="95547"/>
                  <a:pt x="416229" y="107707"/>
                  <a:pt x="326724" y="128269"/>
                </a:cubicBezTo>
                <a:cubicBezTo>
                  <a:pt x="237219" y="148831"/>
                  <a:pt x="112638" y="148767"/>
                  <a:pt x="58209" y="206569"/>
                </a:cubicBezTo>
                <a:cubicBezTo>
                  <a:pt x="3780" y="264371"/>
                  <a:pt x="-1058" y="407350"/>
                  <a:pt x="152" y="475083"/>
                </a:cubicBezTo>
                <a:cubicBezTo>
                  <a:pt x="1361" y="542816"/>
                  <a:pt x="24342" y="593617"/>
                  <a:pt x="65466" y="612969"/>
                </a:cubicBezTo>
                <a:cubicBezTo>
                  <a:pt x="106590" y="632321"/>
                  <a:pt x="151343" y="596035"/>
                  <a:pt x="246895" y="591197"/>
                </a:cubicBezTo>
                <a:cubicBezTo>
                  <a:pt x="342447" y="586359"/>
                  <a:pt x="439210" y="564588"/>
                  <a:pt x="638781" y="583940"/>
                </a:cubicBezTo>
                <a:cubicBezTo>
                  <a:pt x="838352" y="603292"/>
                  <a:pt x="1149742" y="666028"/>
                  <a:pt x="1444324" y="707311"/>
                </a:cubicBezTo>
                <a:cubicBezTo>
                  <a:pt x="1738906" y="748594"/>
                  <a:pt x="2206705" y="844943"/>
                  <a:pt x="2406276" y="831638"/>
                </a:cubicBezTo>
                <a:cubicBezTo>
                  <a:pt x="2605847" y="818333"/>
                  <a:pt x="2604257" y="755693"/>
                  <a:pt x="2641752" y="627483"/>
                </a:cubicBezTo>
                <a:cubicBezTo>
                  <a:pt x="2679247" y="499274"/>
                  <a:pt x="2663524" y="192054"/>
                  <a:pt x="2627238" y="90454"/>
                </a:cubicBezTo>
                <a:cubicBezTo>
                  <a:pt x="2590952" y="-11146"/>
                  <a:pt x="2501446" y="32397"/>
                  <a:pt x="2424037" y="17883"/>
                </a:cubicBezTo>
                <a:close/>
              </a:path>
            </a:pathLst>
          </a:custGeom>
          <a:solidFill>
            <a:schemeClr val="accent5">
              <a:alpha val="30000"/>
            </a:schemeClr>
          </a:solidFill>
          <a:ln w="12700">
            <a:noFill/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8" name="Freeform 445">
            <a:extLst>
              <a:ext uri="{FF2B5EF4-FFF2-40B4-BE49-F238E27FC236}">
                <a16:creationId xmlns:a16="http://schemas.microsoft.com/office/drawing/2014/main" id="{D53DD161-7753-4878-BE46-223043051960}"/>
              </a:ext>
            </a:extLst>
          </p:cNvPr>
          <p:cNvSpPr/>
          <p:nvPr/>
        </p:nvSpPr>
        <p:spPr>
          <a:xfrm>
            <a:off x="7096861" y="1945068"/>
            <a:ext cx="1529744" cy="1709268"/>
          </a:xfrm>
          <a:custGeom>
            <a:avLst/>
            <a:gdLst>
              <a:gd name="connsiteX0" fmla="*/ 4536831 w 4721284"/>
              <a:gd name="connsiteY0" fmla="*/ 633046 h 2385539"/>
              <a:gd name="connsiteX1" fmla="*/ 3950677 w 4721284"/>
              <a:gd name="connsiteY1" fmla="*/ 578338 h 2385539"/>
              <a:gd name="connsiteX2" fmla="*/ 3149600 w 4721284"/>
              <a:gd name="connsiteY2" fmla="*/ 386861 h 2385539"/>
              <a:gd name="connsiteX3" fmla="*/ 2770554 w 4721284"/>
              <a:gd name="connsiteY3" fmla="*/ 179753 h 2385539"/>
              <a:gd name="connsiteX4" fmla="*/ 2395415 w 4721284"/>
              <a:gd name="connsiteY4" fmla="*/ 39076 h 2385539"/>
              <a:gd name="connsiteX5" fmla="*/ 1922584 w 4721284"/>
              <a:gd name="connsiteY5" fmla="*/ 0 h 2385539"/>
              <a:gd name="connsiteX6" fmla="*/ 1375508 w 4721284"/>
              <a:gd name="connsiteY6" fmla="*/ 11723 h 2385539"/>
              <a:gd name="connsiteX7" fmla="*/ 847969 w 4721284"/>
              <a:gd name="connsiteY7" fmla="*/ 97692 h 2385539"/>
              <a:gd name="connsiteX8" fmla="*/ 328246 w 4721284"/>
              <a:gd name="connsiteY8" fmla="*/ 304800 h 2385539"/>
              <a:gd name="connsiteX9" fmla="*/ 54708 w 4721284"/>
              <a:gd name="connsiteY9" fmla="*/ 613507 h 2385539"/>
              <a:gd name="connsiteX10" fmla="*/ 0 w 4721284"/>
              <a:gd name="connsiteY10" fmla="*/ 801076 h 2385539"/>
              <a:gd name="connsiteX11" fmla="*/ 54708 w 4721284"/>
              <a:gd name="connsiteY11" fmla="*/ 1004276 h 2385539"/>
              <a:gd name="connsiteX12" fmla="*/ 109415 w 4721284"/>
              <a:gd name="connsiteY12" fmla="*/ 1309076 h 2385539"/>
              <a:gd name="connsiteX13" fmla="*/ 128954 w 4721284"/>
              <a:gd name="connsiteY13" fmla="*/ 1555261 h 2385539"/>
              <a:gd name="connsiteX14" fmla="*/ 140677 w 4721284"/>
              <a:gd name="connsiteY14" fmla="*/ 1942123 h 2385539"/>
              <a:gd name="connsiteX15" fmla="*/ 136769 w 4721284"/>
              <a:gd name="connsiteY15" fmla="*/ 2071076 h 2385539"/>
              <a:gd name="connsiteX16" fmla="*/ 199292 w 4721284"/>
              <a:gd name="connsiteY16" fmla="*/ 2223476 h 2385539"/>
              <a:gd name="connsiteX17" fmla="*/ 754184 w 4721284"/>
              <a:gd name="connsiteY17" fmla="*/ 2379784 h 2385539"/>
              <a:gd name="connsiteX18" fmla="*/ 1910861 w 4721284"/>
              <a:gd name="connsiteY18" fmla="*/ 2348523 h 2385539"/>
              <a:gd name="connsiteX19" fmla="*/ 2360246 w 4721284"/>
              <a:gd name="connsiteY19" fmla="*/ 2317261 h 2385539"/>
              <a:gd name="connsiteX20" fmla="*/ 2770554 w 4721284"/>
              <a:gd name="connsiteY20" fmla="*/ 2348523 h 2385539"/>
              <a:gd name="connsiteX21" fmla="*/ 2911231 w 4721284"/>
              <a:gd name="connsiteY21" fmla="*/ 2368061 h 2385539"/>
              <a:gd name="connsiteX22" fmla="*/ 3845169 w 4721284"/>
              <a:gd name="connsiteY22" fmla="*/ 2192215 h 2385539"/>
              <a:gd name="connsiteX23" fmla="*/ 4400061 w 4721284"/>
              <a:gd name="connsiteY23" fmla="*/ 1891323 h 2385539"/>
              <a:gd name="connsiteX24" fmla="*/ 4665784 w 4721284"/>
              <a:gd name="connsiteY24" fmla="*/ 1441938 h 2385539"/>
              <a:gd name="connsiteX25" fmla="*/ 4708769 w 4721284"/>
              <a:gd name="connsiteY25" fmla="*/ 867507 h 2385539"/>
              <a:gd name="connsiteX26" fmla="*/ 4536831 w 4721284"/>
              <a:gd name="connsiteY26" fmla="*/ 633046 h 23855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721284" h="2385539">
                <a:moveTo>
                  <a:pt x="4536831" y="633046"/>
                </a:moveTo>
                <a:cubicBezTo>
                  <a:pt x="4410482" y="584851"/>
                  <a:pt x="4181882" y="619369"/>
                  <a:pt x="3950677" y="578338"/>
                </a:cubicBezTo>
                <a:cubicBezTo>
                  <a:pt x="3719472" y="537307"/>
                  <a:pt x="3346287" y="453292"/>
                  <a:pt x="3149600" y="386861"/>
                </a:cubicBezTo>
                <a:cubicBezTo>
                  <a:pt x="2952913" y="320430"/>
                  <a:pt x="2896251" y="237717"/>
                  <a:pt x="2770554" y="179753"/>
                </a:cubicBezTo>
                <a:cubicBezTo>
                  <a:pt x="2644856" y="121789"/>
                  <a:pt x="2536743" y="69035"/>
                  <a:pt x="2395415" y="39076"/>
                </a:cubicBezTo>
                <a:cubicBezTo>
                  <a:pt x="2254087" y="9117"/>
                  <a:pt x="2092568" y="4559"/>
                  <a:pt x="1922584" y="0"/>
                </a:cubicBezTo>
                <a:lnTo>
                  <a:pt x="1375508" y="11723"/>
                </a:lnTo>
                <a:cubicBezTo>
                  <a:pt x="1196405" y="28005"/>
                  <a:pt x="1022513" y="48846"/>
                  <a:pt x="847969" y="97692"/>
                </a:cubicBezTo>
                <a:cubicBezTo>
                  <a:pt x="673425" y="146538"/>
                  <a:pt x="460456" y="218831"/>
                  <a:pt x="328246" y="304800"/>
                </a:cubicBezTo>
                <a:cubicBezTo>
                  <a:pt x="196036" y="390769"/>
                  <a:pt x="109416" y="530794"/>
                  <a:pt x="54708" y="613507"/>
                </a:cubicBezTo>
                <a:cubicBezTo>
                  <a:pt x="0" y="696220"/>
                  <a:pt x="0" y="735948"/>
                  <a:pt x="0" y="801076"/>
                </a:cubicBezTo>
                <a:cubicBezTo>
                  <a:pt x="0" y="866204"/>
                  <a:pt x="36472" y="919609"/>
                  <a:pt x="54708" y="1004276"/>
                </a:cubicBezTo>
                <a:cubicBezTo>
                  <a:pt x="72944" y="1088943"/>
                  <a:pt x="97041" y="1217245"/>
                  <a:pt x="109415" y="1309076"/>
                </a:cubicBezTo>
                <a:cubicBezTo>
                  <a:pt x="121789" y="1400907"/>
                  <a:pt x="123744" y="1449753"/>
                  <a:pt x="128954" y="1555261"/>
                </a:cubicBezTo>
                <a:cubicBezTo>
                  <a:pt x="134164" y="1660769"/>
                  <a:pt x="139375" y="1856154"/>
                  <a:pt x="140677" y="1942123"/>
                </a:cubicBezTo>
                <a:cubicBezTo>
                  <a:pt x="141979" y="2028092"/>
                  <a:pt x="127000" y="2024184"/>
                  <a:pt x="136769" y="2071076"/>
                </a:cubicBezTo>
                <a:cubicBezTo>
                  <a:pt x="146538" y="2117968"/>
                  <a:pt x="96390" y="2172025"/>
                  <a:pt x="199292" y="2223476"/>
                </a:cubicBezTo>
                <a:cubicBezTo>
                  <a:pt x="302194" y="2274927"/>
                  <a:pt x="468922" y="2358943"/>
                  <a:pt x="754184" y="2379784"/>
                </a:cubicBezTo>
                <a:cubicBezTo>
                  <a:pt x="1039446" y="2400625"/>
                  <a:pt x="1643184" y="2358943"/>
                  <a:pt x="1910861" y="2348523"/>
                </a:cubicBezTo>
                <a:cubicBezTo>
                  <a:pt x="2178538" y="2338103"/>
                  <a:pt x="2216964" y="2317261"/>
                  <a:pt x="2360246" y="2317261"/>
                </a:cubicBezTo>
                <a:cubicBezTo>
                  <a:pt x="2503528" y="2317261"/>
                  <a:pt x="2678723" y="2340056"/>
                  <a:pt x="2770554" y="2348523"/>
                </a:cubicBezTo>
                <a:cubicBezTo>
                  <a:pt x="2862385" y="2356990"/>
                  <a:pt x="2732129" y="2394112"/>
                  <a:pt x="2911231" y="2368061"/>
                </a:cubicBezTo>
                <a:cubicBezTo>
                  <a:pt x="3090333" y="2342010"/>
                  <a:pt x="3597031" y="2271671"/>
                  <a:pt x="3845169" y="2192215"/>
                </a:cubicBezTo>
                <a:cubicBezTo>
                  <a:pt x="4093307" y="2112759"/>
                  <a:pt x="4263292" y="2016369"/>
                  <a:pt x="4400061" y="1891323"/>
                </a:cubicBezTo>
                <a:cubicBezTo>
                  <a:pt x="4536830" y="1766277"/>
                  <a:pt x="4614333" y="1612574"/>
                  <a:pt x="4665784" y="1441938"/>
                </a:cubicBezTo>
                <a:cubicBezTo>
                  <a:pt x="4717235" y="1271302"/>
                  <a:pt x="4736123" y="1004927"/>
                  <a:pt x="4708769" y="867507"/>
                </a:cubicBezTo>
                <a:cubicBezTo>
                  <a:pt x="4681415" y="730087"/>
                  <a:pt x="4663180" y="681241"/>
                  <a:pt x="4536831" y="633046"/>
                </a:cubicBezTo>
                <a:close/>
              </a:path>
            </a:pathLst>
          </a:custGeom>
          <a:solidFill>
            <a:schemeClr val="accent5">
              <a:alpha val="30000"/>
            </a:schemeClr>
          </a:solidFill>
          <a:ln w="12700">
            <a:noFill/>
            <a:prstDash val="sys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9998" y="225788"/>
            <a:ext cx="9168370" cy="468000"/>
          </a:xfrm>
        </p:spPr>
        <p:txBody>
          <a:bodyPr>
            <a:noAutofit/>
          </a:bodyPr>
          <a:lstStyle/>
          <a:p>
            <a:r>
              <a:rPr lang="ru-RU" dirty="0"/>
              <a:t>ВИДЕОГРУППИРОВКИ ОХВАТЫВАЮТ 1 МИЛЛИАРД ЗРИТЕЛЕЙ</a:t>
            </a:r>
          </a:p>
        </p:txBody>
      </p:sp>
      <p:grpSp>
        <p:nvGrpSpPr>
          <p:cNvPr id="471" name="Group 470"/>
          <p:cNvGrpSpPr/>
          <p:nvPr/>
        </p:nvGrpSpPr>
        <p:grpSpPr>
          <a:xfrm>
            <a:off x="5238514" y="1306923"/>
            <a:ext cx="2646037" cy="527804"/>
            <a:chOff x="4852601" y="1049678"/>
            <a:chExt cx="2462079" cy="746731"/>
          </a:xfrm>
        </p:grpSpPr>
        <p:sp>
          <p:nvSpPr>
            <p:cNvPr id="97" name="Rounded Rectangle 96"/>
            <p:cNvSpPr/>
            <p:nvPr/>
          </p:nvSpPr>
          <p:spPr>
            <a:xfrm>
              <a:off x="4852601" y="1079837"/>
              <a:ext cx="2462079" cy="710681"/>
            </a:xfrm>
            <a:prstGeom prst="roundRect">
              <a:avLst>
                <a:gd name="adj" fmla="val 7549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8" name="TextBox 417"/>
            <p:cNvSpPr txBox="1"/>
            <p:nvPr/>
          </p:nvSpPr>
          <p:spPr>
            <a:xfrm>
              <a:off x="4859951" y="1049678"/>
              <a:ext cx="2401199" cy="746731"/>
            </a:xfrm>
            <a:prstGeom prst="round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ЕВРОПА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5° </a:t>
              </a:r>
              <a:r>
                <a:rPr kumimoji="0" lang="ru-RU" sz="1100" b="0" i="0" u="none" strike="noStrike" cap="none" normalizeH="0" baseline="0" noProof="0" dirty="0" err="1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з.д</a:t>
              </a:r>
              <a:r>
                <a:rPr kumimoji="0" lang="ru-RU" sz="1100" b="0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., 9</a:t>
              </a:r>
              <a:r>
                <a:rPr kumimoji="0" lang="ru-RU" sz="1100" b="0" i="0" u="none" strike="noStrike" cap="none" normalizeH="0" baseline="3000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° </a:t>
              </a:r>
              <a:r>
                <a:rPr kumimoji="0" lang="ru-RU" sz="1100" b="0" i="0" u="none" strike="noStrike" cap="none" normalizeH="0" baseline="0" noProof="0" dirty="0" err="1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в.д</a:t>
              </a:r>
              <a:r>
                <a:rPr kumimoji="0" lang="ru-RU" sz="1100" b="0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., 13</a:t>
              </a:r>
              <a:r>
                <a:rPr kumimoji="0" lang="ru-RU" sz="1100" b="0" i="0" u="none" strike="noStrike" cap="none" normalizeH="0" baseline="3000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° </a:t>
              </a:r>
              <a:r>
                <a:rPr kumimoji="0" lang="ru-RU" sz="1100" b="0" i="0" u="none" strike="noStrike" cap="none" normalizeH="0" baseline="0" noProof="0" dirty="0" err="1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в.д</a:t>
              </a:r>
              <a:r>
                <a:rPr kumimoji="0" lang="ru-RU" sz="1100" b="0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.,</a:t>
              </a:r>
              <a:r>
                <a:rPr kumimoji="0" lang="ru-RU" sz="1100" b="0" i="0" u="none" strike="noStrike" cap="none" normalizeH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 </a:t>
              </a:r>
              <a:r>
                <a:rPr kumimoji="0" lang="ru-RU" sz="1100" b="0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16</a:t>
              </a:r>
              <a:r>
                <a:rPr kumimoji="0" lang="ru-RU" sz="1100" b="0" i="0" u="none" strike="noStrike" cap="none" normalizeH="0" baseline="3000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° </a:t>
              </a:r>
              <a:r>
                <a:rPr kumimoji="0" lang="ru-RU" sz="1100" b="0" i="0" u="none" strike="noStrike" cap="none" normalizeH="0" baseline="0" noProof="0" dirty="0" err="1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в.д</a:t>
              </a:r>
              <a:r>
                <a:rPr kumimoji="0" lang="ru-RU" sz="1100" b="0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472" name="Group 471"/>
          <p:cNvGrpSpPr/>
          <p:nvPr/>
        </p:nvGrpSpPr>
        <p:grpSpPr>
          <a:xfrm>
            <a:off x="9708652" y="3702018"/>
            <a:ext cx="2292004" cy="646332"/>
            <a:chOff x="10621716" y="3959231"/>
            <a:chExt cx="1238921" cy="709520"/>
          </a:xfrm>
        </p:grpSpPr>
        <p:sp>
          <p:nvSpPr>
            <p:cNvPr id="99" name="Rounded Rectangle 98"/>
            <p:cNvSpPr/>
            <p:nvPr/>
          </p:nvSpPr>
          <p:spPr>
            <a:xfrm>
              <a:off x="10621716" y="3959231"/>
              <a:ext cx="1238921" cy="692498"/>
            </a:xfrm>
            <a:prstGeom prst="roundRect">
              <a:avLst>
                <a:gd name="adj" fmla="val 7004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4" name="TextBox 413"/>
            <p:cNvSpPr txBox="1"/>
            <p:nvPr/>
          </p:nvSpPr>
          <p:spPr>
            <a:xfrm>
              <a:off x="10621721" y="3959232"/>
              <a:ext cx="1238916" cy="7095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РОССИЯ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(с ГП КС)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36° </a:t>
              </a:r>
              <a:r>
                <a:rPr kumimoji="0" lang="ru-RU" sz="1100" b="0" i="0" u="none" strike="noStrike" cap="none" normalizeH="0" baseline="0" noProof="0" dirty="0" err="1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в.д</a:t>
              </a:r>
              <a:r>
                <a:rPr kumimoji="0" lang="ru-RU" sz="1100" b="0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.,</a:t>
              </a:r>
              <a:r>
                <a:rPr kumimoji="0" lang="ru-RU" sz="1100" b="0" i="0" u="none" strike="noStrike" cap="none" normalizeH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 56° </a:t>
              </a:r>
              <a:r>
                <a:rPr kumimoji="0" lang="ru-RU" sz="1100" b="0" i="0" u="none" strike="noStrike" cap="none" normalizeH="0" noProof="0" dirty="0" err="1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в.д</a:t>
              </a:r>
              <a:r>
                <a:rPr kumimoji="0" lang="ru-RU" sz="1100" b="0" i="0" u="none" strike="noStrike" cap="none" normalizeH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., 140° </a:t>
              </a:r>
              <a:r>
                <a:rPr kumimoji="0" lang="ru-RU" sz="1100" b="0" i="0" u="none" strike="noStrike" cap="none" normalizeH="0" baseline="0" noProof="0" dirty="0" err="1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в.д</a:t>
              </a:r>
              <a:r>
                <a:rPr kumimoji="0" lang="ru-RU" sz="1100" b="0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.</a:t>
              </a:r>
            </a:p>
          </p:txBody>
        </p:sp>
      </p:grpSp>
      <p:sp>
        <p:nvSpPr>
          <p:cNvPr id="440" name="TextBox 439"/>
          <p:cNvSpPr txBox="1"/>
          <p:nvPr/>
        </p:nvSpPr>
        <p:spPr>
          <a:xfrm>
            <a:off x="2063943" y="1397471"/>
            <a:ext cx="2740484" cy="6052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177800" marR="0" lvl="0" defTabSz="91440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>
                <a:solidFill>
                  <a:schemeClr val="bg1"/>
                </a:solidFill>
                <a:latin typeface="Verdana" panose="020B0604030504040204" pitchFamily="34" charset="0"/>
              </a:rPr>
              <a:t>РАСТУЩИЕ</a:t>
            </a:r>
            <a:r>
              <a:rPr lang="ru-RU">
                <a:solidFill>
                  <a:schemeClr val="bg1"/>
                </a:solidFill>
                <a:latin typeface="Verdana" panose="020B0604030504040204" pitchFamily="34" charset="0"/>
              </a:rPr>
              <a:t> ГРУППИРОВКИ</a:t>
            </a:r>
            <a:r>
              <a:rPr kumimoji="0" lang="ru-RU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uLnTx/>
                <a:uFillTx/>
                <a:latin typeface="Verdana" panose="020B0604030504040204" pitchFamily="34" charset="0"/>
              </a:rPr>
              <a:t>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85FD9DC-D730-48EC-865F-C9358C9E4D29}"/>
              </a:ext>
            </a:extLst>
          </p:cNvPr>
          <p:cNvGrpSpPr/>
          <p:nvPr/>
        </p:nvGrpSpPr>
        <p:grpSpPr>
          <a:xfrm>
            <a:off x="1223252" y="1239694"/>
            <a:ext cx="1002574" cy="1002574"/>
            <a:chOff x="1288803" y="1285126"/>
            <a:chExt cx="500857" cy="500857"/>
          </a:xfrm>
        </p:grpSpPr>
        <p:sp>
          <p:nvSpPr>
            <p:cNvPr id="48" name="Oval 47"/>
            <p:cNvSpPr/>
            <p:nvPr/>
          </p:nvSpPr>
          <p:spPr>
            <a:xfrm>
              <a:off x="1288803" y="1285126"/>
              <a:ext cx="500857" cy="50085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49"/>
            <p:cNvSpPr/>
            <p:nvPr/>
          </p:nvSpPr>
          <p:spPr>
            <a:xfrm>
              <a:off x="1401515" y="1417495"/>
              <a:ext cx="384754" cy="368488"/>
            </a:xfrm>
            <a:custGeom>
              <a:avLst/>
              <a:gdLst>
                <a:gd name="connsiteX0" fmla="*/ 350629 w 512192"/>
                <a:gd name="connsiteY0" fmla="*/ 0 h 490538"/>
                <a:gd name="connsiteX1" fmla="*/ 512192 w 512192"/>
                <a:gd name="connsiteY1" fmla="*/ 201954 h 490538"/>
                <a:gd name="connsiteX2" fmla="*/ 509934 w 512192"/>
                <a:gd name="connsiteY2" fmla="*/ 224350 h 490538"/>
                <a:gd name="connsiteX3" fmla="*/ 183332 w 512192"/>
                <a:gd name="connsiteY3" fmla="*/ 490538 h 490538"/>
                <a:gd name="connsiteX4" fmla="*/ 116146 w 512192"/>
                <a:gd name="connsiteY4" fmla="*/ 483765 h 490538"/>
                <a:gd name="connsiteX5" fmla="*/ 70353 w 512192"/>
                <a:gd name="connsiteY5" fmla="*/ 469551 h 490538"/>
                <a:gd name="connsiteX6" fmla="*/ 0 w 512192"/>
                <a:gd name="connsiteY6" fmla="*/ 281769 h 490538"/>
                <a:gd name="connsiteX7" fmla="*/ 109329 w 512192"/>
                <a:gd name="connsiteY7" fmla="*/ 146050 h 490538"/>
                <a:gd name="connsiteX8" fmla="*/ 179179 w 512192"/>
                <a:gd name="connsiteY8" fmla="*/ 165100 h 490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12192" h="490538">
                  <a:moveTo>
                    <a:pt x="350629" y="0"/>
                  </a:moveTo>
                  <a:lnTo>
                    <a:pt x="512192" y="201954"/>
                  </a:lnTo>
                  <a:lnTo>
                    <a:pt x="509934" y="224350"/>
                  </a:lnTo>
                  <a:cubicBezTo>
                    <a:pt x="478848" y="376263"/>
                    <a:pt x="344435" y="490538"/>
                    <a:pt x="183332" y="490538"/>
                  </a:cubicBezTo>
                  <a:cubicBezTo>
                    <a:pt x="160318" y="490538"/>
                    <a:pt x="137848" y="488206"/>
                    <a:pt x="116146" y="483765"/>
                  </a:cubicBezTo>
                  <a:lnTo>
                    <a:pt x="70353" y="469551"/>
                  </a:lnTo>
                  <a:lnTo>
                    <a:pt x="0" y="281769"/>
                  </a:lnTo>
                  <a:lnTo>
                    <a:pt x="109329" y="146050"/>
                  </a:lnTo>
                  <a:lnTo>
                    <a:pt x="179179" y="16510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1466573" y="1588219"/>
              <a:ext cx="25357" cy="73146"/>
            </a:xfrm>
            <a:custGeom>
              <a:avLst/>
              <a:gdLst>
                <a:gd name="T0" fmla="*/ 300 w 321"/>
                <a:gd name="T1" fmla="*/ 0 h 905"/>
                <a:gd name="T2" fmla="*/ 308 w 321"/>
                <a:gd name="T3" fmla="*/ 4 h 905"/>
                <a:gd name="T4" fmla="*/ 314 w 321"/>
                <a:gd name="T5" fmla="*/ 11 h 905"/>
                <a:gd name="T6" fmla="*/ 318 w 321"/>
                <a:gd name="T7" fmla="*/ 24 h 905"/>
                <a:gd name="T8" fmla="*/ 321 w 321"/>
                <a:gd name="T9" fmla="*/ 39 h 905"/>
                <a:gd name="T10" fmla="*/ 321 w 321"/>
                <a:gd name="T11" fmla="*/ 905 h 905"/>
                <a:gd name="T12" fmla="*/ 0 w 321"/>
                <a:gd name="T13" fmla="*/ 905 h 905"/>
                <a:gd name="T14" fmla="*/ 0 w 321"/>
                <a:gd name="T15" fmla="*/ 357 h 905"/>
                <a:gd name="T16" fmla="*/ 1 w 321"/>
                <a:gd name="T17" fmla="*/ 336 h 905"/>
                <a:gd name="T18" fmla="*/ 7 w 321"/>
                <a:gd name="T19" fmla="*/ 312 h 905"/>
                <a:gd name="T20" fmla="*/ 16 w 321"/>
                <a:gd name="T21" fmla="*/ 288 h 905"/>
                <a:gd name="T22" fmla="*/ 26 w 321"/>
                <a:gd name="T23" fmla="*/ 265 h 905"/>
                <a:gd name="T24" fmla="*/ 40 w 321"/>
                <a:gd name="T25" fmla="*/ 244 h 905"/>
                <a:gd name="T26" fmla="*/ 54 w 321"/>
                <a:gd name="T27" fmla="*/ 227 h 905"/>
                <a:gd name="T28" fmla="*/ 266 w 321"/>
                <a:gd name="T29" fmla="*/ 17 h 905"/>
                <a:gd name="T30" fmla="*/ 279 w 321"/>
                <a:gd name="T31" fmla="*/ 7 h 905"/>
                <a:gd name="T32" fmla="*/ 290 w 321"/>
                <a:gd name="T33" fmla="*/ 1 h 905"/>
                <a:gd name="T34" fmla="*/ 300 w 321"/>
                <a:gd name="T35" fmla="*/ 0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1" h="905">
                  <a:moveTo>
                    <a:pt x="300" y="0"/>
                  </a:moveTo>
                  <a:lnTo>
                    <a:pt x="308" y="4"/>
                  </a:lnTo>
                  <a:lnTo>
                    <a:pt x="314" y="11"/>
                  </a:lnTo>
                  <a:lnTo>
                    <a:pt x="318" y="24"/>
                  </a:lnTo>
                  <a:lnTo>
                    <a:pt x="321" y="39"/>
                  </a:lnTo>
                  <a:lnTo>
                    <a:pt x="321" y="905"/>
                  </a:lnTo>
                  <a:lnTo>
                    <a:pt x="0" y="905"/>
                  </a:lnTo>
                  <a:lnTo>
                    <a:pt x="0" y="357"/>
                  </a:lnTo>
                  <a:lnTo>
                    <a:pt x="1" y="336"/>
                  </a:lnTo>
                  <a:lnTo>
                    <a:pt x="7" y="312"/>
                  </a:lnTo>
                  <a:lnTo>
                    <a:pt x="16" y="288"/>
                  </a:lnTo>
                  <a:lnTo>
                    <a:pt x="26" y="265"/>
                  </a:lnTo>
                  <a:lnTo>
                    <a:pt x="40" y="244"/>
                  </a:lnTo>
                  <a:lnTo>
                    <a:pt x="54" y="227"/>
                  </a:lnTo>
                  <a:lnTo>
                    <a:pt x="266" y="17"/>
                  </a:lnTo>
                  <a:lnTo>
                    <a:pt x="279" y="7"/>
                  </a:lnTo>
                  <a:lnTo>
                    <a:pt x="290" y="1"/>
                  </a:lnTo>
                  <a:lnTo>
                    <a:pt x="30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1580681" y="1545307"/>
              <a:ext cx="26333" cy="116058"/>
            </a:xfrm>
            <a:custGeom>
              <a:avLst/>
              <a:gdLst>
                <a:gd name="T0" fmla="*/ 300 w 320"/>
                <a:gd name="T1" fmla="*/ 0 h 1424"/>
                <a:gd name="T2" fmla="*/ 309 w 320"/>
                <a:gd name="T3" fmla="*/ 3 h 1424"/>
                <a:gd name="T4" fmla="*/ 315 w 320"/>
                <a:gd name="T5" fmla="*/ 10 h 1424"/>
                <a:gd name="T6" fmla="*/ 319 w 320"/>
                <a:gd name="T7" fmla="*/ 23 h 1424"/>
                <a:gd name="T8" fmla="*/ 320 w 320"/>
                <a:gd name="T9" fmla="*/ 38 h 1424"/>
                <a:gd name="T10" fmla="*/ 320 w 320"/>
                <a:gd name="T11" fmla="*/ 1424 h 1424"/>
                <a:gd name="T12" fmla="*/ 0 w 320"/>
                <a:gd name="T13" fmla="*/ 1424 h 1424"/>
                <a:gd name="T14" fmla="*/ 0 w 320"/>
                <a:gd name="T15" fmla="*/ 358 h 1424"/>
                <a:gd name="T16" fmla="*/ 2 w 320"/>
                <a:gd name="T17" fmla="*/ 336 h 1424"/>
                <a:gd name="T18" fmla="*/ 7 w 320"/>
                <a:gd name="T19" fmla="*/ 312 h 1424"/>
                <a:gd name="T20" fmla="*/ 15 w 320"/>
                <a:gd name="T21" fmla="*/ 288 h 1424"/>
                <a:gd name="T22" fmla="*/ 27 w 320"/>
                <a:gd name="T23" fmla="*/ 265 h 1424"/>
                <a:gd name="T24" fmla="*/ 39 w 320"/>
                <a:gd name="T25" fmla="*/ 244 h 1424"/>
                <a:gd name="T26" fmla="*/ 54 w 320"/>
                <a:gd name="T27" fmla="*/ 228 h 1424"/>
                <a:gd name="T28" fmla="*/ 266 w 320"/>
                <a:gd name="T29" fmla="*/ 16 h 1424"/>
                <a:gd name="T30" fmla="*/ 278 w 320"/>
                <a:gd name="T31" fmla="*/ 6 h 1424"/>
                <a:gd name="T32" fmla="*/ 290 w 320"/>
                <a:gd name="T33" fmla="*/ 1 h 1424"/>
                <a:gd name="T34" fmla="*/ 300 w 320"/>
                <a:gd name="T35" fmla="*/ 0 h 1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0" h="1424">
                  <a:moveTo>
                    <a:pt x="300" y="0"/>
                  </a:moveTo>
                  <a:lnTo>
                    <a:pt x="309" y="3"/>
                  </a:lnTo>
                  <a:lnTo>
                    <a:pt x="315" y="10"/>
                  </a:lnTo>
                  <a:lnTo>
                    <a:pt x="319" y="23"/>
                  </a:lnTo>
                  <a:lnTo>
                    <a:pt x="320" y="38"/>
                  </a:lnTo>
                  <a:lnTo>
                    <a:pt x="320" y="1424"/>
                  </a:lnTo>
                  <a:lnTo>
                    <a:pt x="0" y="1424"/>
                  </a:lnTo>
                  <a:lnTo>
                    <a:pt x="0" y="358"/>
                  </a:lnTo>
                  <a:lnTo>
                    <a:pt x="2" y="336"/>
                  </a:lnTo>
                  <a:lnTo>
                    <a:pt x="7" y="312"/>
                  </a:lnTo>
                  <a:lnTo>
                    <a:pt x="15" y="288"/>
                  </a:lnTo>
                  <a:lnTo>
                    <a:pt x="27" y="265"/>
                  </a:lnTo>
                  <a:lnTo>
                    <a:pt x="39" y="244"/>
                  </a:lnTo>
                  <a:lnTo>
                    <a:pt x="54" y="228"/>
                  </a:lnTo>
                  <a:lnTo>
                    <a:pt x="266" y="16"/>
                  </a:lnTo>
                  <a:lnTo>
                    <a:pt x="278" y="6"/>
                  </a:lnTo>
                  <a:lnTo>
                    <a:pt x="290" y="1"/>
                  </a:lnTo>
                  <a:lnTo>
                    <a:pt x="30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1618717" y="1509222"/>
              <a:ext cx="24382" cy="152143"/>
            </a:xfrm>
            <a:custGeom>
              <a:avLst/>
              <a:gdLst>
                <a:gd name="T0" fmla="*/ 277 w 298"/>
                <a:gd name="T1" fmla="*/ 0 h 1868"/>
                <a:gd name="T2" fmla="*/ 286 w 298"/>
                <a:gd name="T3" fmla="*/ 3 h 1868"/>
                <a:gd name="T4" fmla="*/ 292 w 298"/>
                <a:gd name="T5" fmla="*/ 11 h 1868"/>
                <a:gd name="T6" fmla="*/ 296 w 298"/>
                <a:gd name="T7" fmla="*/ 23 h 1868"/>
                <a:gd name="T8" fmla="*/ 298 w 298"/>
                <a:gd name="T9" fmla="*/ 39 h 1868"/>
                <a:gd name="T10" fmla="*/ 298 w 298"/>
                <a:gd name="T11" fmla="*/ 1868 h 1868"/>
                <a:gd name="T12" fmla="*/ 0 w 298"/>
                <a:gd name="T13" fmla="*/ 1868 h 1868"/>
                <a:gd name="T14" fmla="*/ 0 w 298"/>
                <a:gd name="T15" fmla="*/ 335 h 1868"/>
                <a:gd name="T16" fmla="*/ 2 w 298"/>
                <a:gd name="T17" fmla="*/ 313 h 1868"/>
                <a:gd name="T18" fmla="*/ 7 w 298"/>
                <a:gd name="T19" fmla="*/ 289 h 1868"/>
                <a:gd name="T20" fmla="*/ 16 w 298"/>
                <a:gd name="T21" fmla="*/ 265 h 1868"/>
                <a:gd name="T22" fmla="*/ 27 w 298"/>
                <a:gd name="T23" fmla="*/ 242 h 1868"/>
                <a:gd name="T24" fmla="*/ 40 w 298"/>
                <a:gd name="T25" fmla="*/ 221 h 1868"/>
                <a:gd name="T26" fmla="*/ 54 w 298"/>
                <a:gd name="T27" fmla="*/ 205 h 1868"/>
                <a:gd name="T28" fmla="*/ 244 w 298"/>
                <a:gd name="T29" fmla="*/ 16 h 1868"/>
                <a:gd name="T30" fmla="*/ 256 w 298"/>
                <a:gd name="T31" fmla="*/ 6 h 1868"/>
                <a:gd name="T32" fmla="*/ 268 w 298"/>
                <a:gd name="T33" fmla="*/ 1 h 1868"/>
                <a:gd name="T34" fmla="*/ 277 w 298"/>
                <a:gd name="T35" fmla="*/ 0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8" h="1868">
                  <a:moveTo>
                    <a:pt x="277" y="0"/>
                  </a:moveTo>
                  <a:lnTo>
                    <a:pt x="286" y="3"/>
                  </a:lnTo>
                  <a:lnTo>
                    <a:pt x="292" y="11"/>
                  </a:lnTo>
                  <a:lnTo>
                    <a:pt x="296" y="23"/>
                  </a:lnTo>
                  <a:lnTo>
                    <a:pt x="298" y="39"/>
                  </a:lnTo>
                  <a:lnTo>
                    <a:pt x="298" y="1868"/>
                  </a:lnTo>
                  <a:lnTo>
                    <a:pt x="0" y="1868"/>
                  </a:lnTo>
                  <a:lnTo>
                    <a:pt x="0" y="335"/>
                  </a:lnTo>
                  <a:lnTo>
                    <a:pt x="2" y="313"/>
                  </a:lnTo>
                  <a:lnTo>
                    <a:pt x="7" y="289"/>
                  </a:lnTo>
                  <a:lnTo>
                    <a:pt x="16" y="265"/>
                  </a:lnTo>
                  <a:lnTo>
                    <a:pt x="27" y="242"/>
                  </a:lnTo>
                  <a:lnTo>
                    <a:pt x="40" y="221"/>
                  </a:lnTo>
                  <a:lnTo>
                    <a:pt x="54" y="205"/>
                  </a:lnTo>
                  <a:lnTo>
                    <a:pt x="244" y="16"/>
                  </a:lnTo>
                  <a:lnTo>
                    <a:pt x="256" y="6"/>
                  </a:lnTo>
                  <a:lnTo>
                    <a:pt x="268" y="1"/>
                  </a:lnTo>
                  <a:lnTo>
                    <a:pt x="27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1542645" y="1583343"/>
              <a:ext cx="25357" cy="78022"/>
            </a:xfrm>
            <a:custGeom>
              <a:avLst/>
              <a:gdLst>
                <a:gd name="T0" fmla="*/ 300 w 321"/>
                <a:gd name="T1" fmla="*/ 0 h 958"/>
                <a:gd name="T2" fmla="*/ 309 w 321"/>
                <a:gd name="T3" fmla="*/ 4 h 958"/>
                <a:gd name="T4" fmla="*/ 316 w 321"/>
                <a:gd name="T5" fmla="*/ 11 h 958"/>
                <a:gd name="T6" fmla="*/ 320 w 321"/>
                <a:gd name="T7" fmla="*/ 24 h 958"/>
                <a:gd name="T8" fmla="*/ 321 w 321"/>
                <a:gd name="T9" fmla="*/ 39 h 958"/>
                <a:gd name="T10" fmla="*/ 321 w 321"/>
                <a:gd name="T11" fmla="*/ 958 h 958"/>
                <a:gd name="T12" fmla="*/ 0 w 321"/>
                <a:gd name="T13" fmla="*/ 958 h 958"/>
                <a:gd name="T14" fmla="*/ 0 w 321"/>
                <a:gd name="T15" fmla="*/ 357 h 958"/>
                <a:gd name="T16" fmla="*/ 2 w 321"/>
                <a:gd name="T17" fmla="*/ 332 h 958"/>
                <a:gd name="T18" fmla="*/ 7 w 321"/>
                <a:gd name="T19" fmla="*/ 306 h 958"/>
                <a:gd name="T20" fmla="*/ 13 w 321"/>
                <a:gd name="T21" fmla="*/ 284 h 958"/>
                <a:gd name="T22" fmla="*/ 22 w 321"/>
                <a:gd name="T23" fmla="*/ 264 h 958"/>
                <a:gd name="T24" fmla="*/ 32 w 321"/>
                <a:gd name="T25" fmla="*/ 249 h 958"/>
                <a:gd name="T26" fmla="*/ 42 w 321"/>
                <a:gd name="T27" fmla="*/ 240 h 958"/>
                <a:gd name="T28" fmla="*/ 51 w 321"/>
                <a:gd name="T29" fmla="*/ 230 h 958"/>
                <a:gd name="T30" fmla="*/ 58 w 321"/>
                <a:gd name="T31" fmla="*/ 223 h 958"/>
                <a:gd name="T32" fmla="*/ 62 w 321"/>
                <a:gd name="T33" fmla="*/ 219 h 958"/>
                <a:gd name="T34" fmla="*/ 64 w 321"/>
                <a:gd name="T35" fmla="*/ 218 h 958"/>
                <a:gd name="T36" fmla="*/ 266 w 321"/>
                <a:gd name="T37" fmla="*/ 17 h 958"/>
                <a:gd name="T38" fmla="*/ 279 w 321"/>
                <a:gd name="T39" fmla="*/ 7 h 958"/>
                <a:gd name="T40" fmla="*/ 291 w 321"/>
                <a:gd name="T41" fmla="*/ 1 h 958"/>
                <a:gd name="T42" fmla="*/ 300 w 321"/>
                <a:gd name="T43" fmla="*/ 0 h 9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1" h="958">
                  <a:moveTo>
                    <a:pt x="300" y="0"/>
                  </a:moveTo>
                  <a:lnTo>
                    <a:pt x="309" y="4"/>
                  </a:lnTo>
                  <a:lnTo>
                    <a:pt x="316" y="11"/>
                  </a:lnTo>
                  <a:lnTo>
                    <a:pt x="320" y="24"/>
                  </a:lnTo>
                  <a:lnTo>
                    <a:pt x="321" y="39"/>
                  </a:lnTo>
                  <a:lnTo>
                    <a:pt x="321" y="958"/>
                  </a:lnTo>
                  <a:lnTo>
                    <a:pt x="0" y="958"/>
                  </a:lnTo>
                  <a:lnTo>
                    <a:pt x="0" y="357"/>
                  </a:lnTo>
                  <a:lnTo>
                    <a:pt x="2" y="332"/>
                  </a:lnTo>
                  <a:lnTo>
                    <a:pt x="7" y="306"/>
                  </a:lnTo>
                  <a:lnTo>
                    <a:pt x="13" y="284"/>
                  </a:lnTo>
                  <a:lnTo>
                    <a:pt x="22" y="264"/>
                  </a:lnTo>
                  <a:lnTo>
                    <a:pt x="32" y="249"/>
                  </a:lnTo>
                  <a:lnTo>
                    <a:pt x="42" y="240"/>
                  </a:lnTo>
                  <a:lnTo>
                    <a:pt x="51" y="230"/>
                  </a:lnTo>
                  <a:lnTo>
                    <a:pt x="58" y="223"/>
                  </a:lnTo>
                  <a:lnTo>
                    <a:pt x="62" y="219"/>
                  </a:lnTo>
                  <a:lnTo>
                    <a:pt x="64" y="218"/>
                  </a:lnTo>
                  <a:lnTo>
                    <a:pt x="266" y="17"/>
                  </a:lnTo>
                  <a:lnTo>
                    <a:pt x="279" y="7"/>
                  </a:lnTo>
                  <a:lnTo>
                    <a:pt x="291" y="1"/>
                  </a:lnTo>
                  <a:lnTo>
                    <a:pt x="30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1504609" y="1586269"/>
              <a:ext cx="25357" cy="75096"/>
            </a:xfrm>
            <a:custGeom>
              <a:avLst/>
              <a:gdLst>
                <a:gd name="T0" fmla="*/ 20 w 321"/>
                <a:gd name="T1" fmla="*/ 0 h 919"/>
                <a:gd name="T2" fmla="*/ 31 w 321"/>
                <a:gd name="T3" fmla="*/ 1 h 919"/>
                <a:gd name="T4" fmla="*/ 42 w 321"/>
                <a:gd name="T5" fmla="*/ 6 h 919"/>
                <a:gd name="T6" fmla="*/ 55 w 321"/>
                <a:gd name="T7" fmla="*/ 17 h 919"/>
                <a:gd name="T8" fmla="*/ 218 w 321"/>
                <a:gd name="T9" fmla="*/ 179 h 919"/>
                <a:gd name="T10" fmla="*/ 269 w 321"/>
                <a:gd name="T11" fmla="*/ 230 h 919"/>
                <a:gd name="T12" fmla="*/ 283 w 321"/>
                <a:gd name="T13" fmla="*/ 246 h 919"/>
                <a:gd name="T14" fmla="*/ 295 w 321"/>
                <a:gd name="T15" fmla="*/ 266 h 919"/>
                <a:gd name="T16" fmla="*/ 305 w 321"/>
                <a:gd name="T17" fmla="*/ 288 h 919"/>
                <a:gd name="T18" fmla="*/ 313 w 321"/>
                <a:gd name="T19" fmla="*/ 311 h 919"/>
                <a:gd name="T20" fmla="*/ 319 w 321"/>
                <a:gd name="T21" fmla="*/ 335 h 919"/>
                <a:gd name="T22" fmla="*/ 321 w 321"/>
                <a:gd name="T23" fmla="*/ 357 h 919"/>
                <a:gd name="T24" fmla="*/ 321 w 321"/>
                <a:gd name="T25" fmla="*/ 919 h 919"/>
                <a:gd name="T26" fmla="*/ 0 w 321"/>
                <a:gd name="T27" fmla="*/ 919 h 919"/>
                <a:gd name="T28" fmla="*/ 0 w 321"/>
                <a:gd name="T29" fmla="*/ 40 h 919"/>
                <a:gd name="T30" fmla="*/ 1 w 321"/>
                <a:gd name="T31" fmla="*/ 23 h 919"/>
                <a:gd name="T32" fmla="*/ 6 w 321"/>
                <a:gd name="T33" fmla="*/ 12 h 919"/>
                <a:gd name="T34" fmla="*/ 12 w 321"/>
                <a:gd name="T35" fmla="*/ 3 h 919"/>
                <a:gd name="T36" fmla="*/ 20 w 321"/>
                <a:gd name="T37" fmla="*/ 0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1" h="919">
                  <a:moveTo>
                    <a:pt x="20" y="0"/>
                  </a:moveTo>
                  <a:lnTo>
                    <a:pt x="31" y="1"/>
                  </a:lnTo>
                  <a:lnTo>
                    <a:pt x="42" y="6"/>
                  </a:lnTo>
                  <a:lnTo>
                    <a:pt x="55" y="17"/>
                  </a:lnTo>
                  <a:lnTo>
                    <a:pt x="218" y="179"/>
                  </a:lnTo>
                  <a:lnTo>
                    <a:pt x="269" y="230"/>
                  </a:lnTo>
                  <a:lnTo>
                    <a:pt x="283" y="246"/>
                  </a:lnTo>
                  <a:lnTo>
                    <a:pt x="295" y="266"/>
                  </a:lnTo>
                  <a:lnTo>
                    <a:pt x="305" y="288"/>
                  </a:lnTo>
                  <a:lnTo>
                    <a:pt x="313" y="311"/>
                  </a:lnTo>
                  <a:lnTo>
                    <a:pt x="319" y="335"/>
                  </a:lnTo>
                  <a:lnTo>
                    <a:pt x="321" y="357"/>
                  </a:lnTo>
                  <a:lnTo>
                    <a:pt x="321" y="919"/>
                  </a:lnTo>
                  <a:lnTo>
                    <a:pt x="0" y="919"/>
                  </a:lnTo>
                  <a:lnTo>
                    <a:pt x="0" y="40"/>
                  </a:lnTo>
                  <a:lnTo>
                    <a:pt x="1" y="23"/>
                  </a:lnTo>
                  <a:lnTo>
                    <a:pt x="6" y="12"/>
                  </a:lnTo>
                  <a:lnTo>
                    <a:pt x="12" y="3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424636" y="1625280"/>
              <a:ext cx="29258" cy="36085"/>
            </a:xfrm>
            <a:custGeom>
              <a:avLst/>
              <a:gdLst>
                <a:gd name="T0" fmla="*/ 337 w 357"/>
                <a:gd name="T1" fmla="*/ 0 h 438"/>
                <a:gd name="T2" fmla="*/ 346 w 357"/>
                <a:gd name="T3" fmla="*/ 3 h 438"/>
                <a:gd name="T4" fmla="*/ 352 w 357"/>
                <a:gd name="T5" fmla="*/ 11 h 438"/>
                <a:gd name="T6" fmla="*/ 356 w 357"/>
                <a:gd name="T7" fmla="*/ 22 h 438"/>
                <a:gd name="T8" fmla="*/ 357 w 357"/>
                <a:gd name="T9" fmla="*/ 39 h 438"/>
                <a:gd name="T10" fmla="*/ 357 w 357"/>
                <a:gd name="T11" fmla="*/ 438 h 438"/>
                <a:gd name="T12" fmla="*/ 0 w 357"/>
                <a:gd name="T13" fmla="*/ 438 h 438"/>
                <a:gd name="T14" fmla="*/ 0 w 357"/>
                <a:gd name="T15" fmla="*/ 378 h 438"/>
                <a:gd name="T16" fmla="*/ 2 w 357"/>
                <a:gd name="T17" fmla="*/ 360 h 438"/>
                <a:gd name="T18" fmla="*/ 8 w 357"/>
                <a:gd name="T19" fmla="*/ 341 h 438"/>
                <a:gd name="T20" fmla="*/ 16 w 357"/>
                <a:gd name="T21" fmla="*/ 320 h 438"/>
                <a:gd name="T22" fmla="*/ 26 w 357"/>
                <a:gd name="T23" fmla="*/ 300 h 438"/>
                <a:gd name="T24" fmla="*/ 40 w 357"/>
                <a:gd name="T25" fmla="*/ 280 h 438"/>
                <a:gd name="T26" fmla="*/ 54 w 357"/>
                <a:gd name="T27" fmla="*/ 265 h 438"/>
                <a:gd name="T28" fmla="*/ 157 w 357"/>
                <a:gd name="T29" fmla="*/ 162 h 438"/>
                <a:gd name="T30" fmla="*/ 303 w 357"/>
                <a:gd name="T31" fmla="*/ 16 h 438"/>
                <a:gd name="T32" fmla="*/ 315 w 357"/>
                <a:gd name="T33" fmla="*/ 6 h 438"/>
                <a:gd name="T34" fmla="*/ 327 w 357"/>
                <a:gd name="T35" fmla="*/ 1 h 438"/>
                <a:gd name="T36" fmla="*/ 337 w 357"/>
                <a:gd name="T37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7" h="438">
                  <a:moveTo>
                    <a:pt x="337" y="0"/>
                  </a:moveTo>
                  <a:lnTo>
                    <a:pt x="346" y="3"/>
                  </a:lnTo>
                  <a:lnTo>
                    <a:pt x="352" y="11"/>
                  </a:lnTo>
                  <a:lnTo>
                    <a:pt x="356" y="22"/>
                  </a:lnTo>
                  <a:lnTo>
                    <a:pt x="357" y="39"/>
                  </a:lnTo>
                  <a:lnTo>
                    <a:pt x="357" y="438"/>
                  </a:lnTo>
                  <a:lnTo>
                    <a:pt x="0" y="438"/>
                  </a:lnTo>
                  <a:lnTo>
                    <a:pt x="0" y="378"/>
                  </a:lnTo>
                  <a:lnTo>
                    <a:pt x="2" y="360"/>
                  </a:lnTo>
                  <a:lnTo>
                    <a:pt x="8" y="341"/>
                  </a:lnTo>
                  <a:lnTo>
                    <a:pt x="16" y="320"/>
                  </a:lnTo>
                  <a:lnTo>
                    <a:pt x="26" y="300"/>
                  </a:lnTo>
                  <a:lnTo>
                    <a:pt x="40" y="280"/>
                  </a:lnTo>
                  <a:lnTo>
                    <a:pt x="54" y="265"/>
                  </a:lnTo>
                  <a:lnTo>
                    <a:pt x="157" y="162"/>
                  </a:lnTo>
                  <a:lnTo>
                    <a:pt x="303" y="16"/>
                  </a:lnTo>
                  <a:lnTo>
                    <a:pt x="315" y="6"/>
                  </a:lnTo>
                  <a:lnTo>
                    <a:pt x="327" y="1"/>
                  </a:lnTo>
                  <a:lnTo>
                    <a:pt x="33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399279" y="1409744"/>
              <a:ext cx="279905" cy="205783"/>
            </a:xfrm>
            <a:custGeom>
              <a:avLst/>
              <a:gdLst>
                <a:gd name="T0" fmla="*/ 3284 w 3438"/>
                <a:gd name="T1" fmla="*/ 0 h 2542"/>
                <a:gd name="T2" fmla="*/ 3342 w 3438"/>
                <a:gd name="T3" fmla="*/ 12 h 2542"/>
                <a:gd name="T4" fmla="*/ 3390 w 3438"/>
                <a:gd name="T5" fmla="*/ 44 h 2542"/>
                <a:gd name="T6" fmla="*/ 3425 w 3438"/>
                <a:gd name="T7" fmla="*/ 91 h 2542"/>
                <a:gd name="T8" fmla="*/ 3438 w 3438"/>
                <a:gd name="T9" fmla="*/ 146 h 2542"/>
                <a:gd name="T10" fmla="*/ 3436 w 3438"/>
                <a:gd name="T11" fmla="*/ 1252 h 2542"/>
                <a:gd name="T12" fmla="*/ 3426 w 3438"/>
                <a:gd name="T13" fmla="*/ 1271 h 2542"/>
                <a:gd name="T14" fmla="*/ 3408 w 3438"/>
                <a:gd name="T15" fmla="*/ 1274 h 2542"/>
                <a:gd name="T16" fmla="*/ 3384 w 3438"/>
                <a:gd name="T17" fmla="*/ 1258 h 2542"/>
                <a:gd name="T18" fmla="*/ 1721 w 3438"/>
                <a:gd name="T19" fmla="*/ 2150 h 2542"/>
                <a:gd name="T20" fmla="*/ 1686 w 3438"/>
                <a:gd name="T21" fmla="*/ 2170 h 2542"/>
                <a:gd name="T22" fmla="*/ 1647 w 3438"/>
                <a:gd name="T23" fmla="*/ 2170 h 2542"/>
                <a:gd name="T24" fmla="*/ 1612 w 3438"/>
                <a:gd name="T25" fmla="*/ 2150 h 2542"/>
                <a:gd name="T26" fmla="*/ 532 w 3438"/>
                <a:gd name="T27" fmla="*/ 2453 h 2542"/>
                <a:gd name="T28" fmla="*/ 466 w 3438"/>
                <a:gd name="T29" fmla="*/ 2501 h 2542"/>
                <a:gd name="T30" fmla="*/ 393 w 3438"/>
                <a:gd name="T31" fmla="*/ 2532 h 2542"/>
                <a:gd name="T32" fmla="*/ 315 w 3438"/>
                <a:gd name="T33" fmla="*/ 2542 h 2542"/>
                <a:gd name="T34" fmla="*/ 237 w 3438"/>
                <a:gd name="T35" fmla="*/ 2532 h 2542"/>
                <a:gd name="T36" fmla="*/ 163 w 3438"/>
                <a:gd name="T37" fmla="*/ 2501 h 2542"/>
                <a:gd name="T38" fmla="*/ 97 w 3438"/>
                <a:gd name="T39" fmla="*/ 2453 h 2542"/>
                <a:gd name="T40" fmla="*/ 63 w 3438"/>
                <a:gd name="T41" fmla="*/ 2413 h 2542"/>
                <a:gd name="T42" fmla="*/ 23 w 3438"/>
                <a:gd name="T43" fmla="*/ 2343 h 2542"/>
                <a:gd name="T44" fmla="*/ 2 w 3438"/>
                <a:gd name="T45" fmla="*/ 2267 h 2542"/>
                <a:gd name="T46" fmla="*/ 2 w 3438"/>
                <a:gd name="T47" fmla="*/ 2189 h 2542"/>
                <a:gd name="T48" fmla="*/ 23 w 3438"/>
                <a:gd name="T49" fmla="*/ 2115 h 2542"/>
                <a:gd name="T50" fmla="*/ 63 w 3438"/>
                <a:gd name="T51" fmla="*/ 2045 h 2542"/>
                <a:gd name="T52" fmla="*/ 1170 w 3438"/>
                <a:gd name="T53" fmla="*/ 940 h 2542"/>
                <a:gd name="T54" fmla="*/ 1204 w 3438"/>
                <a:gd name="T55" fmla="*/ 920 h 2542"/>
                <a:gd name="T56" fmla="*/ 1243 w 3438"/>
                <a:gd name="T57" fmla="*/ 920 h 2542"/>
                <a:gd name="T58" fmla="*/ 1279 w 3438"/>
                <a:gd name="T59" fmla="*/ 940 h 2542"/>
                <a:gd name="T60" fmla="*/ 2400 w 3438"/>
                <a:gd name="T61" fmla="*/ 596 h 2542"/>
                <a:gd name="T62" fmla="*/ 2171 w 3438"/>
                <a:gd name="T63" fmla="*/ 54 h 2542"/>
                <a:gd name="T64" fmla="*/ 2155 w 3438"/>
                <a:gd name="T65" fmla="*/ 30 h 2542"/>
                <a:gd name="T66" fmla="*/ 2157 w 3438"/>
                <a:gd name="T67" fmla="*/ 12 h 2542"/>
                <a:gd name="T68" fmla="*/ 2177 w 3438"/>
                <a:gd name="T69" fmla="*/ 2 h 2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38" h="2542">
                  <a:moveTo>
                    <a:pt x="2193" y="0"/>
                  </a:moveTo>
                  <a:lnTo>
                    <a:pt x="3284" y="0"/>
                  </a:lnTo>
                  <a:lnTo>
                    <a:pt x="3314" y="3"/>
                  </a:lnTo>
                  <a:lnTo>
                    <a:pt x="3342" y="12"/>
                  </a:lnTo>
                  <a:lnTo>
                    <a:pt x="3367" y="26"/>
                  </a:lnTo>
                  <a:lnTo>
                    <a:pt x="3390" y="44"/>
                  </a:lnTo>
                  <a:lnTo>
                    <a:pt x="3410" y="66"/>
                  </a:lnTo>
                  <a:lnTo>
                    <a:pt x="3425" y="91"/>
                  </a:lnTo>
                  <a:lnTo>
                    <a:pt x="3435" y="118"/>
                  </a:lnTo>
                  <a:lnTo>
                    <a:pt x="3438" y="146"/>
                  </a:lnTo>
                  <a:lnTo>
                    <a:pt x="3438" y="1236"/>
                  </a:lnTo>
                  <a:lnTo>
                    <a:pt x="3436" y="1252"/>
                  </a:lnTo>
                  <a:lnTo>
                    <a:pt x="3432" y="1264"/>
                  </a:lnTo>
                  <a:lnTo>
                    <a:pt x="3426" y="1271"/>
                  </a:lnTo>
                  <a:lnTo>
                    <a:pt x="3417" y="1275"/>
                  </a:lnTo>
                  <a:lnTo>
                    <a:pt x="3408" y="1274"/>
                  </a:lnTo>
                  <a:lnTo>
                    <a:pt x="3396" y="1268"/>
                  </a:lnTo>
                  <a:lnTo>
                    <a:pt x="3384" y="1258"/>
                  </a:lnTo>
                  <a:lnTo>
                    <a:pt x="3001" y="878"/>
                  </a:lnTo>
                  <a:lnTo>
                    <a:pt x="1721" y="2150"/>
                  </a:lnTo>
                  <a:lnTo>
                    <a:pt x="1705" y="2162"/>
                  </a:lnTo>
                  <a:lnTo>
                    <a:pt x="1686" y="2170"/>
                  </a:lnTo>
                  <a:lnTo>
                    <a:pt x="1666" y="2172"/>
                  </a:lnTo>
                  <a:lnTo>
                    <a:pt x="1647" y="2170"/>
                  </a:lnTo>
                  <a:lnTo>
                    <a:pt x="1629" y="2162"/>
                  </a:lnTo>
                  <a:lnTo>
                    <a:pt x="1612" y="2150"/>
                  </a:lnTo>
                  <a:lnTo>
                    <a:pt x="1224" y="1764"/>
                  </a:lnTo>
                  <a:lnTo>
                    <a:pt x="532" y="2453"/>
                  </a:lnTo>
                  <a:lnTo>
                    <a:pt x="501" y="2480"/>
                  </a:lnTo>
                  <a:lnTo>
                    <a:pt x="466" y="2501"/>
                  </a:lnTo>
                  <a:lnTo>
                    <a:pt x="430" y="2519"/>
                  </a:lnTo>
                  <a:lnTo>
                    <a:pt x="393" y="2532"/>
                  </a:lnTo>
                  <a:lnTo>
                    <a:pt x="354" y="2539"/>
                  </a:lnTo>
                  <a:lnTo>
                    <a:pt x="315" y="2542"/>
                  </a:lnTo>
                  <a:lnTo>
                    <a:pt x="275" y="2539"/>
                  </a:lnTo>
                  <a:lnTo>
                    <a:pt x="237" y="2532"/>
                  </a:lnTo>
                  <a:lnTo>
                    <a:pt x="199" y="2519"/>
                  </a:lnTo>
                  <a:lnTo>
                    <a:pt x="163" y="2501"/>
                  </a:lnTo>
                  <a:lnTo>
                    <a:pt x="129" y="2480"/>
                  </a:lnTo>
                  <a:lnTo>
                    <a:pt x="97" y="2453"/>
                  </a:lnTo>
                  <a:lnTo>
                    <a:pt x="90" y="2444"/>
                  </a:lnTo>
                  <a:lnTo>
                    <a:pt x="63" y="2413"/>
                  </a:lnTo>
                  <a:lnTo>
                    <a:pt x="40" y="2380"/>
                  </a:lnTo>
                  <a:lnTo>
                    <a:pt x="23" y="2343"/>
                  </a:lnTo>
                  <a:lnTo>
                    <a:pt x="10" y="2306"/>
                  </a:lnTo>
                  <a:lnTo>
                    <a:pt x="2" y="2267"/>
                  </a:lnTo>
                  <a:lnTo>
                    <a:pt x="0" y="2229"/>
                  </a:lnTo>
                  <a:lnTo>
                    <a:pt x="2" y="2189"/>
                  </a:lnTo>
                  <a:lnTo>
                    <a:pt x="10" y="2152"/>
                  </a:lnTo>
                  <a:lnTo>
                    <a:pt x="23" y="2115"/>
                  </a:lnTo>
                  <a:lnTo>
                    <a:pt x="40" y="2078"/>
                  </a:lnTo>
                  <a:lnTo>
                    <a:pt x="63" y="2045"/>
                  </a:lnTo>
                  <a:lnTo>
                    <a:pt x="90" y="2013"/>
                  </a:lnTo>
                  <a:lnTo>
                    <a:pt x="1170" y="940"/>
                  </a:lnTo>
                  <a:lnTo>
                    <a:pt x="1186" y="928"/>
                  </a:lnTo>
                  <a:lnTo>
                    <a:pt x="1204" y="920"/>
                  </a:lnTo>
                  <a:lnTo>
                    <a:pt x="1224" y="918"/>
                  </a:lnTo>
                  <a:lnTo>
                    <a:pt x="1243" y="920"/>
                  </a:lnTo>
                  <a:lnTo>
                    <a:pt x="1262" y="928"/>
                  </a:lnTo>
                  <a:lnTo>
                    <a:pt x="1279" y="940"/>
                  </a:lnTo>
                  <a:lnTo>
                    <a:pt x="1666" y="1325"/>
                  </a:lnTo>
                  <a:lnTo>
                    <a:pt x="2400" y="596"/>
                  </a:lnTo>
                  <a:lnTo>
                    <a:pt x="2558" y="439"/>
                  </a:lnTo>
                  <a:lnTo>
                    <a:pt x="2171" y="54"/>
                  </a:lnTo>
                  <a:lnTo>
                    <a:pt x="2161" y="41"/>
                  </a:lnTo>
                  <a:lnTo>
                    <a:pt x="2155" y="30"/>
                  </a:lnTo>
                  <a:lnTo>
                    <a:pt x="2154" y="20"/>
                  </a:lnTo>
                  <a:lnTo>
                    <a:pt x="2157" y="12"/>
                  </a:lnTo>
                  <a:lnTo>
                    <a:pt x="2165" y="6"/>
                  </a:lnTo>
                  <a:lnTo>
                    <a:pt x="2177" y="2"/>
                  </a:lnTo>
                  <a:lnTo>
                    <a:pt x="219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58" name="Freeform 457"/>
          <p:cNvSpPr/>
          <p:nvPr/>
        </p:nvSpPr>
        <p:spPr>
          <a:xfrm>
            <a:off x="5969702" y="1908875"/>
            <a:ext cx="288419" cy="847106"/>
          </a:xfrm>
          <a:custGeom>
            <a:avLst/>
            <a:gdLst>
              <a:gd name="connsiteX0" fmla="*/ 0 w 213360"/>
              <a:gd name="connsiteY0" fmla="*/ 0 h 670560"/>
              <a:gd name="connsiteX1" fmla="*/ 0 w 213360"/>
              <a:gd name="connsiteY1" fmla="*/ 457200 h 670560"/>
              <a:gd name="connsiteX2" fmla="*/ 213360 w 213360"/>
              <a:gd name="connsiteY2" fmla="*/ 670560 h 670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3360" h="670560">
                <a:moveTo>
                  <a:pt x="0" y="0"/>
                </a:moveTo>
                <a:lnTo>
                  <a:pt x="0" y="457200"/>
                </a:lnTo>
                <a:lnTo>
                  <a:pt x="213360" y="670560"/>
                </a:lnTo>
              </a:path>
            </a:pathLst>
          </a:custGeom>
          <a:noFill/>
          <a:ln>
            <a:solidFill>
              <a:schemeClr val="accent5"/>
            </a:solidFill>
            <a:headEnd type="oval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65" name="Freeform 464"/>
          <p:cNvSpPr/>
          <p:nvPr/>
        </p:nvSpPr>
        <p:spPr>
          <a:xfrm>
            <a:off x="8626606" y="2755979"/>
            <a:ext cx="1981530" cy="893893"/>
          </a:xfrm>
          <a:custGeom>
            <a:avLst/>
            <a:gdLst>
              <a:gd name="connsiteX0" fmla="*/ 259080 w 259080"/>
              <a:gd name="connsiteY0" fmla="*/ 586740 h 586740"/>
              <a:gd name="connsiteX1" fmla="*/ 259080 w 259080"/>
              <a:gd name="connsiteY1" fmla="*/ 259080 h 586740"/>
              <a:gd name="connsiteX2" fmla="*/ 0 w 259080"/>
              <a:gd name="connsiteY2" fmla="*/ 0 h 586740"/>
              <a:gd name="connsiteX0" fmla="*/ 811167 w 811167"/>
              <a:gd name="connsiteY0" fmla="*/ 1122098 h 1122098"/>
              <a:gd name="connsiteX1" fmla="*/ 811167 w 811167"/>
              <a:gd name="connsiteY1" fmla="*/ 794438 h 1122098"/>
              <a:gd name="connsiteX2" fmla="*/ 0 w 811167"/>
              <a:gd name="connsiteY2" fmla="*/ 0 h 1122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11167" h="1122098">
                <a:moveTo>
                  <a:pt x="811167" y="1122098"/>
                </a:moveTo>
                <a:lnTo>
                  <a:pt x="811167" y="794438"/>
                </a:lnTo>
                <a:cubicBezTo>
                  <a:pt x="724807" y="708078"/>
                  <a:pt x="86360" y="86360"/>
                  <a:pt x="0" y="0"/>
                </a:cubicBezTo>
              </a:path>
            </a:pathLst>
          </a:custGeom>
          <a:noFill/>
          <a:ln>
            <a:solidFill>
              <a:schemeClr val="accent5"/>
            </a:solidFill>
            <a:headEnd type="oval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9D8BAB8-0798-41A7-A464-0E357A08A23F}"/>
              </a:ext>
            </a:extLst>
          </p:cNvPr>
          <p:cNvSpPr txBox="1"/>
          <p:nvPr/>
        </p:nvSpPr>
        <p:spPr>
          <a:xfrm>
            <a:off x="9091790" y="1477634"/>
            <a:ext cx="2764850" cy="60529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177800" marR="0" lvl="0" defTabSz="91440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uLnTx/>
                <a:uFillTx/>
                <a:latin typeface="Verdana" panose="020B0604030504040204" pitchFamily="34" charset="0"/>
              </a:rPr>
              <a:t>ВЕДУЩИЕ</a:t>
            </a:r>
            <a:r>
              <a:rPr kumimoji="0" lang="ru-RU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uLnTx/>
                <a:uFillTx/>
                <a:latin typeface="Verdana" panose="020B0604030504040204" pitchFamily="34" charset="0"/>
              </a:rPr>
              <a:t> ГРУППИРОВКИ</a:t>
            </a:r>
          </a:p>
        </p:txBody>
      </p:sp>
      <p:grpSp>
        <p:nvGrpSpPr>
          <p:cNvPr id="477" name="Group 476"/>
          <p:cNvGrpSpPr/>
          <p:nvPr/>
        </p:nvGrpSpPr>
        <p:grpSpPr>
          <a:xfrm>
            <a:off x="8328248" y="1239693"/>
            <a:ext cx="1001444" cy="1001444"/>
            <a:chOff x="5830767" y="-1447690"/>
            <a:chExt cx="666750" cy="666750"/>
          </a:xfrm>
        </p:grpSpPr>
        <p:sp>
          <p:nvSpPr>
            <p:cNvPr id="63" name="Oval 62"/>
            <p:cNvSpPr/>
            <p:nvPr/>
          </p:nvSpPr>
          <p:spPr>
            <a:xfrm>
              <a:off x="5830767" y="-1447690"/>
              <a:ext cx="666750" cy="66675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Freeform 76"/>
            <p:cNvSpPr/>
            <p:nvPr/>
          </p:nvSpPr>
          <p:spPr>
            <a:xfrm>
              <a:off x="6082103" y="-1271478"/>
              <a:ext cx="384483" cy="490538"/>
            </a:xfrm>
            <a:custGeom>
              <a:avLst/>
              <a:gdLst>
                <a:gd name="connsiteX0" fmla="*/ 249338 w 384483"/>
                <a:gd name="connsiteY0" fmla="*/ 0 h 490538"/>
                <a:gd name="connsiteX1" fmla="*/ 266616 w 384483"/>
                <a:gd name="connsiteY1" fmla="*/ 21597 h 490538"/>
                <a:gd name="connsiteX2" fmla="*/ 384483 w 384483"/>
                <a:gd name="connsiteY2" fmla="*/ 285888 h 490538"/>
                <a:gd name="connsiteX3" fmla="*/ 367152 w 384483"/>
                <a:gd name="connsiteY3" fmla="*/ 330030 h 490538"/>
                <a:gd name="connsiteX4" fmla="*/ 82041 w 384483"/>
                <a:gd name="connsiteY4" fmla="*/ 490538 h 490538"/>
                <a:gd name="connsiteX5" fmla="*/ 34797 w 384483"/>
                <a:gd name="connsiteY5" fmla="*/ 485775 h 490538"/>
                <a:gd name="connsiteX6" fmla="*/ 0 w 384483"/>
                <a:gd name="connsiteY6" fmla="*/ 363986 h 490538"/>
                <a:gd name="connsiteX7" fmla="*/ 35719 w 384483"/>
                <a:gd name="connsiteY7" fmla="*/ 309217 h 490538"/>
                <a:gd name="connsiteX8" fmla="*/ 69056 w 384483"/>
                <a:gd name="connsiteY8" fmla="*/ 242542 h 490538"/>
                <a:gd name="connsiteX9" fmla="*/ 64294 w 384483"/>
                <a:gd name="connsiteY9" fmla="*/ 216348 h 490538"/>
                <a:gd name="connsiteX10" fmla="*/ 12479 w 384483"/>
                <a:gd name="connsiteY10" fmla="*/ 147261 h 490538"/>
                <a:gd name="connsiteX11" fmla="*/ 77888 w 384483"/>
                <a:gd name="connsiteY11" fmla="*/ 165100 h 490538"/>
                <a:gd name="connsiteX0" fmla="*/ 249338 w 384483"/>
                <a:gd name="connsiteY0" fmla="*/ 0 h 490538"/>
                <a:gd name="connsiteX1" fmla="*/ 266616 w 384483"/>
                <a:gd name="connsiteY1" fmla="*/ 21597 h 490538"/>
                <a:gd name="connsiteX2" fmla="*/ 384483 w 384483"/>
                <a:gd name="connsiteY2" fmla="*/ 285888 h 490538"/>
                <a:gd name="connsiteX3" fmla="*/ 367152 w 384483"/>
                <a:gd name="connsiteY3" fmla="*/ 330030 h 490538"/>
                <a:gd name="connsiteX4" fmla="*/ 82041 w 384483"/>
                <a:gd name="connsiteY4" fmla="*/ 490538 h 490538"/>
                <a:gd name="connsiteX5" fmla="*/ 34797 w 384483"/>
                <a:gd name="connsiteY5" fmla="*/ 485775 h 490538"/>
                <a:gd name="connsiteX6" fmla="*/ 0 w 384483"/>
                <a:gd name="connsiteY6" fmla="*/ 363986 h 490538"/>
                <a:gd name="connsiteX7" fmla="*/ 35719 w 384483"/>
                <a:gd name="connsiteY7" fmla="*/ 309217 h 490538"/>
                <a:gd name="connsiteX8" fmla="*/ 69056 w 384483"/>
                <a:gd name="connsiteY8" fmla="*/ 242542 h 490538"/>
                <a:gd name="connsiteX9" fmla="*/ 64294 w 384483"/>
                <a:gd name="connsiteY9" fmla="*/ 216348 h 490538"/>
                <a:gd name="connsiteX10" fmla="*/ 12479 w 384483"/>
                <a:gd name="connsiteY10" fmla="*/ 147261 h 490538"/>
                <a:gd name="connsiteX11" fmla="*/ 77888 w 384483"/>
                <a:gd name="connsiteY11" fmla="*/ 165100 h 490538"/>
                <a:gd name="connsiteX12" fmla="*/ 133349 w 384483"/>
                <a:gd name="connsiteY12" fmla="*/ 21086 h 490538"/>
                <a:gd name="connsiteX13" fmla="*/ 249338 w 384483"/>
                <a:gd name="connsiteY13" fmla="*/ 0 h 490538"/>
                <a:gd name="connsiteX0" fmla="*/ 249338 w 384483"/>
                <a:gd name="connsiteY0" fmla="*/ 0 h 490538"/>
                <a:gd name="connsiteX1" fmla="*/ 266616 w 384483"/>
                <a:gd name="connsiteY1" fmla="*/ 21597 h 490538"/>
                <a:gd name="connsiteX2" fmla="*/ 384483 w 384483"/>
                <a:gd name="connsiteY2" fmla="*/ 285888 h 490538"/>
                <a:gd name="connsiteX3" fmla="*/ 367152 w 384483"/>
                <a:gd name="connsiteY3" fmla="*/ 330030 h 490538"/>
                <a:gd name="connsiteX4" fmla="*/ 82041 w 384483"/>
                <a:gd name="connsiteY4" fmla="*/ 490538 h 490538"/>
                <a:gd name="connsiteX5" fmla="*/ 34797 w 384483"/>
                <a:gd name="connsiteY5" fmla="*/ 485775 h 490538"/>
                <a:gd name="connsiteX6" fmla="*/ 0 w 384483"/>
                <a:gd name="connsiteY6" fmla="*/ 363986 h 490538"/>
                <a:gd name="connsiteX7" fmla="*/ 35719 w 384483"/>
                <a:gd name="connsiteY7" fmla="*/ 309217 h 490538"/>
                <a:gd name="connsiteX8" fmla="*/ 69056 w 384483"/>
                <a:gd name="connsiteY8" fmla="*/ 242542 h 490538"/>
                <a:gd name="connsiteX9" fmla="*/ 64294 w 384483"/>
                <a:gd name="connsiteY9" fmla="*/ 216348 h 490538"/>
                <a:gd name="connsiteX10" fmla="*/ 12479 w 384483"/>
                <a:gd name="connsiteY10" fmla="*/ 147261 h 490538"/>
                <a:gd name="connsiteX11" fmla="*/ 77888 w 384483"/>
                <a:gd name="connsiteY11" fmla="*/ 165100 h 490538"/>
                <a:gd name="connsiteX12" fmla="*/ 133349 w 384483"/>
                <a:gd name="connsiteY12" fmla="*/ 21086 h 490538"/>
                <a:gd name="connsiteX13" fmla="*/ 249338 w 384483"/>
                <a:gd name="connsiteY13" fmla="*/ 0 h 490538"/>
                <a:gd name="connsiteX0" fmla="*/ 249338 w 384483"/>
                <a:gd name="connsiteY0" fmla="*/ 0 h 490538"/>
                <a:gd name="connsiteX1" fmla="*/ 266616 w 384483"/>
                <a:gd name="connsiteY1" fmla="*/ 21597 h 490538"/>
                <a:gd name="connsiteX2" fmla="*/ 384483 w 384483"/>
                <a:gd name="connsiteY2" fmla="*/ 285888 h 490538"/>
                <a:gd name="connsiteX3" fmla="*/ 367152 w 384483"/>
                <a:gd name="connsiteY3" fmla="*/ 330030 h 490538"/>
                <a:gd name="connsiteX4" fmla="*/ 82041 w 384483"/>
                <a:gd name="connsiteY4" fmla="*/ 490538 h 490538"/>
                <a:gd name="connsiteX5" fmla="*/ 34797 w 384483"/>
                <a:gd name="connsiteY5" fmla="*/ 485775 h 490538"/>
                <a:gd name="connsiteX6" fmla="*/ 0 w 384483"/>
                <a:gd name="connsiteY6" fmla="*/ 363986 h 490538"/>
                <a:gd name="connsiteX7" fmla="*/ 35719 w 384483"/>
                <a:gd name="connsiteY7" fmla="*/ 309217 h 490538"/>
                <a:gd name="connsiteX8" fmla="*/ 69056 w 384483"/>
                <a:gd name="connsiteY8" fmla="*/ 242542 h 490538"/>
                <a:gd name="connsiteX9" fmla="*/ 64294 w 384483"/>
                <a:gd name="connsiteY9" fmla="*/ 216348 h 490538"/>
                <a:gd name="connsiteX10" fmla="*/ 12479 w 384483"/>
                <a:gd name="connsiteY10" fmla="*/ 147261 h 490538"/>
                <a:gd name="connsiteX11" fmla="*/ 77888 w 384483"/>
                <a:gd name="connsiteY11" fmla="*/ 165100 h 490538"/>
                <a:gd name="connsiteX12" fmla="*/ 133349 w 384483"/>
                <a:gd name="connsiteY12" fmla="*/ 21086 h 490538"/>
                <a:gd name="connsiteX13" fmla="*/ 249338 w 384483"/>
                <a:gd name="connsiteY13" fmla="*/ 0 h 490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84483" h="490538">
                  <a:moveTo>
                    <a:pt x="249338" y="0"/>
                  </a:moveTo>
                  <a:lnTo>
                    <a:pt x="266616" y="21597"/>
                  </a:lnTo>
                  <a:lnTo>
                    <a:pt x="384483" y="285888"/>
                  </a:lnTo>
                  <a:lnTo>
                    <a:pt x="367152" y="330030"/>
                  </a:lnTo>
                  <a:cubicBezTo>
                    <a:pt x="308683" y="426258"/>
                    <a:pt x="202869" y="490538"/>
                    <a:pt x="82041" y="490538"/>
                  </a:cubicBezTo>
                  <a:lnTo>
                    <a:pt x="34797" y="485775"/>
                  </a:lnTo>
                  <a:lnTo>
                    <a:pt x="0" y="363986"/>
                  </a:lnTo>
                  <a:lnTo>
                    <a:pt x="35719" y="309217"/>
                  </a:lnTo>
                  <a:lnTo>
                    <a:pt x="69056" y="242542"/>
                  </a:lnTo>
                  <a:lnTo>
                    <a:pt x="64294" y="216348"/>
                  </a:lnTo>
                  <a:lnTo>
                    <a:pt x="12479" y="147261"/>
                  </a:lnTo>
                  <a:lnTo>
                    <a:pt x="77888" y="165100"/>
                  </a:lnTo>
                  <a:cubicBezTo>
                    <a:pt x="105106" y="136145"/>
                    <a:pt x="106131" y="50041"/>
                    <a:pt x="133349" y="21086"/>
                  </a:cubicBezTo>
                  <a:cubicBezTo>
                    <a:pt x="165662" y="4532"/>
                    <a:pt x="200356" y="11791"/>
                    <a:pt x="249338" y="0"/>
                  </a:cubicBez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21" name="Group 15"/>
            <p:cNvGrpSpPr>
              <a:grpSpLocks noChangeAspect="1"/>
            </p:cNvGrpSpPr>
            <p:nvPr/>
          </p:nvGrpSpPr>
          <p:grpSpPr bwMode="auto">
            <a:xfrm>
              <a:off x="6015999" y="-1290192"/>
              <a:ext cx="320687" cy="384582"/>
              <a:chOff x="3044" y="1206"/>
              <a:chExt cx="1586" cy="1902"/>
            </a:xfrm>
            <a:solidFill>
              <a:schemeClr val="accent5"/>
            </a:solidFill>
          </p:grpSpPr>
          <p:sp>
            <p:nvSpPr>
              <p:cNvPr id="24" name="Freeform 17"/>
              <p:cNvSpPr>
                <a:spLocks/>
              </p:cNvSpPr>
              <p:nvPr/>
            </p:nvSpPr>
            <p:spPr bwMode="auto">
              <a:xfrm>
                <a:off x="3670" y="2425"/>
                <a:ext cx="335" cy="149"/>
              </a:xfrm>
              <a:custGeom>
                <a:avLst/>
                <a:gdLst>
                  <a:gd name="T0" fmla="*/ 45 w 671"/>
                  <a:gd name="T1" fmla="*/ 0 h 297"/>
                  <a:gd name="T2" fmla="*/ 62 w 671"/>
                  <a:gd name="T3" fmla="*/ 2 h 297"/>
                  <a:gd name="T4" fmla="*/ 65 w 671"/>
                  <a:gd name="T5" fmla="*/ 4 h 297"/>
                  <a:gd name="T6" fmla="*/ 73 w 671"/>
                  <a:gd name="T7" fmla="*/ 6 h 297"/>
                  <a:gd name="T8" fmla="*/ 88 w 671"/>
                  <a:gd name="T9" fmla="*/ 8 h 297"/>
                  <a:gd name="T10" fmla="*/ 107 w 671"/>
                  <a:gd name="T11" fmla="*/ 13 h 297"/>
                  <a:gd name="T12" fmla="*/ 129 w 671"/>
                  <a:gd name="T13" fmla="*/ 18 h 297"/>
                  <a:gd name="T14" fmla="*/ 154 w 671"/>
                  <a:gd name="T15" fmla="*/ 23 h 297"/>
                  <a:gd name="T16" fmla="*/ 183 w 671"/>
                  <a:gd name="T17" fmla="*/ 28 h 297"/>
                  <a:gd name="T18" fmla="*/ 212 w 671"/>
                  <a:gd name="T19" fmla="*/ 33 h 297"/>
                  <a:gd name="T20" fmla="*/ 243 w 671"/>
                  <a:gd name="T21" fmla="*/ 37 h 297"/>
                  <a:gd name="T22" fmla="*/ 275 w 671"/>
                  <a:gd name="T23" fmla="*/ 41 h 297"/>
                  <a:gd name="T24" fmla="*/ 306 w 671"/>
                  <a:gd name="T25" fmla="*/ 43 h 297"/>
                  <a:gd name="T26" fmla="*/ 335 w 671"/>
                  <a:gd name="T27" fmla="*/ 43 h 297"/>
                  <a:gd name="T28" fmla="*/ 365 w 671"/>
                  <a:gd name="T29" fmla="*/ 43 h 297"/>
                  <a:gd name="T30" fmla="*/ 396 w 671"/>
                  <a:gd name="T31" fmla="*/ 41 h 297"/>
                  <a:gd name="T32" fmla="*/ 427 w 671"/>
                  <a:gd name="T33" fmla="*/ 37 h 297"/>
                  <a:gd name="T34" fmla="*/ 457 w 671"/>
                  <a:gd name="T35" fmla="*/ 33 h 297"/>
                  <a:gd name="T36" fmla="*/ 488 w 671"/>
                  <a:gd name="T37" fmla="*/ 28 h 297"/>
                  <a:gd name="T38" fmla="*/ 515 w 671"/>
                  <a:gd name="T39" fmla="*/ 23 h 297"/>
                  <a:gd name="T40" fmla="*/ 541 w 671"/>
                  <a:gd name="T41" fmla="*/ 18 h 297"/>
                  <a:gd name="T42" fmla="*/ 564 w 671"/>
                  <a:gd name="T43" fmla="*/ 13 h 297"/>
                  <a:gd name="T44" fmla="*/ 583 w 671"/>
                  <a:gd name="T45" fmla="*/ 8 h 297"/>
                  <a:gd name="T46" fmla="*/ 596 w 671"/>
                  <a:gd name="T47" fmla="*/ 6 h 297"/>
                  <a:gd name="T48" fmla="*/ 606 w 671"/>
                  <a:gd name="T49" fmla="*/ 4 h 297"/>
                  <a:gd name="T50" fmla="*/ 609 w 671"/>
                  <a:gd name="T51" fmla="*/ 2 h 297"/>
                  <a:gd name="T52" fmla="*/ 625 w 671"/>
                  <a:gd name="T53" fmla="*/ 0 h 297"/>
                  <a:gd name="T54" fmla="*/ 639 w 671"/>
                  <a:gd name="T55" fmla="*/ 4 h 297"/>
                  <a:gd name="T56" fmla="*/ 652 w 671"/>
                  <a:gd name="T57" fmla="*/ 9 h 297"/>
                  <a:gd name="T58" fmla="*/ 661 w 671"/>
                  <a:gd name="T59" fmla="*/ 20 h 297"/>
                  <a:gd name="T60" fmla="*/ 668 w 671"/>
                  <a:gd name="T61" fmla="*/ 34 h 297"/>
                  <a:gd name="T62" fmla="*/ 671 w 671"/>
                  <a:gd name="T63" fmla="*/ 50 h 297"/>
                  <a:gd name="T64" fmla="*/ 671 w 671"/>
                  <a:gd name="T65" fmla="*/ 233 h 297"/>
                  <a:gd name="T66" fmla="*/ 667 w 671"/>
                  <a:gd name="T67" fmla="*/ 253 h 297"/>
                  <a:gd name="T68" fmla="*/ 658 w 671"/>
                  <a:gd name="T69" fmla="*/ 270 h 297"/>
                  <a:gd name="T70" fmla="*/ 644 w 671"/>
                  <a:gd name="T71" fmla="*/ 284 h 297"/>
                  <a:gd name="T72" fmla="*/ 627 w 671"/>
                  <a:gd name="T73" fmla="*/ 294 h 297"/>
                  <a:gd name="T74" fmla="*/ 607 w 671"/>
                  <a:gd name="T75" fmla="*/ 297 h 297"/>
                  <a:gd name="T76" fmla="*/ 64 w 671"/>
                  <a:gd name="T77" fmla="*/ 297 h 297"/>
                  <a:gd name="T78" fmla="*/ 43 w 671"/>
                  <a:gd name="T79" fmla="*/ 294 h 297"/>
                  <a:gd name="T80" fmla="*/ 26 w 671"/>
                  <a:gd name="T81" fmla="*/ 284 h 297"/>
                  <a:gd name="T82" fmla="*/ 13 w 671"/>
                  <a:gd name="T83" fmla="*/ 270 h 297"/>
                  <a:gd name="T84" fmla="*/ 4 w 671"/>
                  <a:gd name="T85" fmla="*/ 253 h 297"/>
                  <a:gd name="T86" fmla="*/ 0 w 671"/>
                  <a:gd name="T87" fmla="*/ 233 h 297"/>
                  <a:gd name="T88" fmla="*/ 0 w 671"/>
                  <a:gd name="T89" fmla="*/ 50 h 297"/>
                  <a:gd name="T90" fmla="*/ 3 w 671"/>
                  <a:gd name="T91" fmla="*/ 34 h 297"/>
                  <a:gd name="T92" fmla="*/ 8 w 671"/>
                  <a:gd name="T93" fmla="*/ 20 h 297"/>
                  <a:gd name="T94" fmla="*/ 18 w 671"/>
                  <a:gd name="T95" fmla="*/ 9 h 297"/>
                  <a:gd name="T96" fmla="*/ 30 w 671"/>
                  <a:gd name="T97" fmla="*/ 4 h 297"/>
                  <a:gd name="T98" fmla="*/ 45 w 671"/>
                  <a:gd name="T99" fmla="*/ 0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71" h="297">
                    <a:moveTo>
                      <a:pt x="45" y="0"/>
                    </a:moveTo>
                    <a:lnTo>
                      <a:pt x="62" y="2"/>
                    </a:lnTo>
                    <a:lnTo>
                      <a:pt x="65" y="4"/>
                    </a:lnTo>
                    <a:lnTo>
                      <a:pt x="73" y="6"/>
                    </a:lnTo>
                    <a:lnTo>
                      <a:pt x="88" y="8"/>
                    </a:lnTo>
                    <a:lnTo>
                      <a:pt x="107" y="13"/>
                    </a:lnTo>
                    <a:lnTo>
                      <a:pt x="129" y="18"/>
                    </a:lnTo>
                    <a:lnTo>
                      <a:pt x="154" y="23"/>
                    </a:lnTo>
                    <a:lnTo>
                      <a:pt x="183" y="28"/>
                    </a:lnTo>
                    <a:lnTo>
                      <a:pt x="212" y="33"/>
                    </a:lnTo>
                    <a:lnTo>
                      <a:pt x="243" y="37"/>
                    </a:lnTo>
                    <a:lnTo>
                      <a:pt x="275" y="41"/>
                    </a:lnTo>
                    <a:lnTo>
                      <a:pt x="306" y="43"/>
                    </a:lnTo>
                    <a:lnTo>
                      <a:pt x="335" y="43"/>
                    </a:lnTo>
                    <a:lnTo>
                      <a:pt x="365" y="43"/>
                    </a:lnTo>
                    <a:lnTo>
                      <a:pt x="396" y="41"/>
                    </a:lnTo>
                    <a:lnTo>
                      <a:pt x="427" y="37"/>
                    </a:lnTo>
                    <a:lnTo>
                      <a:pt x="457" y="33"/>
                    </a:lnTo>
                    <a:lnTo>
                      <a:pt x="488" y="28"/>
                    </a:lnTo>
                    <a:lnTo>
                      <a:pt x="515" y="23"/>
                    </a:lnTo>
                    <a:lnTo>
                      <a:pt x="541" y="18"/>
                    </a:lnTo>
                    <a:lnTo>
                      <a:pt x="564" y="13"/>
                    </a:lnTo>
                    <a:lnTo>
                      <a:pt x="583" y="8"/>
                    </a:lnTo>
                    <a:lnTo>
                      <a:pt x="596" y="6"/>
                    </a:lnTo>
                    <a:lnTo>
                      <a:pt x="606" y="4"/>
                    </a:lnTo>
                    <a:lnTo>
                      <a:pt x="609" y="2"/>
                    </a:lnTo>
                    <a:lnTo>
                      <a:pt x="625" y="0"/>
                    </a:lnTo>
                    <a:lnTo>
                      <a:pt x="639" y="4"/>
                    </a:lnTo>
                    <a:lnTo>
                      <a:pt x="652" y="9"/>
                    </a:lnTo>
                    <a:lnTo>
                      <a:pt x="661" y="20"/>
                    </a:lnTo>
                    <a:lnTo>
                      <a:pt x="668" y="34"/>
                    </a:lnTo>
                    <a:lnTo>
                      <a:pt x="671" y="50"/>
                    </a:lnTo>
                    <a:lnTo>
                      <a:pt x="671" y="233"/>
                    </a:lnTo>
                    <a:lnTo>
                      <a:pt x="667" y="253"/>
                    </a:lnTo>
                    <a:lnTo>
                      <a:pt x="658" y="270"/>
                    </a:lnTo>
                    <a:lnTo>
                      <a:pt x="644" y="284"/>
                    </a:lnTo>
                    <a:lnTo>
                      <a:pt x="627" y="294"/>
                    </a:lnTo>
                    <a:lnTo>
                      <a:pt x="607" y="297"/>
                    </a:lnTo>
                    <a:lnTo>
                      <a:pt x="64" y="297"/>
                    </a:lnTo>
                    <a:lnTo>
                      <a:pt x="43" y="294"/>
                    </a:lnTo>
                    <a:lnTo>
                      <a:pt x="26" y="284"/>
                    </a:lnTo>
                    <a:lnTo>
                      <a:pt x="13" y="270"/>
                    </a:lnTo>
                    <a:lnTo>
                      <a:pt x="4" y="253"/>
                    </a:lnTo>
                    <a:lnTo>
                      <a:pt x="0" y="233"/>
                    </a:lnTo>
                    <a:lnTo>
                      <a:pt x="0" y="50"/>
                    </a:lnTo>
                    <a:lnTo>
                      <a:pt x="3" y="34"/>
                    </a:lnTo>
                    <a:lnTo>
                      <a:pt x="8" y="20"/>
                    </a:lnTo>
                    <a:lnTo>
                      <a:pt x="18" y="9"/>
                    </a:lnTo>
                    <a:lnTo>
                      <a:pt x="30" y="4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" name="Freeform 18"/>
              <p:cNvSpPr>
                <a:spLocks/>
              </p:cNvSpPr>
              <p:nvPr/>
            </p:nvSpPr>
            <p:spPr bwMode="auto">
              <a:xfrm>
                <a:off x="3358" y="1206"/>
                <a:ext cx="960" cy="1171"/>
              </a:xfrm>
              <a:custGeom>
                <a:avLst/>
                <a:gdLst>
                  <a:gd name="T0" fmla="*/ 126 w 1921"/>
                  <a:gd name="T1" fmla="*/ 0 h 2342"/>
                  <a:gd name="T2" fmla="*/ 1794 w 1921"/>
                  <a:gd name="T3" fmla="*/ 0 h 2342"/>
                  <a:gd name="T4" fmla="*/ 1823 w 1921"/>
                  <a:gd name="T5" fmla="*/ 2 h 2342"/>
                  <a:gd name="T6" fmla="*/ 1850 w 1921"/>
                  <a:gd name="T7" fmla="*/ 13 h 2342"/>
                  <a:gd name="T8" fmla="*/ 1873 w 1921"/>
                  <a:gd name="T9" fmla="*/ 26 h 2342"/>
                  <a:gd name="T10" fmla="*/ 1893 w 1921"/>
                  <a:gd name="T11" fmla="*/ 46 h 2342"/>
                  <a:gd name="T12" fmla="*/ 1908 w 1921"/>
                  <a:gd name="T13" fmla="*/ 71 h 2342"/>
                  <a:gd name="T14" fmla="*/ 1917 w 1921"/>
                  <a:gd name="T15" fmla="*/ 97 h 2342"/>
                  <a:gd name="T16" fmla="*/ 1921 w 1921"/>
                  <a:gd name="T17" fmla="*/ 126 h 2342"/>
                  <a:gd name="T18" fmla="*/ 1921 w 1921"/>
                  <a:gd name="T19" fmla="*/ 1170 h 2342"/>
                  <a:gd name="T20" fmla="*/ 1918 w 1921"/>
                  <a:gd name="T21" fmla="*/ 1260 h 2342"/>
                  <a:gd name="T22" fmla="*/ 1911 w 1921"/>
                  <a:gd name="T23" fmla="*/ 1345 h 2342"/>
                  <a:gd name="T24" fmla="*/ 1900 w 1921"/>
                  <a:gd name="T25" fmla="*/ 1430 h 2342"/>
                  <a:gd name="T26" fmla="*/ 1882 w 1921"/>
                  <a:gd name="T27" fmla="*/ 1514 h 2342"/>
                  <a:gd name="T28" fmla="*/ 1862 w 1921"/>
                  <a:gd name="T29" fmla="*/ 1594 h 2342"/>
                  <a:gd name="T30" fmla="*/ 1837 w 1921"/>
                  <a:gd name="T31" fmla="*/ 1670 h 2342"/>
                  <a:gd name="T32" fmla="*/ 1807 w 1921"/>
                  <a:gd name="T33" fmla="*/ 1746 h 2342"/>
                  <a:gd name="T34" fmla="*/ 1774 w 1921"/>
                  <a:gd name="T35" fmla="*/ 1816 h 2342"/>
                  <a:gd name="T36" fmla="*/ 1735 w 1921"/>
                  <a:gd name="T37" fmla="*/ 1885 h 2342"/>
                  <a:gd name="T38" fmla="*/ 1694 w 1921"/>
                  <a:gd name="T39" fmla="*/ 1949 h 2342"/>
                  <a:gd name="T40" fmla="*/ 1647 w 1921"/>
                  <a:gd name="T41" fmla="*/ 2009 h 2342"/>
                  <a:gd name="T42" fmla="*/ 1598 w 1921"/>
                  <a:gd name="T43" fmla="*/ 2065 h 2342"/>
                  <a:gd name="T44" fmla="*/ 1544 w 1921"/>
                  <a:gd name="T45" fmla="*/ 2117 h 2342"/>
                  <a:gd name="T46" fmla="*/ 1488 w 1921"/>
                  <a:gd name="T47" fmla="*/ 2163 h 2342"/>
                  <a:gd name="T48" fmla="*/ 1430 w 1921"/>
                  <a:gd name="T49" fmla="*/ 2204 h 2342"/>
                  <a:gd name="T50" fmla="*/ 1368 w 1921"/>
                  <a:gd name="T51" fmla="*/ 2240 h 2342"/>
                  <a:gd name="T52" fmla="*/ 1305 w 1921"/>
                  <a:gd name="T53" fmla="*/ 2271 h 2342"/>
                  <a:gd name="T54" fmla="*/ 1239 w 1921"/>
                  <a:gd name="T55" fmla="*/ 2297 h 2342"/>
                  <a:gd name="T56" fmla="*/ 1172 w 1921"/>
                  <a:gd name="T57" fmla="*/ 2316 h 2342"/>
                  <a:gd name="T58" fmla="*/ 1102 w 1921"/>
                  <a:gd name="T59" fmla="*/ 2330 h 2342"/>
                  <a:gd name="T60" fmla="*/ 1032 w 1921"/>
                  <a:gd name="T61" fmla="*/ 2340 h 2342"/>
                  <a:gd name="T62" fmla="*/ 960 w 1921"/>
                  <a:gd name="T63" fmla="*/ 2342 h 2342"/>
                  <a:gd name="T64" fmla="*/ 888 w 1921"/>
                  <a:gd name="T65" fmla="*/ 2340 h 2342"/>
                  <a:gd name="T66" fmla="*/ 817 w 1921"/>
                  <a:gd name="T67" fmla="*/ 2330 h 2342"/>
                  <a:gd name="T68" fmla="*/ 748 w 1921"/>
                  <a:gd name="T69" fmla="*/ 2316 h 2342"/>
                  <a:gd name="T70" fmla="*/ 681 w 1921"/>
                  <a:gd name="T71" fmla="*/ 2297 h 2342"/>
                  <a:gd name="T72" fmla="*/ 616 w 1921"/>
                  <a:gd name="T73" fmla="*/ 2271 h 2342"/>
                  <a:gd name="T74" fmla="*/ 552 w 1921"/>
                  <a:gd name="T75" fmla="*/ 2240 h 2342"/>
                  <a:gd name="T76" fmla="*/ 491 w 1921"/>
                  <a:gd name="T77" fmla="*/ 2204 h 2342"/>
                  <a:gd name="T78" fmla="*/ 432 w 1921"/>
                  <a:gd name="T79" fmla="*/ 2163 h 2342"/>
                  <a:gd name="T80" fmla="*/ 376 w 1921"/>
                  <a:gd name="T81" fmla="*/ 2117 h 2342"/>
                  <a:gd name="T82" fmla="*/ 323 w 1921"/>
                  <a:gd name="T83" fmla="*/ 2065 h 2342"/>
                  <a:gd name="T84" fmla="*/ 273 w 1921"/>
                  <a:gd name="T85" fmla="*/ 2009 h 2342"/>
                  <a:gd name="T86" fmla="*/ 227 w 1921"/>
                  <a:gd name="T87" fmla="*/ 1949 h 2342"/>
                  <a:gd name="T88" fmla="*/ 184 w 1921"/>
                  <a:gd name="T89" fmla="*/ 1885 h 2342"/>
                  <a:gd name="T90" fmla="*/ 147 w 1921"/>
                  <a:gd name="T91" fmla="*/ 1816 h 2342"/>
                  <a:gd name="T92" fmla="*/ 112 w 1921"/>
                  <a:gd name="T93" fmla="*/ 1746 h 2342"/>
                  <a:gd name="T94" fmla="*/ 83 w 1921"/>
                  <a:gd name="T95" fmla="*/ 1670 h 2342"/>
                  <a:gd name="T96" fmla="*/ 58 w 1921"/>
                  <a:gd name="T97" fmla="*/ 1594 h 2342"/>
                  <a:gd name="T98" fmla="*/ 37 w 1921"/>
                  <a:gd name="T99" fmla="*/ 1514 h 2342"/>
                  <a:gd name="T100" fmla="*/ 21 w 1921"/>
                  <a:gd name="T101" fmla="*/ 1430 h 2342"/>
                  <a:gd name="T102" fmla="*/ 9 w 1921"/>
                  <a:gd name="T103" fmla="*/ 1345 h 2342"/>
                  <a:gd name="T104" fmla="*/ 2 w 1921"/>
                  <a:gd name="T105" fmla="*/ 1260 h 2342"/>
                  <a:gd name="T106" fmla="*/ 0 w 1921"/>
                  <a:gd name="T107" fmla="*/ 1170 h 2342"/>
                  <a:gd name="T108" fmla="*/ 0 w 1921"/>
                  <a:gd name="T109" fmla="*/ 126 h 2342"/>
                  <a:gd name="T110" fmla="*/ 2 w 1921"/>
                  <a:gd name="T111" fmla="*/ 97 h 2342"/>
                  <a:gd name="T112" fmla="*/ 13 w 1921"/>
                  <a:gd name="T113" fmla="*/ 71 h 2342"/>
                  <a:gd name="T114" fmla="*/ 28 w 1921"/>
                  <a:gd name="T115" fmla="*/ 46 h 2342"/>
                  <a:gd name="T116" fmla="*/ 46 w 1921"/>
                  <a:gd name="T117" fmla="*/ 26 h 2342"/>
                  <a:gd name="T118" fmla="*/ 71 w 1921"/>
                  <a:gd name="T119" fmla="*/ 13 h 2342"/>
                  <a:gd name="T120" fmla="*/ 97 w 1921"/>
                  <a:gd name="T121" fmla="*/ 2 h 2342"/>
                  <a:gd name="T122" fmla="*/ 126 w 1921"/>
                  <a:gd name="T123" fmla="*/ 0 h 2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921" h="2342">
                    <a:moveTo>
                      <a:pt x="126" y="0"/>
                    </a:moveTo>
                    <a:lnTo>
                      <a:pt x="1794" y="0"/>
                    </a:lnTo>
                    <a:lnTo>
                      <a:pt x="1823" y="2"/>
                    </a:lnTo>
                    <a:lnTo>
                      <a:pt x="1850" y="13"/>
                    </a:lnTo>
                    <a:lnTo>
                      <a:pt x="1873" y="26"/>
                    </a:lnTo>
                    <a:lnTo>
                      <a:pt x="1893" y="46"/>
                    </a:lnTo>
                    <a:lnTo>
                      <a:pt x="1908" y="71"/>
                    </a:lnTo>
                    <a:lnTo>
                      <a:pt x="1917" y="97"/>
                    </a:lnTo>
                    <a:lnTo>
                      <a:pt x="1921" y="126"/>
                    </a:lnTo>
                    <a:lnTo>
                      <a:pt x="1921" y="1170"/>
                    </a:lnTo>
                    <a:lnTo>
                      <a:pt x="1918" y="1260"/>
                    </a:lnTo>
                    <a:lnTo>
                      <a:pt x="1911" y="1345"/>
                    </a:lnTo>
                    <a:lnTo>
                      <a:pt x="1900" y="1430"/>
                    </a:lnTo>
                    <a:lnTo>
                      <a:pt x="1882" y="1514"/>
                    </a:lnTo>
                    <a:lnTo>
                      <a:pt x="1862" y="1594"/>
                    </a:lnTo>
                    <a:lnTo>
                      <a:pt x="1837" y="1670"/>
                    </a:lnTo>
                    <a:lnTo>
                      <a:pt x="1807" y="1746"/>
                    </a:lnTo>
                    <a:lnTo>
                      <a:pt x="1774" y="1816"/>
                    </a:lnTo>
                    <a:lnTo>
                      <a:pt x="1735" y="1885"/>
                    </a:lnTo>
                    <a:lnTo>
                      <a:pt x="1694" y="1949"/>
                    </a:lnTo>
                    <a:lnTo>
                      <a:pt x="1647" y="2009"/>
                    </a:lnTo>
                    <a:lnTo>
                      <a:pt x="1598" y="2065"/>
                    </a:lnTo>
                    <a:lnTo>
                      <a:pt x="1544" y="2117"/>
                    </a:lnTo>
                    <a:lnTo>
                      <a:pt x="1488" y="2163"/>
                    </a:lnTo>
                    <a:lnTo>
                      <a:pt x="1430" y="2204"/>
                    </a:lnTo>
                    <a:lnTo>
                      <a:pt x="1368" y="2240"/>
                    </a:lnTo>
                    <a:lnTo>
                      <a:pt x="1305" y="2271"/>
                    </a:lnTo>
                    <a:lnTo>
                      <a:pt x="1239" y="2297"/>
                    </a:lnTo>
                    <a:lnTo>
                      <a:pt x="1172" y="2316"/>
                    </a:lnTo>
                    <a:lnTo>
                      <a:pt x="1102" y="2330"/>
                    </a:lnTo>
                    <a:lnTo>
                      <a:pt x="1032" y="2340"/>
                    </a:lnTo>
                    <a:lnTo>
                      <a:pt x="960" y="2342"/>
                    </a:lnTo>
                    <a:lnTo>
                      <a:pt x="888" y="2340"/>
                    </a:lnTo>
                    <a:lnTo>
                      <a:pt x="817" y="2330"/>
                    </a:lnTo>
                    <a:lnTo>
                      <a:pt x="748" y="2316"/>
                    </a:lnTo>
                    <a:lnTo>
                      <a:pt x="681" y="2297"/>
                    </a:lnTo>
                    <a:lnTo>
                      <a:pt x="616" y="2271"/>
                    </a:lnTo>
                    <a:lnTo>
                      <a:pt x="552" y="2240"/>
                    </a:lnTo>
                    <a:lnTo>
                      <a:pt x="491" y="2204"/>
                    </a:lnTo>
                    <a:lnTo>
                      <a:pt x="432" y="2163"/>
                    </a:lnTo>
                    <a:lnTo>
                      <a:pt x="376" y="2117"/>
                    </a:lnTo>
                    <a:lnTo>
                      <a:pt x="323" y="2065"/>
                    </a:lnTo>
                    <a:lnTo>
                      <a:pt x="273" y="2009"/>
                    </a:lnTo>
                    <a:lnTo>
                      <a:pt x="227" y="1949"/>
                    </a:lnTo>
                    <a:lnTo>
                      <a:pt x="184" y="1885"/>
                    </a:lnTo>
                    <a:lnTo>
                      <a:pt x="147" y="1816"/>
                    </a:lnTo>
                    <a:lnTo>
                      <a:pt x="112" y="1746"/>
                    </a:lnTo>
                    <a:lnTo>
                      <a:pt x="83" y="1670"/>
                    </a:lnTo>
                    <a:lnTo>
                      <a:pt x="58" y="1594"/>
                    </a:lnTo>
                    <a:lnTo>
                      <a:pt x="37" y="1514"/>
                    </a:lnTo>
                    <a:lnTo>
                      <a:pt x="21" y="1430"/>
                    </a:lnTo>
                    <a:lnTo>
                      <a:pt x="9" y="1345"/>
                    </a:lnTo>
                    <a:lnTo>
                      <a:pt x="2" y="1260"/>
                    </a:lnTo>
                    <a:lnTo>
                      <a:pt x="0" y="1170"/>
                    </a:lnTo>
                    <a:lnTo>
                      <a:pt x="0" y="126"/>
                    </a:lnTo>
                    <a:lnTo>
                      <a:pt x="2" y="97"/>
                    </a:lnTo>
                    <a:lnTo>
                      <a:pt x="13" y="71"/>
                    </a:lnTo>
                    <a:lnTo>
                      <a:pt x="28" y="46"/>
                    </a:lnTo>
                    <a:lnTo>
                      <a:pt x="46" y="26"/>
                    </a:lnTo>
                    <a:lnTo>
                      <a:pt x="71" y="13"/>
                    </a:lnTo>
                    <a:lnTo>
                      <a:pt x="97" y="2"/>
                    </a:lnTo>
                    <a:lnTo>
                      <a:pt x="12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" name="Freeform 19"/>
              <p:cNvSpPr>
                <a:spLocks/>
              </p:cNvSpPr>
              <p:nvPr/>
            </p:nvSpPr>
            <p:spPr bwMode="auto">
              <a:xfrm>
                <a:off x="3044" y="1277"/>
                <a:ext cx="287" cy="780"/>
              </a:xfrm>
              <a:custGeom>
                <a:avLst/>
                <a:gdLst>
                  <a:gd name="T0" fmla="*/ 126 w 573"/>
                  <a:gd name="T1" fmla="*/ 0 h 1560"/>
                  <a:gd name="T2" fmla="*/ 486 w 573"/>
                  <a:gd name="T3" fmla="*/ 0 h 1560"/>
                  <a:gd name="T4" fmla="*/ 486 w 573"/>
                  <a:gd name="T5" fmla="*/ 255 h 1560"/>
                  <a:gd name="T6" fmla="*/ 252 w 573"/>
                  <a:gd name="T7" fmla="*/ 255 h 1560"/>
                  <a:gd name="T8" fmla="*/ 252 w 573"/>
                  <a:gd name="T9" fmla="*/ 819 h 1560"/>
                  <a:gd name="T10" fmla="*/ 255 w 573"/>
                  <a:gd name="T11" fmla="*/ 886 h 1560"/>
                  <a:gd name="T12" fmla="*/ 260 w 573"/>
                  <a:gd name="T13" fmla="*/ 946 h 1560"/>
                  <a:gd name="T14" fmla="*/ 271 w 573"/>
                  <a:gd name="T15" fmla="*/ 1002 h 1560"/>
                  <a:gd name="T16" fmla="*/ 285 w 573"/>
                  <a:gd name="T17" fmla="*/ 1053 h 1560"/>
                  <a:gd name="T18" fmla="*/ 303 w 573"/>
                  <a:gd name="T19" fmla="*/ 1099 h 1560"/>
                  <a:gd name="T20" fmla="*/ 326 w 573"/>
                  <a:gd name="T21" fmla="*/ 1141 h 1560"/>
                  <a:gd name="T22" fmla="*/ 353 w 573"/>
                  <a:gd name="T23" fmla="*/ 1178 h 1560"/>
                  <a:gd name="T24" fmla="*/ 384 w 573"/>
                  <a:gd name="T25" fmla="*/ 1210 h 1560"/>
                  <a:gd name="T26" fmla="*/ 420 w 573"/>
                  <a:gd name="T27" fmla="*/ 1238 h 1560"/>
                  <a:gd name="T28" fmla="*/ 461 w 573"/>
                  <a:gd name="T29" fmla="*/ 1263 h 1560"/>
                  <a:gd name="T30" fmla="*/ 506 w 573"/>
                  <a:gd name="T31" fmla="*/ 1282 h 1560"/>
                  <a:gd name="T32" fmla="*/ 523 w 573"/>
                  <a:gd name="T33" fmla="*/ 1377 h 1560"/>
                  <a:gd name="T34" fmla="*/ 545 w 573"/>
                  <a:gd name="T35" fmla="*/ 1470 h 1560"/>
                  <a:gd name="T36" fmla="*/ 573 w 573"/>
                  <a:gd name="T37" fmla="*/ 1560 h 1560"/>
                  <a:gd name="T38" fmla="*/ 506 w 573"/>
                  <a:gd name="T39" fmla="*/ 1546 h 1560"/>
                  <a:gd name="T40" fmla="*/ 442 w 573"/>
                  <a:gd name="T41" fmla="*/ 1528 h 1560"/>
                  <a:gd name="T42" fmla="*/ 382 w 573"/>
                  <a:gd name="T43" fmla="*/ 1505 h 1560"/>
                  <a:gd name="T44" fmla="*/ 327 w 573"/>
                  <a:gd name="T45" fmla="*/ 1478 h 1560"/>
                  <a:gd name="T46" fmla="*/ 275 w 573"/>
                  <a:gd name="T47" fmla="*/ 1446 h 1560"/>
                  <a:gd name="T48" fmla="*/ 229 w 573"/>
                  <a:gd name="T49" fmla="*/ 1410 h 1560"/>
                  <a:gd name="T50" fmla="*/ 186 w 573"/>
                  <a:gd name="T51" fmla="*/ 1370 h 1560"/>
                  <a:gd name="T52" fmla="*/ 147 w 573"/>
                  <a:gd name="T53" fmla="*/ 1325 h 1560"/>
                  <a:gd name="T54" fmla="*/ 113 w 573"/>
                  <a:gd name="T55" fmla="*/ 1276 h 1560"/>
                  <a:gd name="T56" fmla="*/ 83 w 573"/>
                  <a:gd name="T57" fmla="*/ 1223 h 1560"/>
                  <a:gd name="T58" fmla="*/ 58 w 573"/>
                  <a:gd name="T59" fmla="*/ 1166 h 1560"/>
                  <a:gd name="T60" fmla="*/ 37 w 573"/>
                  <a:gd name="T61" fmla="*/ 1105 h 1560"/>
                  <a:gd name="T62" fmla="*/ 21 w 573"/>
                  <a:gd name="T63" fmla="*/ 1040 h 1560"/>
                  <a:gd name="T64" fmla="*/ 9 w 573"/>
                  <a:gd name="T65" fmla="*/ 970 h 1560"/>
                  <a:gd name="T66" fmla="*/ 2 w 573"/>
                  <a:gd name="T67" fmla="*/ 897 h 1560"/>
                  <a:gd name="T68" fmla="*/ 0 w 573"/>
                  <a:gd name="T69" fmla="*/ 819 h 1560"/>
                  <a:gd name="T70" fmla="*/ 0 w 573"/>
                  <a:gd name="T71" fmla="*/ 127 h 1560"/>
                  <a:gd name="T72" fmla="*/ 3 w 573"/>
                  <a:gd name="T73" fmla="*/ 98 h 1560"/>
                  <a:gd name="T74" fmla="*/ 13 w 573"/>
                  <a:gd name="T75" fmla="*/ 71 h 1560"/>
                  <a:gd name="T76" fmla="*/ 28 w 573"/>
                  <a:gd name="T77" fmla="*/ 48 h 1560"/>
                  <a:gd name="T78" fmla="*/ 47 w 573"/>
                  <a:gd name="T79" fmla="*/ 28 h 1560"/>
                  <a:gd name="T80" fmla="*/ 70 w 573"/>
                  <a:gd name="T81" fmla="*/ 13 h 1560"/>
                  <a:gd name="T82" fmla="*/ 97 w 573"/>
                  <a:gd name="T83" fmla="*/ 4 h 1560"/>
                  <a:gd name="T84" fmla="*/ 126 w 573"/>
                  <a:gd name="T85" fmla="*/ 0 h 1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73" h="1560">
                    <a:moveTo>
                      <a:pt x="126" y="0"/>
                    </a:moveTo>
                    <a:lnTo>
                      <a:pt x="486" y="0"/>
                    </a:lnTo>
                    <a:lnTo>
                      <a:pt x="486" y="255"/>
                    </a:lnTo>
                    <a:lnTo>
                      <a:pt x="252" y="255"/>
                    </a:lnTo>
                    <a:lnTo>
                      <a:pt x="252" y="819"/>
                    </a:lnTo>
                    <a:lnTo>
                      <a:pt x="255" y="886"/>
                    </a:lnTo>
                    <a:lnTo>
                      <a:pt x="260" y="946"/>
                    </a:lnTo>
                    <a:lnTo>
                      <a:pt x="271" y="1002"/>
                    </a:lnTo>
                    <a:lnTo>
                      <a:pt x="285" y="1053"/>
                    </a:lnTo>
                    <a:lnTo>
                      <a:pt x="303" y="1099"/>
                    </a:lnTo>
                    <a:lnTo>
                      <a:pt x="326" y="1141"/>
                    </a:lnTo>
                    <a:lnTo>
                      <a:pt x="353" y="1178"/>
                    </a:lnTo>
                    <a:lnTo>
                      <a:pt x="384" y="1210"/>
                    </a:lnTo>
                    <a:lnTo>
                      <a:pt x="420" y="1238"/>
                    </a:lnTo>
                    <a:lnTo>
                      <a:pt x="461" y="1263"/>
                    </a:lnTo>
                    <a:lnTo>
                      <a:pt x="506" y="1282"/>
                    </a:lnTo>
                    <a:lnTo>
                      <a:pt x="523" y="1377"/>
                    </a:lnTo>
                    <a:lnTo>
                      <a:pt x="545" y="1470"/>
                    </a:lnTo>
                    <a:lnTo>
                      <a:pt x="573" y="1560"/>
                    </a:lnTo>
                    <a:lnTo>
                      <a:pt x="506" y="1546"/>
                    </a:lnTo>
                    <a:lnTo>
                      <a:pt x="442" y="1528"/>
                    </a:lnTo>
                    <a:lnTo>
                      <a:pt x="382" y="1505"/>
                    </a:lnTo>
                    <a:lnTo>
                      <a:pt x="327" y="1478"/>
                    </a:lnTo>
                    <a:lnTo>
                      <a:pt x="275" y="1446"/>
                    </a:lnTo>
                    <a:lnTo>
                      <a:pt x="229" y="1410"/>
                    </a:lnTo>
                    <a:lnTo>
                      <a:pt x="186" y="1370"/>
                    </a:lnTo>
                    <a:lnTo>
                      <a:pt x="147" y="1325"/>
                    </a:lnTo>
                    <a:lnTo>
                      <a:pt x="113" y="1276"/>
                    </a:lnTo>
                    <a:lnTo>
                      <a:pt x="83" y="1223"/>
                    </a:lnTo>
                    <a:lnTo>
                      <a:pt x="58" y="1166"/>
                    </a:lnTo>
                    <a:lnTo>
                      <a:pt x="37" y="1105"/>
                    </a:lnTo>
                    <a:lnTo>
                      <a:pt x="21" y="1040"/>
                    </a:lnTo>
                    <a:lnTo>
                      <a:pt x="9" y="970"/>
                    </a:lnTo>
                    <a:lnTo>
                      <a:pt x="2" y="897"/>
                    </a:lnTo>
                    <a:lnTo>
                      <a:pt x="0" y="819"/>
                    </a:lnTo>
                    <a:lnTo>
                      <a:pt x="0" y="127"/>
                    </a:lnTo>
                    <a:lnTo>
                      <a:pt x="3" y="98"/>
                    </a:lnTo>
                    <a:lnTo>
                      <a:pt x="13" y="71"/>
                    </a:lnTo>
                    <a:lnTo>
                      <a:pt x="28" y="48"/>
                    </a:lnTo>
                    <a:lnTo>
                      <a:pt x="47" y="28"/>
                    </a:lnTo>
                    <a:lnTo>
                      <a:pt x="70" y="13"/>
                    </a:lnTo>
                    <a:lnTo>
                      <a:pt x="97" y="4"/>
                    </a:lnTo>
                    <a:lnTo>
                      <a:pt x="12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" name="Freeform 20"/>
              <p:cNvSpPr>
                <a:spLocks/>
              </p:cNvSpPr>
              <p:nvPr/>
            </p:nvSpPr>
            <p:spPr bwMode="auto">
              <a:xfrm>
                <a:off x="3358" y="2668"/>
                <a:ext cx="960" cy="440"/>
              </a:xfrm>
              <a:custGeom>
                <a:avLst/>
                <a:gdLst>
                  <a:gd name="T0" fmla="*/ 126 w 1921"/>
                  <a:gd name="T1" fmla="*/ 0 h 881"/>
                  <a:gd name="T2" fmla="*/ 1794 w 1921"/>
                  <a:gd name="T3" fmla="*/ 0 h 881"/>
                  <a:gd name="T4" fmla="*/ 1823 w 1921"/>
                  <a:gd name="T5" fmla="*/ 4 h 881"/>
                  <a:gd name="T6" fmla="*/ 1850 w 1921"/>
                  <a:gd name="T7" fmla="*/ 14 h 881"/>
                  <a:gd name="T8" fmla="*/ 1873 w 1921"/>
                  <a:gd name="T9" fmla="*/ 28 h 881"/>
                  <a:gd name="T10" fmla="*/ 1893 w 1921"/>
                  <a:gd name="T11" fmla="*/ 48 h 881"/>
                  <a:gd name="T12" fmla="*/ 1908 w 1921"/>
                  <a:gd name="T13" fmla="*/ 72 h 881"/>
                  <a:gd name="T14" fmla="*/ 1917 w 1921"/>
                  <a:gd name="T15" fmla="*/ 99 h 881"/>
                  <a:gd name="T16" fmla="*/ 1921 w 1921"/>
                  <a:gd name="T17" fmla="*/ 128 h 881"/>
                  <a:gd name="T18" fmla="*/ 1921 w 1921"/>
                  <a:gd name="T19" fmla="*/ 754 h 881"/>
                  <a:gd name="T20" fmla="*/ 1917 w 1921"/>
                  <a:gd name="T21" fmla="*/ 783 h 881"/>
                  <a:gd name="T22" fmla="*/ 1908 w 1921"/>
                  <a:gd name="T23" fmla="*/ 810 h 881"/>
                  <a:gd name="T24" fmla="*/ 1893 w 1921"/>
                  <a:gd name="T25" fmla="*/ 833 h 881"/>
                  <a:gd name="T26" fmla="*/ 1873 w 1921"/>
                  <a:gd name="T27" fmla="*/ 853 h 881"/>
                  <a:gd name="T28" fmla="*/ 1850 w 1921"/>
                  <a:gd name="T29" fmla="*/ 868 h 881"/>
                  <a:gd name="T30" fmla="*/ 1823 w 1921"/>
                  <a:gd name="T31" fmla="*/ 877 h 881"/>
                  <a:gd name="T32" fmla="*/ 1794 w 1921"/>
                  <a:gd name="T33" fmla="*/ 881 h 881"/>
                  <a:gd name="T34" fmla="*/ 126 w 1921"/>
                  <a:gd name="T35" fmla="*/ 881 h 881"/>
                  <a:gd name="T36" fmla="*/ 97 w 1921"/>
                  <a:gd name="T37" fmla="*/ 877 h 881"/>
                  <a:gd name="T38" fmla="*/ 71 w 1921"/>
                  <a:gd name="T39" fmla="*/ 868 h 881"/>
                  <a:gd name="T40" fmla="*/ 46 w 1921"/>
                  <a:gd name="T41" fmla="*/ 853 h 881"/>
                  <a:gd name="T42" fmla="*/ 28 w 1921"/>
                  <a:gd name="T43" fmla="*/ 833 h 881"/>
                  <a:gd name="T44" fmla="*/ 13 w 1921"/>
                  <a:gd name="T45" fmla="*/ 810 h 881"/>
                  <a:gd name="T46" fmla="*/ 2 w 1921"/>
                  <a:gd name="T47" fmla="*/ 783 h 881"/>
                  <a:gd name="T48" fmla="*/ 0 w 1921"/>
                  <a:gd name="T49" fmla="*/ 754 h 881"/>
                  <a:gd name="T50" fmla="*/ 0 w 1921"/>
                  <a:gd name="T51" fmla="*/ 128 h 881"/>
                  <a:gd name="T52" fmla="*/ 2 w 1921"/>
                  <a:gd name="T53" fmla="*/ 99 h 881"/>
                  <a:gd name="T54" fmla="*/ 13 w 1921"/>
                  <a:gd name="T55" fmla="*/ 72 h 881"/>
                  <a:gd name="T56" fmla="*/ 28 w 1921"/>
                  <a:gd name="T57" fmla="*/ 48 h 881"/>
                  <a:gd name="T58" fmla="*/ 46 w 1921"/>
                  <a:gd name="T59" fmla="*/ 28 h 881"/>
                  <a:gd name="T60" fmla="*/ 71 w 1921"/>
                  <a:gd name="T61" fmla="*/ 14 h 881"/>
                  <a:gd name="T62" fmla="*/ 97 w 1921"/>
                  <a:gd name="T63" fmla="*/ 4 h 881"/>
                  <a:gd name="T64" fmla="*/ 126 w 1921"/>
                  <a:gd name="T65" fmla="*/ 0 h 8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921" h="881">
                    <a:moveTo>
                      <a:pt x="126" y="0"/>
                    </a:moveTo>
                    <a:lnTo>
                      <a:pt x="1794" y="0"/>
                    </a:lnTo>
                    <a:lnTo>
                      <a:pt x="1823" y="4"/>
                    </a:lnTo>
                    <a:lnTo>
                      <a:pt x="1850" y="14"/>
                    </a:lnTo>
                    <a:lnTo>
                      <a:pt x="1873" y="28"/>
                    </a:lnTo>
                    <a:lnTo>
                      <a:pt x="1893" y="48"/>
                    </a:lnTo>
                    <a:lnTo>
                      <a:pt x="1908" y="72"/>
                    </a:lnTo>
                    <a:lnTo>
                      <a:pt x="1917" y="99"/>
                    </a:lnTo>
                    <a:lnTo>
                      <a:pt x="1921" y="128"/>
                    </a:lnTo>
                    <a:lnTo>
                      <a:pt x="1921" y="754"/>
                    </a:lnTo>
                    <a:lnTo>
                      <a:pt x="1917" y="783"/>
                    </a:lnTo>
                    <a:lnTo>
                      <a:pt x="1908" y="810"/>
                    </a:lnTo>
                    <a:lnTo>
                      <a:pt x="1893" y="833"/>
                    </a:lnTo>
                    <a:lnTo>
                      <a:pt x="1873" y="853"/>
                    </a:lnTo>
                    <a:lnTo>
                      <a:pt x="1850" y="868"/>
                    </a:lnTo>
                    <a:lnTo>
                      <a:pt x="1823" y="877"/>
                    </a:lnTo>
                    <a:lnTo>
                      <a:pt x="1794" y="881"/>
                    </a:lnTo>
                    <a:lnTo>
                      <a:pt x="126" y="881"/>
                    </a:lnTo>
                    <a:lnTo>
                      <a:pt x="97" y="877"/>
                    </a:lnTo>
                    <a:lnTo>
                      <a:pt x="71" y="868"/>
                    </a:lnTo>
                    <a:lnTo>
                      <a:pt x="46" y="853"/>
                    </a:lnTo>
                    <a:lnTo>
                      <a:pt x="28" y="833"/>
                    </a:lnTo>
                    <a:lnTo>
                      <a:pt x="13" y="810"/>
                    </a:lnTo>
                    <a:lnTo>
                      <a:pt x="2" y="783"/>
                    </a:lnTo>
                    <a:lnTo>
                      <a:pt x="0" y="754"/>
                    </a:lnTo>
                    <a:lnTo>
                      <a:pt x="0" y="128"/>
                    </a:lnTo>
                    <a:lnTo>
                      <a:pt x="2" y="99"/>
                    </a:lnTo>
                    <a:lnTo>
                      <a:pt x="13" y="72"/>
                    </a:lnTo>
                    <a:lnTo>
                      <a:pt x="28" y="48"/>
                    </a:lnTo>
                    <a:lnTo>
                      <a:pt x="46" y="28"/>
                    </a:lnTo>
                    <a:lnTo>
                      <a:pt x="71" y="14"/>
                    </a:lnTo>
                    <a:lnTo>
                      <a:pt x="97" y="4"/>
                    </a:lnTo>
                    <a:lnTo>
                      <a:pt x="12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" name="Freeform 21"/>
              <p:cNvSpPr>
                <a:spLocks/>
              </p:cNvSpPr>
              <p:nvPr/>
            </p:nvSpPr>
            <p:spPr bwMode="auto">
              <a:xfrm>
                <a:off x="4344" y="1277"/>
                <a:ext cx="286" cy="780"/>
              </a:xfrm>
              <a:custGeom>
                <a:avLst/>
                <a:gdLst>
                  <a:gd name="T0" fmla="*/ 87 w 573"/>
                  <a:gd name="T1" fmla="*/ 0 h 1560"/>
                  <a:gd name="T2" fmla="*/ 447 w 573"/>
                  <a:gd name="T3" fmla="*/ 0 h 1560"/>
                  <a:gd name="T4" fmla="*/ 475 w 573"/>
                  <a:gd name="T5" fmla="*/ 4 h 1560"/>
                  <a:gd name="T6" fmla="*/ 502 w 573"/>
                  <a:gd name="T7" fmla="*/ 13 h 1560"/>
                  <a:gd name="T8" fmla="*/ 526 w 573"/>
                  <a:gd name="T9" fmla="*/ 28 h 1560"/>
                  <a:gd name="T10" fmla="*/ 545 w 573"/>
                  <a:gd name="T11" fmla="*/ 48 h 1560"/>
                  <a:gd name="T12" fmla="*/ 560 w 573"/>
                  <a:gd name="T13" fmla="*/ 71 h 1560"/>
                  <a:gd name="T14" fmla="*/ 570 w 573"/>
                  <a:gd name="T15" fmla="*/ 98 h 1560"/>
                  <a:gd name="T16" fmla="*/ 573 w 573"/>
                  <a:gd name="T17" fmla="*/ 127 h 1560"/>
                  <a:gd name="T18" fmla="*/ 573 w 573"/>
                  <a:gd name="T19" fmla="*/ 819 h 1560"/>
                  <a:gd name="T20" fmla="*/ 570 w 573"/>
                  <a:gd name="T21" fmla="*/ 897 h 1560"/>
                  <a:gd name="T22" fmla="*/ 563 w 573"/>
                  <a:gd name="T23" fmla="*/ 970 h 1560"/>
                  <a:gd name="T24" fmla="*/ 552 w 573"/>
                  <a:gd name="T25" fmla="*/ 1040 h 1560"/>
                  <a:gd name="T26" fmla="*/ 536 w 573"/>
                  <a:gd name="T27" fmla="*/ 1105 h 1560"/>
                  <a:gd name="T28" fmla="*/ 515 w 573"/>
                  <a:gd name="T29" fmla="*/ 1166 h 1560"/>
                  <a:gd name="T30" fmla="*/ 489 w 573"/>
                  <a:gd name="T31" fmla="*/ 1223 h 1560"/>
                  <a:gd name="T32" fmla="*/ 460 w 573"/>
                  <a:gd name="T33" fmla="*/ 1276 h 1560"/>
                  <a:gd name="T34" fmla="*/ 426 w 573"/>
                  <a:gd name="T35" fmla="*/ 1325 h 1560"/>
                  <a:gd name="T36" fmla="*/ 388 w 573"/>
                  <a:gd name="T37" fmla="*/ 1370 h 1560"/>
                  <a:gd name="T38" fmla="*/ 345 w 573"/>
                  <a:gd name="T39" fmla="*/ 1410 h 1560"/>
                  <a:gd name="T40" fmla="*/ 297 w 573"/>
                  <a:gd name="T41" fmla="*/ 1446 h 1560"/>
                  <a:gd name="T42" fmla="*/ 246 w 573"/>
                  <a:gd name="T43" fmla="*/ 1478 h 1560"/>
                  <a:gd name="T44" fmla="*/ 191 w 573"/>
                  <a:gd name="T45" fmla="*/ 1505 h 1560"/>
                  <a:gd name="T46" fmla="*/ 132 w 573"/>
                  <a:gd name="T47" fmla="*/ 1528 h 1560"/>
                  <a:gd name="T48" fmla="*/ 68 w 573"/>
                  <a:gd name="T49" fmla="*/ 1546 h 1560"/>
                  <a:gd name="T50" fmla="*/ 0 w 573"/>
                  <a:gd name="T51" fmla="*/ 1560 h 1560"/>
                  <a:gd name="T52" fmla="*/ 27 w 573"/>
                  <a:gd name="T53" fmla="*/ 1470 h 1560"/>
                  <a:gd name="T54" fmla="*/ 51 w 573"/>
                  <a:gd name="T55" fmla="*/ 1377 h 1560"/>
                  <a:gd name="T56" fmla="*/ 68 w 573"/>
                  <a:gd name="T57" fmla="*/ 1282 h 1560"/>
                  <a:gd name="T58" fmla="*/ 113 w 573"/>
                  <a:gd name="T59" fmla="*/ 1263 h 1560"/>
                  <a:gd name="T60" fmla="*/ 153 w 573"/>
                  <a:gd name="T61" fmla="*/ 1238 h 1560"/>
                  <a:gd name="T62" fmla="*/ 188 w 573"/>
                  <a:gd name="T63" fmla="*/ 1210 h 1560"/>
                  <a:gd name="T64" fmla="*/ 220 w 573"/>
                  <a:gd name="T65" fmla="*/ 1178 h 1560"/>
                  <a:gd name="T66" fmla="*/ 247 w 573"/>
                  <a:gd name="T67" fmla="*/ 1141 h 1560"/>
                  <a:gd name="T68" fmla="*/ 269 w 573"/>
                  <a:gd name="T69" fmla="*/ 1099 h 1560"/>
                  <a:gd name="T70" fmla="*/ 288 w 573"/>
                  <a:gd name="T71" fmla="*/ 1053 h 1560"/>
                  <a:gd name="T72" fmla="*/ 302 w 573"/>
                  <a:gd name="T73" fmla="*/ 1002 h 1560"/>
                  <a:gd name="T74" fmla="*/ 312 w 573"/>
                  <a:gd name="T75" fmla="*/ 946 h 1560"/>
                  <a:gd name="T76" fmla="*/ 318 w 573"/>
                  <a:gd name="T77" fmla="*/ 886 h 1560"/>
                  <a:gd name="T78" fmla="*/ 320 w 573"/>
                  <a:gd name="T79" fmla="*/ 819 h 1560"/>
                  <a:gd name="T80" fmla="*/ 320 w 573"/>
                  <a:gd name="T81" fmla="*/ 255 h 1560"/>
                  <a:gd name="T82" fmla="*/ 87 w 573"/>
                  <a:gd name="T83" fmla="*/ 255 h 1560"/>
                  <a:gd name="T84" fmla="*/ 87 w 573"/>
                  <a:gd name="T85" fmla="*/ 0 h 1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73" h="1560">
                    <a:moveTo>
                      <a:pt x="87" y="0"/>
                    </a:moveTo>
                    <a:lnTo>
                      <a:pt x="447" y="0"/>
                    </a:lnTo>
                    <a:lnTo>
                      <a:pt x="475" y="4"/>
                    </a:lnTo>
                    <a:lnTo>
                      <a:pt x="502" y="13"/>
                    </a:lnTo>
                    <a:lnTo>
                      <a:pt x="526" y="28"/>
                    </a:lnTo>
                    <a:lnTo>
                      <a:pt x="545" y="48"/>
                    </a:lnTo>
                    <a:lnTo>
                      <a:pt x="560" y="71"/>
                    </a:lnTo>
                    <a:lnTo>
                      <a:pt x="570" y="98"/>
                    </a:lnTo>
                    <a:lnTo>
                      <a:pt x="573" y="127"/>
                    </a:lnTo>
                    <a:lnTo>
                      <a:pt x="573" y="819"/>
                    </a:lnTo>
                    <a:lnTo>
                      <a:pt x="570" y="897"/>
                    </a:lnTo>
                    <a:lnTo>
                      <a:pt x="563" y="970"/>
                    </a:lnTo>
                    <a:lnTo>
                      <a:pt x="552" y="1040"/>
                    </a:lnTo>
                    <a:lnTo>
                      <a:pt x="536" y="1105"/>
                    </a:lnTo>
                    <a:lnTo>
                      <a:pt x="515" y="1166"/>
                    </a:lnTo>
                    <a:lnTo>
                      <a:pt x="489" y="1223"/>
                    </a:lnTo>
                    <a:lnTo>
                      <a:pt x="460" y="1276"/>
                    </a:lnTo>
                    <a:lnTo>
                      <a:pt x="426" y="1325"/>
                    </a:lnTo>
                    <a:lnTo>
                      <a:pt x="388" y="1370"/>
                    </a:lnTo>
                    <a:lnTo>
                      <a:pt x="345" y="1410"/>
                    </a:lnTo>
                    <a:lnTo>
                      <a:pt x="297" y="1446"/>
                    </a:lnTo>
                    <a:lnTo>
                      <a:pt x="246" y="1478"/>
                    </a:lnTo>
                    <a:lnTo>
                      <a:pt x="191" y="1505"/>
                    </a:lnTo>
                    <a:lnTo>
                      <a:pt x="132" y="1528"/>
                    </a:lnTo>
                    <a:lnTo>
                      <a:pt x="68" y="1546"/>
                    </a:lnTo>
                    <a:lnTo>
                      <a:pt x="0" y="1560"/>
                    </a:lnTo>
                    <a:lnTo>
                      <a:pt x="27" y="1470"/>
                    </a:lnTo>
                    <a:lnTo>
                      <a:pt x="51" y="1377"/>
                    </a:lnTo>
                    <a:lnTo>
                      <a:pt x="68" y="1282"/>
                    </a:lnTo>
                    <a:lnTo>
                      <a:pt x="113" y="1263"/>
                    </a:lnTo>
                    <a:lnTo>
                      <a:pt x="153" y="1238"/>
                    </a:lnTo>
                    <a:lnTo>
                      <a:pt x="188" y="1210"/>
                    </a:lnTo>
                    <a:lnTo>
                      <a:pt x="220" y="1178"/>
                    </a:lnTo>
                    <a:lnTo>
                      <a:pt x="247" y="1141"/>
                    </a:lnTo>
                    <a:lnTo>
                      <a:pt x="269" y="1099"/>
                    </a:lnTo>
                    <a:lnTo>
                      <a:pt x="288" y="1053"/>
                    </a:lnTo>
                    <a:lnTo>
                      <a:pt x="302" y="1002"/>
                    </a:lnTo>
                    <a:lnTo>
                      <a:pt x="312" y="946"/>
                    </a:lnTo>
                    <a:lnTo>
                      <a:pt x="318" y="886"/>
                    </a:lnTo>
                    <a:lnTo>
                      <a:pt x="320" y="819"/>
                    </a:lnTo>
                    <a:lnTo>
                      <a:pt x="320" y="255"/>
                    </a:lnTo>
                    <a:lnTo>
                      <a:pt x="87" y="255"/>
                    </a:lnTo>
                    <a:lnTo>
                      <a:pt x="87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53B0E98-0BA5-46F6-9251-D456E78E4CD5}"/>
              </a:ext>
            </a:extLst>
          </p:cNvPr>
          <p:cNvGrpSpPr/>
          <p:nvPr/>
        </p:nvGrpSpPr>
        <p:grpSpPr>
          <a:xfrm>
            <a:off x="4079775" y="5539256"/>
            <a:ext cx="2837863" cy="838358"/>
            <a:chOff x="3996720" y="5550529"/>
            <a:chExt cx="2855185" cy="920320"/>
          </a:xfrm>
        </p:grpSpPr>
        <p:sp>
          <p:nvSpPr>
            <p:cNvPr id="51" name="Rounded Rectangle 95">
              <a:extLst>
                <a:ext uri="{FF2B5EF4-FFF2-40B4-BE49-F238E27FC236}">
                  <a16:creationId xmlns:a16="http://schemas.microsoft.com/office/drawing/2014/main" id="{88BC8DE4-1DC9-4B09-823C-2D057E879076}"/>
                </a:ext>
              </a:extLst>
            </p:cNvPr>
            <p:cNvSpPr/>
            <p:nvPr/>
          </p:nvSpPr>
          <p:spPr>
            <a:xfrm>
              <a:off x="4358959" y="5550529"/>
              <a:ext cx="2076794" cy="920320"/>
            </a:xfrm>
            <a:prstGeom prst="roundRect">
              <a:avLst>
                <a:gd name="adj" fmla="val 5760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6722E92D-D558-49B5-8452-E34F77AD65BA}"/>
                </a:ext>
              </a:extLst>
            </p:cNvPr>
            <p:cNvSpPr txBox="1"/>
            <p:nvPr/>
          </p:nvSpPr>
          <p:spPr>
            <a:xfrm>
              <a:off x="3996720" y="5619215"/>
              <a:ext cx="2855185" cy="7601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АФРИКА ЮЖНЕЕ ПУСТЫНИ САХАРА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7</a:t>
              </a:r>
              <a:r>
                <a:rPr kumimoji="0" lang="ru-RU" sz="1100" b="0" i="0" u="none" strike="noStrike" cap="none" normalizeH="0" baseline="3000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° </a:t>
              </a:r>
              <a:r>
                <a:rPr kumimoji="0" lang="ru-RU" sz="1100" b="0" i="0" u="none" strike="noStrike" cap="none" normalizeH="0" baseline="0" noProof="0" dirty="0" err="1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в.д</a:t>
              </a:r>
              <a:r>
                <a:rPr kumimoji="0" lang="ru-RU" sz="1100" b="0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., 16</a:t>
              </a:r>
              <a:r>
                <a:rPr kumimoji="0" lang="ru-RU" sz="1100" b="0" i="0" u="none" strike="noStrike" cap="none" normalizeH="0" baseline="3000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° </a:t>
              </a:r>
              <a:r>
                <a:rPr kumimoji="0" lang="ru-RU" sz="1100" b="0" i="0" u="none" strike="noStrike" cap="none" normalizeH="0" baseline="0" noProof="0" dirty="0" err="1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в.д</a:t>
              </a:r>
              <a:r>
                <a:rPr kumimoji="0" lang="ru-RU" sz="1100" b="0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., 36</a:t>
              </a:r>
              <a:r>
                <a:rPr kumimoji="0" lang="ru-RU" sz="1100" b="0" i="0" u="none" strike="noStrike" cap="none" normalizeH="0" baseline="3000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° </a:t>
              </a:r>
              <a:r>
                <a:rPr kumimoji="0" lang="ru-RU" sz="1100" b="0" i="0" u="none" strike="noStrike" cap="none" normalizeH="0" baseline="0" noProof="0" dirty="0" err="1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в.д</a:t>
              </a:r>
              <a:r>
                <a:rPr kumimoji="0" lang="ru-RU" sz="1100" b="0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.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3C267A2-4BCF-4807-9811-EC8F305351DE}"/>
              </a:ext>
            </a:extLst>
          </p:cNvPr>
          <p:cNvGrpSpPr/>
          <p:nvPr/>
        </p:nvGrpSpPr>
        <p:grpSpPr>
          <a:xfrm>
            <a:off x="1930570" y="4613775"/>
            <a:ext cx="1647830" cy="555954"/>
            <a:chOff x="432460" y="4734920"/>
            <a:chExt cx="1808930" cy="610307"/>
          </a:xfrm>
        </p:grpSpPr>
        <p:sp>
          <p:nvSpPr>
            <p:cNvPr id="55" name="Rounded Rectangle 94">
              <a:extLst>
                <a:ext uri="{FF2B5EF4-FFF2-40B4-BE49-F238E27FC236}">
                  <a16:creationId xmlns:a16="http://schemas.microsoft.com/office/drawing/2014/main" id="{E9F02DA9-4AE2-4396-A487-72EE4424D45D}"/>
                </a:ext>
              </a:extLst>
            </p:cNvPr>
            <p:cNvSpPr/>
            <p:nvPr/>
          </p:nvSpPr>
          <p:spPr>
            <a:xfrm>
              <a:off x="432460" y="4734920"/>
              <a:ext cx="1808930" cy="610307"/>
            </a:xfrm>
            <a:prstGeom prst="roundRect">
              <a:avLst>
                <a:gd name="adj" fmla="val 4773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03FC60F0-5AFF-4084-B0BB-2ABF8F00A200}"/>
                </a:ext>
              </a:extLst>
            </p:cNvPr>
            <p:cNvSpPr txBox="1"/>
            <p:nvPr/>
          </p:nvSpPr>
          <p:spPr>
            <a:xfrm>
              <a:off x="648699" y="4775480"/>
              <a:ext cx="1376453" cy="523693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cap="none" normalizeH="0" baseline="0" noProof="0">
                  <a:ln>
                    <a:noFill/>
                  </a:ln>
                  <a:solidFill>
                    <a:schemeClr val="accent2"/>
                  </a:solidFill>
                  <a:uLnTx/>
                  <a:uFillTx/>
                  <a:latin typeface="Verdana" panose="020B0604030504040204" pitchFamily="34" charset="0"/>
                </a:rPr>
                <a:t>АМЕРИКА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cap="none" normalizeH="0" baseline="0" noProof="0">
                  <a:ln>
                    <a:noFill/>
                  </a:ln>
                  <a:solidFill>
                    <a:schemeClr val="accent2"/>
                  </a:solidFill>
                  <a:uLnTx/>
                  <a:uFillTx/>
                  <a:latin typeface="Verdana" panose="020B0604030504040204" pitchFamily="34" charset="0"/>
                </a:rPr>
                <a:t>65</a:t>
              </a:r>
              <a:r>
                <a:rPr kumimoji="0" lang="ru-RU" sz="1100" b="0" i="0" u="none" strike="noStrike" cap="none" normalizeH="0" baseline="30000" noProof="0">
                  <a:ln>
                    <a:noFill/>
                  </a:ln>
                  <a:solidFill>
                    <a:schemeClr val="accent2"/>
                  </a:solidFill>
                  <a:uLnTx/>
                  <a:uFillTx/>
                  <a:latin typeface="Verdana" panose="020B0604030504040204" pitchFamily="34" charset="0"/>
                </a:rPr>
                <a:t>° </a:t>
              </a:r>
              <a:r>
                <a:rPr lang="ru-RU" sz="1100">
                  <a:solidFill>
                    <a:schemeClr val="accent2"/>
                  </a:solidFill>
                  <a:latin typeface="Verdana" panose="020B0604030504040204" pitchFamily="34" charset="0"/>
                </a:rPr>
                <a:t>з.д., </a:t>
              </a:r>
              <a:r>
                <a:rPr kumimoji="0" lang="ru-RU" sz="1100" b="0" i="0" u="none" strike="noStrike" cap="none" normalizeH="0" baseline="0" noProof="0">
                  <a:ln>
                    <a:noFill/>
                  </a:ln>
                  <a:solidFill>
                    <a:schemeClr val="accent2"/>
                  </a:solidFill>
                  <a:uLnTx/>
                  <a:uFillTx/>
                  <a:latin typeface="Verdana" panose="020B0604030504040204" pitchFamily="34" charset="0"/>
                </a:rPr>
                <a:t>117</a:t>
              </a:r>
              <a:r>
                <a:rPr kumimoji="0" lang="ru-RU" sz="1100" b="0" i="0" u="none" strike="noStrike" cap="none" normalizeH="0" baseline="30000" noProof="0">
                  <a:ln>
                    <a:noFill/>
                  </a:ln>
                  <a:solidFill>
                    <a:schemeClr val="accent2"/>
                  </a:solidFill>
                  <a:uLnTx/>
                  <a:uFillTx/>
                  <a:latin typeface="Verdana" panose="020B0604030504040204" pitchFamily="34" charset="0"/>
                </a:rPr>
                <a:t>° </a:t>
              </a:r>
              <a:r>
                <a:rPr lang="ru-RU" sz="1100">
                  <a:solidFill>
                    <a:schemeClr val="accent2"/>
                  </a:solidFill>
                  <a:latin typeface="Verdana" panose="020B0604030504040204" pitchFamily="34" charset="0"/>
                </a:rPr>
                <a:t>з.д.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43949FF-F5C0-406B-8282-20612002B31D}"/>
              </a:ext>
            </a:extLst>
          </p:cNvPr>
          <p:cNvGrpSpPr/>
          <p:nvPr/>
        </p:nvGrpSpPr>
        <p:grpSpPr>
          <a:xfrm>
            <a:off x="7487241" y="5445771"/>
            <a:ext cx="2373972" cy="986737"/>
            <a:chOff x="7631796" y="5184642"/>
            <a:chExt cx="3447171" cy="1083205"/>
          </a:xfrm>
        </p:grpSpPr>
        <p:sp>
          <p:nvSpPr>
            <p:cNvPr id="58" name="Rounded Rectangle 97">
              <a:extLst>
                <a:ext uri="{FF2B5EF4-FFF2-40B4-BE49-F238E27FC236}">
                  <a16:creationId xmlns:a16="http://schemas.microsoft.com/office/drawing/2014/main" id="{BCBFF014-2197-4C26-A117-6C36D7FAECB9}"/>
                </a:ext>
              </a:extLst>
            </p:cNvPr>
            <p:cNvSpPr/>
            <p:nvPr/>
          </p:nvSpPr>
          <p:spPr>
            <a:xfrm>
              <a:off x="7831795" y="5184642"/>
              <a:ext cx="3047173" cy="1083205"/>
            </a:xfrm>
            <a:prstGeom prst="roundRect">
              <a:avLst>
                <a:gd name="adj" fmla="val 6628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B026193F-4240-4508-8D6C-757FFF1A5AC4}"/>
                </a:ext>
              </a:extLst>
            </p:cNvPr>
            <p:cNvSpPr txBox="1"/>
            <p:nvPr/>
          </p:nvSpPr>
          <p:spPr>
            <a:xfrm>
              <a:off x="7631796" y="5253231"/>
              <a:ext cx="3447171" cy="946025"/>
            </a:xfrm>
            <a:prstGeom prst="rect">
              <a:avLst/>
            </a:prstGeom>
            <a:noFill/>
          </p:spPr>
          <p:txBody>
            <a:bodyPr wrap="square" lIns="0" tIns="45720" rIns="0" bIns="4572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БЛИЖНИЙ ВОСТОК, СЕВЕРНАЯ АФРИКА</a:t>
              </a:r>
              <a:br>
                <a:rPr kumimoji="0" lang="ru-RU" sz="1600" b="0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</a:rPr>
              </a:br>
              <a:r>
                <a:rPr kumimoji="0" lang="ru-RU" sz="1100" b="0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с NILESA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7/8</a:t>
              </a:r>
              <a:r>
                <a:rPr kumimoji="0" lang="ru-RU" sz="1100" b="0" i="0" u="none" strike="noStrike" cap="none" normalizeH="0" baseline="3000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° </a:t>
              </a:r>
              <a:r>
                <a:rPr kumimoji="0" lang="ru-RU" sz="1100" b="0" i="0" u="none" strike="noStrike" cap="none" normalizeH="0" baseline="0" noProof="0" dirty="0" err="1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з.д</a:t>
              </a:r>
              <a:r>
                <a:rPr kumimoji="0" lang="ru-RU" sz="1100" b="0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. и 7° </a:t>
              </a:r>
              <a:r>
                <a:rPr kumimoji="0" lang="ru-RU" sz="1100" b="0" i="0" u="none" strike="noStrike" cap="none" normalizeH="0" baseline="0" noProof="0" dirty="0" err="1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в.д</a:t>
              </a:r>
              <a:r>
                <a:rPr kumimoji="0" lang="ru-RU" sz="1100" b="0" i="0" u="none" strike="noStrike" cap="none" normalizeH="0" baseline="0" noProof="0" dirty="0">
                  <a:ln>
                    <a:noFill/>
                  </a:ln>
                  <a:solidFill>
                    <a:schemeClr val="accent5"/>
                  </a:solidFill>
                  <a:uLnTx/>
                  <a:uFillTx/>
                  <a:latin typeface="Verdana" panose="020B0604030504040204" pitchFamily="34" charset="0"/>
                </a:rPr>
                <a:t>.</a:t>
              </a:r>
            </a:p>
          </p:txBody>
        </p:sp>
      </p:grpSp>
      <p:sp>
        <p:nvSpPr>
          <p:cNvPr id="60" name="Freeform 454">
            <a:extLst>
              <a:ext uri="{FF2B5EF4-FFF2-40B4-BE49-F238E27FC236}">
                <a16:creationId xmlns:a16="http://schemas.microsoft.com/office/drawing/2014/main" id="{7278ECB6-9464-43A4-9019-26A4CF0BA638}"/>
              </a:ext>
            </a:extLst>
          </p:cNvPr>
          <p:cNvSpPr/>
          <p:nvPr/>
        </p:nvSpPr>
        <p:spPr>
          <a:xfrm>
            <a:off x="7536375" y="4021005"/>
            <a:ext cx="1147262" cy="1352624"/>
          </a:xfrm>
          <a:custGeom>
            <a:avLst/>
            <a:gdLst>
              <a:gd name="connsiteX0" fmla="*/ 784860 w 784860"/>
              <a:gd name="connsiteY0" fmla="*/ 1371600 h 1371600"/>
              <a:gd name="connsiteX1" fmla="*/ 784860 w 784860"/>
              <a:gd name="connsiteY1" fmla="*/ 441960 h 1371600"/>
              <a:gd name="connsiteX2" fmla="*/ 0 w 784860"/>
              <a:gd name="connsiteY2" fmla="*/ 0 h 1371600"/>
              <a:gd name="connsiteX0" fmla="*/ 784860 w 784860"/>
              <a:gd name="connsiteY0" fmla="*/ 1051560 h 1051560"/>
              <a:gd name="connsiteX1" fmla="*/ 784860 w 784860"/>
              <a:gd name="connsiteY1" fmla="*/ 441960 h 1051560"/>
              <a:gd name="connsiteX2" fmla="*/ 0 w 784860"/>
              <a:gd name="connsiteY2" fmla="*/ 0 h 1051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84860" h="1051560">
                <a:moveTo>
                  <a:pt x="784860" y="1051560"/>
                </a:moveTo>
                <a:lnTo>
                  <a:pt x="784860" y="44196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accent5"/>
            </a:solidFill>
            <a:headEnd type="oval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1" name="Freeform 455">
            <a:extLst>
              <a:ext uri="{FF2B5EF4-FFF2-40B4-BE49-F238E27FC236}">
                <a16:creationId xmlns:a16="http://schemas.microsoft.com/office/drawing/2014/main" id="{4CDC17FB-7845-44BA-9F59-D45B4CC2917B}"/>
              </a:ext>
            </a:extLst>
          </p:cNvPr>
          <p:cNvSpPr/>
          <p:nvPr/>
        </p:nvSpPr>
        <p:spPr>
          <a:xfrm>
            <a:off x="5757730" y="5248685"/>
            <a:ext cx="645548" cy="284597"/>
          </a:xfrm>
          <a:custGeom>
            <a:avLst/>
            <a:gdLst>
              <a:gd name="connsiteX0" fmla="*/ 708660 w 708660"/>
              <a:gd name="connsiteY0" fmla="*/ 0 h 434340"/>
              <a:gd name="connsiteX1" fmla="*/ 0 w 708660"/>
              <a:gd name="connsiteY1" fmla="*/ 0 h 434340"/>
              <a:gd name="connsiteX2" fmla="*/ 0 w 708660"/>
              <a:gd name="connsiteY2" fmla="*/ 434340 h 434340"/>
              <a:gd name="connsiteX0" fmla="*/ 708660 w 708660"/>
              <a:gd name="connsiteY0" fmla="*/ 0 h 312420"/>
              <a:gd name="connsiteX1" fmla="*/ 0 w 708660"/>
              <a:gd name="connsiteY1" fmla="*/ 0 h 312420"/>
              <a:gd name="connsiteX2" fmla="*/ 0 w 708660"/>
              <a:gd name="connsiteY2" fmla="*/ 312420 h 312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08660" h="312420">
                <a:moveTo>
                  <a:pt x="708660" y="0"/>
                </a:moveTo>
                <a:lnTo>
                  <a:pt x="0" y="0"/>
                </a:lnTo>
                <a:lnTo>
                  <a:pt x="0" y="312420"/>
                </a:lnTo>
              </a:path>
            </a:pathLst>
          </a:custGeom>
          <a:noFill/>
          <a:ln>
            <a:solidFill>
              <a:schemeClr val="accent5"/>
            </a:solidFill>
            <a:headEnd type="none"/>
            <a:tailEnd type="oval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2" name="Freeform 467">
            <a:extLst>
              <a:ext uri="{FF2B5EF4-FFF2-40B4-BE49-F238E27FC236}">
                <a16:creationId xmlns:a16="http://schemas.microsoft.com/office/drawing/2014/main" id="{64F16F5B-35CA-46B5-A773-1C0175272000}"/>
              </a:ext>
            </a:extLst>
          </p:cNvPr>
          <p:cNvSpPr/>
          <p:nvPr/>
        </p:nvSpPr>
        <p:spPr>
          <a:xfrm>
            <a:off x="2741970" y="3896303"/>
            <a:ext cx="319303" cy="701079"/>
          </a:xfrm>
          <a:custGeom>
            <a:avLst/>
            <a:gdLst>
              <a:gd name="connsiteX0" fmla="*/ 0 w 350520"/>
              <a:gd name="connsiteY0" fmla="*/ 769620 h 769620"/>
              <a:gd name="connsiteX1" fmla="*/ 0 w 350520"/>
              <a:gd name="connsiteY1" fmla="*/ 350520 h 769620"/>
              <a:gd name="connsiteX2" fmla="*/ 350520 w 350520"/>
              <a:gd name="connsiteY2" fmla="*/ 0 h 769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0520" h="769620">
                <a:moveTo>
                  <a:pt x="0" y="769620"/>
                </a:moveTo>
                <a:lnTo>
                  <a:pt x="0" y="350520"/>
                </a:lnTo>
                <a:lnTo>
                  <a:pt x="350520" y="0"/>
                </a:lnTo>
              </a:path>
            </a:pathLst>
          </a:custGeom>
          <a:noFill/>
          <a:ln>
            <a:solidFill>
              <a:schemeClr val="accent2"/>
            </a:solidFill>
            <a:headEnd type="oval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891543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ZoneTexte 37"/>
          <p:cNvSpPr txBox="1"/>
          <p:nvPr/>
        </p:nvSpPr>
        <p:spPr>
          <a:xfrm>
            <a:off x="438798" y="1859936"/>
            <a:ext cx="6283285" cy="904181"/>
          </a:xfrm>
          <a:prstGeom prst="rect">
            <a:avLst/>
          </a:prstGeom>
        </p:spPr>
        <p:txBody>
          <a:bodyPr vert="horz" wrap="square" lIns="0" tIns="45719" rIns="0" bIns="45719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1" i="0" u="none" strike="noStrike" kern="0" cap="none" spc="0" normalizeH="0" baseline="0" noProof="0" dirty="0">
              <a:ln>
                <a:noFill/>
              </a:ln>
              <a:solidFill>
                <a:srgbClr val="003C7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ZoneTexte 38"/>
          <p:cNvSpPr txBox="1"/>
          <p:nvPr/>
        </p:nvSpPr>
        <p:spPr>
          <a:xfrm>
            <a:off x="438799" y="2906312"/>
            <a:ext cx="6349960" cy="857941"/>
          </a:xfrm>
          <a:prstGeom prst="rect">
            <a:avLst/>
          </a:prstGeom>
        </p:spPr>
        <p:txBody>
          <a:bodyPr vert="horz" wrap="square" lIns="0" tIns="45719" rIns="0" bIns="45719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1" i="0" u="none" strike="noStrike" kern="0" cap="none" spc="0" normalizeH="0" baseline="0" noProof="0" dirty="0">
              <a:ln>
                <a:noFill/>
              </a:ln>
              <a:solidFill>
                <a:srgbClr val="003C7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ZoneTexte 39"/>
          <p:cNvSpPr txBox="1"/>
          <p:nvPr/>
        </p:nvSpPr>
        <p:spPr>
          <a:xfrm>
            <a:off x="438799" y="3979889"/>
            <a:ext cx="6349960" cy="826656"/>
          </a:xfrm>
          <a:prstGeom prst="rect">
            <a:avLst/>
          </a:prstGeom>
        </p:spPr>
        <p:txBody>
          <a:bodyPr vert="horz" wrap="square" lIns="0" tIns="45719" rIns="0" bIns="45719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4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1" i="0" u="none" strike="noStrike" kern="0" cap="none" spc="0" normalizeH="0" baseline="0" noProof="0" dirty="0">
              <a:ln>
                <a:noFill/>
              </a:ln>
              <a:solidFill>
                <a:srgbClr val="003C7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650623" y="1360757"/>
            <a:ext cx="10437451" cy="4913466"/>
            <a:chOff x="189284" y="1160700"/>
            <a:chExt cx="11457865" cy="5393829"/>
          </a:xfrm>
          <a:solidFill>
            <a:schemeClr val="bg1">
              <a:lumMod val="75000"/>
            </a:schemeClr>
          </a:solidFill>
        </p:grpSpPr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6685048" y="1160700"/>
              <a:ext cx="4962101" cy="2338909"/>
            </a:xfrm>
            <a:custGeom>
              <a:avLst/>
              <a:gdLst>
                <a:gd name="connsiteX0" fmla="*/ 1026517 w 3792537"/>
                <a:gd name="connsiteY0" fmla="*/ 125413 h 2030413"/>
                <a:gd name="connsiteX1" fmla="*/ 1073291 w 3792537"/>
                <a:gd name="connsiteY1" fmla="*/ 133243 h 2030413"/>
                <a:gd name="connsiteX2" fmla="*/ 1081087 w 3792537"/>
                <a:gd name="connsiteY2" fmla="*/ 164561 h 2030413"/>
                <a:gd name="connsiteX3" fmla="*/ 1026517 w 3792537"/>
                <a:gd name="connsiteY3" fmla="*/ 219369 h 2030413"/>
                <a:gd name="connsiteX4" fmla="*/ 971947 w 3792537"/>
                <a:gd name="connsiteY4" fmla="*/ 250688 h 2030413"/>
                <a:gd name="connsiteX5" fmla="*/ 932968 w 3792537"/>
                <a:gd name="connsiteY5" fmla="*/ 274177 h 2030413"/>
                <a:gd name="connsiteX6" fmla="*/ 893989 w 3792537"/>
                <a:gd name="connsiteY6" fmla="*/ 321155 h 2030413"/>
                <a:gd name="connsiteX7" fmla="*/ 831623 w 3792537"/>
                <a:gd name="connsiteY7" fmla="*/ 360303 h 2030413"/>
                <a:gd name="connsiteX8" fmla="*/ 769257 w 3792537"/>
                <a:gd name="connsiteY8" fmla="*/ 493408 h 2030413"/>
                <a:gd name="connsiteX9" fmla="*/ 745870 w 3792537"/>
                <a:gd name="connsiteY9" fmla="*/ 549521 h 2030413"/>
                <a:gd name="connsiteX10" fmla="*/ 769257 w 3792537"/>
                <a:gd name="connsiteY10" fmla="*/ 643477 h 2030413"/>
                <a:gd name="connsiteX11" fmla="*/ 800440 w 3792537"/>
                <a:gd name="connsiteY11" fmla="*/ 682625 h 2030413"/>
                <a:gd name="connsiteX12" fmla="*/ 738074 w 3792537"/>
                <a:gd name="connsiteY12" fmla="*/ 674795 h 2030413"/>
                <a:gd name="connsiteX13" fmla="*/ 714687 w 3792537"/>
                <a:gd name="connsiteY13" fmla="*/ 666966 h 2030413"/>
                <a:gd name="connsiteX14" fmla="*/ 706891 w 3792537"/>
                <a:gd name="connsiteY14" fmla="*/ 651306 h 2030413"/>
                <a:gd name="connsiteX15" fmla="*/ 667912 w 3792537"/>
                <a:gd name="connsiteY15" fmla="*/ 635647 h 2030413"/>
                <a:gd name="connsiteX16" fmla="*/ 644525 w 3792537"/>
                <a:gd name="connsiteY16" fmla="*/ 580839 h 2030413"/>
                <a:gd name="connsiteX17" fmla="*/ 667912 w 3792537"/>
                <a:gd name="connsiteY17" fmla="*/ 549521 h 2030413"/>
                <a:gd name="connsiteX18" fmla="*/ 660117 w 3792537"/>
                <a:gd name="connsiteY18" fmla="*/ 510372 h 2030413"/>
                <a:gd name="connsiteX19" fmla="*/ 683504 w 3792537"/>
                <a:gd name="connsiteY19" fmla="*/ 477749 h 2030413"/>
                <a:gd name="connsiteX20" fmla="*/ 699095 w 3792537"/>
                <a:gd name="connsiteY20" fmla="*/ 438600 h 2030413"/>
                <a:gd name="connsiteX21" fmla="*/ 699095 w 3792537"/>
                <a:gd name="connsiteY21" fmla="*/ 407281 h 2030413"/>
                <a:gd name="connsiteX22" fmla="*/ 730278 w 3792537"/>
                <a:gd name="connsiteY22" fmla="*/ 368133 h 2030413"/>
                <a:gd name="connsiteX23" fmla="*/ 753666 w 3792537"/>
                <a:gd name="connsiteY23" fmla="*/ 344644 h 2030413"/>
                <a:gd name="connsiteX24" fmla="*/ 761461 w 3792537"/>
                <a:gd name="connsiteY24" fmla="*/ 305496 h 2030413"/>
                <a:gd name="connsiteX25" fmla="*/ 792644 w 3792537"/>
                <a:gd name="connsiteY25" fmla="*/ 289836 h 2030413"/>
                <a:gd name="connsiteX26" fmla="*/ 855010 w 3792537"/>
                <a:gd name="connsiteY26" fmla="*/ 227199 h 2030413"/>
                <a:gd name="connsiteX27" fmla="*/ 870602 w 3792537"/>
                <a:gd name="connsiteY27" fmla="*/ 203710 h 2030413"/>
                <a:gd name="connsiteX28" fmla="*/ 886193 w 3792537"/>
                <a:gd name="connsiteY28" fmla="*/ 188050 h 2030413"/>
                <a:gd name="connsiteX29" fmla="*/ 932968 w 3792537"/>
                <a:gd name="connsiteY29" fmla="*/ 188050 h 2030413"/>
                <a:gd name="connsiteX30" fmla="*/ 971947 w 3792537"/>
                <a:gd name="connsiteY30" fmla="*/ 180221 h 2030413"/>
                <a:gd name="connsiteX31" fmla="*/ 995334 w 3792537"/>
                <a:gd name="connsiteY31" fmla="*/ 156732 h 2030413"/>
                <a:gd name="connsiteX32" fmla="*/ 1892343 w 3792537"/>
                <a:gd name="connsiteY32" fmla="*/ 0 h 2030413"/>
                <a:gd name="connsiteX33" fmla="*/ 1955159 w 3792537"/>
                <a:gd name="connsiteY33" fmla="*/ 7809 h 2030413"/>
                <a:gd name="connsiteX34" fmla="*/ 1994419 w 3792537"/>
                <a:gd name="connsiteY34" fmla="*/ 62474 h 2030413"/>
                <a:gd name="connsiteX35" fmla="*/ 1994419 w 3792537"/>
                <a:gd name="connsiteY35" fmla="*/ 85902 h 2030413"/>
                <a:gd name="connsiteX36" fmla="*/ 2041531 w 3792537"/>
                <a:gd name="connsiteY36" fmla="*/ 93711 h 2030413"/>
                <a:gd name="connsiteX37" fmla="*/ 2104348 w 3792537"/>
                <a:gd name="connsiteY37" fmla="*/ 148376 h 2030413"/>
                <a:gd name="connsiteX38" fmla="*/ 2120052 w 3792537"/>
                <a:gd name="connsiteY38" fmla="*/ 226469 h 2030413"/>
                <a:gd name="connsiteX39" fmla="*/ 2088644 w 3792537"/>
                <a:gd name="connsiteY39" fmla="*/ 273325 h 2030413"/>
                <a:gd name="connsiteX40" fmla="*/ 2057236 w 3792537"/>
                <a:gd name="connsiteY40" fmla="*/ 304562 h 2030413"/>
                <a:gd name="connsiteX41" fmla="*/ 2002271 w 3792537"/>
                <a:gd name="connsiteY41" fmla="*/ 374846 h 2030413"/>
                <a:gd name="connsiteX42" fmla="*/ 1970863 w 3792537"/>
                <a:gd name="connsiteY42" fmla="*/ 398273 h 2030413"/>
                <a:gd name="connsiteX43" fmla="*/ 1939455 w 3792537"/>
                <a:gd name="connsiteY43" fmla="*/ 445129 h 2030413"/>
                <a:gd name="connsiteX44" fmla="*/ 1986567 w 3792537"/>
                <a:gd name="connsiteY44" fmla="*/ 406083 h 2030413"/>
                <a:gd name="connsiteX45" fmla="*/ 2033679 w 3792537"/>
                <a:gd name="connsiteY45" fmla="*/ 382655 h 2030413"/>
                <a:gd name="connsiteX46" fmla="*/ 2072940 w 3792537"/>
                <a:gd name="connsiteY46" fmla="*/ 343608 h 2030413"/>
                <a:gd name="connsiteX47" fmla="*/ 2104348 w 3792537"/>
                <a:gd name="connsiteY47" fmla="*/ 351418 h 2030413"/>
                <a:gd name="connsiteX48" fmla="*/ 2127904 w 3792537"/>
                <a:gd name="connsiteY48" fmla="*/ 382655 h 2030413"/>
                <a:gd name="connsiteX49" fmla="*/ 2135756 w 3792537"/>
                <a:gd name="connsiteY49" fmla="*/ 406083 h 2030413"/>
                <a:gd name="connsiteX50" fmla="*/ 2175016 w 3792537"/>
                <a:gd name="connsiteY50" fmla="*/ 382655 h 2030413"/>
                <a:gd name="connsiteX51" fmla="*/ 2245685 w 3792537"/>
                <a:gd name="connsiteY51" fmla="*/ 382655 h 2030413"/>
                <a:gd name="connsiteX52" fmla="*/ 2253537 w 3792537"/>
                <a:gd name="connsiteY52" fmla="*/ 413892 h 2030413"/>
                <a:gd name="connsiteX53" fmla="*/ 2292797 w 3792537"/>
                <a:gd name="connsiteY53" fmla="*/ 429511 h 2030413"/>
                <a:gd name="connsiteX54" fmla="*/ 2363465 w 3792537"/>
                <a:gd name="connsiteY54" fmla="*/ 429511 h 2030413"/>
                <a:gd name="connsiteX55" fmla="*/ 2379169 w 3792537"/>
                <a:gd name="connsiteY55" fmla="*/ 390464 h 2030413"/>
                <a:gd name="connsiteX56" fmla="*/ 2402725 w 3792537"/>
                <a:gd name="connsiteY56" fmla="*/ 359227 h 2030413"/>
                <a:gd name="connsiteX57" fmla="*/ 2434134 w 3792537"/>
                <a:gd name="connsiteY57" fmla="*/ 382655 h 2030413"/>
                <a:gd name="connsiteX58" fmla="*/ 2449838 w 3792537"/>
                <a:gd name="connsiteY58" fmla="*/ 398273 h 2030413"/>
                <a:gd name="connsiteX59" fmla="*/ 2481246 w 3792537"/>
                <a:gd name="connsiteY59" fmla="*/ 398273 h 2030413"/>
                <a:gd name="connsiteX60" fmla="*/ 2512654 w 3792537"/>
                <a:gd name="connsiteY60" fmla="*/ 406083 h 2030413"/>
                <a:gd name="connsiteX61" fmla="*/ 2536210 w 3792537"/>
                <a:gd name="connsiteY61" fmla="*/ 445129 h 2030413"/>
                <a:gd name="connsiteX62" fmla="*/ 2536210 w 3792537"/>
                <a:gd name="connsiteY62" fmla="*/ 468557 h 2030413"/>
                <a:gd name="connsiteX63" fmla="*/ 2512654 w 3792537"/>
                <a:gd name="connsiteY63" fmla="*/ 523222 h 2030413"/>
                <a:gd name="connsiteX64" fmla="*/ 2536210 w 3792537"/>
                <a:gd name="connsiteY64" fmla="*/ 570078 h 2030413"/>
                <a:gd name="connsiteX65" fmla="*/ 2575470 w 3792537"/>
                <a:gd name="connsiteY65" fmla="*/ 609124 h 2030413"/>
                <a:gd name="connsiteX66" fmla="*/ 2599027 w 3792537"/>
                <a:gd name="connsiteY66" fmla="*/ 577887 h 2030413"/>
                <a:gd name="connsiteX67" fmla="*/ 2606879 w 3792537"/>
                <a:gd name="connsiteY67" fmla="*/ 531031 h 2030413"/>
                <a:gd name="connsiteX68" fmla="*/ 2638287 w 3792537"/>
                <a:gd name="connsiteY68" fmla="*/ 554459 h 2030413"/>
                <a:gd name="connsiteX69" fmla="*/ 2669695 w 3792537"/>
                <a:gd name="connsiteY69" fmla="*/ 562268 h 2030413"/>
                <a:gd name="connsiteX70" fmla="*/ 2685399 w 3792537"/>
                <a:gd name="connsiteY70" fmla="*/ 546650 h 2030413"/>
                <a:gd name="connsiteX71" fmla="*/ 2724659 w 3792537"/>
                <a:gd name="connsiteY71" fmla="*/ 562268 h 2030413"/>
                <a:gd name="connsiteX72" fmla="*/ 2756067 w 3792537"/>
                <a:gd name="connsiteY72" fmla="*/ 570078 h 2030413"/>
                <a:gd name="connsiteX73" fmla="*/ 2803180 w 3792537"/>
                <a:gd name="connsiteY73" fmla="*/ 554459 h 2030413"/>
                <a:gd name="connsiteX74" fmla="*/ 2795328 w 3792537"/>
                <a:gd name="connsiteY74" fmla="*/ 507603 h 2030413"/>
                <a:gd name="connsiteX75" fmla="*/ 2834588 w 3792537"/>
                <a:gd name="connsiteY75" fmla="*/ 476366 h 2030413"/>
                <a:gd name="connsiteX76" fmla="*/ 2842440 w 3792537"/>
                <a:gd name="connsiteY76" fmla="*/ 460748 h 2030413"/>
                <a:gd name="connsiteX77" fmla="*/ 3030889 w 3792537"/>
                <a:gd name="connsiteY77" fmla="*/ 499794 h 2030413"/>
                <a:gd name="connsiteX78" fmla="*/ 3030889 w 3792537"/>
                <a:gd name="connsiteY78" fmla="*/ 538840 h 2030413"/>
                <a:gd name="connsiteX79" fmla="*/ 3078001 w 3792537"/>
                <a:gd name="connsiteY79" fmla="*/ 562268 h 2030413"/>
                <a:gd name="connsiteX80" fmla="*/ 3085853 w 3792537"/>
                <a:gd name="connsiteY80" fmla="*/ 585696 h 2030413"/>
                <a:gd name="connsiteX81" fmla="*/ 3093705 w 3792537"/>
                <a:gd name="connsiteY81" fmla="*/ 601315 h 2030413"/>
                <a:gd name="connsiteX82" fmla="*/ 3164374 w 3792537"/>
                <a:gd name="connsiteY82" fmla="*/ 601315 h 2030413"/>
                <a:gd name="connsiteX83" fmla="*/ 3242894 w 3792537"/>
                <a:gd name="connsiteY83" fmla="*/ 601315 h 2030413"/>
                <a:gd name="connsiteX84" fmla="*/ 3290006 w 3792537"/>
                <a:gd name="connsiteY84" fmla="*/ 624743 h 2030413"/>
                <a:gd name="connsiteX85" fmla="*/ 3290006 w 3792537"/>
                <a:gd name="connsiteY85" fmla="*/ 679408 h 2030413"/>
                <a:gd name="connsiteX86" fmla="*/ 3321415 w 3792537"/>
                <a:gd name="connsiteY86" fmla="*/ 702835 h 2030413"/>
                <a:gd name="connsiteX87" fmla="*/ 3344971 w 3792537"/>
                <a:gd name="connsiteY87" fmla="*/ 695026 h 2030413"/>
                <a:gd name="connsiteX88" fmla="*/ 3384231 w 3792537"/>
                <a:gd name="connsiteY88" fmla="*/ 695026 h 2030413"/>
                <a:gd name="connsiteX89" fmla="*/ 3431343 w 3792537"/>
                <a:gd name="connsiteY89" fmla="*/ 702835 h 2030413"/>
                <a:gd name="connsiteX90" fmla="*/ 3454899 w 3792537"/>
                <a:gd name="connsiteY90" fmla="*/ 695026 h 2030413"/>
                <a:gd name="connsiteX91" fmla="*/ 3494159 w 3792537"/>
                <a:gd name="connsiteY91" fmla="*/ 695026 h 2030413"/>
                <a:gd name="connsiteX92" fmla="*/ 3494159 w 3792537"/>
                <a:gd name="connsiteY92" fmla="*/ 710645 h 2030413"/>
                <a:gd name="connsiteX93" fmla="*/ 3517715 w 3792537"/>
                <a:gd name="connsiteY93" fmla="*/ 734073 h 2030413"/>
                <a:gd name="connsiteX94" fmla="*/ 3541271 w 3792537"/>
                <a:gd name="connsiteY94" fmla="*/ 757500 h 2030413"/>
                <a:gd name="connsiteX95" fmla="*/ 3572680 w 3792537"/>
                <a:gd name="connsiteY95" fmla="*/ 741882 h 2030413"/>
                <a:gd name="connsiteX96" fmla="*/ 3564828 w 3792537"/>
                <a:gd name="connsiteY96" fmla="*/ 679408 h 2030413"/>
                <a:gd name="connsiteX97" fmla="*/ 3580532 w 3792537"/>
                <a:gd name="connsiteY97" fmla="*/ 679408 h 2030413"/>
                <a:gd name="connsiteX98" fmla="*/ 3604088 w 3792537"/>
                <a:gd name="connsiteY98" fmla="*/ 679408 h 2030413"/>
                <a:gd name="connsiteX99" fmla="*/ 3635496 w 3792537"/>
                <a:gd name="connsiteY99" fmla="*/ 687217 h 2030413"/>
                <a:gd name="connsiteX100" fmla="*/ 3690461 w 3792537"/>
                <a:gd name="connsiteY100" fmla="*/ 695026 h 2030413"/>
                <a:gd name="connsiteX101" fmla="*/ 3721869 w 3792537"/>
                <a:gd name="connsiteY101" fmla="*/ 702835 h 2030413"/>
                <a:gd name="connsiteX102" fmla="*/ 3753277 w 3792537"/>
                <a:gd name="connsiteY102" fmla="*/ 734073 h 2030413"/>
                <a:gd name="connsiteX103" fmla="*/ 3768981 w 3792537"/>
                <a:gd name="connsiteY103" fmla="*/ 741882 h 2030413"/>
                <a:gd name="connsiteX104" fmla="*/ 3792537 w 3792537"/>
                <a:gd name="connsiteY104" fmla="*/ 749691 h 2030413"/>
                <a:gd name="connsiteX105" fmla="*/ 3784685 w 3792537"/>
                <a:gd name="connsiteY105" fmla="*/ 991779 h 2030413"/>
                <a:gd name="connsiteX106" fmla="*/ 3745425 w 3792537"/>
                <a:gd name="connsiteY106" fmla="*/ 1007397 h 2030413"/>
                <a:gd name="connsiteX107" fmla="*/ 3721869 w 3792537"/>
                <a:gd name="connsiteY107" fmla="*/ 1023016 h 2030413"/>
                <a:gd name="connsiteX108" fmla="*/ 3753277 w 3792537"/>
                <a:gd name="connsiteY108" fmla="*/ 1054253 h 2030413"/>
                <a:gd name="connsiteX109" fmla="*/ 3761129 w 3792537"/>
                <a:gd name="connsiteY109" fmla="*/ 1093299 h 2030413"/>
                <a:gd name="connsiteX110" fmla="*/ 3768981 w 3792537"/>
                <a:gd name="connsiteY110" fmla="*/ 1124537 h 2030413"/>
                <a:gd name="connsiteX111" fmla="*/ 3768981 w 3792537"/>
                <a:gd name="connsiteY111" fmla="*/ 1140155 h 2030413"/>
                <a:gd name="connsiteX112" fmla="*/ 3737573 w 3792537"/>
                <a:gd name="connsiteY112" fmla="*/ 1132346 h 2030413"/>
                <a:gd name="connsiteX113" fmla="*/ 3706165 w 3792537"/>
                <a:gd name="connsiteY113" fmla="*/ 1132346 h 2030413"/>
                <a:gd name="connsiteX114" fmla="*/ 3643348 w 3792537"/>
                <a:gd name="connsiteY114" fmla="*/ 1163583 h 2030413"/>
                <a:gd name="connsiteX115" fmla="*/ 3588384 w 3792537"/>
                <a:gd name="connsiteY115" fmla="*/ 1218248 h 2030413"/>
                <a:gd name="connsiteX116" fmla="*/ 3564828 w 3792537"/>
                <a:gd name="connsiteY116" fmla="*/ 1226057 h 2030413"/>
                <a:gd name="connsiteX117" fmla="*/ 3549124 w 3792537"/>
                <a:gd name="connsiteY117" fmla="*/ 1265104 h 2030413"/>
                <a:gd name="connsiteX118" fmla="*/ 3502011 w 3792537"/>
                <a:gd name="connsiteY118" fmla="*/ 1226057 h 2030413"/>
                <a:gd name="connsiteX119" fmla="*/ 3447047 w 3792537"/>
                <a:gd name="connsiteY119" fmla="*/ 1265104 h 2030413"/>
                <a:gd name="connsiteX120" fmla="*/ 3439195 w 3792537"/>
                <a:gd name="connsiteY120" fmla="*/ 1249485 h 2030413"/>
                <a:gd name="connsiteX121" fmla="*/ 3415639 w 3792537"/>
                <a:gd name="connsiteY121" fmla="*/ 1257294 h 2030413"/>
                <a:gd name="connsiteX122" fmla="*/ 3392083 w 3792537"/>
                <a:gd name="connsiteY122" fmla="*/ 1265104 h 2030413"/>
                <a:gd name="connsiteX123" fmla="*/ 3376379 w 3792537"/>
                <a:gd name="connsiteY123" fmla="*/ 1288532 h 2030413"/>
                <a:gd name="connsiteX124" fmla="*/ 3344971 w 3792537"/>
                <a:gd name="connsiteY124" fmla="*/ 1358815 h 2030413"/>
                <a:gd name="connsiteX125" fmla="*/ 3368527 w 3792537"/>
                <a:gd name="connsiteY125" fmla="*/ 1366624 h 2030413"/>
                <a:gd name="connsiteX126" fmla="*/ 3368527 w 3792537"/>
                <a:gd name="connsiteY126" fmla="*/ 1382243 h 2030413"/>
                <a:gd name="connsiteX127" fmla="*/ 3352823 w 3792537"/>
                <a:gd name="connsiteY127" fmla="*/ 1436908 h 2030413"/>
                <a:gd name="connsiteX128" fmla="*/ 3344971 w 3792537"/>
                <a:gd name="connsiteY128" fmla="*/ 1452526 h 2030413"/>
                <a:gd name="connsiteX129" fmla="*/ 3344971 w 3792537"/>
                <a:gd name="connsiteY129" fmla="*/ 1491573 h 2030413"/>
                <a:gd name="connsiteX130" fmla="*/ 3313562 w 3792537"/>
                <a:gd name="connsiteY130" fmla="*/ 1507191 h 2030413"/>
                <a:gd name="connsiteX131" fmla="*/ 3297858 w 3792537"/>
                <a:gd name="connsiteY131" fmla="*/ 1530619 h 2030413"/>
                <a:gd name="connsiteX132" fmla="*/ 3282154 w 3792537"/>
                <a:gd name="connsiteY132" fmla="*/ 1569666 h 2030413"/>
                <a:gd name="connsiteX133" fmla="*/ 3266450 w 3792537"/>
                <a:gd name="connsiteY133" fmla="*/ 1577475 h 2030413"/>
                <a:gd name="connsiteX134" fmla="*/ 3219338 w 3792537"/>
                <a:gd name="connsiteY134" fmla="*/ 1639949 h 2030413"/>
                <a:gd name="connsiteX135" fmla="*/ 3180078 w 3792537"/>
                <a:gd name="connsiteY135" fmla="*/ 1452526 h 2030413"/>
                <a:gd name="connsiteX136" fmla="*/ 3211486 w 3792537"/>
                <a:gd name="connsiteY136" fmla="*/ 1366624 h 2030413"/>
                <a:gd name="connsiteX137" fmla="*/ 3227190 w 3792537"/>
                <a:gd name="connsiteY137" fmla="*/ 1358815 h 2030413"/>
                <a:gd name="connsiteX138" fmla="*/ 3266450 w 3792537"/>
                <a:gd name="connsiteY138" fmla="*/ 1335387 h 2030413"/>
                <a:gd name="connsiteX139" fmla="*/ 3290006 w 3792537"/>
                <a:gd name="connsiteY139" fmla="*/ 1296341 h 2030413"/>
                <a:gd name="connsiteX140" fmla="*/ 3321415 w 3792537"/>
                <a:gd name="connsiteY140" fmla="*/ 1249485 h 2030413"/>
                <a:gd name="connsiteX141" fmla="*/ 3352823 w 3792537"/>
                <a:gd name="connsiteY141" fmla="*/ 1233867 h 2030413"/>
                <a:gd name="connsiteX142" fmla="*/ 3399935 w 3792537"/>
                <a:gd name="connsiteY142" fmla="*/ 1187011 h 2030413"/>
                <a:gd name="connsiteX143" fmla="*/ 3399935 w 3792537"/>
                <a:gd name="connsiteY143" fmla="*/ 1124537 h 2030413"/>
                <a:gd name="connsiteX144" fmla="*/ 3344971 w 3792537"/>
                <a:gd name="connsiteY144" fmla="*/ 1179202 h 2030413"/>
                <a:gd name="connsiteX145" fmla="*/ 3305710 w 3792537"/>
                <a:gd name="connsiteY145" fmla="*/ 1210439 h 2030413"/>
                <a:gd name="connsiteX146" fmla="*/ 3290006 w 3792537"/>
                <a:gd name="connsiteY146" fmla="*/ 1171392 h 2030413"/>
                <a:gd name="connsiteX147" fmla="*/ 3227190 w 3792537"/>
                <a:gd name="connsiteY147" fmla="*/ 1163583 h 2030413"/>
                <a:gd name="connsiteX148" fmla="*/ 3187930 w 3792537"/>
                <a:gd name="connsiteY148" fmla="*/ 1194820 h 2030413"/>
                <a:gd name="connsiteX149" fmla="*/ 3164374 w 3792537"/>
                <a:gd name="connsiteY149" fmla="*/ 1241676 h 2030413"/>
                <a:gd name="connsiteX150" fmla="*/ 3156522 w 3792537"/>
                <a:gd name="connsiteY150" fmla="*/ 1280722 h 2030413"/>
                <a:gd name="connsiteX151" fmla="*/ 3164374 w 3792537"/>
                <a:gd name="connsiteY151" fmla="*/ 1296341 h 2030413"/>
                <a:gd name="connsiteX152" fmla="*/ 3148670 w 3792537"/>
                <a:gd name="connsiteY152" fmla="*/ 1296341 h 2030413"/>
                <a:gd name="connsiteX153" fmla="*/ 3078001 w 3792537"/>
                <a:gd name="connsiteY153" fmla="*/ 1311959 h 2030413"/>
                <a:gd name="connsiteX154" fmla="*/ 3078001 w 3792537"/>
                <a:gd name="connsiteY154" fmla="*/ 1288532 h 2030413"/>
                <a:gd name="connsiteX155" fmla="*/ 3030889 w 3792537"/>
                <a:gd name="connsiteY155" fmla="*/ 1272913 h 2030413"/>
                <a:gd name="connsiteX156" fmla="*/ 2991629 w 3792537"/>
                <a:gd name="connsiteY156" fmla="*/ 1280722 h 2030413"/>
                <a:gd name="connsiteX157" fmla="*/ 2913108 w 3792537"/>
                <a:gd name="connsiteY157" fmla="*/ 1280722 h 2030413"/>
                <a:gd name="connsiteX158" fmla="*/ 2881700 w 3792537"/>
                <a:gd name="connsiteY158" fmla="*/ 1288532 h 2030413"/>
                <a:gd name="connsiteX159" fmla="*/ 2779624 w 3792537"/>
                <a:gd name="connsiteY159" fmla="*/ 1390052 h 2030413"/>
                <a:gd name="connsiteX160" fmla="*/ 2771771 w 3792537"/>
                <a:gd name="connsiteY160" fmla="*/ 1405671 h 2030413"/>
                <a:gd name="connsiteX161" fmla="*/ 2740363 w 3792537"/>
                <a:gd name="connsiteY161" fmla="*/ 1444717 h 2030413"/>
                <a:gd name="connsiteX162" fmla="*/ 2701103 w 3792537"/>
                <a:gd name="connsiteY162" fmla="*/ 1483764 h 2030413"/>
                <a:gd name="connsiteX163" fmla="*/ 2677547 w 3792537"/>
                <a:gd name="connsiteY163" fmla="*/ 1499382 h 2030413"/>
                <a:gd name="connsiteX164" fmla="*/ 2701103 w 3792537"/>
                <a:gd name="connsiteY164" fmla="*/ 1499382 h 2030413"/>
                <a:gd name="connsiteX165" fmla="*/ 2716807 w 3792537"/>
                <a:gd name="connsiteY165" fmla="*/ 1530619 h 2030413"/>
                <a:gd name="connsiteX166" fmla="*/ 2740363 w 3792537"/>
                <a:gd name="connsiteY166" fmla="*/ 1546238 h 2030413"/>
                <a:gd name="connsiteX167" fmla="*/ 2787476 w 3792537"/>
                <a:gd name="connsiteY167" fmla="*/ 1515001 h 2030413"/>
                <a:gd name="connsiteX168" fmla="*/ 2826736 w 3792537"/>
                <a:gd name="connsiteY168" fmla="*/ 1554047 h 2030413"/>
                <a:gd name="connsiteX169" fmla="*/ 2826736 w 3792537"/>
                <a:gd name="connsiteY169" fmla="*/ 1585284 h 2030413"/>
                <a:gd name="connsiteX170" fmla="*/ 2811032 w 3792537"/>
                <a:gd name="connsiteY170" fmla="*/ 1671186 h 2030413"/>
                <a:gd name="connsiteX171" fmla="*/ 2803180 w 3792537"/>
                <a:gd name="connsiteY171" fmla="*/ 1741470 h 2030413"/>
                <a:gd name="connsiteX172" fmla="*/ 2771771 w 3792537"/>
                <a:gd name="connsiteY172" fmla="*/ 1796135 h 2030413"/>
                <a:gd name="connsiteX173" fmla="*/ 2708955 w 3792537"/>
                <a:gd name="connsiteY173" fmla="*/ 1882037 h 2030413"/>
                <a:gd name="connsiteX174" fmla="*/ 2685399 w 3792537"/>
                <a:gd name="connsiteY174" fmla="*/ 1913274 h 2030413"/>
                <a:gd name="connsiteX175" fmla="*/ 2630435 w 3792537"/>
                <a:gd name="connsiteY175" fmla="*/ 1952320 h 2030413"/>
                <a:gd name="connsiteX176" fmla="*/ 2606879 w 3792537"/>
                <a:gd name="connsiteY176" fmla="*/ 1944511 h 2030413"/>
                <a:gd name="connsiteX177" fmla="*/ 2599027 w 3792537"/>
                <a:gd name="connsiteY177" fmla="*/ 1944511 h 2030413"/>
                <a:gd name="connsiteX178" fmla="*/ 2583322 w 3792537"/>
                <a:gd name="connsiteY178" fmla="*/ 1952320 h 2030413"/>
                <a:gd name="connsiteX179" fmla="*/ 2567618 w 3792537"/>
                <a:gd name="connsiteY179" fmla="*/ 1952320 h 2030413"/>
                <a:gd name="connsiteX180" fmla="*/ 2559766 w 3792537"/>
                <a:gd name="connsiteY180" fmla="*/ 1952320 h 2030413"/>
                <a:gd name="connsiteX181" fmla="*/ 2583322 w 3792537"/>
                <a:gd name="connsiteY181" fmla="*/ 1866418 h 2030413"/>
                <a:gd name="connsiteX182" fmla="*/ 2622583 w 3792537"/>
                <a:gd name="connsiteY182" fmla="*/ 1858609 h 2030413"/>
                <a:gd name="connsiteX183" fmla="*/ 2661843 w 3792537"/>
                <a:gd name="connsiteY183" fmla="*/ 1741470 h 2030413"/>
                <a:gd name="connsiteX184" fmla="*/ 2567618 w 3792537"/>
                <a:gd name="connsiteY184" fmla="*/ 1749279 h 2030413"/>
                <a:gd name="connsiteX185" fmla="*/ 2551914 w 3792537"/>
                <a:gd name="connsiteY185" fmla="*/ 1718042 h 2030413"/>
                <a:gd name="connsiteX186" fmla="*/ 2489098 w 3792537"/>
                <a:gd name="connsiteY186" fmla="*/ 1702423 h 2030413"/>
                <a:gd name="connsiteX187" fmla="*/ 2410577 w 3792537"/>
                <a:gd name="connsiteY187" fmla="*/ 1561856 h 2030413"/>
                <a:gd name="connsiteX188" fmla="*/ 2339909 w 3792537"/>
                <a:gd name="connsiteY188" fmla="*/ 1561856 h 2030413"/>
                <a:gd name="connsiteX189" fmla="*/ 2316353 w 3792537"/>
                <a:gd name="connsiteY189" fmla="*/ 1600903 h 2030413"/>
                <a:gd name="connsiteX190" fmla="*/ 2269241 w 3792537"/>
                <a:gd name="connsiteY190" fmla="*/ 1686805 h 2030413"/>
                <a:gd name="connsiteX191" fmla="*/ 2222128 w 3792537"/>
                <a:gd name="connsiteY191" fmla="*/ 1686805 h 2030413"/>
                <a:gd name="connsiteX192" fmla="*/ 2214276 w 3792537"/>
                <a:gd name="connsiteY192" fmla="*/ 1702423 h 2030413"/>
                <a:gd name="connsiteX193" fmla="*/ 2159312 w 3792537"/>
                <a:gd name="connsiteY193" fmla="*/ 1686805 h 2030413"/>
                <a:gd name="connsiteX194" fmla="*/ 2033679 w 3792537"/>
                <a:gd name="connsiteY194" fmla="*/ 1718042 h 2030413"/>
                <a:gd name="connsiteX195" fmla="*/ 1986567 w 3792537"/>
                <a:gd name="connsiteY195" fmla="*/ 1678996 h 2030413"/>
                <a:gd name="connsiteX196" fmla="*/ 1908047 w 3792537"/>
                <a:gd name="connsiteY196" fmla="*/ 1678996 h 2030413"/>
                <a:gd name="connsiteX197" fmla="*/ 1884491 w 3792537"/>
                <a:gd name="connsiteY197" fmla="*/ 1647758 h 2030413"/>
                <a:gd name="connsiteX198" fmla="*/ 1790266 w 3792537"/>
                <a:gd name="connsiteY198" fmla="*/ 1608712 h 2030413"/>
                <a:gd name="connsiteX199" fmla="*/ 1758858 w 3792537"/>
                <a:gd name="connsiteY199" fmla="*/ 1647758 h 2030413"/>
                <a:gd name="connsiteX200" fmla="*/ 1727450 w 3792537"/>
                <a:gd name="connsiteY200" fmla="*/ 1694614 h 2030413"/>
                <a:gd name="connsiteX201" fmla="*/ 1664633 w 3792537"/>
                <a:gd name="connsiteY201" fmla="*/ 1663377 h 2030413"/>
                <a:gd name="connsiteX202" fmla="*/ 1578261 w 3792537"/>
                <a:gd name="connsiteY202" fmla="*/ 1671186 h 2030413"/>
                <a:gd name="connsiteX203" fmla="*/ 1523297 w 3792537"/>
                <a:gd name="connsiteY203" fmla="*/ 1710233 h 2030413"/>
                <a:gd name="connsiteX204" fmla="*/ 1507593 w 3792537"/>
                <a:gd name="connsiteY204" fmla="*/ 1741470 h 2030413"/>
                <a:gd name="connsiteX205" fmla="*/ 1499740 w 3792537"/>
                <a:gd name="connsiteY205" fmla="*/ 1733661 h 2030413"/>
                <a:gd name="connsiteX206" fmla="*/ 1484036 w 3792537"/>
                <a:gd name="connsiteY206" fmla="*/ 1741470 h 2030413"/>
                <a:gd name="connsiteX207" fmla="*/ 1484036 w 3792537"/>
                <a:gd name="connsiteY207" fmla="*/ 1694614 h 2030413"/>
                <a:gd name="connsiteX208" fmla="*/ 1429072 w 3792537"/>
                <a:gd name="connsiteY208" fmla="*/ 1686805 h 2030413"/>
                <a:gd name="connsiteX209" fmla="*/ 1366256 w 3792537"/>
                <a:gd name="connsiteY209" fmla="*/ 1655568 h 2030413"/>
                <a:gd name="connsiteX210" fmla="*/ 1287735 w 3792537"/>
                <a:gd name="connsiteY210" fmla="*/ 1655568 h 2030413"/>
                <a:gd name="connsiteX211" fmla="*/ 1256327 w 3792537"/>
                <a:gd name="connsiteY211" fmla="*/ 1585284 h 2030413"/>
                <a:gd name="connsiteX212" fmla="*/ 1224919 w 3792537"/>
                <a:gd name="connsiteY212" fmla="*/ 1515001 h 2030413"/>
                <a:gd name="connsiteX213" fmla="*/ 1185659 w 3792537"/>
                <a:gd name="connsiteY213" fmla="*/ 1522810 h 2030413"/>
                <a:gd name="connsiteX214" fmla="*/ 1114990 w 3792537"/>
                <a:gd name="connsiteY214" fmla="*/ 1546238 h 2030413"/>
                <a:gd name="connsiteX215" fmla="*/ 1052174 w 3792537"/>
                <a:gd name="connsiteY215" fmla="*/ 1475954 h 2030413"/>
                <a:gd name="connsiteX216" fmla="*/ 957950 w 3792537"/>
                <a:gd name="connsiteY216" fmla="*/ 1491573 h 2030413"/>
                <a:gd name="connsiteX217" fmla="*/ 855873 w 3792537"/>
                <a:gd name="connsiteY217" fmla="*/ 1530619 h 2030413"/>
                <a:gd name="connsiteX218" fmla="*/ 824465 w 3792537"/>
                <a:gd name="connsiteY218" fmla="*/ 1600903 h 2030413"/>
                <a:gd name="connsiteX219" fmla="*/ 840169 w 3792537"/>
                <a:gd name="connsiteY219" fmla="*/ 1647758 h 2030413"/>
                <a:gd name="connsiteX220" fmla="*/ 785205 w 3792537"/>
                <a:gd name="connsiteY220" fmla="*/ 1663377 h 2030413"/>
                <a:gd name="connsiteX221" fmla="*/ 730240 w 3792537"/>
                <a:gd name="connsiteY221" fmla="*/ 1647758 h 2030413"/>
                <a:gd name="connsiteX222" fmla="*/ 683128 w 3792537"/>
                <a:gd name="connsiteY222" fmla="*/ 1655568 h 2030413"/>
                <a:gd name="connsiteX223" fmla="*/ 643868 w 3792537"/>
                <a:gd name="connsiteY223" fmla="*/ 1632140 h 2030413"/>
                <a:gd name="connsiteX224" fmla="*/ 573199 w 3792537"/>
                <a:gd name="connsiteY224" fmla="*/ 1639949 h 2030413"/>
                <a:gd name="connsiteX225" fmla="*/ 494679 w 3792537"/>
                <a:gd name="connsiteY225" fmla="*/ 1671186 h 2030413"/>
                <a:gd name="connsiteX226" fmla="*/ 471123 w 3792537"/>
                <a:gd name="connsiteY226" fmla="*/ 1733661 h 2030413"/>
                <a:gd name="connsiteX227" fmla="*/ 494679 w 3792537"/>
                <a:gd name="connsiteY227" fmla="*/ 1749279 h 2030413"/>
                <a:gd name="connsiteX228" fmla="*/ 502531 w 3792537"/>
                <a:gd name="connsiteY228" fmla="*/ 1764898 h 2030413"/>
                <a:gd name="connsiteX229" fmla="*/ 494679 w 3792537"/>
                <a:gd name="connsiteY229" fmla="*/ 1757088 h 2030413"/>
                <a:gd name="connsiteX230" fmla="*/ 494679 w 3792537"/>
                <a:gd name="connsiteY230" fmla="*/ 1764898 h 2030413"/>
                <a:gd name="connsiteX231" fmla="*/ 463271 w 3792537"/>
                <a:gd name="connsiteY231" fmla="*/ 1788325 h 2030413"/>
                <a:gd name="connsiteX232" fmla="*/ 439715 w 3792537"/>
                <a:gd name="connsiteY232" fmla="*/ 1835181 h 2030413"/>
                <a:gd name="connsiteX233" fmla="*/ 494679 w 3792537"/>
                <a:gd name="connsiteY233" fmla="*/ 1905465 h 2030413"/>
                <a:gd name="connsiteX234" fmla="*/ 526087 w 3792537"/>
                <a:gd name="connsiteY234" fmla="*/ 1975748 h 2030413"/>
                <a:gd name="connsiteX235" fmla="*/ 502531 w 3792537"/>
                <a:gd name="connsiteY235" fmla="*/ 2006985 h 2030413"/>
                <a:gd name="connsiteX236" fmla="*/ 486827 w 3792537"/>
                <a:gd name="connsiteY236" fmla="*/ 2030413 h 2030413"/>
                <a:gd name="connsiteX237" fmla="*/ 478975 w 3792537"/>
                <a:gd name="connsiteY237" fmla="*/ 2030413 h 2030413"/>
                <a:gd name="connsiteX238" fmla="*/ 478975 w 3792537"/>
                <a:gd name="connsiteY238" fmla="*/ 2014795 h 2030413"/>
                <a:gd name="connsiteX239" fmla="*/ 463271 w 3792537"/>
                <a:gd name="connsiteY239" fmla="*/ 1999176 h 2030413"/>
                <a:gd name="connsiteX240" fmla="*/ 439715 w 3792537"/>
                <a:gd name="connsiteY240" fmla="*/ 2022604 h 2030413"/>
                <a:gd name="connsiteX241" fmla="*/ 408306 w 3792537"/>
                <a:gd name="connsiteY241" fmla="*/ 2022604 h 2030413"/>
                <a:gd name="connsiteX242" fmla="*/ 384750 w 3792537"/>
                <a:gd name="connsiteY242" fmla="*/ 1999176 h 2030413"/>
                <a:gd name="connsiteX243" fmla="*/ 392602 w 3792537"/>
                <a:gd name="connsiteY243" fmla="*/ 1991367 h 2030413"/>
                <a:gd name="connsiteX244" fmla="*/ 369046 w 3792537"/>
                <a:gd name="connsiteY244" fmla="*/ 1952320 h 2030413"/>
                <a:gd name="connsiteX245" fmla="*/ 353342 w 3792537"/>
                <a:gd name="connsiteY245" fmla="*/ 1936702 h 2030413"/>
                <a:gd name="connsiteX246" fmla="*/ 329786 w 3792537"/>
                <a:gd name="connsiteY246" fmla="*/ 1936702 h 2030413"/>
                <a:gd name="connsiteX247" fmla="*/ 314082 w 3792537"/>
                <a:gd name="connsiteY247" fmla="*/ 1928893 h 2030413"/>
                <a:gd name="connsiteX248" fmla="*/ 314082 w 3792537"/>
                <a:gd name="connsiteY248" fmla="*/ 1905465 h 2030413"/>
                <a:gd name="connsiteX249" fmla="*/ 274822 w 3792537"/>
                <a:gd name="connsiteY249" fmla="*/ 1866418 h 2030413"/>
                <a:gd name="connsiteX250" fmla="*/ 227710 w 3792537"/>
                <a:gd name="connsiteY250" fmla="*/ 1842990 h 2030413"/>
                <a:gd name="connsiteX251" fmla="*/ 204153 w 3792537"/>
                <a:gd name="connsiteY251" fmla="*/ 1811753 h 2030413"/>
                <a:gd name="connsiteX252" fmla="*/ 227710 w 3792537"/>
                <a:gd name="connsiteY252" fmla="*/ 1780516 h 2030413"/>
                <a:gd name="connsiteX253" fmla="*/ 243414 w 3792537"/>
                <a:gd name="connsiteY253" fmla="*/ 1749279 h 2030413"/>
                <a:gd name="connsiteX254" fmla="*/ 219857 w 3792537"/>
                <a:gd name="connsiteY254" fmla="*/ 1757088 h 2030413"/>
                <a:gd name="connsiteX255" fmla="*/ 235562 w 3792537"/>
                <a:gd name="connsiteY255" fmla="*/ 1741470 h 2030413"/>
                <a:gd name="connsiteX256" fmla="*/ 251266 w 3792537"/>
                <a:gd name="connsiteY256" fmla="*/ 1718042 h 2030413"/>
                <a:gd name="connsiteX257" fmla="*/ 266970 w 3792537"/>
                <a:gd name="connsiteY257" fmla="*/ 1710233 h 2030413"/>
                <a:gd name="connsiteX258" fmla="*/ 274822 w 3792537"/>
                <a:gd name="connsiteY258" fmla="*/ 1671186 h 2030413"/>
                <a:gd name="connsiteX259" fmla="*/ 266970 w 3792537"/>
                <a:gd name="connsiteY259" fmla="*/ 1671186 h 2030413"/>
                <a:gd name="connsiteX260" fmla="*/ 172745 w 3792537"/>
                <a:gd name="connsiteY260" fmla="*/ 1632140 h 2030413"/>
                <a:gd name="connsiteX261" fmla="*/ 164893 w 3792537"/>
                <a:gd name="connsiteY261" fmla="*/ 1624331 h 2030413"/>
                <a:gd name="connsiteX262" fmla="*/ 141337 w 3792537"/>
                <a:gd name="connsiteY262" fmla="*/ 1600903 h 2030413"/>
                <a:gd name="connsiteX263" fmla="*/ 117781 w 3792537"/>
                <a:gd name="connsiteY263" fmla="*/ 1600903 h 2030413"/>
                <a:gd name="connsiteX264" fmla="*/ 102077 w 3792537"/>
                <a:gd name="connsiteY264" fmla="*/ 1593093 h 2030413"/>
                <a:gd name="connsiteX265" fmla="*/ 94225 w 3792537"/>
                <a:gd name="connsiteY265" fmla="*/ 1569666 h 2030413"/>
                <a:gd name="connsiteX266" fmla="*/ 117781 w 3792537"/>
                <a:gd name="connsiteY266" fmla="*/ 1554047 h 2030413"/>
                <a:gd name="connsiteX267" fmla="*/ 125633 w 3792537"/>
                <a:gd name="connsiteY267" fmla="*/ 1538428 h 2030413"/>
                <a:gd name="connsiteX268" fmla="*/ 102077 w 3792537"/>
                <a:gd name="connsiteY268" fmla="*/ 1522810 h 2030413"/>
                <a:gd name="connsiteX269" fmla="*/ 70669 w 3792537"/>
                <a:gd name="connsiteY269" fmla="*/ 1452526 h 2030413"/>
                <a:gd name="connsiteX270" fmla="*/ 47113 w 3792537"/>
                <a:gd name="connsiteY270" fmla="*/ 1444717 h 2030413"/>
                <a:gd name="connsiteX271" fmla="*/ 15704 w 3792537"/>
                <a:gd name="connsiteY271" fmla="*/ 1429099 h 2030413"/>
                <a:gd name="connsiteX272" fmla="*/ 0 w 3792537"/>
                <a:gd name="connsiteY272" fmla="*/ 1390052 h 2030413"/>
                <a:gd name="connsiteX273" fmla="*/ 7852 w 3792537"/>
                <a:gd name="connsiteY273" fmla="*/ 1335387 h 2030413"/>
                <a:gd name="connsiteX274" fmla="*/ 7852 w 3792537"/>
                <a:gd name="connsiteY274" fmla="*/ 1311959 h 2030413"/>
                <a:gd name="connsiteX275" fmla="*/ 15704 w 3792537"/>
                <a:gd name="connsiteY275" fmla="*/ 1280722 h 2030413"/>
                <a:gd name="connsiteX276" fmla="*/ 7852 w 3792537"/>
                <a:gd name="connsiteY276" fmla="*/ 1272913 h 2030413"/>
                <a:gd name="connsiteX277" fmla="*/ 31408 w 3792537"/>
                <a:gd name="connsiteY277" fmla="*/ 1272913 h 2030413"/>
                <a:gd name="connsiteX278" fmla="*/ 31408 w 3792537"/>
                <a:gd name="connsiteY278" fmla="*/ 1233867 h 2030413"/>
                <a:gd name="connsiteX279" fmla="*/ 15704 w 3792537"/>
                <a:gd name="connsiteY279" fmla="*/ 1226057 h 2030413"/>
                <a:gd name="connsiteX280" fmla="*/ 0 w 3792537"/>
                <a:gd name="connsiteY280" fmla="*/ 1226057 h 2030413"/>
                <a:gd name="connsiteX281" fmla="*/ 86373 w 3792537"/>
                <a:gd name="connsiteY281" fmla="*/ 1116727 h 2030413"/>
                <a:gd name="connsiteX282" fmla="*/ 94225 w 3792537"/>
                <a:gd name="connsiteY282" fmla="*/ 1101109 h 2030413"/>
                <a:gd name="connsiteX283" fmla="*/ 78521 w 3792537"/>
                <a:gd name="connsiteY283" fmla="*/ 1093299 h 2030413"/>
                <a:gd name="connsiteX284" fmla="*/ 62817 w 3792537"/>
                <a:gd name="connsiteY284" fmla="*/ 1069872 h 2030413"/>
                <a:gd name="connsiteX285" fmla="*/ 70669 w 3792537"/>
                <a:gd name="connsiteY285" fmla="*/ 1038634 h 2030413"/>
                <a:gd name="connsiteX286" fmla="*/ 54965 w 3792537"/>
                <a:gd name="connsiteY286" fmla="*/ 1023016 h 2030413"/>
                <a:gd name="connsiteX287" fmla="*/ 62817 w 3792537"/>
                <a:gd name="connsiteY287" fmla="*/ 1007397 h 2030413"/>
                <a:gd name="connsiteX288" fmla="*/ 47113 w 3792537"/>
                <a:gd name="connsiteY288" fmla="*/ 991779 h 2030413"/>
                <a:gd name="connsiteX289" fmla="*/ 54965 w 3792537"/>
                <a:gd name="connsiteY289" fmla="*/ 983970 h 2030413"/>
                <a:gd name="connsiteX290" fmla="*/ 47113 w 3792537"/>
                <a:gd name="connsiteY290" fmla="*/ 968351 h 2030413"/>
                <a:gd name="connsiteX291" fmla="*/ 62817 w 3792537"/>
                <a:gd name="connsiteY291" fmla="*/ 952732 h 2030413"/>
                <a:gd name="connsiteX292" fmla="*/ 31408 w 3792537"/>
                <a:gd name="connsiteY292" fmla="*/ 874640 h 2030413"/>
                <a:gd name="connsiteX293" fmla="*/ 62817 w 3792537"/>
                <a:gd name="connsiteY293" fmla="*/ 835593 h 2030413"/>
                <a:gd name="connsiteX294" fmla="*/ 47113 w 3792537"/>
                <a:gd name="connsiteY294" fmla="*/ 796547 h 2030413"/>
                <a:gd name="connsiteX295" fmla="*/ 23556 w 3792537"/>
                <a:gd name="connsiteY295" fmla="*/ 780928 h 2030413"/>
                <a:gd name="connsiteX296" fmla="*/ 15704 w 3792537"/>
                <a:gd name="connsiteY296" fmla="*/ 773119 h 2030413"/>
                <a:gd name="connsiteX297" fmla="*/ 23556 w 3792537"/>
                <a:gd name="connsiteY297" fmla="*/ 749691 h 2030413"/>
                <a:gd name="connsiteX298" fmla="*/ 23556 w 3792537"/>
                <a:gd name="connsiteY298" fmla="*/ 741882 h 2030413"/>
                <a:gd name="connsiteX299" fmla="*/ 31408 w 3792537"/>
                <a:gd name="connsiteY299" fmla="*/ 734073 h 2030413"/>
                <a:gd name="connsiteX300" fmla="*/ 31408 w 3792537"/>
                <a:gd name="connsiteY300" fmla="*/ 726263 h 2030413"/>
                <a:gd name="connsiteX301" fmla="*/ 62817 w 3792537"/>
                <a:gd name="connsiteY301" fmla="*/ 695026 h 2030413"/>
                <a:gd name="connsiteX302" fmla="*/ 70669 w 3792537"/>
                <a:gd name="connsiteY302" fmla="*/ 679408 h 2030413"/>
                <a:gd name="connsiteX303" fmla="*/ 78521 w 3792537"/>
                <a:gd name="connsiteY303" fmla="*/ 679408 h 2030413"/>
                <a:gd name="connsiteX304" fmla="*/ 102077 w 3792537"/>
                <a:gd name="connsiteY304" fmla="*/ 679408 h 2030413"/>
                <a:gd name="connsiteX305" fmla="*/ 133485 w 3792537"/>
                <a:gd name="connsiteY305" fmla="*/ 679408 h 2030413"/>
                <a:gd name="connsiteX306" fmla="*/ 133485 w 3792537"/>
                <a:gd name="connsiteY306" fmla="*/ 702835 h 2030413"/>
                <a:gd name="connsiteX307" fmla="*/ 157041 w 3792537"/>
                <a:gd name="connsiteY307" fmla="*/ 710645 h 2030413"/>
                <a:gd name="connsiteX308" fmla="*/ 204153 w 3792537"/>
                <a:gd name="connsiteY308" fmla="*/ 726263 h 2030413"/>
                <a:gd name="connsiteX309" fmla="*/ 235562 w 3792537"/>
                <a:gd name="connsiteY309" fmla="*/ 757500 h 2030413"/>
                <a:gd name="connsiteX310" fmla="*/ 282674 w 3792537"/>
                <a:gd name="connsiteY310" fmla="*/ 788738 h 2030413"/>
                <a:gd name="connsiteX311" fmla="*/ 337638 w 3792537"/>
                <a:gd name="connsiteY311" fmla="*/ 851212 h 2030413"/>
                <a:gd name="connsiteX312" fmla="*/ 329786 w 3792537"/>
                <a:gd name="connsiteY312" fmla="*/ 890258 h 2030413"/>
                <a:gd name="connsiteX313" fmla="*/ 298378 w 3792537"/>
                <a:gd name="connsiteY313" fmla="*/ 913686 h 2030413"/>
                <a:gd name="connsiteX314" fmla="*/ 243414 w 3792537"/>
                <a:gd name="connsiteY314" fmla="*/ 921495 h 2030413"/>
                <a:gd name="connsiteX315" fmla="*/ 188449 w 3792537"/>
                <a:gd name="connsiteY315" fmla="*/ 905877 h 2030413"/>
                <a:gd name="connsiteX316" fmla="*/ 172745 w 3792537"/>
                <a:gd name="connsiteY316" fmla="*/ 882449 h 2030413"/>
                <a:gd name="connsiteX317" fmla="*/ 141337 w 3792537"/>
                <a:gd name="connsiteY317" fmla="*/ 874640 h 2030413"/>
                <a:gd name="connsiteX318" fmla="*/ 125633 w 3792537"/>
                <a:gd name="connsiteY318" fmla="*/ 866830 h 2030413"/>
                <a:gd name="connsiteX319" fmla="*/ 109929 w 3792537"/>
                <a:gd name="connsiteY319" fmla="*/ 866830 h 2030413"/>
                <a:gd name="connsiteX320" fmla="*/ 117781 w 3792537"/>
                <a:gd name="connsiteY320" fmla="*/ 882449 h 2030413"/>
                <a:gd name="connsiteX321" fmla="*/ 149189 w 3792537"/>
                <a:gd name="connsiteY321" fmla="*/ 905877 h 2030413"/>
                <a:gd name="connsiteX322" fmla="*/ 180597 w 3792537"/>
                <a:gd name="connsiteY322" fmla="*/ 921495 h 2030413"/>
                <a:gd name="connsiteX323" fmla="*/ 180597 w 3792537"/>
                <a:gd name="connsiteY323" fmla="*/ 944923 h 2030413"/>
                <a:gd name="connsiteX324" fmla="*/ 164893 w 3792537"/>
                <a:gd name="connsiteY324" fmla="*/ 960542 h 2030413"/>
                <a:gd name="connsiteX325" fmla="*/ 180597 w 3792537"/>
                <a:gd name="connsiteY325" fmla="*/ 999588 h 2030413"/>
                <a:gd name="connsiteX326" fmla="*/ 180597 w 3792537"/>
                <a:gd name="connsiteY326" fmla="*/ 1015207 h 2030413"/>
                <a:gd name="connsiteX327" fmla="*/ 204153 w 3792537"/>
                <a:gd name="connsiteY327" fmla="*/ 1038634 h 2030413"/>
                <a:gd name="connsiteX328" fmla="*/ 243414 w 3792537"/>
                <a:gd name="connsiteY328" fmla="*/ 1062062 h 2030413"/>
                <a:gd name="connsiteX329" fmla="*/ 259118 w 3792537"/>
                <a:gd name="connsiteY329" fmla="*/ 1054253 h 2030413"/>
                <a:gd name="connsiteX330" fmla="*/ 251266 w 3792537"/>
                <a:gd name="connsiteY330" fmla="*/ 1030825 h 2030413"/>
                <a:gd name="connsiteX331" fmla="*/ 235562 w 3792537"/>
                <a:gd name="connsiteY331" fmla="*/ 1007397 h 2030413"/>
                <a:gd name="connsiteX332" fmla="*/ 235562 w 3792537"/>
                <a:gd name="connsiteY332" fmla="*/ 991779 h 2030413"/>
                <a:gd name="connsiteX333" fmla="*/ 259118 w 3792537"/>
                <a:gd name="connsiteY333" fmla="*/ 999588 h 2030413"/>
                <a:gd name="connsiteX334" fmla="*/ 306230 w 3792537"/>
                <a:gd name="connsiteY334" fmla="*/ 1007397 h 2030413"/>
                <a:gd name="connsiteX335" fmla="*/ 321934 w 3792537"/>
                <a:gd name="connsiteY335" fmla="*/ 1015207 h 2030413"/>
                <a:gd name="connsiteX336" fmla="*/ 298378 w 3792537"/>
                <a:gd name="connsiteY336" fmla="*/ 960542 h 2030413"/>
                <a:gd name="connsiteX337" fmla="*/ 314082 w 3792537"/>
                <a:gd name="connsiteY337" fmla="*/ 944923 h 2030413"/>
                <a:gd name="connsiteX338" fmla="*/ 337638 w 3792537"/>
                <a:gd name="connsiteY338" fmla="*/ 921495 h 2030413"/>
                <a:gd name="connsiteX339" fmla="*/ 361194 w 3792537"/>
                <a:gd name="connsiteY339" fmla="*/ 905877 h 2030413"/>
                <a:gd name="connsiteX340" fmla="*/ 384750 w 3792537"/>
                <a:gd name="connsiteY340" fmla="*/ 905877 h 2030413"/>
                <a:gd name="connsiteX341" fmla="*/ 408306 w 3792537"/>
                <a:gd name="connsiteY341" fmla="*/ 921495 h 2030413"/>
                <a:gd name="connsiteX342" fmla="*/ 424011 w 3792537"/>
                <a:gd name="connsiteY342" fmla="*/ 874640 h 2030413"/>
                <a:gd name="connsiteX343" fmla="*/ 408306 w 3792537"/>
                <a:gd name="connsiteY343" fmla="*/ 851212 h 2030413"/>
                <a:gd name="connsiteX344" fmla="*/ 408306 w 3792537"/>
                <a:gd name="connsiteY344" fmla="*/ 796547 h 2030413"/>
                <a:gd name="connsiteX345" fmla="*/ 392602 w 3792537"/>
                <a:gd name="connsiteY345" fmla="*/ 765310 h 2030413"/>
                <a:gd name="connsiteX346" fmla="*/ 416159 w 3792537"/>
                <a:gd name="connsiteY346" fmla="*/ 773119 h 2030413"/>
                <a:gd name="connsiteX347" fmla="*/ 431863 w 3792537"/>
                <a:gd name="connsiteY347" fmla="*/ 773119 h 2030413"/>
                <a:gd name="connsiteX348" fmla="*/ 463271 w 3792537"/>
                <a:gd name="connsiteY348" fmla="*/ 780928 h 2030413"/>
                <a:gd name="connsiteX349" fmla="*/ 471123 w 3792537"/>
                <a:gd name="connsiteY349" fmla="*/ 812165 h 2030413"/>
                <a:gd name="connsiteX350" fmla="*/ 447567 w 3792537"/>
                <a:gd name="connsiteY350" fmla="*/ 827784 h 2030413"/>
                <a:gd name="connsiteX351" fmla="*/ 439715 w 3792537"/>
                <a:gd name="connsiteY351" fmla="*/ 851212 h 2030413"/>
                <a:gd name="connsiteX352" fmla="*/ 463271 w 3792537"/>
                <a:gd name="connsiteY352" fmla="*/ 874640 h 2030413"/>
                <a:gd name="connsiteX353" fmla="*/ 486827 w 3792537"/>
                <a:gd name="connsiteY353" fmla="*/ 874640 h 2030413"/>
                <a:gd name="connsiteX354" fmla="*/ 502531 w 3792537"/>
                <a:gd name="connsiteY354" fmla="*/ 835593 h 2030413"/>
                <a:gd name="connsiteX355" fmla="*/ 518235 w 3792537"/>
                <a:gd name="connsiteY355" fmla="*/ 827784 h 2030413"/>
                <a:gd name="connsiteX356" fmla="*/ 573199 w 3792537"/>
                <a:gd name="connsiteY356" fmla="*/ 796547 h 2030413"/>
                <a:gd name="connsiteX357" fmla="*/ 620312 w 3792537"/>
                <a:gd name="connsiteY357" fmla="*/ 765310 h 2030413"/>
                <a:gd name="connsiteX358" fmla="*/ 651720 w 3792537"/>
                <a:gd name="connsiteY358" fmla="*/ 757500 h 2030413"/>
                <a:gd name="connsiteX359" fmla="*/ 667424 w 3792537"/>
                <a:gd name="connsiteY359" fmla="*/ 773119 h 2030413"/>
                <a:gd name="connsiteX360" fmla="*/ 698832 w 3792537"/>
                <a:gd name="connsiteY360" fmla="*/ 765310 h 2030413"/>
                <a:gd name="connsiteX361" fmla="*/ 730240 w 3792537"/>
                <a:gd name="connsiteY361" fmla="*/ 757500 h 2030413"/>
                <a:gd name="connsiteX362" fmla="*/ 769500 w 3792537"/>
                <a:gd name="connsiteY362" fmla="*/ 741882 h 2030413"/>
                <a:gd name="connsiteX363" fmla="*/ 800909 w 3792537"/>
                <a:gd name="connsiteY363" fmla="*/ 749691 h 2030413"/>
                <a:gd name="connsiteX364" fmla="*/ 816613 w 3792537"/>
                <a:gd name="connsiteY364" fmla="*/ 741882 h 2030413"/>
                <a:gd name="connsiteX365" fmla="*/ 808761 w 3792537"/>
                <a:gd name="connsiteY365" fmla="*/ 687217 h 2030413"/>
                <a:gd name="connsiteX366" fmla="*/ 848021 w 3792537"/>
                <a:gd name="connsiteY366" fmla="*/ 687217 h 2030413"/>
                <a:gd name="connsiteX367" fmla="*/ 887281 w 3792537"/>
                <a:gd name="connsiteY367" fmla="*/ 687217 h 2030413"/>
                <a:gd name="connsiteX368" fmla="*/ 950097 w 3792537"/>
                <a:gd name="connsiteY368" fmla="*/ 734073 h 2030413"/>
                <a:gd name="connsiteX369" fmla="*/ 1005062 w 3792537"/>
                <a:gd name="connsiteY369" fmla="*/ 788738 h 2030413"/>
                <a:gd name="connsiteX370" fmla="*/ 1036470 w 3792537"/>
                <a:gd name="connsiteY370" fmla="*/ 734073 h 2030413"/>
                <a:gd name="connsiteX371" fmla="*/ 989358 w 3792537"/>
                <a:gd name="connsiteY371" fmla="*/ 687217 h 2030413"/>
                <a:gd name="connsiteX372" fmla="*/ 981506 w 3792537"/>
                <a:gd name="connsiteY372" fmla="*/ 671598 h 2030413"/>
                <a:gd name="connsiteX373" fmla="*/ 989358 w 3792537"/>
                <a:gd name="connsiteY373" fmla="*/ 632552 h 2030413"/>
                <a:gd name="connsiteX374" fmla="*/ 965802 w 3792537"/>
                <a:gd name="connsiteY374" fmla="*/ 593505 h 2030413"/>
                <a:gd name="connsiteX375" fmla="*/ 981506 w 3792537"/>
                <a:gd name="connsiteY375" fmla="*/ 570078 h 2030413"/>
                <a:gd name="connsiteX376" fmla="*/ 1005062 w 3792537"/>
                <a:gd name="connsiteY376" fmla="*/ 546650 h 2030413"/>
                <a:gd name="connsiteX377" fmla="*/ 1028618 w 3792537"/>
                <a:gd name="connsiteY377" fmla="*/ 437320 h 2030413"/>
                <a:gd name="connsiteX378" fmla="*/ 1075730 w 3792537"/>
                <a:gd name="connsiteY378" fmla="*/ 437320 h 2030413"/>
                <a:gd name="connsiteX379" fmla="*/ 1122842 w 3792537"/>
                <a:gd name="connsiteY379" fmla="*/ 452938 h 2030413"/>
                <a:gd name="connsiteX380" fmla="*/ 1130694 w 3792537"/>
                <a:gd name="connsiteY380" fmla="*/ 491985 h 2030413"/>
                <a:gd name="connsiteX381" fmla="*/ 1138546 w 3792537"/>
                <a:gd name="connsiteY381" fmla="*/ 531031 h 2030413"/>
                <a:gd name="connsiteX382" fmla="*/ 1122842 w 3792537"/>
                <a:gd name="connsiteY382" fmla="*/ 593505 h 2030413"/>
                <a:gd name="connsiteX383" fmla="*/ 1138546 w 3792537"/>
                <a:gd name="connsiteY383" fmla="*/ 624743 h 2030413"/>
                <a:gd name="connsiteX384" fmla="*/ 1162103 w 3792537"/>
                <a:gd name="connsiteY384" fmla="*/ 616933 h 2030413"/>
                <a:gd name="connsiteX385" fmla="*/ 1162103 w 3792537"/>
                <a:gd name="connsiteY385" fmla="*/ 546650 h 2030413"/>
                <a:gd name="connsiteX386" fmla="*/ 1162103 w 3792537"/>
                <a:gd name="connsiteY386" fmla="*/ 507603 h 2030413"/>
                <a:gd name="connsiteX387" fmla="*/ 1177807 w 3792537"/>
                <a:gd name="connsiteY387" fmla="*/ 460748 h 2030413"/>
                <a:gd name="connsiteX388" fmla="*/ 1193511 w 3792537"/>
                <a:gd name="connsiteY388" fmla="*/ 460748 h 2030413"/>
                <a:gd name="connsiteX389" fmla="*/ 1217067 w 3792537"/>
                <a:gd name="connsiteY389" fmla="*/ 484175 h 2030413"/>
                <a:gd name="connsiteX390" fmla="*/ 1240623 w 3792537"/>
                <a:gd name="connsiteY390" fmla="*/ 515413 h 2030413"/>
                <a:gd name="connsiteX391" fmla="*/ 1272031 w 3792537"/>
                <a:gd name="connsiteY391" fmla="*/ 476366 h 2030413"/>
                <a:gd name="connsiteX392" fmla="*/ 1311291 w 3792537"/>
                <a:gd name="connsiteY392" fmla="*/ 491985 h 2030413"/>
                <a:gd name="connsiteX393" fmla="*/ 1334848 w 3792537"/>
                <a:gd name="connsiteY393" fmla="*/ 499794 h 2030413"/>
                <a:gd name="connsiteX394" fmla="*/ 1326996 w 3792537"/>
                <a:gd name="connsiteY394" fmla="*/ 421701 h 2030413"/>
                <a:gd name="connsiteX395" fmla="*/ 1350552 w 3792537"/>
                <a:gd name="connsiteY395" fmla="*/ 390464 h 2030413"/>
                <a:gd name="connsiteX396" fmla="*/ 1476184 w 3792537"/>
                <a:gd name="connsiteY396" fmla="*/ 359227 h 2030413"/>
                <a:gd name="connsiteX397" fmla="*/ 1491888 w 3792537"/>
                <a:gd name="connsiteY397" fmla="*/ 273325 h 2030413"/>
                <a:gd name="connsiteX398" fmla="*/ 1531149 w 3792537"/>
                <a:gd name="connsiteY398" fmla="*/ 226469 h 2030413"/>
                <a:gd name="connsiteX399" fmla="*/ 1617521 w 3792537"/>
                <a:gd name="connsiteY399" fmla="*/ 179614 h 2030413"/>
                <a:gd name="connsiteX400" fmla="*/ 1696042 w 3792537"/>
                <a:gd name="connsiteY400" fmla="*/ 148376 h 2030413"/>
                <a:gd name="connsiteX401" fmla="*/ 1743154 w 3792537"/>
                <a:gd name="connsiteY401" fmla="*/ 171804 h 2030413"/>
                <a:gd name="connsiteX402" fmla="*/ 1813822 w 3792537"/>
                <a:gd name="connsiteY402" fmla="*/ 124949 h 2030413"/>
                <a:gd name="connsiteX403" fmla="*/ 1829526 w 3792537"/>
                <a:gd name="connsiteY403" fmla="*/ 70284 h 2030413"/>
                <a:gd name="connsiteX404" fmla="*/ 1892343 w 3792537"/>
                <a:gd name="connsiteY404" fmla="*/ 0 h 2030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</a:cxnLst>
              <a:rect l="l" t="t" r="r" b="b"/>
              <a:pathLst>
                <a:path w="3792537" h="2030413">
                  <a:moveTo>
                    <a:pt x="1026517" y="125413"/>
                  </a:moveTo>
                  <a:lnTo>
                    <a:pt x="1073291" y="133243"/>
                  </a:lnTo>
                  <a:lnTo>
                    <a:pt x="1081087" y="164561"/>
                  </a:lnTo>
                  <a:lnTo>
                    <a:pt x="1026517" y="219369"/>
                  </a:lnTo>
                  <a:lnTo>
                    <a:pt x="971947" y="250688"/>
                  </a:lnTo>
                  <a:lnTo>
                    <a:pt x="932968" y="274177"/>
                  </a:lnTo>
                  <a:lnTo>
                    <a:pt x="893989" y="321155"/>
                  </a:lnTo>
                  <a:lnTo>
                    <a:pt x="831623" y="360303"/>
                  </a:lnTo>
                  <a:lnTo>
                    <a:pt x="769257" y="493408"/>
                  </a:lnTo>
                  <a:lnTo>
                    <a:pt x="745870" y="549521"/>
                  </a:lnTo>
                  <a:lnTo>
                    <a:pt x="769257" y="643477"/>
                  </a:lnTo>
                  <a:lnTo>
                    <a:pt x="800440" y="682625"/>
                  </a:lnTo>
                  <a:lnTo>
                    <a:pt x="738074" y="674795"/>
                  </a:lnTo>
                  <a:lnTo>
                    <a:pt x="714687" y="666966"/>
                  </a:lnTo>
                  <a:lnTo>
                    <a:pt x="706891" y="651306"/>
                  </a:lnTo>
                  <a:lnTo>
                    <a:pt x="667912" y="635647"/>
                  </a:lnTo>
                  <a:lnTo>
                    <a:pt x="644525" y="580839"/>
                  </a:lnTo>
                  <a:lnTo>
                    <a:pt x="667912" y="549521"/>
                  </a:lnTo>
                  <a:lnTo>
                    <a:pt x="660117" y="510372"/>
                  </a:lnTo>
                  <a:lnTo>
                    <a:pt x="683504" y="477749"/>
                  </a:lnTo>
                  <a:lnTo>
                    <a:pt x="699095" y="438600"/>
                  </a:lnTo>
                  <a:lnTo>
                    <a:pt x="699095" y="407281"/>
                  </a:lnTo>
                  <a:lnTo>
                    <a:pt x="730278" y="368133"/>
                  </a:lnTo>
                  <a:lnTo>
                    <a:pt x="753666" y="344644"/>
                  </a:lnTo>
                  <a:lnTo>
                    <a:pt x="761461" y="305496"/>
                  </a:lnTo>
                  <a:lnTo>
                    <a:pt x="792644" y="289836"/>
                  </a:lnTo>
                  <a:lnTo>
                    <a:pt x="855010" y="227199"/>
                  </a:lnTo>
                  <a:lnTo>
                    <a:pt x="870602" y="203710"/>
                  </a:lnTo>
                  <a:lnTo>
                    <a:pt x="886193" y="188050"/>
                  </a:lnTo>
                  <a:lnTo>
                    <a:pt x="932968" y="188050"/>
                  </a:lnTo>
                  <a:lnTo>
                    <a:pt x="971947" y="180221"/>
                  </a:lnTo>
                  <a:lnTo>
                    <a:pt x="995334" y="156732"/>
                  </a:lnTo>
                  <a:close/>
                  <a:moveTo>
                    <a:pt x="1892343" y="0"/>
                  </a:moveTo>
                  <a:cubicBezTo>
                    <a:pt x="1900195" y="0"/>
                    <a:pt x="1955159" y="7809"/>
                    <a:pt x="1955159" y="7809"/>
                  </a:cubicBezTo>
                  <a:cubicBezTo>
                    <a:pt x="1955159" y="7809"/>
                    <a:pt x="1955159" y="7809"/>
                    <a:pt x="1994419" y="62474"/>
                  </a:cubicBezTo>
                  <a:cubicBezTo>
                    <a:pt x="1994419" y="62474"/>
                    <a:pt x="1994419" y="62474"/>
                    <a:pt x="1994419" y="85902"/>
                  </a:cubicBezTo>
                  <a:cubicBezTo>
                    <a:pt x="1994419" y="85902"/>
                    <a:pt x="1994419" y="85902"/>
                    <a:pt x="2041531" y="93711"/>
                  </a:cubicBezTo>
                  <a:cubicBezTo>
                    <a:pt x="2041531" y="93711"/>
                    <a:pt x="2041531" y="93711"/>
                    <a:pt x="2104348" y="148376"/>
                  </a:cubicBezTo>
                  <a:cubicBezTo>
                    <a:pt x="2104348" y="148376"/>
                    <a:pt x="2104348" y="148376"/>
                    <a:pt x="2120052" y="226469"/>
                  </a:cubicBezTo>
                  <a:cubicBezTo>
                    <a:pt x="2120052" y="226469"/>
                    <a:pt x="2120052" y="226469"/>
                    <a:pt x="2088644" y="273325"/>
                  </a:cubicBezTo>
                  <a:cubicBezTo>
                    <a:pt x="2088644" y="273325"/>
                    <a:pt x="2088644" y="273325"/>
                    <a:pt x="2057236" y="304562"/>
                  </a:cubicBezTo>
                  <a:cubicBezTo>
                    <a:pt x="2057236" y="304562"/>
                    <a:pt x="2057236" y="304562"/>
                    <a:pt x="2002271" y="374846"/>
                  </a:cubicBezTo>
                  <a:cubicBezTo>
                    <a:pt x="2002271" y="374846"/>
                    <a:pt x="2002271" y="374846"/>
                    <a:pt x="1970863" y="398273"/>
                  </a:cubicBezTo>
                  <a:cubicBezTo>
                    <a:pt x="1970863" y="398273"/>
                    <a:pt x="1970863" y="398273"/>
                    <a:pt x="1939455" y="445129"/>
                  </a:cubicBezTo>
                  <a:cubicBezTo>
                    <a:pt x="1939455" y="445129"/>
                    <a:pt x="1939455" y="445129"/>
                    <a:pt x="1986567" y="406083"/>
                  </a:cubicBezTo>
                  <a:cubicBezTo>
                    <a:pt x="1986567" y="406083"/>
                    <a:pt x="1986567" y="406083"/>
                    <a:pt x="2033679" y="382655"/>
                  </a:cubicBezTo>
                  <a:cubicBezTo>
                    <a:pt x="2033679" y="382655"/>
                    <a:pt x="2033679" y="382655"/>
                    <a:pt x="2072940" y="343608"/>
                  </a:cubicBezTo>
                  <a:cubicBezTo>
                    <a:pt x="2072940" y="343608"/>
                    <a:pt x="2072940" y="343608"/>
                    <a:pt x="2104348" y="351418"/>
                  </a:cubicBezTo>
                  <a:cubicBezTo>
                    <a:pt x="2104348" y="351418"/>
                    <a:pt x="2104348" y="351418"/>
                    <a:pt x="2127904" y="382655"/>
                  </a:cubicBezTo>
                  <a:cubicBezTo>
                    <a:pt x="2127904" y="382655"/>
                    <a:pt x="2127904" y="382655"/>
                    <a:pt x="2135756" y="406083"/>
                  </a:cubicBezTo>
                  <a:cubicBezTo>
                    <a:pt x="2135756" y="406083"/>
                    <a:pt x="2135756" y="406083"/>
                    <a:pt x="2175016" y="382655"/>
                  </a:cubicBezTo>
                  <a:cubicBezTo>
                    <a:pt x="2175016" y="382655"/>
                    <a:pt x="2175016" y="382655"/>
                    <a:pt x="2245685" y="382655"/>
                  </a:cubicBezTo>
                  <a:cubicBezTo>
                    <a:pt x="2245685" y="382655"/>
                    <a:pt x="2245685" y="382655"/>
                    <a:pt x="2253537" y="413892"/>
                  </a:cubicBezTo>
                  <a:cubicBezTo>
                    <a:pt x="2253537" y="413892"/>
                    <a:pt x="2253537" y="413892"/>
                    <a:pt x="2292797" y="429511"/>
                  </a:cubicBezTo>
                  <a:cubicBezTo>
                    <a:pt x="2292797" y="429511"/>
                    <a:pt x="2292797" y="429511"/>
                    <a:pt x="2363465" y="429511"/>
                  </a:cubicBezTo>
                  <a:cubicBezTo>
                    <a:pt x="2363465" y="429511"/>
                    <a:pt x="2363465" y="429511"/>
                    <a:pt x="2379169" y="390464"/>
                  </a:cubicBezTo>
                  <a:cubicBezTo>
                    <a:pt x="2379169" y="390464"/>
                    <a:pt x="2379169" y="390464"/>
                    <a:pt x="2402725" y="359227"/>
                  </a:cubicBezTo>
                  <a:cubicBezTo>
                    <a:pt x="2402725" y="359227"/>
                    <a:pt x="2402725" y="359227"/>
                    <a:pt x="2434134" y="382655"/>
                  </a:cubicBezTo>
                  <a:cubicBezTo>
                    <a:pt x="2434134" y="382655"/>
                    <a:pt x="2434134" y="382655"/>
                    <a:pt x="2449838" y="398273"/>
                  </a:cubicBezTo>
                  <a:cubicBezTo>
                    <a:pt x="2449838" y="398273"/>
                    <a:pt x="2449838" y="398273"/>
                    <a:pt x="2481246" y="398273"/>
                  </a:cubicBezTo>
                  <a:cubicBezTo>
                    <a:pt x="2481246" y="398273"/>
                    <a:pt x="2481246" y="398273"/>
                    <a:pt x="2512654" y="406083"/>
                  </a:cubicBezTo>
                  <a:cubicBezTo>
                    <a:pt x="2512654" y="406083"/>
                    <a:pt x="2512654" y="406083"/>
                    <a:pt x="2536210" y="445129"/>
                  </a:cubicBezTo>
                  <a:cubicBezTo>
                    <a:pt x="2536210" y="445129"/>
                    <a:pt x="2536210" y="445129"/>
                    <a:pt x="2536210" y="468557"/>
                  </a:cubicBezTo>
                  <a:cubicBezTo>
                    <a:pt x="2536210" y="468557"/>
                    <a:pt x="2536210" y="468557"/>
                    <a:pt x="2512654" y="523222"/>
                  </a:cubicBezTo>
                  <a:cubicBezTo>
                    <a:pt x="2512654" y="523222"/>
                    <a:pt x="2512654" y="523222"/>
                    <a:pt x="2536210" y="570078"/>
                  </a:cubicBezTo>
                  <a:cubicBezTo>
                    <a:pt x="2536210" y="570078"/>
                    <a:pt x="2536210" y="570078"/>
                    <a:pt x="2575470" y="609124"/>
                  </a:cubicBezTo>
                  <a:cubicBezTo>
                    <a:pt x="2575470" y="609124"/>
                    <a:pt x="2575470" y="609124"/>
                    <a:pt x="2599027" y="577887"/>
                  </a:cubicBezTo>
                  <a:cubicBezTo>
                    <a:pt x="2599027" y="577887"/>
                    <a:pt x="2599027" y="577887"/>
                    <a:pt x="2606879" y="531031"/>
                  </a:cubicBezTo>
                  <a:cubicBezTo>
                    <a:pt x="2606879" y="531031"/>
                    <a:pt x="2606879" y="531031"/>
                    <a:pt x="2638287" y="554459"/>
                  </a:cubicBezTo>
                  <a:cubicBezTo>
                    <a:pt x="2638287" y="554459"/>
                    <a:pt x="2638287" y="554459"/>
                    <a:pt x="2669695" y="562268"/>
                  </a:cubicBezTo>
                  <a:cubicBezTo>
                    <a:pt x="2669695" y="562268"/>
                    <a:pt x="2669695" y="562268"/>
                    <a:pt x="2685399" y="546650"/>
                  </a:cubicBezTo>
                  <a:cubicBezTo>
                    <a:pt x="2685399" y="546650"/>
                    <a:pt x="2685399" y="546650"/>
                    <a:pt x="2724659" y="562268"/>
                  </a:cubicBezTo>
                  <a:cubicBezTo>
                    <a:pt x="2724659" y="562268"/>
                    <a:pt x="2724659" y="562268"/>
                    <a:pt x="2756067" y="570078"/>
                  </a:cubicBezTo>
                  <a:cubicBezTo>
                    <a:pt x="2756067" y="570078"/>
                    <a:pt x="2756067" y="570078"/>
                    <a:pt x="2803180" y="554459"/>
                  </a:cubicBezTo>
                  <a:cubicBezTo>
                    <a:pt x="2803180" y="554459"/>
                    <a:pt x="2803180" y="554459"/>
                    <a:pt x="2795328" y="507603"/>
                  </a:cubicBezTo>
                  <a:cubicBezTo>
                    <a:pt x="2795328" y="507603"/>
                    <a:pt x="2795328" y="507603"/>
                    <a:pt x="2834588" y="476366"/>
                  </a:cubicBezTo>
                  <a:cubicBezTo>
                    <a:pt x="2834588" y="476366"/>
                    <a:pt x="2834588" y="476366"/>
                    <a:pt x="2842440" y="460748"/>
                  </a:cubicBezTo>
                  <a:cubicBezTo>
                    <a:pt x="2842440" y="460748"/>
                    <a:pt x="2842440" y="460748"/>
                    <a:pt x="3030889" y="499794"/>
                  </a:cubicBezTo>
                  <a:cubicBezTo>
                    <a:pt x="3030889" y="499794"/>
                    <a:pt x="3030889" y="499794"/>
                    <a:pt x="3030889" y="538840"/>
                  </a:cubicBezTo>
                  <a:cubicBezTo>
                    <a:pt x="3030889" y="538840"/>
                    <a:pt x="3030889" y="538840"/>
                    <a:pt x="3078001" y="562268"/>
                  </a:cubicBezTo>
                  <a:cubicBezTo>
                    <a:pt x="3078001" y="562268"/>
                    <a:pt x="3078001" y="562268"/>
                    <a:pt x="3085853" y="585696"/>
                  </a:cubicBezTo>
                  <a:cubicBezTo>
                    <a:pt x="3085853" y="585696"/>
                    <a:pt x="3085853" y="585696"/>
                    <a:pt x="3093705" y="601315"/>
                  </a:cubicBezTo>
                  <a:cubicBezTo>
                    <a:pt x="3093705" y="601315"/>
                    <a:pt x="3093705" y="601315"/>
                    <a:pt x="3164374" y="601315"/>
                  </a:cubicBezTo>
                  <a:cubicBezTo>
                    <a:pt x="3164374" y="601315"/>
                    <a:pt x="3164374" y="601315"/>
                    <a:pt x="3242894" y="601315"/>
                  </a:cubicBezTo>
                  <a:cubicBezTo>
                    <a:pt x="3242894" y="601315"/>
                    <a:pt x="3242894" y="601315"/>
                    <a:pt x="3290006" y="624743"/>
                  </a:cubicBezTo>
                  <a:cubicBezTo>
                    <a:pt x="3290006" y="624743"/>
                    <a:pt x="3290006" y="624743"/>
                    <a:pt x="3290006" y="679408"/>
                  </a:cubicBezTo>
                  <a:cubicBezTo>
                    <a:pt x="3290006" y="679408"/>
                    <a:pt x="3290006" y="679408"/>
                    <a:pt x="3321415" y="702835"/>
                  </a:cubicBezTo>
                  <a:cubicBezTo>
                    <a:pt x="3321415" y="702835"/>
                    <a:pt x="3321415" y="702835"/>
                    <a:pt x="3344971" y="695026"/>
                  </a:cubicBezTo>
                  <a:cubicBezTo>
                    <a:pt x="3344971" y="695026"/>
                    <a:pt x="3344971" y="695026"/>
                    <a:pt x="3384231" y="695026"/>
                  </a:cubicBezTo>
                  <a:cubicBezTo>
                    <a:pt x="3384231" y="695026"/>
                    <a:pt x="3384231" y="695026"/>
                    <a:pt x="3431343" y="702835"/>
                  </a:cubicBezTo>
                  <a:cubicBezTo>
                    <a:pt x="3431343" y="702835"/>
                    <a:pt x="3431343" y="702835"/>
                    <a:pt x="3454899" y="695026"/>
                  </a:cubicBezTo>
                  <a:cubicBezTo>
                    <a:pt x="3454899" y="695026"/>
                    <a:pt x="3454899" y="695026"/>
                    <a:pt x="3494159" y="695026"/>
                  </a:cubicBezTo>
                  <a:cubicBezTo>
                    <a:pt x="3494159" y="695026"/>
                    <a:pt x="3494159" y="695026"/>
                    <a:pt x="3494159" y="710645"/>
                  </a:cubicBezTo>
                  <a:cubicBezTo>
                    <a:pt x="3494159" y="710645"/>
                    <a:pt x="3494159" y="710645"/>
                    <a:pt x="3517715" y="734073"/>
                  </a:cubicBezTo>
                  <a:cubicBezTo>
                    <a:pt x="3517715" y="734073"/>
                    <a:pt x="3533419" y="757500"/>
                    <a:pt x="3541271" y="757500"/>
                  </a:cubicBezTo>
                  <a:cubicBezTo>
                    <a:pt x="3541271" y="757500"/>
                    <a:pt x="3572680" y="741882"/>
                    <a:pt x="3572680" y="741882"/>
                  </a:cubicBezTo>
                  <a:cubicBezTo>
                    <a:pt x="3572680" y="741882"/>
                    <a:pt x="3572680" y="741882"/>
                    <a:pt x="3564828" y="679408"/>
                  </a:cubicBezTo>
                  <a:cubicBezTo>
                    <a:pt x="3564828" y="679408"/>
                    <a:pt x="3564828" y="679408"/>
                    <a:pt x="3580532" y="679408"/>
                  </a:cubicBezTo>
                  <a:cubicBezTo>
                    <a:pt x="3580532" y="679408"/>
                    <a:pt x="3580532" y="679408"/>
                    <a:pt x="3604088" y="679408"/>
                  </a:cubicBezTo>
                  <a:cubicBezTo>
                    <a:pt x="3604088" y="679408"/>
                    <a:pt x="3604088" y="679408"/>
                    <a:pt x="3635496" y="687217"/>
                  </a:cubicBezTo>
                  <a:cubicBezTo>
                    <a:pt x="3635496" y="687217"/>
                    <a:pt x="3635496" y="687217"/>
                    <a:pt x="3690461" y="695026"/>
                  </a:cubicBezTo>
                  <a:cubicBezTo>
                    <a:pt x="3690461" y="695026"/>
                    <a:pt x="3714017" y="695026"/>
                    <a:pt x="3721869" y="702835"/>
                  </a:cubicBezTo>
                  <a:cubicBezTo>
                    <a:pt x="3721869" y="702835"/>
                    <a:pt x="3753277" y="734073"/>
                    <a:pt x="3753277" y="734073"/>
                  </a:cubicBezTo>
                  <a:cubicBezTo>
                    <a:pt x="3753277" y="734073"/>
                    <a:pt x="3753277" y="734073"/>
                    <a:pt x="3768981" y="741882"/>
                  </a:cubicBezTo>
                  <a:cubicBezTo>
                    <a:pt x="3768981" y="741882"/>
                    <a:pt x="3768981" y="741882"/>
                    <a:pt x="3792537" y="749691"/>
                  </a:cubicBezTo>
                  <a:cubicBezTo>
                    <a:pt x="3792537" y="749691"/>
                    <a:pt x="3792537" y="749691"/>
                    <a:pt x="3784685" y="991779"/>
                  </a:cubicBezTo>
                  <a:lnTo>
                    <a:pt x="3745425" y="1007397"/>
                  </a:lnTo>
                  <a:cubicBezTo>
                    <a:pt x="3745425" y="1007397"/>
                    <a:pt x="3745425" y="1007397"/>
                    <a:pt x="3721869" y="1023016"/>
                  </a:cubicBezTo>
                  <a:cubicBezTo>
                    <a:pt x="3721869" y="1023016"/>
                    <a:pt x="3721869" y="1023016"/>
                    <a:pt x="3753277" y="1054253"/>
                  </a:cubicBezTo>
                  <a:cubicBezTo>
                    <a:pt x="3753277" y="1054253"/>
                    <a:pt x="3753277" y="1054253"/>
                    <a:pt x="3761129" y="1093299"/>
                  </a:cubicBezTo>
                  <a:cubicBezTo>
                    <a:pt x="3761129" y="1093299"/>
                    <a:pt x="3761129" y="1093299"/>
                    <a:pt x="3768981" y="1124537"/>
                  </a:cubicBezTo>
                  <a:cubicBezTo>
                    <a:pt x="3768981" y="1124537"/>
                    <a:pt x="3768981" y="1124537"/>
                    <a:pt x="3768981" y="1140155"/>
                  </a:cubicBezTo>
                  <a:cubicBezTo>
                    <a:pt x="3768981" y="1140155"/>
                    <a:pt x="3768981" y="1140155"/>
                    <a:pt x="3737573" y="1132346"/>
                  </a:cubicBezTo>
                  <a:cubicBezTo>
                    <a:pt x="3737573" y="1132346"/>
                    <a:pt x="3714017" y="1132346"/>
                    <a:pt x="3706165" y="1132346"/>
                  </a:cubicBezTo>
                  <a:cubicBezTo>
                    <a:pt x="3706165" y="1132346"/>
                    <a:pt x="3643348" y="1163583"/>
                    <a:pt x="3643348" y="1163583"/>
                  </a:cubicBezTo>
                  <a:cubicBezTo>
                    <a:pt x="3635496" y="1171392"/>
                    <a:pt x="3588384" y="1218248"/>
                    <a:pt x="3588384" y="1218248"/>
                  </a:cubicBezTo>
                  <a:cubicBezTo>
                    <a:pt x="3588384" y="1218248"/>
                    <a:pt x="3588384" y="1218248"/>
                    <a:pt x="3564828" y="1226057"/>
                  </a:cubicBezTo>
                  <a:cubicBezTo>
                    <a:pt x="3564828" y="1226057"/>
                    <a:pt x="3556976" y="1265104"/>
                    <a:pt x="3549124" y="1265104"/>
                  </a:cubicBezTo>
                  <a:cubicBezTo>
                    <a:pt x="3549124" y="1265104"/>
                    <a:pt x="3502011" y="1226057"/>
                    <a:pt x="3502011" y="1226057"/>
                  </a:cubicBezTo>
                  <a:cubicBezTo>
                    <a:pt x="3502011" y="1226057"/>
                    <a:pt x="3502011" y="1226057"/>
                    <a:pt x="3447047" y="1265104"/>
                  </a:cubicBezTo>
                  <a:cubicBezTo>
                    <a:pt x="3447047" y="1265104"/>
                    <a:pt x="3447047" y="1265104"/>
                    <a:pt x="3439195" y="1249485"/>
                  </a:cubicBezTo>
                  <a:cubicBezTo>
                    <a:pt x="3439195" y="1249485"/>
                    <a:pt x="3439195" y="1249485"/>
                    <a:pt x="3415639" y="1257294"/>
                  </a:cubicBezTo>
                  <a:cubicBezTo>
                    <a:pt x="3415639" y="1257294"/>
                    <a:pt x="3415639" y="1257294"/>
                    <a:pt x="3392083" y="1265104"/>
                  </a:cubicBezTo>
                  <a:cubicBezTo>
                    <a:pt x="3392083" y="1265104"/>
                    <a:pt x="3392083" y="1265104"/>
                    <a:pt x="3376379" y="1288532"/>
                  </a:cubicBezTo>
                  <a:cubicBezTo>
                    <a:pt x="3376379" y="1288532"/>
                    <a:pt x="3376379" y="1288532"/>
                    <a:pt x="3344971" y="1358815"/>
                  </a:cubicBezTo>
                  <a:cubicBezTo>
                    <a:pt x="3344971" y="1358815"/>
                    <a:pt x="3344971" y="1358815"/>
                    <a:pt x="3368527" y="1366624"/>
                  </a:cubicBezTo>
                  <a:cubicBezTo>
                    <a:pt x="3368527" y="1366624"/>
                    <a:pt x="3368527" y="1366624"/>
                    <a:pt x="3368527" y="1382243"/>
                  </a:cubicBezTo>
                  <a:cubicBezTo>
                    <a:pt x="3368527" y="1382243"/>
                    <a:pt x="3368527" y="1382243"/>
                    <a:pt x="3352823" y="1436908"/>
                  </a:cubicBezTo>
                  <a:cubicBezTo>
                    <a:pt x="3352823" y="1436908"/>
                    <a:pt x="3352823" y="1436908"/>
                    <a:pt x="3344971" y="1452526"/>
                  </a:cubicBezTo>
                  <a:cubicBezTo>
                    <a:pt x="3344971" y="1452526"/>
                    <a:pt x="3344971" y="1452526"/>
                    <a:pt x="3344971" y="1491573"/>
                  </a:cubicBezTo>
                  <a:cubicBezTo>
                    <a:pt x="3344971" y="1491573"/>
                    <a:pt x="3344971" y="1491573"/>
                    <a:pt x="3313562" y="1507191"/>
                  </a:cubicBezTo>
                  <a:cubicBezTo>
                    <a:pt x="3313562" y="1507191"/>
                    <a:pt x="3313562" y="1507191"/>
                    <a:pt x="3297858" y="1530619"/>
                  </a:cubicBezTo>
                  <a:cubicBezTo>
                    <a:pt x="3297858" y="1530619"/>
                    <a:pt x="3297858" y="1530619"/>
                    <a:pt x="3282154" y="1569666"/>
                  </a:cubicBezTo>
                  <a:cubicBezTo>
                    <a:pt x="3282154" y="1569666"/>
                    <a:pt x="3282154" y="1569666"/>
                    <a:pt x="3266450" y="1577475"/>
                  </a:cubicBezTo>
                  <a:cubicBezTo>
                    <a:pt x="3266450" y="1577475"/>
                    <a:pt x="3266450" y="1577475"/>
                    <a:pt x="3219338" y="1639949"/>
                  </a:cubicBezTo>
                  <a:cubicBezTo>
                    <a:pt x="3219338" y="1639949"/>
                    <a:pt x="3219338" y="1639949"/>
                    <a:pt x="3180078" y="1452526"/>
                  </a:cubicBezTo>
                  <a:cubicBezTo>
                    <a:pt x="3180078" y="1452526"/>
                    <a:pt x="3180078" y="1452526"/>
                    <a:pt x="3211486" y="1366624"/>
                  </a:cubicBezTo>
                  <a:cubicBezTo>
                    <a:pt x="3211486" y="1366624"/>
                    <a:pt x="3219338" y="1358815"/>
                    <a:pt x="3227190" y="1358815"/>
                  </a:cubicBezTo>
                  <a:cubicBezTo>
                    <a:pt x="3227190" y="1351006"/>
                    <a:pt x="3266450" y="1335387"/>
                    <a:pt x="3266450" y="1335387"/>
                  </a:cubicBezTo>
                  <a:cubicBezTo>
                    <a:pt x="3266450" y="1335387"/>
                    <a:pt x="3266450" y="1335387"/>
                    <a:pt x="3290006" y="1296341"/>
                  </a:cubicBezTo>
                  <a:cubicBezTo>
                    <a:pt x="3290006" y="1296341"/>
                    <a:pt x="3290006" y="1296341"/>
                    <a:pt x="3321415" y="1249485"/>
                  </a:cubicBezTo>
                  <a:cubicBezTo>
                    <a:pt x="3321415" y="1249485"/>
                    <a:pt x="3321415" y="1249485"/>
                    <a:pt x="3352823" y="1233867"/>
                  </a:cubicBezTo>
                  <a:cubicBezTo>
                    <a:pt x="3352823" y="1233867"/>
                    <a:pt x="3352823" y="1233867"/>
                    <a:pt x="3399935" y="1187011"/>
                  </a:cubicBezTo>
                  <a:cubicBezTo>
                    <a:pt x="3399935" y="1187011"/>
                    <a:pt x="3399935" y="1187011"/>
                    <a:pt x="3399935" y="1124537"/>
                  </a:cubicBezTo>
                  <a:cubicBezTo>
                    <a:pt x="3399935" y="1124537"/>
                    <a:pt x="3399935" y="1124537"/>
                    <a:pt x="3344971" y="1179202"/>
                  </a:cubicBezTo>
                  <a:cubicBezTo>
                    <a:pt x="3344971" y="1179202"/>
                    <a:pt x="3344971" y="1179202"/>
                    <a:pt x="3305710" y="1210439"/>
                  </a:cubicBezTo>
                  <a:cubicBezTo>
                    <a:pt x="3305710" y="1210439"/>
                    <a:pt x="3305710" y="1210439"/>
                    <a:pt x="3290006" y="1171392"/>
                  </a:cubicBezTo>
                  <a:cubicBezTo>
                    <a:pt x="3290006" y="1171392"/>
                    <a:pt x="3290006" y="1171392"/>
                    <a:pt x="3227190" y="1163583"/>
                  </a:cubicBezTo>
                  <a:cubicBezTo>
                    <a:pt x="3227190" y="1163583"/>
                    <a:pt x="3227190" y="1163583"/>
                    <a:pt x="3187930" y="1194820"/>
                  </a:cubicBezTo>
                  <a:cubicBezTo>
                    <a:pt x="3187930" y="1194820"/>
                    <a:pt x="3187930" y="1194820"/>
                    <a:pt x="3164374" y="1241676"/>
                  </a:cubicBezTo>
                  <a:cubicBezTo>
                    <a:pt x="3164374" y="1241676"/>
                    <a:pt x="3164374" y="1241676"/>
                    <a:pt x="3156522" y="1280722"/>
                  </a:cubicBezTo>
                  <a:cubicBezTo>
                    <a:pt x="3156522" y="1280722"/>
                    <a:pt x="3156522" y="1280722"/>
                    <a:pt x="3164374" y="1296341"/>
                  </a:cubicBezTo>
                  <a:cubicBezTo>
                    <a:pt x="3164374" y="1296341"/>
                    <a:pt x="3148670" y="1304150"/>
                    <a:pt x="3148670" y="1296341"/>
                  </a:cubicBezTo>
                  <a:cubicBezTo>
                    <a:pt x="3140818" y="1296341"/>
                    <a:pt x="3078001" y="1311959"/>
                    <a:pt x="3078001" y="1311959"/>
                  </a:cubicBezTo>
                  <a:cubicBezTo>
                    <a:pt x="3078001" y="1311959"/>
                    <a:pt x="3078001" y="1311959"/>
                    <a:pt x="3078001" y="1288532"/>
                  </a:cubicBezTo>
                  <a:cubicBezTo>
                    <a:pt x="3078001" y="1288532"/>
                    <a:pt x="3078001" y="1288532"/>
                    <a:pt x="3030889" y="1272913"/>
                  </a:cubicBezTo>
                  <a:cubicBezTo>
                    <a:pt x="3030889" y="1272913"/>
                    <a:pt x="3030889" y="1272913"/>
                    <a:pt x="2991629" y="1280722"/>
                  </a:cubicBezTo>
                  <a:cubicBezTo>
                    <a:pt x="2991629" y="1280722"/>
                    <a:pt x="2991629" y="1280722"/>
                    <a:pt x="2913108" y="1280722"/>
                  </a:cubicBezTo>
                  <a:cubicBezTo>
                    <a:pt x="2913108" y="1280722"/>
                    <a:pt x="2913108" y="1280722"/>
                    <a:pt x="2881700" y="1288532"/>
                  </a:cubicBezTo>
                  <a:cubicBezTo>
                    <a:pt x="2881700" y="1288532"/>
                    <a:pt x="2881700" y="1288532"/>
                    <a:pt x="2779624" y="1390052"/>
                  </a:cubicBezTo>
                  <a:cubicBezTo>
                    <a:pt x="2779624" y="1390052"/>
                    <a:pt x="2779624" y="1390052"/>
                    <a:pt x="2771771" y="1405671"/>
                  </a:cubicBezTo>
                  <a:cubicBezTo>
                    <a:pt x="2771771" y="1405671"/>
                    <a:pt x="2771771" y="1405671"/>
                    <a:pt x="2740363" y="1444717"/>
                  </a:cubicBezTo>
                  <a:cubicBezTo>
                    <a:pt x="2740363" y="1444717"/>
                    <a:pt x="2740363" y="1444717"/>
                    <a:pt x="2701103" y="1483764"/>
                  </a:cubicBezTo>
                  <a:cubicBezTo>
                    <a:pt x="2701103" y="1483764"/>
                    <a:pt x="2701103" y="1483764"/>
                    <a:pt x="2677547" y="1499382"/>
                  </a:cubicBezTo>
                  <a:cubicBezTo>
                    <a:pt x="2677547" y="1499382"/>
                    <a:pt x="2677547" y="1499382"/>
                    <a:pt x="2701103" y="1499382"/>
                  </a:cubicBezTo>
                  <a:cubicBezTo>
                    <a:pt x="2701103" y="1499382"/>
                    <a:pt x="2701103" y="1499382"/>
                    <a:pt x="2716807" y="1530619"/>
                  </a:cubicBezTo>
                  <a:cubicBezTo>
                    <a:pt x="2716807" y="1530619"/>
                    <a:pt x="2732511" y="1546238"/>
                    <a:pt x="2740363" y="1546238"/>
                  </a:cubicBezTo>
                  <a:cubicBezTo>
                    <a:pt x="2740363" y="1546238"/>
                    <a:pt x="2787476" y="1515001"/>
                    <a:pt x="2787476" y="1515001"/>
                  </a:cubicBezTo>
                  <a:cubicBezTo>
                    <a:pt x="2787476" y="1515001"/>
                    <a:pt x="2787476" y="1515001"/>
                    <a:pt x="2826736" y="1554047"/>
                  </a:cubicBezTo>
                  <a:cubicBezTo>
                    <a:pt x="2826736" y="1554047"/>
                    <a:pt x="2826736" y="1554047"/>
                    <a:pt x="2826736" y="1585284"/>
                  </a:cubicBezTo>
                  <a:cubicBezTo>
                    <a:pt x="2826736" y="1585284"/>
                    <a:pt x="2826736" y="1585284"/>
                    <a:pt x="2811032" y="1671186"/>
                  </a:cubicBezTo>
                  <a:cubicBezTo>
                    <a:pt x="2811032" y="1671186"/>
                    <a:pt x="2811032" y="1671186"/>
                    <a:pt x="2803180" y="1741470"/>
                  </a:cubicBezTo>
                  <a:cubicBezTo>
                    <a:pt x="2803180" y="1741470"/>
                    <a:pt x="2803180" y="1741470"/>
                    <a:pt x="2771771" y="1796135"/>
                  </a:cubicBezTo>
                  <a:cubicBezTo>
                    <a:pt x="2771771" y="1796135"/>
                    <a:pt x="2771771" y="1796135"/>
                    <a:pt x="2708955" y="1882037"/>
                  </a:cubicBezTo>
                  <a:cubicBezTo>
                    <a:pt x="2708955" y="1882037"/>
                    <a:pt x="2708955" y="1882037"/>
                    <a:pt x="2685399" y="1913274"/>
                  </a:cubicBezTo>
                  <a:cubicBezTo>
                    <a:pt x="2685399" y="1913274"/>
                    <a:pt x="2685399" y="1913274"/>
                    <a:pt x="2630435" y="1952320"/>
                  </a:cubicBezTo>
                  <a:cubicBezTo>
                    <a:pt x="2630435" y="1952320"/>
                    <a:pt x="2630435" y="1952320"/>
                    <a:pt x="2606879" y="1944511"/>
                  </a:cubicBezTo>
                  <a:cubicBezTo>
                    <a:pt x="2606879" y="1944511"/>
                    <a:pt x="2606879" y="1944511"/>
                    <a:pt x="2599027" y="1944511"/>
                  </a:cubicBezTo>
                  <a:cubicBezTo>
                    <a:pt x="2599027" y="1944511"/>
                    <a:pt x="2599027" y="1944511"/>
                    <a:pt x="2583322" y="1952320"/>
                  </a:cubicBezTo>
                  <a:cubicBezTo>
                    <a:pt x="2583322" y="1952320"/>
                    <a:pt x="2583322" y="1952320"/>
                    <a:pt x="2567618" y="1952320"/>
                  </a:cubicBezTo>
                  <a:cubicBezTo>
                    <a:pt x="2567618" y="1952320"/>
                    <a:pt x="2567618" y="1952320"/>
                    <a:pt x="2559766" y="1952320"/>
                  </a:cubicBezTo>
                  <a:cubicBezTo>
                    <a:pt x="2559766" y="1952320"/>
                    <a:pt x="2559766" y="1952320"/>
                    <a:pt x="2583322" y="1866418"/>
                  </a:cubicBezTo>
                  <a:cubicBezTo>
                    <a:pt x="2583322" y="1866418"/>
                    <a:pt x="2583322" y="1866418"/>
                    <a:pt x="2622583" y="1858609"/>
                  </a:cubicBezTo>
                  <a:cubicBezTo>
                    <a:pt x="2622583" y="1858609"/>
                    <a:pt x="2622583" y="1858609"/>
                    <a:pt x="2661843" y="1741470"/>
                  </a:cubicBezTo>
                  <a:cubicBezTo>
                    <a:pt x="2661843" y="1741470"/>
                    <a:pt x="2661843" y="1741470"/>
                    <a:pt x="2567618" y="1749279"/>
                  </a:cubicBezTo>
                  <a:cubicBezTo>
                    <a:pt x="2567618" y="1749279"/>
                    <a:pt x="2567618" y="1749279"/>
                    <a:pt x="2551914" y="1718042"/>
                  </a:cubicBezTo>
                  <a:cubicBezTo>
                    <a:pt x="2551914" y="1718042"/>
                    <a:pt x="2551914" y="1718042"/>
                    <a:pt x="2489098" y="1702423"/>
                  </a:cubicBezTo>
                  <a:cubicBezTo>
                    <a:pt x="2489098" y="1702423"/>
                    <a:pt x="2489098" y="1702423"/>
                    <a:pt x="2410577" y="1561856"/>
                  </a:cubicBezTo>
                  <a:cubicBezTo>
                    <a:pt x="2410577" y="1561856"/>
                    <a:pt x="2410577" y="1561856"/>
                    <a:pt x="2339909" y="1561856"/>
                  </a:cubicBezTo>
                  <a:cubicBezTo>
                    <a:pt x="2339909" y="1561856"/>
                    <a:pt x="2339909" y="1561856"/>
                    <a:pt x="2316353" y="1600903"/>
                  </a:cubicBezTo>
                  <a:cubicBezTo>
                    <a:pt x="2316353" y="1600903"/>
                    <a:pt x="2316353" y="1600903"/>
                    <a:pt x="2269241" y="1686805"/>
                  </a:cubicBezTo>
                  <a:cubicBezTo>
                    <a:pt x="2269241" y="1686805"/>
                    <a:pt x="2269241" y="1686805"/>
                    <a:pt x="2222128" y="1686805"/>
                  </a:cubicBezTo>
                  <a:cubicBezTo>
                    <a:pt x="2222128" y="1686805"/>
                    <a:pt x="2222128" y="1686805"/>
                    <a:pt x="2214276" y="1702423"/>
                  </a:cubicBezTo>
                  <a:cubicBezTo>
                    <a:pt x="2214276" y="1702423"/>
                    <a:pt x="2214276" y="1702423"/>
                    <a:pt x="2159312" y="1686805"/>
                  </a:cubicBezTo>
                  <a:cubicBezTo>
                    <a:pt x="2159312" y="1686805"/>
                    <a:pt x="2159312" y="1686805"/>
                    <a:pt x="2033679" y="1718042"/>
                  </a:cubicBezTo>
                  <a:cubicBezTo>
                    <a:pt x="2033679" y="1718042"/>
                    <a:pt x="2033679" y="1718042"/>
                    <a:pt x="1986567" y="1678996"/>
                  </a:cubicBezTo>
                  <a:cubicBezTo>
                    <a:pt x="1986567" y="1678996"/>
                    <a:pt x="1986567" y="1678996"/>
                    <a:pt x="1908047" y="1678996"/>
                  </a:cubicBezTo>
                  <a:cubicBezTo>
                    <a:pt x="1908047" y="1678996"/>
                    <a:pt x="1908047" y="1678996"/>
                    <a:pt x="1884491" y="1647758"/>
                  </a:cubicBezTo>
                  <a:cubicBezTo>
                    <a:pt x="1884491" y="1647758"/>
                    <a:pt x="1884491" y="1647758"/>
                    <a:pt x="1790266" y="1608712"/>
                  </a:cubicBezTo>
                  <a:cubicBezTo>
                    <a:pt x="1790266" y="1608712"/>
                    <a:pt x="1790266" y="1608712"/>
                    <a:pt x="1758858" y="1647758"/>
                  </a:cubicBezTo>
                  <a:cubicBezTo>
                    <a:pt x="1758858" y="1647758"/>
                    <a:pt x="1758858" y="1647758"/>
                    <a:pt x="1727450" y="1694614"/>
                  </a:cubicBezTo>
                  <a:cubicBezTo>
                    <a:pt x="1727450" y="1694614"/>
                    <a:pt x="1727450" y="1694614"/>
                    <a:pt x="1664633" y="1663377"/>
                  </a:cubicBezTo>
                  <a:cubicBezTo>
                    <a:pt x="1664633" y="1663377"/>
                    <a:pt x="1664633" y="1663377"/>
                    <a:pt x="1578261" y="1671186"/>
                  </a:cubicBezTo>
                  <a:cubicBezTo>
                    <a:pt x="1578261" y="1671186"/>
                    <a:pt x="1578261" y="1671186"/>
                    <a:pt x="1523297" y="1710233"/>
                  </a:cubicBezTo>
                  <a:cubicBezTo>
                    <a:pt x="1523297" y="1710233"/>
                    <a:pt x="1523297" y="1710233"/>
                    <a:pt x="1507593" y="1741470"/>
                  </a:cubicBezTo>
                  <a:cubicBezTo>
                    <a:pt x="1507593" y="1741470"/>
                    <a:pt x="1507593" y="1741470"/>
                    <a:pt x="1499740" y="1733661"/>
                  </a:cubicBezTo>
                  <a:cubicBezTo>
                    <a:pt x="1499740" y="1733661"/>
                    <a:pt x="1499740" y="1733661"/>
                    <a:pt x="1484036" y="1741470"/>
                  </a:cubicBezTo>
                  <a:cubicBezTo>
                    <a:pt x="1484036" y="1741470"/>
                    <a:pt x="1484036" y="1741470"/>
                    <a:pt x="1484036" y="1694614"/>
                  </a:cubicBezTo>
                  <a:cubicBezTo>
                    <a:pt x="1484036" y="1694614"/>
                    <a:pt x="1484036" y="1694614"/>
                    <a:pt x="1429072" y="1686805"/>
                  </a:cubicBezTo>
                  <a:cubicBezTo>
                    <a:pt x="1429072" y="1686805"/>
                    <a:pt x="1429072" y="1686805"/>
                    <a:pt x="1366256" y="1655568"/>
                  </a:cubicBezTo>
                  <a:cubicBezTo>
                    <a:pt x="1366256" y="1655568"/>
                    <a:pt x="1366256" y="1655568"/>
                    <a:pt x="1287735" y="1655568"/>
                  </a:cubicBezTo>
                  <a:cubicBezTo>
                    <a:pt x="1287735" y="1655568"/>
                    <a:pt x="1287735" y="1655568"/>
                    <a:pt x="1256327" y="1585284"/>
                  </a:cubicBezTo>
                  <a:cubicBezTo>
                    <a:pt x="1256327" y="1585284"/>
                    <a:pt x="1256327" y="1585284"/>
                    <a:pt x="1224919" y="1515001"/>
                  </a:cubicBezTo>
                  <a:cubicBezTo>
                    <a:pt x="1224919" y="1515001"/>
                    <a:pt x="1224919" y="1515001"/>
                    <a:pt x="1185659" y="1522810"/>
                  </a:cubicBezTo>
                  <a:cubicBezTo>
                    <a:pt x="1185659" y="1522810"/>
                    <a:pt x="1185659" y="1522810"/>
                    <a:pt x="1114990" y="1546238"/>
                  </a:cubicBezTo>
                  <a:cubicBezTo>
                    <a:pt x="1114990" y="1546238"/>
                    <a:pt x="1114990" y="1546238"/>
                    <a:pt x="1052174" y="1475954"/>
                  </a:cubicBezTo>
                  <a:cubicBezTo>
                    <a:pt x="1052174" y="1475954"/>
                    <a:pt x="1052174" y="1475954"/>
                    <a:pt x="957950" y="1491573"/>
                  </a:cubicBezTo>
                  <a:cubicBezTo>
                    <a:pt x="957950" y="1491573"/>
                    <a:pt x="957950" y="1491573"/>
                    <a:pt x="855873" y="1530619"/>
                  </a:cubicBezTo>
                  <a:cubicBezTo>
                    <a:pt x="855873" y="1530619"/>
                    <a:pt x="855873" y="1530619"/>
                    <a:pt x="824465" y="1600903"/>
                  </a:cubicBezTo>
                  <a:cubicBezTo>
                    <a:pt x="824465" y="1600903"/>
                    <a:pt x="824465" y="1600903"/>
                    <a:pt x="840169" y="1647758"/>
                  </a:cubicBezTo>
                  <a:cubicBezTo>
                    <a:pt x="840169" y="1647758"/>
                    <a:pt x="840169" y="1647758"/>
                    <a:pt x="785205" y="1663377"/>
                  </a:cubicBezTo>
                  <a:cubicBezTo>
                    <a:pt x="785205" y="1663377"/>
                    <a:pt x="785205" y="1663377"/>
                    <a:pt x="730240" y="1647758"/>
                  </a:cubicBezTo>
                  <a:cubicBezTo>
                    <a:pt x="730240" y="1647758"/>
                    <a:pt x="730240" y="1647758"/>
                    <a:pt x="683128" y="1655568"/>
                  </a:cubicBezTo>
                  <a:cubicBezTo>
                    <a:pt x="683128" y="1655568"/>
                    <a:pt x="683128" y="1655568"/>
                    <a:pt x="643868" y="1632140"/>
                  </a:cubicBezTo>
                  <a:cubicBezTo>
                    <a:pt x="643868" y="1632140"/>
                    <a:pt x="643868" y="1632140"/>
                    <a:pt x="573199" y="1639949"/>
                  </a:cubicBezTo>
                  <a:cubicBezTo>
                    <a:pt x="573199" y="1639949"/>
                    <a:pt x="573199" y="1639949"/>
                    <a:pt x="494679" y="1671186"/>
                  </a:cubicBezTo>
                  <a:cubicBezTo>
                    <a:pt x="494679" y="1671186"/>
                    <a:pt x="494679" y="1671186"/>
                    <a:pt x="471123" y="1733661"/>
                  </a:cubicBezTo>
                  <a:cubicBezTo>
                    <a:pt x="471123" y="1733661"/>
                    <a:pt x="471123" y="1733661"/>
                    <a:pt x="494679" y="1749279"/>
                  </a:cubicBezTo>
                  <a:cubicBezTo>
                    <a:pt x="494679" y="1749279"/>
                    <a:pt x="494679" y="1749279"/>
                    <a:pt x="502531" y="1764898"/>
                  </a:cubicBezTo>
                  <a:cubicBezTo>
                    <a:pt x="502531" y="1764898"/>
                    <a:pt x="502531" y="1764898"/>
                    <a:pt x="494679" y="1757088"/>
                  </a:cubicBezTo>
                  <a:cubicBezTo>
                    <a:pt x="494679" y="1757088"/>
                    <a:pt x="494679" y="1757088"/>
                    <a:pt x="494679" y="1764898"/>
                  </a:cubicBezTo>
                  <a:cubicBezTo>
                    <a:pt x="494679" y="1764898"/>
                    <a:pt x="494679" y="1764898"/>
                    <a:pt x="463271" y="1788325"/>
                  </a:cubicBezTo>
                  <a:cubicBezTo>
                    <a:pt x="463271" y="1788325"/>
                    <a:pt x="463271" y="1788325"/>
                    <a:pt x="439715" y="1835181"/>
                  </a:cubicBezTo>
                  <a:cubicBezTo>
                    <a:pt x="439715" y="1835181"/>
                    <a:pt x="486827" y="1897655"/>
                    <a:pt x="494679" y="1905465"/>
                  </a:cubicBezTo>
                  <a:cubicBezTo>
                    <a:pt x="502531" y="1905465"/>
                    <a:pt x="526087" y="1975748"/>
                    <a:pt x="526087" y="1975748"/>
                  </a:cubicBezTo>
                  <a:cubicBezTo>
                    <a:pt x="526087" y="1975748"/>
                    <a:pt x="526087" y="1975748"/>
                    <a:pt x="502531" y="2006985"/>
                  </a:cubicBezTo>
                  <a:cubicBezTo>
                    <a:pt x="502531" y="2006985"/>
                    <a:pt x="502531" y="2006985"/>
                    <a:pt x="486827" y="2030413"/>
                  </a:cubicBezTo>
                  <a:cubicBezTo>
                    <a:pt x="486827" y="2030413"/>
                    <a:pt x="486827" y="2030413"/>
                    <a:pt x="478975" y="2030413"/>
                  </a:cubicBezTo>
                  <a:cubicBezTo>
                    <a:pt x="478975" y="2030413"/>
                    <a:pt x="478975" y="2030413"/>
                    <a:pt x="478975" y="2014795"/>
                  </a:cubicBezTo>
                  <a:cubicBezTo>
                    <a:pt x="478975" y="2014795"/>
                    <a:pt x="478975" y="2014795"/>
                    <a:pt x="463271" y="1999176"/>
                  </a:cubicBezTo>
                  <a:cubicBezTo>
                    <a:pt x="463271" y="1999176"/>
                    <a:pt x="463271" y="1999176"/>
                    <a:pt x="439715" y="2022604"/>
                  </a:cubicBezTo>
                  <a:cubicBezTo>
                    <a:pt x="439715" y="2022604"/>
                    <a:pt x="439715" y="2022604"/>
                    <a:pt x="408306" y="2022604"/>
                  </a:cubicBezTo>
                  <a:cubicBezTo>
                    <a:pt x="408306" y="2022604"/>
                    <a:pt x="408306" y="2022604"/>
                    <a:pt x="384750" y="1999176"/>
                  </a:cubicBezTo>
                  <a:cubicBezTo>
                    <a:pt x="384750" y="1999176"/>
                    <a:pt x="384750" y="1999176"/>
                    <a:pt x="392602" y="1991367"/>
                  </a:cubicBezTo>
                  <a:cubicBezTo>
                    <a:pt x="392602" y="1991367"/>
                    <a:pt x="392602" y="1991367"/>
                    <a:pt x="369046" y="1952320"/>
                  </a:cubicBezTo>
                  <a:cubicBezTo>
                    <a:pt x="369046" y="1952320"/>
                    <a:pt x="369046" y="1952320"/>
                    <a:pt x="353342" y="1936702"/>
                  </a:cubicBezTo>
                  <a:cubicBezTo>
                    <a:pt x="353342" y="1936702"/>
                    <a:pt x="353342" y="1936702"/>
                    <a:pt x="329786" y="1936702"/>
                  </a:cubicBezTo>
                  <a:cubicBezTo>
                    <a:pt x="329786" y="1936702"/>
                    <a:pt x="329786" y="1936702"/>
                    <a:pt x="314082" y="1928893"/>
                  </a:cubicBezTo>
                  <a:cubicBezTo>
                    <a:pt x="314082" y="1928893"/>
                    <a:pt x="314082" y="1928893"/>
                    <a:pt x="314082" y="1905465"/>
                  </a:cubicBezTo>
                  <a:cubicBezTo>
                    <a:pt x="314082" y="1905465"/>
                    <a:pt x="314082" y="1905465"/>
                    <a:pt x="274822" y="1866418"/>
                  </a:cubicBezTo>
                  <a:cubicBezTo>
                    <a:pt x="274822" y="1866418"/>
                    <a:pt x="274822" y="1866418"/>
                    <a:pt x="227710" y="1842990"/>
                  </a:cubicBezTo>
                  <a:cubicBezTo>
                    <a:pt x="227710" y="1842990"/>
                    <a:pt x="227710" y="1842990"/>
                    <a:pt x="204153" y="1811753"/>
                  </a:cubicBezTo>
                  <a:cubicBezTo>
                    <a:pt x="204153" y="1811753"/>
                    <a:pt x="204153" y="1811753"/>
                    <a:pt x="227710" y="1780516"/>
                  </a:cubicBezTo>
                  <a:cubicBezTo>
                    <a:pt x="227710" y="1780516"/>
                    <a:pt x="227710" y="1780516"/>
                    <a:pt x="243414" y="1749279"/>
                  </a:cubicBezTo>
                  <a:cubicBezTo>
                    <a:pt x="243414" y="1749279"/>
                    <a:pt x="243414" y="1749279"/>
                    <a:pt x="219857" y="1757088"/>
                  </a:cubicBezTo>
                  <a:cubicBezTo>
                    <a:pt x="219857" y="1757088"/>
                    <a:pt x="219857" y="1757088"/>
                    <a:pt x="235562" y="1741470"/>
                  </a:cubicBezTo>
                  <a:cubicBezTo>
                    <a:pt x="235562" y="1741470"/>
                    <a:pt x="235562" y="1741470"/>
                    <a:pt x="251266" y="1718042"/>
                  </a:cubicBezTo>
                  <a:cubicBezTo>
                    <a:pt x="251266" y="1718042"/>
                    <a:pt x="251266" y="1718042"/>
                    <a:pt x="266970" y="1710233"/>
                  </a:cubicBezTo>
                  <a:cubicBezTo>
                    <a:pt x="266970" y="1710233"/>
                    <a:pt x="266970" y="1710233"/>
                    <a:pt x="274822" y="1671186"/>
                  </a:cubicBezTo>
                  <a:cubicBezTo>
                    <a:pt x="274822" y="1671186"/>
                    <a:pt x="274822" y="1671186"/>
                    <a:pt x="266970" y="1671186"/>
                  </a:cubicBezTo>
                  <a:cubicBezTo>
                    <a:pt x="266970" y="1671186"/>
                    <a:pt x="266970" y="1671186"/>
                    <a:pt x="172745" y="1632140"/>
                  </a:cubicBezTo>
                  <a:cubicBezTo>
                    <a:pt x="172745" y="1632140"/>
                    <a:pt x="172745" y="1632140"/>
                    <a:pt x="164893" y="1624331"/>
                  </a:cubicBezTo>
                  <a:cubicBezTo>
                    <a:pt x="164893" y="1624331"/>
                    <a:pt x="164893" y="1624331"/>
                    <a:pt x="141337" y="1600903"/>
                  </a:cubicBezTo>
                  <a:cubicBezTo>
                    <a:pt x="141337" y="1600903"/>
                    <a:pt x="141337" y="1600903"/>
                    <a:pt x="117781" y="1600903"/>
                  </a:cubicBezTo>
                  <a:cubicBezTo>
                    <a:pt x="117781" y="1600903"/>
                    <a:pt x="117781" y="1600903"/>
                    <a:pt x="102077" y="1593093"/>
                  </a:cubicBezTo>
                  <a:cubicBezTo>
                    <a:pt x="102077" y="1593093"/>
                    <a:pt x="102077" y="1593093"/>
                    <a:pt x="94225" y="1569666"/>
                  </a:cubicBezTo>
                  <a:cubicBezTo>
                    <a:pt x="94225" y="1569666"/>
                    <a:pt x="94225" y="1569666"/>
                    <a:pt x="117781" y="1554047"/>
                  </a:cubicBezTo>
                  <a:cubicBezTo>
                    <a:pt x="117781" y="1554047"/>
                    <a:pt x="117781" y="1554047"/>
                    <a:pt x="125633" y="1538428"/>
                  </a:cubicBezTo>
                  <a:cubicBezTo>
                    <a:pt x="125633" y="1538428"/>
                    <a:pt x="125633" y="1538428"/>
                    <a:pt x="102077" y="1522810"/>
                  </a:cubicBezTo>
                  <a:cubicBezTo>
                    <a:pt x="102077" y="1522810"/>
                    <a:pt x="102077" y="1522810"/>
                    <a:pt x="70669" y="1452526"/>
                  </a:cubicBezTo>
                  <a:cubicBezTo>
                    <a:pt x="70669" y="1452526"/>
                    <a:pt x="70669" y="1452526"/>
                    <a:pt x="47113" y="1444717"/>
                  </a:cubicBezTo>
                  <a:cubicBezTo>
                    <a:pt x="47113" y="1444717"/>
                    <a:pt x="47113" y="1444717"/>
                    <a:pt x="15704" y="1429099"/>
                  </a:cubicBezTo>
                  <a:cubicBezTo>
                    <a:pt x="15704" y="1429099"/>
                    <a:pt x="15704" y="1429099"/>
                    <a:pt x="0" y="1390052"/>
                  </a:cubicBezTo>
                  <a:cubicBezTo>
                    <a:pt x="0" y="1390052"/>
                    <a:pt x="0" y="1390052"/>
                    <a:pt x="7852" y="1335387"/>
                  </a:cubicBezTo>
                  <a:cubicBezTo>
                    <a:pt x="7852" y="1335387"/>
                    <a:pt x="7852" y="1335387"/>
                    <a:pt x="7852" y="1311959"/>
                  </a:cubicBezTo>
                  <a:cubicBezTo>
                    <a:pt x="7852" y="1311959"/>
                    <a:pt x="7852" y="1311959"/>
                    <a:pt x="15704" y="1280722"/>
                  </a:cubicBezTo>
                  <a:cubicBezTo>
                    <a:pt x="15704" y="1280722"/>
                    <a:pt x="15704" y="1280722"/>
                    <a:pt x="7852" y="1272913"/>
                  </a:cubicBezTo>
                  <a:cubicBezTo>
                    <a:pt x="7852" y="1272913"/>
                    <a:pt x="7852" y="1272913"/>
                    <a:pt x="31408" y="1272913"/>
                  </a:cubicBezTo>
                  <a:cubicBezTo>
                    <a:pt x="31408" y="1272913"/>
                    <a:pt x="31408" y="1272913"/>
                    <a:pt x="31408" y="1233867"/>
                  </a:cubicBezTo>
                  <a:cubicBezTo>
                    <a:pt x="31408" y="1233867"/>
                    <a:pt x="31408" y="1233867"/>
                    <a:pt x="15704" y="1226057"/>
                  </a:cubicBezTo>
                  <a:cubicBezTo>
                    <a:pt x="15704" y="1226057"/>
                    <a:pt x="15704" y="1226057"/>
                    <a:pt x="0" y="1226057"/>
                  </a:cubicBezTo>
                  <a:cubicBezTo>
                    <a:pt x="0" y="1226057"/>
                    <a:pt x="0" y="1226057"/>
                    <a:pt x="86373" y="1116727"/>
                  </a:cubicBezTo>
                  <a:cubicBezTo>
                    <a:pt x="86373" y="1116727"/>
                    <a:pt x="86373" y="1116727"/>
                    <a:pt x="94225" y="1101109"/>
                  </a:cubicBezTo>
                  <a:cubicBezTo>
                    <a:pt x="94225" y="1101109"/>
                    <a:pt x="94225" y="1101109"/>
                    <a:pt x="78521" y="1093299"/>
                  </a:cubicBezTo>
                  <a:cubicBezTo>
                    <a:pt x="78521" y="1093299"/>
                    <a:pt x="78521" y="1093299"/>
                    <a:pt x="62817" y="1069872"/>
                  </a:cubicBezTo>
                  <a:cubicBezTo>
                    <a:pt x="62817" y="1069872"/>
                    <a:pt x="62817" y="1069872"/>
                    <a:pt x="70669" y="1038634"/>
                  </a:cubicBezTo>
                  <a:cubicBezTo>
                    <a:pt x="70669" y="1038634"/>
                    <a:pt x="62817" y="1023016"/>
                    <a:pt x="54965" y="1023016"/>
                  </a:cubicBezTo>
                  <a:cubicBezTo>
                    <a:pt x="54965" y="1023016"/>
                    <a:pt x="62817" y="1007397"/>
                    <a:pt x="62817" y="1007397"/>
                  </a:cubicBezTo>
                  <a:cubicBezTo>
                    <a:pt x="62817" y="1007397"/>
                    <a:pt x="62817" y="1007397"/>
                    <a:pt x="47113" y="991779"/>
                  </a:cubicBezTo>
                  <a:cubicBezTo>
                    <a:pt x="47113" y="991779"/>
                    <a:pt x="47113" y="991779"/>
                    <a:pt x="54965" y="983970"/>
                  </a:cubicBezTo>
                  <a:cubicBezTo>
                    <a:pt x="54965" y="983970"/>
                    <a:pt x="54965" y="983970"/>
                    <a:pt x="47113" y="968351"/>
                  </a:cubicBezTo>
                  <a:cubicBezTo>
                    <a:pt x="47113" y="968351"/>
                    <a:pt x="47113" y="968351"/>
                    <a:pt x="62817" y="952732"/>
                  </a:cubicBezTo>
                  <a:cubicBezTo>
                    <a:pt x="62817" y="952732"/>
                    <a:pt x="62817" y="952732"/>
                    <a:pt x="31408" y="874640"/>
                  </a:cubicBezTo>
                  <a:cubicBezTo>
                    <a:pt x="31408" y="874640"/>
                    <a:pt x="31408" y="874640"/>
                    <a:pt x="62817" y="835593"/>
                  </a:cubicBezTo>
                  <a:cubicBezTo>
                    <a:pt x="62817" y="835593"/>
                    <a:pt x="62817" y="835593"/>
                    <a:pt x="47113" y="796547"/>
                  </a:cubicBezTo>
                  <a:cubicBezTo>
                    <a:pt x="47113" y="796547"/>
                    <a:pt x="47113" y="796547"/>
                    <a:pt x="23556" y="780928"/>
                  </a:cubicBezTo>
                  <a:cubicBezTo>
                    <a:pt x="23556" y="780928"/>
                    <a:pt x="23556" y="780928"/>
                    <a:pt x="15704" y="773119"/>
                  </a:cubicBezTo>
                  <a:cubicBezTo>
                    <a:pt x="15704" y="773119"/>
                    <a:pt x="15704" y="773119"/>
                    <a:pt x="23556" y="749691"/>
                  </a:cubicBezTo>
                  <a:cubicBezTo>
                    <a:pt x="23556" y="749691"/>
                    <a:pt x="23556" y="749691"/>
                    <a:pt x="23556" y="741882"/>
                  </a:cubicBezTo>
                  <a:cubicBezTo>
                    <a:pt x="23556" y="741882"/>
                    <a:pt x="23556" y="741882"/>
                    <a:pt x="31408" y="734073"/>
                  </a:cubicBezTo>
                  <a:cubicBezTo>
                    <a:pt x="31408" y="734073"/>
                    <a:pt x="31408" y="734073"/>
                    <a:pt x="31408" y="726263"/>
                  </a:cubicBezTo>
                  <a:cubicBezTo>
                    <a:pt x="31408" y="726263"/>
                    <a:pt x="31408" y="726263"/>
                    <a:pt x="62817" y="695026"/>
                  </a:cubicBezTo>
                  <a:cubicBezTo>
                    <a:pt x="62817" y="695026"/>
                    <a:pt x="62817" y="695026"/>
                    <a:pt x="70669" y="679408"/>
                  </a:cubicBezTo>
                  <a:cubicBezTo>
                    <a:pt x="70669" y="679408"/>
                    <a:pt x="70669" y="679408"/>
                    <a:pt x="78521" y="679408"/>
                  </a:cubicBezTo>
                  <a:cubicBezTo>
                    <a:pt x="78521" y="679408"/>
                    <a:pt x="78521" y="679408"/>
                    <a:pt x="102077" y="679408"/>
                  </a:cubicBezTo>
                  <a:cubicBezTo>
                    <a:pt x="102077" y="679408"/>
                    <a:pt x="102077" y="679408"/>
                    <a:pt x="133485" y="679408"/>
                  </a:cubicBezTo>
                  <a:cubicBezTo>
                    <a:pt x="133485" y="679408"/>
                    <a:pt x="133485" y="679408"/>
                    <a:pt x="133485" y="702835"/>
                  </a:cubicBezTo>
                  <a:cubicBezTo>
                    <a:pt x="133485" y="702835"/>
                    <a:pt x="133485" y="702835"/>
                    <a:pt x="157041" y="710645"/>
                  </a:cubicBezTo>
                  <a:cubicBezTo>
                    <a:pt x="157041" y="710645"/>
                    <a:pt x="157041" y="710645"/>
                    <a:pt x="204153" y="726263"/>
                  </a:cubicBezTo>
                  <a:cubicBezTo>
                    <a:pt x="204153" y="726263"/>
                    <a:pt x="204153" y="726263"/>
                    <a:pt x="235562" y="757500"/>
                  </a:cubicBezTo>
                  <a:cubicBezTo>
                    <a:pt x="235562" y="757500"/>
                    <a:pt x="235562" y="757500"/>
                    <a:pt x="282674" y="788738"/>
                  </a:cubicBezTo>
                  <a:cubicBezTo>
                    <a:pt x="282674" y="788738"/>
                    <a:pt x="282674" y="788738"/>
                    <a:pt x="337638" y="851212"/>
                  </a:cubicBezTo>
                  <a:cubicBezTo>
                    <a:pt x="337638" y="851212"/>
                    <a:pt x="337638" y="851212"/>
                    <a:pt x="329786" y="890258"/>
                  </a:cubicBezTo>
                  <a:cubicBezTo>
                    <a:pt x="329786" y="890258"/>
                    <a:pt x="329786" y="890258"/>
                    <a:pt x="298378" y="913686"/>
                  </a:cubicBezTo>
                  <a:cubicBezTo>
                    <a:pt x="298378" y="913686"/>
                    <a:pt x="298378" y="913686"/>
                    <a:pt x="243414" y="921495"/>
                  </a:cubicBezTo>
                  <a:cubicBezTo>
                    <a:pt x="243414" y="921495"/>
                    <a:pt x="243414" y="921495"/>
                    <a:pt x="188449" y="905877"/>
                  </a:cubicBezTo>
                  <a:cubicBezTo>
                    <a:pt x="188449" y="905877"/>
                    <a:pt x="180597" y="882449"/>
                    <a:pt x="172745" y="882449"/>
                  </a:cubicBezTo>
                  <a:cubicBezTo>
                    <a:pt x="172745" y="882449"/>
                    <a:pt x="141337" y="874640"/>
                    <a:pt x="141337" y="874640"/>
                  </a:cubicBezTo>
                  <a:cubicBezTo>
                    <a:pt x="141337" y="874640"/>
                    <a:pt x="141337" y="874640"/>
                    <a:pt x="125633" y="866830"/>
                  </a:cubicBezTo>
                  <a:cubicBezTo>
                    <a:pt x="125633" y="866830"/>
                    <a:pt x="125633" y="866830"/>
                    <a:pt x="109929" y="866830"/>
                  </a:cubicBezTo>
                  <a:cubicBezTo>
                    <a:pt x="109929" y="866830"/>
                    <a:pt x="109929" y="866830"/>
                    <a:pt x="117781" y="882449"/>
                  </a:cubicBezTo>
                  <a:cubicBezTo>
                    <a:pt x="117781" y="882449"/>
                    <a:pt x="117781" y="882449"/>
                    <a:pt x="149189" y="905877"/>
                  </a:cubicBezTo>
                  <a:cubicBezTo>
                    <a:pt x="149189" y="905877"/>
                    <a:pt x="149189" y="905877"/>
                    <a:pt x="180597" y="921495"/>
                  </a:cubicBezTo>
                  <a:cubicBezTo>
                    <a:pt x="180597" y="921495"/>
                    <a:pt x="180597" y="921495"/>
                    <a:pt x="180597" y="944923"/>
                  </a:cubicBezTo>
                  <a:cubicBezTo>
                    <a:pt x="180597" y="944923"/>
                    <a:pt x="180597" y="944923"/>
                    <a:pt x="164893" y="960542"/>
                  </a:cubicBezTo>
                  <a:cubicBezTo>
                    <a:pt x="164893" y="960542"/>
                    <a:pt x="164893" y="960542"/>
                    <a:pt x="180597" y="999588"/>
                  </a:cubicBezTo>
                  <a:cubicBezTo>
                    <a:pt x="180597" y="999588"/>
                    <a:pt x="180597" y="999588"/>
                    <a:pt x="180597" y="1015207"/>
                  </a:cubicBezTo>
                  <a:cubicBezTo>
                    <a:pt x="180597" y="1015207"/>
                    <a:pt x="180597" y="1015207"/>
                    <a:pt x="204153" y="1038634"/>
                  </a:cubicBezTo>
                  <a:cubicBezTo>
                    <a:pt x="204153" y="1038634"/>
                    <a:pt x="204153" y="1038634"/>
                    <a:pt x="243414" y="1062062"/>
                  </a:cubicBezTo>
                  <a:cubicBezTo>
                    <a:pt x="243414" y="1062062"/>
                    <a:pt x="243414" y="1062062"/>
                    <a:pt x="259118" y="1054253"/>
                  </a:cubicBezTo>
                  <a:cubicBezTo>
                    <a:pt x="259118" y="1054253"/>
                    <a:pt x="259118" y="1054253"/>
                    <a:pt x="251266" y="1030825"/>
                  </a:cubicBezTo>
                  <a:cubicBezTo>
                    <a:pt x="251266" y="1030825"/>
                    <a:pt x="251266" y="1030825"/>
                    <a:pt x="235562" y="1007397"/>
                  </a:cubicBezTo>
                  <a:cubicBezTo>
                    <a:pt x="235562" y="1007397"/>
                    <a:pt x="235562" y="1007397"/>
                    <a:pt x="235562" y="991779"/>
                  </a:cubicBezTo>
                  <a:cubicBezTo>
                    <a:pt x="235562" y="991779"/>
                    <a:pt x="235562" y="991779"/>
                    <a:pt x="259118" y="999588"/>
                  </a:cubicBezTo>
                  <a:cubicBezTo>
                    <a:pt x="259118" y="999588"/>
                    <a:pt x="298378" y="999588"/>
                    <a:pt x="306230" y="1007397"/>
                  </a:cubicBezTo>
                  <a:cubicBezTo>
                    <a:pt x="306230" y="1007397"/>
                    <a:pt x="321934" y="1015207"/>
                    <a:pt x="321934" y="1015207"/>
                  </a:cubicBezTo>
                  <a:cubicBezTo>
                    <a:pt x="321934" y="1015207"/>
                    <a:pt x="321934" y="1015207"/>
                    <a:pt x="298378" y="960542"/>
                  </a:cubicBezTo>
                  <a:cubicBezTo>
                    <a:pt x="298378" y="960542"/>
                    <a:pt x="298378" y="960542"/>
                    <a:pt x="314082" y="944923"/>
                  </a:cubicBezTo>
                  <a:cubicBezTo>
                    <a:pt x="314082" y="944923"/>
                    <a:pt x="314082" y="944923"/>
                    <a:pt x="337638" y="921495"/>
                  </a:cubicBezTo>
                  <a:cubicBezTo>
                    <a:pt x="337638" y="921495"/>
                    <a:pt x="337638" y="921495"/>
                    <a:pt x="361194" y="905877"/>
                  </a:cubicBezTo>
                  <a:cubicBezTo>
                    <a:pt x="361194" y="905877"/>
                    <a:pt x="361194" y="905877"/>
                    <a:pt x="384750" y="905877"/>
                  </a:cubicBezTo>
                  <a:cubicBezTo>
                    <a:pt x="384750" y="905877"/>
                    <a:pt x="384750" y="905877"/>
                    <a:pt x="408306" y="921495"/>
                  </a:cubicBezTo>
                  <a:cubicBezTo>
                    <a:pt x="408306" y="921495"/>
                    <a:pt x="408306" y="921495"/>
                    <a:pt x="424011" y="874640"/>
                  </a:cubicBezTo>
                  <a:cubicBezTo>
                    <a:pt x="424011" y="874640"/>
                    <a:pt x="424011" y="874640"/>
                    <a:pt x="408306" y="851212"/>
                  </a:cubicBezTo>
                  <a:cubicBezTo>
                    <a:pt x="408306" y="851212"/>
                    <a:pt x="408306" y="851212"/>
                    <a:pt x="408306" y="796547"/>
                  </a:cubicBezTo>
                  <a:cubicBezTo>
                    <a:pt x="408306" y="796547"/>
                    <a:pt x="408306" y="796547"/>
                    <a:pt x="392602" y="765310"/>
                  </a:cubicBezTo>
                  <a:cubicBezTo>
                    <a:pt x="392602" y="765310"/>
                    <a:pt x="392602" y="765310"/>
                    <a:pt x="416159" y="773119"/>
                  </a:cubicBezTo>
                  <a:cubicBezTo>
                    <a:pt x="416159" y="773119"/>
                    <a:pt x="416159" y="773119"/>
                    <a:pt x="431863" y="773119"/>
                  </a:cubicBezTo>
                  <a:cubicBezTo>
                    <a:pt x="431863" y="773119"/>
                    <a:pt x="431863" y="773119"/>
                    <a:pt x="463271" y="780928"/>
                  </a:cubicBezTo>
                  <a:cubicBezTo>
                    <a:pt x="463271" y="780928"/>
                    <a:pt x="463271" y="780928"/>
                    <a:pt x="471123" y="812165"/>
                  </a:cubicBezTo>
                  <a:cubicBezTo>
                    <a:pt x="471123" y="812165"/>
                    <a:pt x="471123" y="812165"/>
                    <a:pt x="447567" y="827784"/>
                  </a:cubicBezTo>
                  <a:cubicBezTo>
                    <a:pt x="447567" y="827784"/>
                    <a:pt x="447567" y="827784"/>
                    <a:pt x="439715" y="851212"/>
                  </a:cubicBezTo>
                  <a:cubicBezTo>
                    <a:pt x="439715" y="851212"/>
                    <a:pt x="439715" y="851212"/>
                    <a:pt x="463271" y="874640"/>
                  </a:cubicBezTo>
                  <a:cubicBezTo>
                    <a:pt x="463271" y="874640"/>
                    <a:pt x="463271" y="874640"/>
                    <a:pt x="486827" y="874640"/>
                  </a:cubicBezTo>
                  <a:cubicBezTo>
                    <a:pt x="486827" y="874640"/>
                    <a:pt x="486827" y="874640"/>
                    <a:pt x="502531" y="835593"/>
                  </a:cubicBezTo>
                  <a:cubicBezTo>
                    <a:pt x="502531" y="835593"/>
                    <a:pt x="502531" y="835593"/>
                    <a:pt x="518235" y="827784"/>
                  </a:cubicBezTo>
                  <a:cubicBezTo>
                    <a:pt x="518235" y="827784"/>
                    <a:pt x="518235" y="827784"/>
                    <a:pt x="573199" y="796547"/>
                  </a:cubicBezTo>
                  <a:cubicBezTo>
                    <a:pt x="573199" y="796547"/>
                    <a:pt x="573199" y="796547"/>
                    <a:pt x="620312" y="765310"/>
                  </a:cubicBezTo>
                  <a:cubicBezTo>
                    <a:pt x="620312" y="765310"/>
                    <a:pt x="620312" y="765310"/>
                    <a:pt x="651720" y="757500"/>
                  </a:cubicBezTo>
                  <a:cubicBezTo>
                    <a:pt x="651720" y="757500"/>
                    <a:pt x="651720" y="757500"/>
                    <a:pt x="667424" y="773119"/>
                  </a:cubicBezTo>
                  <a:cubicBezTo>
                    <a:pt x="667424" y="773119"/>
                    <a:pt x="667424" y="773119"/>
                    <a:pt x="698832" y="765310"/>
                  </a:cubicBezTo>
                  <a:cubicBezTo>
                    <a:pt x="698832" y="765310"/>
                    <a:pt x="698832" y="765310"/>
                    <a:pt x="730240" y="757500"/>
                  </a:cubicBezTo>
                  <a:cubicBezTo>
                    <a:pt x="730240" y="757500"/>
                    <a:pt x="730240" y="757500"/>
                    <a:pt x="769500" y="741882"/>
                  </a:cubicBezTo>
                  <a:cubicBezTo>
                    <a:pt x="769500" y="741882"/>
                    <a:pt x="769500" y="741882"/>
                    <a:pt x="800909" y="749691"/>
                  </a:cubicBezTo>
                  <a:cubicBezTo>
                    <a:pt x="800909" y="749691"/>
                    <a:pt x="800909" y="749691"/>
                    <a:pt x="816613" y="741882"/>
                  </a:cubicBezTo>
                  <a:cubicBezTo>
                    <a:pt x="816613" y="741882"/>
                    <a:pt x="816613" y="741882"/>
                    <a:pt x="808761" y="687217"/>
                  </a:cubicBezTo>
                  <a:cubicBezTo>
                    <a:pt x="808761" y="687217"/>
                    <a:pt x="808761" y="687217"/>
                    <a:pt x="848021" y="687217"/>
                  </a:cubicBezTo>
                  <a:cubicBezTo>
                    <a:pt x="848021" y="687217"/>
                    <a:pt x="848021" y="687217"/>
                    <a:pt x="887281" y="687217"/>
                  </a:cubicBezTo>
                  <a:cubicBezTo>
                    <a:pt x="887281" y="687217"/>
                    <a:pt x="887281" y="687217"/>
                    <a:pt x="950097" y="734073"/>
                  </a:cubicBezTo>
                  <a:cubicBezTo>
                    <a:pt x="950097" y="734073"/>
                    <a:pt x="950097" y="734073"/>
                    <a:pt x="1005062" y="788738"/>
                  </a:cubicBezTo>
                  <a:cubicBezTo>
                    <a:pt x="1005062" y="788738"/>
                    <a:pt x="1005062" y="788738"/>
                    <a:pt x="1036470" y="734073"/>
                  </a:cubicBezTo>
                  <a:cubicBezTo>
                    <a:pt x="1036470" y="734073"/>
                    <a:pt x="1036470" y="734073"/>
                    <a:pt x="989358" y="687217"/>
                  </a:cubicBezTo>
                  <a:cubicBezTo>
                    <a:pt x="989358" y="687217"/>
                    <a:pt x="989358" y="687217"/>
                    <a:pt x="981506" y="671598"/>
                  </a:cubicBezTo>
                  <a:cubicBezTo>
                    <a:pt x="981506" y="671598"/>
                    <a:pt x="981506" y="671598"/>
                    <a:pt x="989358" y="632552"/>
                  </a:cubicBezTo>
                  <a:cubicBezTo>
                    <a:pt x="989358" y="632552"/>
                    <a:pt x="989358" y="632552"/>
                    <a:pt x="965802" y="593505"/>
                  </a:cubicBezTo>
                  <a:cubicBezTo>
                    <a:pt x="965802" y="593505"/>
                    <a:pt x="965802" y="593505"/>
                    <a:pt x="981506" y="570078"/>
                  </a:cubicBezTo>
                  <a:cubicBezTo>
                    <a:pt x="981506" y="570078"/>
                    <a:pt x="981506" y="570078"/>
                    <a:pt x="1005062" y="546650"/>
                  </a:cubicBezTo>
                  <a:cubicBezTo>
                    <a:pt x="1005062" y="546650"/>
                    <a:pt x="1005062" y="546650"/>
                    <a:pt x="1028618" y="437320"/>
                  </a:cubicBezTo>
                  <a:cubicBezTo>
                    <a:pt x="1028618" y="437320"/>
                    <a:pt x="1028618" y="437320"/>
                    <a:pt x="1075730" y="437320"/>
                  </a:cubicBezTo>
                  <a:cubicBezTo>
                    <a:pt x="1075730" y="437320"/>
                    <a:pt x="1075730" y="437320"/>
                    <a:pt x="1122842" y="452938"/>
                  </a:cubicBezTo>
                  <a:cubicBezTo>
                    <a:pt x="1122842" y="452938"/>
                    <a:pt x="1122842" y="452938"/>
                    <a:pt x="1130694" y="491985"/>
                  </a:cubicBezTo>
                  <a:cubicBezTo>
                    <a:pt x="1130694" y="491985"/>
                    <a:pt x="1130694" y="491985"/>
                    <a:pt x="1138546" y="531031"/>
                  </a:cubicBezTo>
                  <a:cubicBezTo>
                    <a:pt x="1138546" y="531031"/>
                    <a:pt x="1138546" y="531031"/>
                    <a:pt x="1122842" y="593505"/>
                  </a:cubicBezTo>
                  <a:cubicBezTo>
                    <a:pt x="1122842" y="593505"/>
                    <a:pt x="1122842" y="593505"/>
                    <a:pt x="1138546" y="624743"/>
                  </a:cubicBezTo>
                  <a:cubicBezTo>
                    <a:pt x="1138546" y="624743"/>
                    <a:pt x="1138546" y="624743"/>
                    <a:pt x="1162103" y="616933"/>
                  </a:cubicBezTo>
                  <a:cubicBezTo>
                    <a:pt x="1162103" y="616933"/>
                    <a:pt x="1169955" y="554459"/>
                    <a:pt x="1162103" y="546650"/>
                  </a:cubicBezTo>
                  <a:cubicBezTo>
                    <a:pt x="1162103" y="546650"/>
                    <a:pt x="1162103" y="507603"/>
                    <a:pt x="1162103" y="507603"/>
                  </a:cubicBezTo>
                  <a:cubicBezTo>
                    <a:pt x="1162103" y="507603"/>
                    <a:pt x="1162103" y="507603"/>
                    <a:pt x="1177807" y="460748"/>
                  </a:cubicBezTo>
                  <a:cubicBezTo>
                    <a:pt x="1177807" y="460748"/>
                    <a:pt x="1177807" y="460748"/>
                    <a:pt x="1193511" y="460748"/>
                  </a:cubicBezTo>
                  <a:cubicBezTo>
                    <a:pt x="1193511" y="460748"/>
                    <a:pt x="1193511" y="460748"/>
                    <a:pt x="1217067" y="484175"/>
                  </a:cubicBezTo>
                  <a:cubicBezTo>
                    <a:pt x="1217067" y="484175"/>
                    <a:pt x="1217067" y="523222"/>
                    <a:pt x="1240623" y="515413"/>
                  </a:cubicBezTo>
                  <a:cubicBezTo>
                    <a:pt x="1256327" y="507603"/>
                    <a:pt x="1272031" y="476366"/>
                    <a:pt x="1272031" y="476366"/>
                  </a:cubicBezTo>
                  <a:cubicBezTo>
                    <a:pt x="1272031" y="476366"/>
                    <a:pt x="1272031" y="476366"/>
                    <a:pt x="1311291" y="491985"/>
                  </a:cubicBezTo>
                  <a:cubicBezTo>
                    <a:pt x="1311291" y="491985"/>
                    <a:pt x="1334848" y="499794"/>
                    <a:pt x="1334848" y="499794"/>
                  </a:cubicBezTo>
                  <a:cubicBezTo>
                    <a:pt x="1342700" y="491985"/>
                    <a:pt x="1326996" y="421701"/>
                    <a:pt x="1326996" y="421701"/>
                  </a:cubicBezTo>
                  <a:cubicBezTo>
                    <a:pt x="1326996" y="421701"/>
                    <a:pt x="1326996" y="421701"/>
                    <a:pt x="1350552" y="390464"/>
                  </a:cubicBezTo>
                  <a:cubicBezTo>
                    <a:pt x="1350552" y="390464"/>
                    <a:pt x="1468332" y="359227"/>
                    <a:pt x="1476184" y="359227"/>
                  </a:cubicBezTo>
                  <a:cubicBezTo>
                    <a:pt x="1484036" y="359227"/>
                    <a:pt x="1491888" y="273325"/>
                    <a:pt x="1491888" y="273325"/>
                  </a:cubicBezTo>
                  <a:cubicBezTo>
                    <a:pt x="1491888" y="273325"/>
                    <a:pt x="1491888" y="273325"/>
                    <a:pt x="1531149" y="226469"/>
                  </a:cubicBezTo>
                  <a:cubicBezTo>
                    <a:pt x="1531149" y="226469"/>
                    <a:pt x="1531149" y="226469"/>
                    <a:pt x="1617521" y="179614"/>
                  </a:cubicBezTo>
                  <a:cubicBezTo>
                    <a:pt x="1617521" y="179614"/>
                    <a:pt x="1617521" y="179614"/>
                    <a:pt x="1696042" y="148376"/>
                  </a:cubicBezTo>
                  <a:cubicBezTo>
                    <a:pt x="1696042" y="148376"/>
                    <a:pt x="1696042" y="148376"/>
                    <a:pt x="1743154" y="171804"/>
                  </a:cubicBezTo>
                  <a:cubicBezTo>
                    <a:pt x="1743154" y="171804"/>
                    <a:pt x="1743154" y="171804"/>
                    <a:pt x="1813822" y="124949"/>
                  </a:cubicBezTo>
                  <a:cubicBezTo>
                    <a:pt x="1813822" y="124949"/>
                    <a:pt x="1813822" y="124949"/>
                    <a:pt x="1829526" y="70284"/>
                  </a:cubicBezTo>
                  <a:cubicBezTo>
                    <a:pt x="1829526" y="70284"/>
                    <a:pt x="1892343" y="7809"/>
                    <a:pt x="1892343" y="0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  <a:scene3d>
              <a:camera prst="orthographicFront"/>
              <a:lightRig rig="contrasting" dir="t"/>
            </a:scene3d>
            <a:sp3d z="63500" prstMaterial="metal">
              <a:bevelB w="0" h="0"/>
            </a:sp3d>
          </p:spPr>
          <p:txBody>
            <a:bodyPr wrap="square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189284" y="1289614"/>
              <a:ext cx="4321227" cy="3042959"/>
            </a:xfrm>
            <a:custGeom>
              <a:avLst/>
              <a:gdLst>
                <a:gd name="connsiteX0" fmla="*/ 2559049 w 3302716"/>
                <a:gd name="connsiteY0" fmla="*/ 2582862 h 2641600"/>
                <a:gd name="connsiteX1" fmla="*/ 2592386 w 3302716"/>
                <a:gd name="connsiteY1" fmla="*/ 2583921 h 2641600"/>
                <a:gd name="connsiteX2" fmla="*/ 2589211 w 3302716"/>
                <a:gd name="connsiteY2" fmla="*/ 2601912 h 2641600"/>
                <a:gd name="connsiteX3" fmla="*/ 2555874 w 3302716"/>
                <a:gd name="connsiteY3" fmla="*/ 2596621 h 2641600"/>
                <a:gd name="connsiteX4" fmla="*/ 2363209 w 3302716"/>
                <a:gd name="connsiteY4" fmla="*/ 2508250 h 2641600"/>
                <a:gd name="connsiteX5" fmla="*/ 2425554 w 3302716"/>
                <a:gd name="connsiteY5" fmla="*/ 2508250 h 2641600"/>
                <a:gd name="connsiteX6" fmla="*/ 2472313 w 3302716"/>
                <a:gd name="connsiteY6" fmla="*/ 2532062 h 2641600"/>
                <a:gd name="connsiteX7" fmla="*/ 2503486 w 3302716"/>
                <a:gd name="connsiteY7" fmla="*/ 2547937 h 2641600"/>
                <a:gd name="connsiteX8" fmla="*/ 2441140 w 3302716"/>
                <a:gd name="connsiteY8" fmla="*/ 2540000 h 2641600"/>
                <a:gd name="connsiteX9" fmla="*/ 2417761 w 3302716"/>
                <a:gd name="connsiteY9" fmla="*/ 2555875 h 2641600"/>
                <a:gd name="connsiteX10" fmla="*/ 2386588 w 3302716"/>
                <a:gd name="connsiteY10" fmla="*/ 2555875 h 2641600"/>
                <a:gd name="connsiteX11" fmla="*/ 2371002 w 3302716"/>
                <a:gd name="connsiteY11" fmla="*/ 2547937 h 2641600"/>
                <a:gd name="connsiteX12" fmla="*/ 2332036 w 3302716"/>
                <a:gd name="connsiteY12" fmla="*/ 2532062 h 2641600"/>
                <a:gd name="connsiteX13" fmla="*/ 2363209 w 3302716"/>
                <a:gd name="connsiteY13" fmla="*/ 2524125 h 2641600"/>
                <a:gd name="connsiteX14" fmla="*/ 2118948 w 3302716"/>
                <a:gd name="connsiteY14" fmla="*/ 2422525 h 2641600"/>
                <a:gd name="connsiteX15" fmla="*/ 2205762 w 3302716"/>
                <a:gd name="connsiteY15" fmla="*/ 2422525 h 2641600"/>
                <a:gd name="connsiteX16" fmla="*/ 2261007 w 3302716"/>
                <a:gd name="connsiteY16" fmla="*/ 2445861 h 2641600"/>
                <a:gd name="connsiteX17" fmla="*/ 2276791 w 3302716"/>
                <a:gd name="connsiteY17" fmla="*/ 2469197 h 2641600"/>
                <a:gd name="connsiteX18" fmla="*/ 2316252 w 3302716"/>
                <a:gd name="connsiteY18" fmla="*/ 2476976 h 2641600"/>
                <a:gd name="connsiteX19" fmla="*/ 2332036 w 3302716"/>
                <a:gd name="connsiteY19" fmla="*/ 2492533 h 2641600"/>
                <a:gd name="connsiteX20" fmla="*/ 2316252 w 3302716"/>
                <a:gd name="connsiteY20" fmla="*/ 2500312 h 2641600"/>
                <a:gd name="connsiteX21" fmla="*/ 2253114 w 3302716"/>
                <a:gd name="connsiteY21" fmla="*/ 2500312 h 2641600"/>
                <a:gd name="connsiteX22" fmla="*/ 2237330 w 3302716"/>
                <a:gd name="connsiteY22" fmla="*/ 2484754 h 2641600"/>
                <a:gd name="connsiteX23" fmla="*/ 2221546 w 3302716"/>
                <a:gd name="connsiteY23" fmla="*/ 2461418 h 2641600"/>
                <a:gd name="connsiteX24" fmla="*/ 2174193 w 3302716"/>
                <a:gd name="connsiteY24" fmla="*/ 2453640 h 2641600"/>
                <a:gd name="connsiteX25" fmla="*/ 2126840 w 3302716"/>
                <a:gd name="connsiteY25" fmla="*/ 2453640 h 2641600"/>
                <a:gd name="connsiteX26" fmla="*/ 2095272 w 3302716"/>
                <a:gd name="connsiteY26" fmla="*/ 2453640 h 2641600"/>
                <a:gd name="connsiteX27" fmla="*/ 2055811 w 3302716"/>
                <a:gd name="connsiteY27" fmla="*/ 2445861 h 2641600"/>
                <a:gd name="connsiteX28" fmla="*/ 2071595 w 3302716"/>
                <a:gd name="connsiteY28" fmla="*/ 2430304 h 2641600"/>
                <a:gd name="connsiteX29" fmla="*/ 2118948 w 3302716"/>
                <a:gd name="connsiteY29" fmla="*/ 2422525 h 2641600"/>
                <a:gd name="connsiteX30" fmla="*/ 2079418 w 3302716"/>
                <a:gd name="connsiteY30" fmla="*/ 1711621 h 2641600"/>
                <a:gd name="connsiteX31" fmla="*/ 2126206 w 3302716"/>
                <a:gd name="connsiteY31" fmla="*/ 1812416 h 2641600"/>
                <a:gd name="connsiteX32" fmla="*/ 2126206 w 3302716"/>
                <a:gd name="connsiteY32" fmla="*/ 1859157 h 2641600"/>
                <a:gd name="connsiteX33" fmla="*/ 2127911 w 3302716"/>
                <a:gd name="connsiteY33" fmla="*/ 1858642 h 2641600"/>
                <a:gd name="connsiteX34" fmla="*/ 2127911 w 3302716"/>
                <a:gd name="connsiteY34" fmla="*/ 1813735 h 2641600"/>
                <a:gd name="connsiteX35" fmla="*/ 2080873 w 3302716"/>
                <a:gd name="connsiteY35" fmla="*/ 1712303 h 2641600"/>
                <a:gd name="connsiteX36" fmla="*/ 2795587 w 3302716"/>
                <a:gd name="connsiteY36" fmla="*/ 1516062 h 2641600"/>
                <a:gd name="connsiteX37" fmla="*/ 2795587 w 3302716"/>
                <a:gd name="connsiteY37" fmla="*/ 1539460 h 2641600"/>
                <a:gd name="connsiteX38" fmla="*/ 2779712 w 3302716"/>
                <a:gd name="connsiteY38" fmla="*/ 1570658 h 2641600"/>
                <a:gd name="connsiteX39" fmla="*/ 2787649 w 3302716"/>
                <a:gd name="connsiteY39" fmla="*/ 1586257 h 2641600"/>
                <a:gd name="connsiteX40" fmla="*/ 2851149 w 3302716"/>
                <a:gd name="connsiteY40" fmla="*/ 1617455 h 2641600"/>
                <a:gd name="connsiteX41" fmla="*/ 2867024 w 3302716"/>
                <a:gd name="connsiteY41" fmla="*/ 1656452 h 2641600"/>
                <a:gd name="connsiteX42" fmla="*/ 2867024 w 3302716"/>
                <a:gd name="connsiteY42" fmla="*/ 1687650 h 2641600"/>
                <a:gd name="connsiteX43" fmla="*/ 2835274 w 3302716"/>
                <a:gd name="connsiteY43" fmla="*/ 1695450 h 2641600"/>
                <a:gd name="connsiteX44" fmla="*/ 2819399 w 3302716"/>
                <a:gd name="connsiteY44" fmla="*/ 1672051 h 2641600"/>
                <a:gd name="connsiteX45" fmla="*/ 2795587 w 3302716"/>
                <a:gd name="connsiteY45" fmla="*/ 1679851 h 2641600"/>
                <a:gd name="connsiteX46" fmla="*/ 2771774 w 3302716"/>
                <a:gd name="connsiteY46" fmla="*/ 1664252 h 2641600"/>
                <a:gd name="connsiteX47" fmla="*/ 2732087 w 3302716"/>
                <a:gd name="connsiteY47" fmla="*/ 1656452 h 2641600"/>
                <a:gd name="connsiteX48" fmla="*/ 2708274 w 3302716"/>
                <a:gd name="connsiteY48" fmla="*/ 1664252 h 2641600"/>
                <a:gd name="connsiteX49" fmla="*/ 2708274 w 3302716"/>
                <a:gd name="connsiteY49" fmla="*/ 1633054 h 2641600"/>
                <a:gd name="connsiteX50" fmla="*/ 2716212 w 3302716"/>
                <a:gd name="connsiteY50" fmla="*/ 1609656 h 2641600"/>
                <a:gd name="connsiteX51" fmla="*/ 2755899 w 3302716"/>
                <a:gd name="connsiteY51" fmla="*/ 1547260 h 2641600"/>
                <a:gd name="connsiteX52" fmla="*/ 2089290 w 3302716"/>
                <a:gd name="connsiteY52" fmla="*/ 790575 h 2641600"/>
                <a:gd name="connsiteX53" fmla="*/ 2095710 w 3302716"/>
                <a:gd name="connsiteY53" fmla="*/ 791589 h 2641600"/>
                <a:gd name="connsiteX54" fmla="*/ 2102131 w 3302716"/>
                <a:gd name="connsiteY54" fmla="*/ 793616 h 2641600"/>
                <a:gd name="connsiteX55" fmla="*/ 2105341 w 3302716"/>
                <a:gd name="connsiteY55" fmla="*/ 799700 h 2641600"/>
                <a:gd name="connsiteX56" fmla="*/ 2108552 w 3302716"/>
                <a:gd name="connsiteY56" fmla="*/ 808824 h 2641600"/>
                <a:gd name="connsiteX57" fmla="*/ 2110692 w 3302716"/>
                <a:gd name="connsiteY57" fmla="*/ 816935 h 2641600"/>
                <a:gd name="connsiteX58" fmla="*/ 2111762 w 3302716"/>
                <a:gd name="connsiteY58" fmla="*/ 820991 h 2641600"/>
                <a:gd name="connsiteX59" fmla="*/ 2116042 w 3302716"/>
                <a:gd name="connsiteY59" fmla="*/ 820991 h 2641600"/>
                <a:gd name="connsiteX60" fmla="*/ 2119252 w 3302716"/>
                <a:gd name="connsiteY60" fmla="*/ 818963 h 2641600"/>
                <a:gd name="connsiteX61" fmla="*/ 2123533 w 3302716"/>
                <a:gd name="connsiteY61" fmla="*/ 815922 h 2641600"/>
                <a:gd name="connsiteX62" fmla="*/ 2127813 w 3302716"/>
                <a:gd name="connsiteY62" fmla="*/ 813894 h 2641600"/>
                <a:gd name="connsiteX63" fmla="*/ 2134234 w 3302716"/>
                <a:gd name="connsiteY63" fmla="*/ 813894 h 2641600"/>
                <a:gd name="connsiteX64" fmla="*/ 2141724 w 3302716"/>
                <a:gd name="connsiteY64" fmla="*/ 814908 h 2641600"/>
                <a:gd name="connsiteX65" fmla="*/ 2151355 w 3302716"/>
                <a:gd name="connsiteY65" fmla="*/ 816935 h 2641600"/>
                <a:gd name="connsiteX66" fmla="*/ 2159916 w 3302716"/>
                <a:gd name="connsiteY66" fmla="*/ 820991 h 2641600"/>
                <a:gd name="connsiteX67" fmla="*/ 2167406 w 3302716"/>
                <a:gd name="connsiteY67" fmla="*/ 824032 h 2641600"/>
                <a:gd name="connsiteX68" fmla="*/ 2172757 w 3302716"/>
                <a:gd name="connsiteY68" fmla="*/ 831129 h 2641600"/>
                <a:gd name="connsiteX69" fmla="*/ 2175967 w 3302716"/>
                <a:gd name="connsiteY69" fmla="*/ 839240 h 2641600"/>
                <a:gd name="connsiteX70" fmla="*/ 2181318 w 3302716"/>
                <a:gd name="connsiteY70" fmla="*/ 845324 h 2641600"/>
                <a:gd name="connsiteX71" fmla="*/ 2183458 w 3302716"/>
                <a:gd name="connsiteY71" fmla="*/ 849379 h 2641600"/>
                <a:gd name="connsiteX72" fmla="*/ 2184528 w 3302716"/>
                <a:gd name="connsiteY72" fmla="*/ 850393 h 2641600"/>
                <a:gd name="connsiteX73" fmla="*/ 2207000 w 3302716"/>
                <a:gd name="connsiteY73" fmla="*/ 850393 h 2641600"/>
                <a:gd name="connsiteX74" fmla="*/ 2209140 w 3302716"/>
                <a:gd name="connsiteY74" fmla="*/ 851407 h 2641600"/>
                <a:gd name="connsiteX75" fmla="*/ 2215560 w 3302716"/>
                <a:gd name="connsiteY75" fmla="*/ 853435 h 2641600"/>
                <a:gd name="connsiteX76" fmla="*/ 2220911 w 3302716"/>
                <a:gd name="connsiteY76" fmla="*/ 858504 h 2641600"/>
                <a:gd name="connsiteX77" fmla="*/ 2218771 w 3302716"/>
                <a:gd name="connsiteY77" fmla="*/ 862559 h 2641600"/>
                <a:gd name="connsiteX78" fmla="*/ 2214490 w 3302716"/>
                <a:gd name="connsiteY78" fmla="*/ 867629 h 2641600"/>
                <a:gd name="connsiteX79" fmla="*/ 2211280 w 3302716"/>
                <a:gd name="connsiteY79" fmla="*/ 869656 h 2641600"/>
                <a:gd name="connsiteX80" fmla="*/ 2209140 w 3302716"/>
                <a:gd name="connsiteY80" fmla="*/ 872698 h 2641600"/>
                <a:gd name="connsiteX81" fmla="*/ 2205930 w 3302716"/>
                <a:gd name="connsiteY81" fmla="*/ 874726 h 2641600"/>
                <a:gd name="connsiteX82" fmla="*/ 2202719 w 3302716"/>
                <a:gd name="connsiteY82" fmla="*/ 874726 h 2641600"/>
                <a:gd name="connsiteX83" fmla="*/ 2200579 w 3302716"/>
                <a:gd name="connsiteY83" fmla="*/ 874726 h 2641600"/>
                <a:gd name="connsiteX84" fmla="*/ 2198439 w 3302716"/>
                <a:gd name="connsiteY84" fmla="*/ 873712 h 2641600"/>
                <a:gd name="connsiteX85" fmla="*/ 2192018 w 3302716"/>
                <a:gd name="connsiteY85" fmla="*/ 870670 h 2641600"/>
                <a:gd name="connsiteX86" fmla="*/ 2184528 w 3302716"/>
                <a:gd name="connsiteY86" fmla="*/ 868643 h 2641600"/>
                <a:gd name="connsiteX87" fmla="*/ 2178107 w 3302716"/>
                <a:gd name="connsiteY87" fmla="*/ 866615 h 2641600"/>
                <a:gd name="connsiteX88" fmla="*/ 2173827 w 3302716"/>
                <a:gd name="connsiteY88" fmla="*/ 865601 h 2641600"/>
                <a:gd name="connsiteX89" fmla="*/ 2168477 w 3302716"/>
                <a:gd name="connsiteY89" fmla="*/ 862559 h 2641600"/>
                <a:gd name="connsiteX90" fmla="*/ 2164196 w 3302716"/>
                <a:gd name="connsiteY90" fmla="*/ 859518 h 2641600"/>
                <a:gd name="connsiteX91" fmla="*/ 2158846 w 3302716"/>
                <a:gd name="connsiteY91" fmla="*/ 857490 h 2641600"/>
                <a:gd name="connsiteX92" fmla="*/ 2153495 w 3302716"/>
                <a:gd name="connsiteY92" fmla="*/ 857490 h 2641600"/>
                <a:gd name="connsiteX93" fmla="*/ 2151355 w 3302716"/>
                <a:gd name="connsiteY93" fmla="*/ 861545 h 2641600"/>
                <a:gd name="connsiteX94" fmla="*/ 2152425 w 3302716"/>
                <a:gd name="connsiteY94" fmla="*/ 869656 h 2641600"/>
                <a:gd name="connsiteX95" fmla="*/ 2153495 w 3302716"/>
                <a:gd name="connsiteY95" fmla="*/ 876753 h 2641600"/>
                <a:gd name="connsiteX96" fmla="*/ 2153495 w 3302716"/>
                <a:gd name="connsiteY96" fmla="*/ 883851 h 2641600"/>
                <a:gd name="connsiteX97" fmla="*/ 2149215 w 3302716"/>
                <a:gd name="connsiteY97" fmla="*/ 887906 h 2641600"/>
                <a:gd name="connsiteX98" fmla="*/ 2141724 w 3302716"/>
                <a:gd name="connsiteY98" fmla="*/ 890948 h 2641600"/>
                <a:gd name="connsiteX99" fmla="*/ 2138514 w 3302716"/>
                <a:gd name="connsiteY99" fmla="*/ 893989 h 2641600"/>
                <a:gd name="connsiteX100" fmla="*/ 2137444 w 3302716"/>
                <a:gd name="connsiteY100" fmla="*/ 899058 h 2641600"/>
                <a:gd name="connsiteX101" fmla="*/ 2136374 w 3302716"/>
                <a:gd name="connsiteY101" fmla="*/ 903114 h 2641600"/>
                <a:gd name="connsiteX102" fmla="*/ 2133164 w 3302716"/>
                <a:gd name="connsiteY102" fmla="*/ 906156 h 2641600"/>
                <a:gd name="connsiteX103" fmla="*/ 2127813 w 3302716"/>
                <a:gd name="connsiteY103" fmla="*/ 909197 h 2641600"/>
                <a:gd name="connsiteX104" fmla="*/ 2123533 w 3302716"/>
                <a:gd name="connsiteY104" fmla="*/ 911225 h 2641600"/>
                <a:gd name="connsiteX105" fmla="*/ 2119252 w 3302716"/>
                <a:gd name="connsiteY105" fmla="*/ 908183 h 2641600"/>
                <a:gd name="connsiteX106" fmla="*/ 2118182 w 3302716"/>
                <a:gd name="connsiteY106" fmla="*/ 903114 h 2641600"/>
                <a:gd name="connsiteX107" fmla="*/ 2117112 w 3302716"/>
                <a:gd name="connsiteY107" fmla="*/ 897031 h 2641600"/>
                <a:gd name="connsiteX108" fmla="*/ 2112832 w 3302716"/>
                <a:gd name="connsiteY108" fmla="*/ 891961 h 2641600"/>
                <a:gd name="connsiteX109" fmla="*/ 2107481 w 3302716"/>
                <a:gd name="connsiteY109" fmla="*/ 890948 h 2641600"/>
                <a:gd name="connsiteX110" fmla="*/ 2101061 w 3302716"/>
                <a:gd name="connsiteY110" fmla="*/ 890948 h 2641600"/>
                <a:gd name="connsiteX111" fmla="*/ 2097851 w 3302716"/>
                <a:gd name="connsiteY111" fmla="*/ 891961 h 2641600"/>
                <a:gd name="connsiteX112" fmla="*/ 2094640 w 3302716"/>
                <a:gd name="connsiteY112" fmla="*/ 892975 h 2641600"/>
                <a:gd name="connsiteX113" fmla="*/ 2087150 w 3302716"/>
                <a:gd name="connsiteY113" fmla="*/ 896017 h 2641600"/>
                <a:gd name="connsiteX114" fmla="*/ 2079659 w 3302716"/>
                <a:gd name="connsiteY114" fmla="*/ 897031 h 2641600"/>
                <a:gd name="connsiteX115" fmla="*/ 2076449 w 3302716"/>
                <a:gd name="connsiteY115" fmla="*/ 892975 h 2641600"/>
                <a:gd name="connsiteX116" fmla="*/ 2077519 w 3302716"/>
                <a:gd name="connsiteY116" fmla="*/ 888920 h 2641600"/>
                <a:gd name="connsiteX117" fmla="*/ 2080729 w 3302716"/>
                <a:gd name="connsiteY117" fmla="*/ 881823 h 2641600"/>
                <a:gd name="connsiteX118" fmla="*/ 2086080 w 3302716"/>
                <a:gd name="connsiteY118" fmla="*/ 875740 h 2641600"/>
                <a:gd name="connsiteX119" fmla="*/ 2089290 w 3302716"/>
                <a:gd name="connsiteY119" fmla="*/ 873712 h 2641600"/>
                <a:gd name="connsiteX120" fmla="*/ 2093570 w 3302716"/>
                <a:gd name="connsiteY120" fmla="*/ 870670 h 2641600"/>
                <a:gd name="connsiteX121" fmla="*/ 2093570 w 3302716"/>
                <a:gd name="connsiteY121" fmla="*/ 866615 h 2641600"/>
                <a:gd name="connsiteX122" fmla="*/ 2091430 w 3302716"/>
                <a:gd name="connsiteY122" fmla="*/ 859518 h 2641600"/>
                <a:gd name="connsiteX123" fmla="*/ 2089290 w 3302716"/>
                <a:gd name="connsiteY123" fmla="*/ 852421 h 2641600"/>
                <a:gd name="connsiteX124" fmla="*/ 2088220 w 3302716"/>
                <a:gd name="connsiteY124" fmla="*/ 846337 h 2641600"/>
                <a:gd name="connsiteX125" fmla="*/ 2089290 w 3302716"/>
                <a:gd name="connsiteY125" fmla="*/ 839240 h 2641600"/>
                <a:gd name="connsiteX126" fmla="*/ 2089290 w 3302716"/>
                <a:gd name="connsiteY126" fmla="*/ 835185 h 2641600"/>
                <a:gd name="connsiteX127" fmla="*/ 2087150 w 3302716"/>
                <a:gd name="connsiteY127" fmla="*/ 830116 h 2641600"/>
                <a:gd name="connsiteX128" fmla="*/ 2085010 w 3302716"/>
                <a:gd name="connsiteY128" fmla="*/ 826060 h 2641600"/>
                <a:gd name="connsiteX129" fmla="*/ 2085010 w 3302716"/>
                <a:gd name="connsiteY129" fmla="*/ 816935 h 2641600"/>
                <a:gd name="connsiteX130" fmla="*/ 2085010 w 3302716"/>
                <a:gd name="connsiteY130" fmla="*/ 806797 h 2641600"/>
                <a:gd name="connsiteX131" fmla="*/ 2085010 w 3302716"/>
                <a:gd name="connsiteY131" fmla="*/ 798686 h 2641600"/>
                <a:gd name="connsiteX132" fmla="*/ 2086080 w 3302716"/>
                <a:gd name="connsiteY132" fmla="*/ 792603 h 2641600"/>
                <a:gd name="connsiteX133" fmla="*/ 2239961 w 3302716"/>
                <a:gd name="connsiteY133" fmla="*/ 739775 h 2641600"/>
                <a:gd name="connsiteX134" fmla="*/ 2241866 w 3302716"/>
                <a:gd name="connsiteY134" fmla="*/ 739775 h 2641600"/>
                <a:gd name="connsiteX135" fmla="*/ 2243136 w 3302716"/>
                <a:gd name="connsiteY135" fmla="*/ 741362 h 2641600"/>
                <a:gd name="connsiteX136" fmla="*/ 2243136 w 3302716"/>
                <a:gd name="connsiteY136" fmla="*/ 743744 h 2641600"/>
                <a:gd name="connsiteX137" fmla="*/ 2243136 w 3302716"/>
                <a:gd name="connsiteY137" fmla="*/ 744537 h 2641600"/>
                <a:gd name="connsiteX138" fmla="*/ 2243136 w 3302716"/>
                <a:gd name="connsiteY138" fmla="*/ 746125 h 2641600"/>
                <a:gd name="connsiteX139" fmla="*/ 2241231 w 3302716"/>
                <a:gd name="connsiteY139" fmla="*/ 743744 h 2641600"/>
                <a:gd name="connsiteX140" fmla="*/ 2239961 w 3302716"/>
                <a:gd name="connsiteY140" fmla="*/ 740569 h 2641600"/>
                <a:gd name="connsiteX141" fmla="*/ 1822166 w 3302716"/>
                <a:gd name="connsiteY141" fmla="*/ 407987 h 2641600"/>
                <a:gd name="connsiteX142" fmla="*/ 1869204 w 3302716"/>
                <a:gd name="connsiteY142" fmla="*/ 486012 h 2641600"/>
                <a:gd name="connsiteX143" fmla="*/ 1884883 w 3302716"/>
                <a:gd name="connsiteY143" fmla="*/ 556234 h 2641600"/>
                <a:gd name="connsiteX144" fmla="*/ 1916241 w 3302716"/>
                <a:gd name="connsiteY144" fmla="*/ 610852 h 2641600"/>
                <a:gd name="connsiteX145" fmla="*/ 1931920 w 3302716"/>
                <a:gd name="connsiteY145" fmla="*/ 649864 h 2641600"/>
                <a:gd name="connsiteX146" fmla="*/ 1963279 w 3302716"/>
                <a:gd name="connsiteY146" fmla="*/ 610852 h 2641600"/>
                <a:gd name="connsiteX147" fmla="*/ 1986798 w 3302716"/>
                <a:gd name="connsiteY147" fmla="*/ 642061 h 2641600"/>
                <a:gd name="connsiteX148" fmla="*/ 2002477 w 3302716"/>
                <a:gd name="connsiteY148" fmla="*/ 727889 h 2641600"/>
                <a:gd name="connsiteX149" fmla="*/ 2049515 w 3302716"/>
                <a:gd name="connsiteY149" fmla="*/ 657666 h 2641600"/>
                <a:gd name="connsiteX150" fmla="*/ 2060986 w 3302716"/>
                <a:gd name="connsiteY150" fmla="*/ 600583 h 2641600"/>
                <a:gd name="connsiteX151" fmla="*/ 2054209 w 3302716"/>
                <a:gd name="connsiteY151" fmla="*/ 599786 h 2641600"/>
                <a:gd name="connsiteX152" fmla="*/ 2040216 w 3302716"/>
                <a:gd name="connsiteY152" fmla="*/ 596747 h 2641600"/>
                <a:gd name="connsiteX153" fmla="*/ 2035910 w 3302716"/>
                <a:gd name="connsiteY153" fmla="*/ 592696 h 2641600"/>
                <a:gd name="connsiteX154" fmla="*/ 2031604 w 3302716"/>
                <a:gd name="connsiteY154" fmla="*/ 590670 h 2641600"/>
                <a:gd name="connsiteX155" fmla="*/ 2025146 w 3302716"/>
                <a:gd name="connsiteY155" fmla="*/ 591683 h 2641600"/>
                <a:gd name="connsiteX156" fmla="*/ 2015458 w 3302716"/>
                <a:gd name="connsiteY156" fmla="*/ 596747 h 2641600"/>
                <a:gd name="connsiteX157" fmla="*/ 2011152 w 3302716"/>
                <a:gd name="connsiteY157" fmla="*/ 598773 h 2641600"/>
                <a:gd name="connsiteX158" fmla="*/ 2006847 w 3302716"/>
                <a:gd name="connsiteY158" fmla="*/ 598773 h 2641600"/>
                <a:gd name="connsiteX159" fmla="*/ 1998235 w 3302716"/>
                <a:gd name="connsiteY159" fmla="*/ 593709 h 2641600"/>
                <a:gd name="connsiteX160" fmla="*/ 1992853 w 3302716"/>
                <a:gd name="connsiteY160" fmla="*/ 590670 h 2641600"/>
                <a:gd name="connsiteX161" fmla="*/ 1986395 w 3302716"/>
                <a:gd name="connsiteY161" fmla="*/ 586619 h 2641600"/>
                <a:gd name="connsiteX162" fmla="*/ 1979936 w 3302716"/>
                <a:gd name="connsiteY162" fmla="*/ 583581 h 2641600"/>
                <a:gd name="connsiteX163" fmla="*/ 1974554 w 3302716"/>
                <a:gd name="connsiteY163" fmla="*/ 581555 h 2641600"/>
                <a:gd name="connsiteX164" fmla="*/ 1971325 w 3302716"/>
                <a:gd name="connsiteY164" fmla="*/ 578517 h 2641600"/>
                <a:gd name="connsiteX165" fmla="*/ 1970249 w 3302716"/>
                <a:gd name="connsiteY165" fmla="*/ 575479 h 2641600"/>
                <a:gd name="connsiteX166" fmla="*/ 1972401 w 3302716"/>
                <a:gd name="connsiteY166" fmla="*/ 573453 h 2641600"/>
                <a:gd name="connsiteX167" fmla="*/ 1977784 w 3302716"/>
                <a:gd name="connsiteY167" fmla="*/ 570415 h 2641600"/>
                <a:gd name="connsiteX168" fmla="*/ 1985318 w 3302716"/>
                <a:gd name="connsiteY168" fmla="*/ 568389 h 2641600"/>
                <a:gd name="connsiteX169" fmla="*/ 1992853 w 3302716"/>
                <a:gd name="connsiteY169" fmla="*/ 567376 h 2641600"/>
                <a:gd name="connsiteX170" fmla="*/ 1999312 w 3302716"/>
                <a:gd name="connsiteY170" fmla="*/ 566364 h 2641600"/>
                <a:gd name="connsiteX171" fmla="*/ 2004694 w 3302716"/>
                <a:gd name="connsiteY171" fmla="*/ 565351 h 2641600"/>
                <a:gd name="connsiteX172" fmla="*/ 2009000 w 3302716"/>
                <a:gd name="connsiteY172" fmla="*/ 563325 h 2641600"/>
                <a:gd name="connsiteX173" fmla="*/ 2009000 w 3302716"/>
                <a:gd name="connsiteY173" fmla="*/ 562312 h 2641600"/>
                <a:gd name="connsiteX174" fmla="*/ 2005770 w 3302716"/>
                <a:gd name="connsiteY174" fmla="*/ 560287 h 2641600"/>
                <a:gd name="connsiteX175" fmla="*/ 1998235 w 3302716"/>
                <a:gd name="connsiteY175" fmla="*/ 558261 h 2641600"/>
                <a:gd name="connsiteX176" fmla="*/ 1989624 w 3302716"/>
                <a:gd name="connsiteY176" fmla="*/ 555223 h 2641600"/>
                <a:gd name="connsiteX177" fmla="*/ 1981013 w 3302716"/>
                <a:gd name="connsiteY177" fmla="*/ 553197 h 2641600"/>
                <a:gd name="connsiteX178" fmla="*/ 1974554 w 3302716"/>
                <a:gd name="connsiteY178" fmla="*/ 552185 h 2641600"/>
                <a:gd name="connsiteX179" fmla="*/ 1970249 w 3302716"/>
                <a:gd name="connsiteY179" fmla="*/ 551172 h 2641600"/>
                <a:gd name="connsiteX180" fmla="*/ 1964867 w 3302716"/>
                <a:gd name="connsiteY180" fmla="*/ 548133 h 2641600"/>
                <a:gd name="connsiteX181" fmla="*/ 1962714 w 3302716"/>
                <a:gd name="connsiteY181" fmla="*/ 546108 h 2641600"/>
                <a:gd name="connsiteX182" fmla="*/ 1960561 w 3302716"/>
                <a:gd name="connsiteY182" fmla="*/ 542057 h 2641600"/>
                <a:gd name="connsiteX183" fmla="*/ 1960561 w 3302716"/>
                <a:gd name="connsiteY183" fmla="*/ 534967 h 2641600"/>
                <a:gd name="connsiteX184" fmla="*/ 1960561 w 3302716"/>
                <a:gd name="connsiteY184" fmla="*/ 522814 h 2641600"/>
                <a:gd name="connsiteX185" fmla="*/ 1960561 w 3302716"/>
                <a:gd name="connsiteY185" fmla="*/ 514712 h 2641600"/>
                <a:gd name="connsiteX186" fmla="*/ 1960561 w 3302716"/>
                <a:gd name="connsiteY186" fmla="*/ 505597 h 2641600"/>
                <a:gd name="connsiteX187" fmla="*/ 1961637 w 3302716"/>
                <a:gd name="connsiteY187" fmla="*/ 489392 h 2641600"/>
                <a:gd name="connsiteX188" fmla="*/ 1965943 w 3302716"/>
                <a:gd name="connsiteY188" fmla="*/ 468123 h 2641600"/>
                <a:gd name="connsiteX189" fmla="*/ 1973478 w 3302716"/>
                <a:gd name="connsiteY189" fmla="*/ 449893 h 2641600"/>
                <a:gd name="connsiteX190" fmla="*/ 1984242 w 3302716"/>
                <a:gd name="connsiteY190" fmla="*/ 437740 h 2641600"/>
                <a:gd name="connsiteX191" fmla="*/ 1993930 w 3302716"/>
                <a:gd name="connsiteY191" fmla="*/ 431663 h 2641600"/>
                <a:gd name="connsiteX192" fmla="*/ 2002541 w 3302716"/>
                <a:gd name="connsiteY192" fmla="*/ 431663 h 2641600"/>
                <a:gd name="connsiteX193" fmla="*/ 2010076 w 3302716"/>
                <a:gd name="connsiteY193" fmla="*/ 434702 h 2641600"/>
                <a:gd name="connsiteX194" fmla="*/ 2014382 w 3302716"/>
                <a:gd name="connsiteY194" fmla="*/ 438753 h 2641600"/>
                <a:gd name="connsiteX195" fmla="*/ 2013305 w 3302716"/>
                <a:gd name="connsiteY195" fmla="*/ 447868 h 2641600"/>
                <a:gd name="connsiteX196" fmla="*/ 2006847 w 3302716"/>
                <a:gd name="connsiteY196" fmla="*/ 469136 h 2641600"/>
                <a:gd name="connsiteX197" fmla="*/ 2005770 w 3302716"/>
                <a:gd name="connsiteY197" fmla="*/ 485341 h 2641600"/>
                <a:gd name="connsiteX198" fmla="*/ 2009000 w 3302716"/>
                <a:gd name="connsiteY198" fmla="*/ 499520 h 2641600"/>
                <a:gd name="connsiteX199" fmla="*/ 2014382 w 3302716"/>
                <a:gd name="connsiteY199" fmla="*/ 509648 h 2641600"/>
                <a:gd name="connsiteX200" fmla="*/ 2020840 w 3302716"/>
                <a:gd name="connsiteY200" fmla="*/ 519776 h 2641600"/>
                <a:gd name="connsiteX201" fmla="*/ 2027299 w 3302716"/>
                <a:gd name="connsiteY201" fmla="*/ 526865 h 2641600"/>
                <a:gd name="connsiteX202" fmla="*/ 2033757 w 3302716"/>
                <a:gd name="connsiteY202" fmla="*/ 531929 h 2641600"/>
                <a:gd name="connsiteX203" fmla="*/ 2034654 w 3302716"/>
                <a:gd name="connsiteY203" fmla="*/ 533616 h 2641600"/>
                <a:gd name="connsiteX204" fmla="*/ 2035910 w 3302716"/>
                <a:gd name="connsiteY204" fmla="*/ 536993 h 2641600"/>
                <a:gd name="connsiteX205" fmla="*/ 2036986 w 3302716"/>
                <a:gd name="connsiteY205" fmla="*/ 538006 h 2641600"/>
                <a:gd name="connsiteX206" fmla="*/ 2034654 w 3302716"/>
                <a:gd name="connsiteY206" fmla="*/ 533616 h 2641600"/>
                <a:gd name="connsiteX207" fmla="*/ 2028375 w 3302716"/>
                <a:gd name="connsiteY207" fmla="*/ 516737 h 2641600"/>
                <a:gd name="connsiteX208" fmla="*/ 2020840 w 3302716"/>
                <a:gd name="connsiteY208" fmla="*/ 491418 h 2641600"/>
                <a:gd name="connsiteX209" fmla="*/ 2019764 w 3302716"/>
                <a:gd name="connsiteY209" fmla="*/ 470149 h 2641600"/>
                <a:gd name="connsiteX210" fmla="*/ 2022993 w 3302716"/>
                <a:gd name="connsiteY210" fmla="*/ 454957 h 2641600"/>
                <a:gd name="connsiteX211" fmla="*/ 2027299 w 3302716"/>
                <a:gd name="connsiteY211" fmla="*/ 440778 h 2641600"/>
                <a:gd name="connsiteX212" fmla="*/ 2034834 w 3302716"/>
                <a:gd name="connsiteY212" fmla="*/ 431663 h 2641600"/>
                <a:gd name="connsiteX213" fmla="*/ 2045598 w 3302716"/>
                <a:gd name="connsiteY213" fmla="*/ 428625 h 2641600"/>
                <a:gd name="connsiteX214" fmla="*/ 2058515 w 3302716"/>
                <a:gd name="connsiteY214" fmla="*/ 430650 h 2641600"/>
                <a:gd name="connsiteX215" fmla="*/ 2068203 w 3302716"/>
                <a:gd name="connsiteY215" fmla="*/ 435714 h 2641600"/>
                <a:gd name="connsiteX216" fmla="*/ 2074661 w 3302716"/>
                <a:gd name="connsiteY216" fmla="*/ 442804 h 2641600"/>
                <a:gd name="connsiteX217" fmla="*/ 2077890 w 3302716"/>
                <a:gd name="connsiteY217" fmla="*/ 449893 h 2641600"/>
                <a:gd name="connsiteX218" fmla="*/ 2080043 w 3302716"/>
                <a:gd name="connsiteY218" fmla="*/ 454957 h 2641600"/>
                <a:gd name="connsiteX219" fmla="*/ 2083272 w 3302716"/>
                <a:gd name="connsiteY219" fmla="*/ 461034 h 2641600"/>
                <a:gd name="connsiteX220" fmla="*/ 2084349 w 3302716"/>
                <a:gd name="connsiteY220" fmla="*/ 468123 h 2641600"/>
                <a:gd name="connsiteX221" fmla="*/ 2085425 w 3302716"/>
                <a:gd name="connsiteY221" fmla="*/ 476226 h 2641600"/>
                <a:gd name="connsiteX222" fmla="*/ 2087578 w 3302716"/>
                <a:gd name="connsiteY222" fmla="*/ 482302 h 2641600"/>
                <a:gd name="connsiteX223" fmla="*/ 2094037 w 3302716"/>
                <a:gd name="connsiteY223" fmla="*/ 483315 h 2641600"/>
                <a:gd name="connsiteX224" fmla="*/ 2102648 w 3302716"/>
                <a:gd name="connsiteY224" fmla="*/ 481290 h 2641600"/>
                <a:gd name="connsiteX225" fmla="*/ 2111259 w 3302716"/>
                <a:gd name="connsiteY225" fmla="*/ 476226 h 2641600"/>
                <a:gd name="connsiteX226" fmla="*/ 2117718 w 3302716"/>
                <a:gd name="connsiteY226" fmla="*/ 470149 h 2641600"/>
                <a:gd name="connsiteX227" fmla="*/ 2118794 w 3302716"/>
                <a:gd name="connsiteY227" fmla="*/ 465085 h 2641600"/>
                <a:gd name="connsiteX228" fmla="*/ 2120947 w 3302716"/>
                <a:gd name="connsiteY228" fmla="*/ 460021 h 2641600"/>
                <a:gd name="connsiteX229" fmla="*/ 2128482 w 3302716"/>
                <a:gd name="connsiteY229" fmla="*/ 455970 h 2641600"/>
                <a:gd name="connsiteX230" fmla="*/ 2137093 w 3302716"/>
                <a:gd name="connsiteY230" fmla="*/ 451919 h 2641600"/>
                <a:gd name="connsiteX231" fmla="*/ 2142475 w 3302716"/>
                <a:gd name="connsiteY231" fmla="*/ 447868 h 2641600"/>
                <a:gd name="connsiteX232" fmla="*/ 2148934 w 3302716"/>
                <a:gd name="connsiteY232" fmla="*/ 447868 h 2641600"/>
                <a:gd name="connsiteX233" fmla="*/ 2159698 w 3302716"/>
                <a:gd name="connsiteY233" fmla="*/ 452932 h 2641600"/>
                <a:gd name="connsiteX234" fmla="*/ 2172615 w 3302716"/>
                <a:gd name="connsiteY234" fmla="*/ 461034 h 2641600"/>
                <a:gd name="connsiteX235" fmla="*/ 2177997 w 3302716"/>
                <a:gd name="connsiteY235" fmla="*/ 467111 h 2641600"/>
                <a:gd name="connsiteX236" fmla="*/ 2182303 w 3302716"/>
                <a:gd name="connsiteY236" fmla="*/ 473187 h 2641600"/>
                <a:gd name="connsiteX237" fmla="*/ 2185532 w 3302716"/>
                <a:gd name="connsiteY237" fmla="*/ 478251 h 2641600"/>
                <a:gd name="connsiteX238" fmla="*/ 2190914 w 3302716"/>
                <a:gd name="connsiteY238" fmla="*/ 484328 h 2641600"/>
                <a:gd name="connsiteX239" fmla="*/ 2198449 w 3302716"/>
                <a:gd name="connsiteY239" fmla="*/ 489392 h 2641600"/>
                <a:gd name="connsiteX240" fmla="*/ 2204908 w 3302716"/>
                <a:gd name="connsiteY240" fmla="*/ 490405 h 2641600"/>
                <a:gd name="connsiteX241" fmla="*/ 2209213 w 3302716"/>
                <a:gd name="connsiteY241" fmla="*/ 485341 h 2641600"/>
                <a:gd name="connsiteX242" fmla="*/ 2215672 w 3302716"/>
                <a:gd name="connsiteY242" fmla="*/ 478251 h 2641600"/>
                <a:gd name="connsiteX243" fmla="*/ 2225360 w 3302716"/>
                <a:gd name="connsiteY243" fmla="*/ 475213 h 2641600"/>
                <a:gd name="connsiteX244" fmla="*/ 2236124 w 3302716"/>
                <a:gd name="connsiteY244" fmla="*/ 475213 h 2641600"/>
                <a:gd name="connsiteX245" fmla="*/ 2243659 w 3302716"/>
                <a:gd name="connsiteY245" fmla="*/ 478251 h 2641600"/>
                <a:gd name="connsiteX246" fmla="*/ 2246888 w 3302716"/>
                <a:gd name="connsiteY246" fmla="*/ 483315 h 2641600"/>
                <a:gd name="connsiteX247" fmla="*/ 2249041 w 3302716"/>
                <a:gd name="connsiteY247" fmla="*/ 485341 h 2641600"/>
                <a:gd name="connsiteX248" fmla="*/ 2252270 w 3302716"/>
                <a:gd name="connsiteY248" fmla="*/ 488379 h 2641600"/>
                <a:gd name="connsiteX249" fmla="*/ 2263034 w 3302716"/>
                <a:gd name="connsiteY249" fmla="*/ 490405 h 2641600"/>
                <a:gd name="connsiteX250" fmla="*/ 2270569 w 3302716"/>
                <a:gd name="connsiteY250" fmla="*/ 491418 h 2641600"/>
                <a:gd name="connsiteX251" fmla="*/ 2279180 w 3302716"/>
                <a:gd name="connsiteY251" fmla="*/ 491418 h 2641600"/>
                <a:gd name="connsiteX252" fmla="*/ 2287792 w 3302716"/>
                <a:gd name="connsiteY252" fmla="*/ 492430 h 2641600"/>
                <a:gd name="connsiteX253" fmla="*/ 2295327 w 3302716"/>
                <a:gd name="connsiteY253" fmla="*/ 492430 h 2641600"/>
                <a:gd name="connsiteX254" fmla="*/ 2302862 w 3302716"/>
                <a:gd name="connsiteY254" fmla="*/ 492430 h 2641600"/>
                <a:gd name="connsiteX255" fmla="*/ 2306091 w 3302716"/>
                <a:gd name="connsiteY255" fmla="*/ 493443 h 2641600"/>
                <a:gd name="connsiteX256" fmla="*/ 2308244 w 3302716"/>
                <a:gd name="connsiteY256" fmla="*/ 496481 h 2641600"/>
                <a:gd name="connsiteX257" fmla="*/ 2306091 w 3302716"/>
                <a:gd name="connsiteY257" fmla="*/ 498507 h 2641600"/>
                <a:gd name="connsiteX258" fmla="*/ 2303938 w 3302716"/>
                <a:gd name="connsiteY258" fmla="*/ 501545 h 2641600"/>
                <a:gd name="connsiteX259" fmla="*/ 2307167 w 3302716"/>
                <a:gd name="connsiteY259" fmla="*/ 501545 h 2641600"/>
                <a:gd name="connsiteX260" fmla="*/ 2314702 w 3302716"/>
                <a:gd name="connsiteY260" fmla="*/ 501545 h 2641600"/>
                <a:gd name="connsiteX261" fmla="*/ 2321161 w 3302716"/>
                <a:gd name="connsiteY261" fmla="*/ 503571 h 2641600"/>
                <a:gd name="connsiteX262" fmla="*/ 2325466 w 3302716"/>
                <a:gd name="connsiteY262" fmla="*/ 507622 h 2641600"/>
                <a:gd name="connsiteX263" fmla="*/ 2331925 w 3302716"/>
                <a:gd name="connsiteY263" fmla="*/ 512686 h 2641600"/>
                <a:gd name="connsiteX264" fmla="*/ 2336230 w 3302716"/>
                <a:gd name="connsiteY264" fmla="*/ 515724 h 2641600"/>
                <a:gd name="connsiteX265" fmla="*/ 2338383 w 3302716"/>
                <a:gd name="connsiteY265" fmla="*/ 516737 h 2641600"/>
                <a:gd name="connsiteX266" fmla="*/ 2337307 w 3302716"/>
                <a:gd name="connsiteY266" fmla="*/ 516737 h 2641600"/>
                <a:gd name="connsiteX267" fmla="*/ 2331925 w 3302716"/>
                <a:gd name="connsiteY267" fmla="*/ 518763 h 2641600"/>
                <a:gd name="connsiteX268" fmla="*/ 2328696 w 3302716"/>
                <a:gd name="connsiteY268" fmla="*/ 520788 h 2641600"/>
                <a:gd name="connsiteX269" fmla="*/ 2325466 w 3302716"/>
                <a:gd name="connsiteY269" fmla="*/ 522814 h 2641600"/>
                <a:gd name="connsiteX270" fmla="*/ 2329772 w 3302716"/>
                <a:gd name="connsiteY270" fmla="*/ 526865 h 2641600"/>
                <a:gd name="connsiteX271" fmla="*/ 2339460 w 3302716"/>
                <a:gd name="connsiteY271" fmla="*/ 529903 h 2641600"/>
                <a:gd name="connsiteX272" fmla="*/ 2349147 w 3302716"/>
                <a:gd name="connsiteY272" fmla="*/ 531929 h 2641600"/>
                <a:gd name="connsiteX273" fmla="*/ 2349147 w 3302716"/>
                <a:gd name="connsiteY273" fmla="*/ 534967 h 2641600"/>
                <a:gd name="connsiteX274" fmla="*/ 2344842 w 3302716"/>
                <a:gd name="connsiteY274" fmla="*/ 536993 h 2641600"/>
                <a:gd name="connsiteX275" fmla="*/ 2340536 w 3302716"/>
                <a:gd name="connsiteY275" fmla="*/ 538006 h 2641600"/>
                <a:gd name="connsiteX276" fmla="*/ 2338383 w 3302716"/>
                <a:gd name="connsiteY276" fmla="*/ 540031 h 2641600"/>
                <a:gd name="connsiteX277" fmla="*/ 2338383 w 3302716"/>
                <a:gd name="connsiteY277" fmla="*/ 545095 h 2641600"/>
                <a:gd name="connsiteX278" fmla="*/ 2337307 w 3302716"/>
                <a:gd name="connsiteY278" fmla="*/ 548133 h 2641600"/>
                <a:gd name="connsiteX279" fmla="*/ 2336230 w 3302716"/>
                <a:gd name="connsiteY279" fmla="*/ 553197 h 2641600"/>
                <a:gd name="connsiteX280" fmla="*/ 2336230 w 3302716"/>
                <a:gd name="connsiteY280" fmla="*/ 557249 h 2641600"/>
                <a:gd name="connsiteX281" fmla="*/ 2340536 w 3302716"/>
                <a:gd name="connsiteY281" fmla="*/ 562312 h 2641600"/>
                <a:gd name="connsiteX282" fmla="*/ 2349147 w 3302716"/>
                <a:gd name="connsiteY282" fmla="*/ 565351 h 2641600"/>
                <a:gd name="connsiteX283" fmla="*/ 2359912 w 3302716"/>
                <a:gd name="connsiteY283" fmla="*/ 563325 h 2641600"/>
                <a:gd name="connsiteX284" fmla="*/ 2366370 w 3302716"/>
                <a:gd name="connsiteY284" fmla="*/ 563325 h 2641600"/>
                <a:gd name="connsiteX285" fmla="*/ 2373905 w 3302716"/>
                <a:gd name="connsiteY285" fmla="*/ 566364 h 2641600"/>
                <a:gd name="connsiteX286" fmla="*/ 2382516 w 3302716"/>
                <a:gd name="connsiteY286" fmla="*/ 573453 h 2641600"/>
                <a:gd name="connsiteX287" fmla="*/ 2391128 w 3302716"/>
                <a:gd name="connsiteY287" fmla="*/ 580543 h 2641600"/>
                <a:gd name="connsiteX288" fmla="*/ 2398663 w 3302716"/>
                <a:gd name="connsiteY288" fmla="*/ 582568 h 2641600"/>
                <a:gd name="connsiteX289" fmla="*/ 2400816 w 3302716"/>
                <a:gd name="connsiteY289" fmla="*/ 580543 h 2641600"/>
                <a:gd name="connsiteX290" fmla="*/ 2397586 w 3302716"/>
                <a:gd name="connsiteY290" fmla="*/ 574466 h 2641600"/>
                <a:gd name="connsiteX291" fmla="*/ 2394357 w 3302716"/>
                <a:gd name="connsiteY291" fmla="*/ 569402 h 2641600"/>
                <a:gd name="connsiteX292" fmla="*/ 2394357 w 3302716"/>
                <a:gd name="connsiteY292" fmla="*/ 567376 h 2641600"/>
                <a:gd name="connsiteX293" fmla="*/ 2400816 w 3302716"/>
                <a:gd name="connsiteY293" fmla="*/ 569402 h 2641600"/>
                <a:gd name="connsiteX294" fmla="*/ 2406198 w 3302716"/>
                <a:gd name="connsiteY294" fmla="*/ 570415 h 2641600"/>
                <a:gd name="connsiteX295" fmla="*/ 2413733 w 3302716"/>
                <a:gd name="connsiteY295" fmla="*/ 572440 h 2641600"/>
                <a:gd name="connsiteX296" fmla="*/ 2422344 w 3302716"/>
                <a:gd name="connsiteY296" fmla="*/ 573453 h 2641600"/>
                <a:gd name="connsiteX297" fmla="*/ 2429879 w 3302716"/>
                <a:gd name="connsiteY297" fmla="*/ 573453 h 2641600"/>
                <a:gd name="connsiteX298" fmla="*/ 2436337 w 3302716"/>
                <a:gd name="connsiteY298" fmla="*/ 574466 h 2641600"/>
                <a:gd name="connsiteX299" fmla="*/ 2441719 w 3302716"/>
                <a:gd name="connsiteY299" fmla="*/ 575479 h 2641600"/>
                <a:gd name="connsiteX300" fmla="*/ 2444949 w 3302716"/>
                <a:gd name="connsiteY300" fmla="*/ 576491 h 2641600"/>
                <a:gd name="connsiteX301" fmla="*/ 2446025 w 3302716"/>
                <a:gd name="connsiteY301" fmla="*/ 578517 h 2641600"/>
                <a:gd name="connsiteX302" fmla="*/ 2444949 w 3302716"/>
                <a:gd name="connsiteY302" fmla="*/ 582568 h 2641600"/>
                <a:gd name="connsiteX303" fmla="*/ 2446025 w 3302716"/>
                <a:gd name="connsiteY303" fmla="*/ 584594 h 2641600"/>
                <a:gd name="connsiteX304" fmla="*/ 2448178 w 3302716"/>
                <a:gd name="connsiteY304" fmla="*/ 585607 h 2641600"/>
                <a:gd name="connsiteX305" fmla="*/ 2452484 w 3302716"/>
                <a:gd name="connsiteY305" fmla="*/ 585607 h 2641600"/>
                <a:gd name="connsiteX306" fmla="*/ 2456789 w 3302716"/>
                <a:gd name="connsiteY306" fmla="*/ 585607 h 2641600"/>
                <a:gd name="connsiteX307" fmla="*/ 2462171 w 3302716"/>
                <a:gd name="connsiteY307" fmla="*/ 583581 h 2641600"/>
                <a:gd name="connsiteX308" fmla="*/ 2468630 w 3302716"/>
                <a:gd name="connsiteY308" fmla="*/ 582568 h 2641600"/>
                <a:gd name="connsiteX309" fmla="*/ 2477241 w 3302716"/>
                <a:gd name="connsiteY309" fmla="*/ 582568 h 2641600"/>
                <a:gd name="connsiteX310" fmla="*/ 2488005 w 3302716"/>
                <a:gd name="connsiteY310" fmla="*/ 583581 h 2641600"/>
                <a:gd name="connsiteX311" fmla="*/ 2499846 w 3302716"/>
                <a:gd name="connsiteY311" fmla="*/ 584594 h 2641600"/>
                <a:gd name="connsiteX312" fmla="*/ 2508457 w 3302716"/>
                <a:gd name="connsiteY312" fmla="*/ 588645 h 2641600"/>
                <a:gd name="connsiteX313" fmla="*/ 2510610 w 3302716"/>
                <a:gd name="connsiteY313" fmla="*/ 593709 h 2641600"/>
                <a:gd name="connsiteX314" fmla="*/ 2507381 w 3302716"/>
                <a:gd name="connsiteY314" fmla="*/ 599786 h 2641600"/>
                <a:gd name="connsiteX315" fmla="*/ 2499846 w 3302716"/>
                <a:gd name="connsiteY315" fmla="*/ 603837 h 2641600"/>
                <a:gd name="connsiteX316" fmla="*/ 2494464 w 3302716"/>
                <a:gd name="connsiteY316" fmla="*/ 606875 h 2641600"/>
                <a:gd name="connsiteX317" fmla="*/ 2494464 w 3302716"/>
                <a:gd name="connsiteY317" fmla="*/ 610926 h 2641600"/>
                <a:gd name="connsiteX318" fmla="*/ 2499846 w 3302716"/>
                <a:gd name="connsiteY318" fmla="*/ 613964 h 2641600"/>
                <a:gd name="connsiteX319" fmla="*/ 2504152 w 3302716"/>
                <a:gd name="connsiteY319" fmla="*/ 617003 h 2641600"/>
                <a:gd name="connsiteX320" fmla="*/ 2509534 w 3302716"/>
                <a:gd name="connsiteY320" fmla="*/ 622067 h 2641600"/>
                <a:gd name="connsiteX321" fmla="*/ 2510610 w 3302716"/>
                <a:gd name="connsiteY321" fmla="*/ 627131 h 2641600"/>
                <a:gd name="connsiteX322" fmla="*/ 2510610 w 3302716"/>
                <a:gd name="connsiteY322" fmla="*/ 631182 h 2641600"/>
                <a:gd name="connsiteX323" fmla="*/ 2508457 w 3302716"/>
                <a:gd name="connsiteY323" fmla="*/ 635233 h 2641600"/>
                <a:gd name="connsiteX324" fmla="*/ 2504152 w 3302716"/>
                <a:gd name="connsiteY324" fmla="*/ 638271 h 2641600"/>
                <a:gd name="connsiteX325" fmla="*/ 2499846 w 3302716"/>
                <a:gd name="connsiteY325" fmla="*/ 640297 h 2641600"/>
                <a:gd name="connsiteX326" fmla="*/ 2495540 w 3302716"/>
                <a:gd name="connsiteY326" fmla="*/ 643335 h 2641600"/>
                <a:gd name="connsiteX327" fmla="*/ 2495540 w 3302716"/>
                <a:gd name="connsiteY327" fmla="*/ 645361 h 2641600"/>
                <a:gd name="connsiteX328" fmla="*/ 2497693 w 3302716"/>
                <a:gd name="connsiteY328" fmla="*/ 650425 h 2641600"/>
                <a:gd name="connsiteX329" fmla="*/ 2504152 w 3302716"/>
                <a:gd name="connsiteY329" fmla="*/ 654476 h 2641600"/>
                <a:gd name="connsiteX330" fmla="*/ 2510610 w 3302716"/>
                <a:gd name="connsiteY330" fmla="*/ 659540 h 2641600"/>
                <a:gd name="connsiteX331" fmla="*/ 2513839 w 3302716"/>
                <a:gd name="connsiteY331" fmla="*/ 665617 h 2641600"/>
                <a:gd name="connsiteX332" fmla="*/ 2513839 w 3302716"/>
                <a:gd name="connsiteY332" fmla="*/ 670680 h 2641600"/>
                <a:gd name="connsiteX333" fmla="*/ 2510610 w 3302716"/>
                <a:gd name="connsiteY333" fmla="*/ 675744 h 2641600"/>
                <a:gd name="connsiteX334" fmla="*/ 2505228 w 3302716"/>
                <a:gd name="connsiteY334" fmla="*/ 679796 h 2641600"/>
                <a:gd name="connsiteX335" fmla="*/ 2501999 w 3302716"/>
                <a:gd name="connsiteY335" fmla="*/ 680808 h 2641600"/>
                <a:gd name="connsiteX336" fmla="*/ 2499846 w 3302716"/>
                <a:gd name="connsiteY336" fmla="*/ 680808 h 2641600"/>
                <a:gd name="connsiteX337" fmla="*/ 2493387 w 3302716"/>
                <a:gd name="connsiteY337" fmla="*/ 676757 h 2641600"/>
                <a:gd name="connsiteX338" fmla="*/ 2484776 w 3302716"/>
                <a:gd name="connsiteY338" fmla="*/ 673719 h 2641600"/>
                <a:gd name="connsiteX339" fmla="*/ 2477241 w 3302716"/>
                <a:gd name="connsiteY339" fmla="*/ 669668 h 2641600"/>
                <a:gd name="connsiteX340" fmla="*/ 2470783 w 3302716"/>
                <a:gd name="connsiteY340" fmla="*/ 666629 h 2641600"/>
                <a:gd name="connsiteX341" fmla="*/ 2464324 w 3302716"/>
                <a:gd name="connsiteY341" fmla="*/ 662578 h 2641600"/>
                <a:gd name="connsiteX342" fmla="*/ 2461095 w 3302716"/>
                <a:gd name="connsiteY342" fmla="*/ 660553 h 2641600"/>
                <a:gd name="connsiteX343" fmla="*/ 2455713 w 3302716"/>
                <a:gd name="connsiteY343" fmla="*/ 659540 h 2641600"/>
                <a:gd name="connsiteX344" fmla="*/ 2451407 w 3302716"/>
                <a:gd name="connsiteY344" fmla="*/ 657514 h 2641600"/>
                <a:gd name="connsiteX345" fmla="*/ 2443872 w 3302716"/>
                <a:gd name="connsiteY345" fmla="*/ 654476 h 2641600"/>
                <a:gd name="connsiteX346" fmla="*/ 2434184 w 3302716"/>
                <a:gd name="connsiteY346" fmla="*/ 651438 h 2641600"/>
                <a:gd name="connsiteX347" fmla="*/ 2425573 w 3302716"/>
                <a:gd name="connsiteY347" fmla="*/ 650425 h 2641600"/>
                <a:gd name="connsiteX348" fmla="*/ 2418038 w 3302716"/>
                <a:gd name="connsiteY348" fmla="*/ 651438 h 2641600"/>
                <a:gd name="connsiteX349" fmla="*/ 2413733 w 3302716"/>
                <a:gd name="connsiteY349" fmla="*/ 655489 h 2641600"/>
                <a:gd name="connsiteX350" fmla="*/ 2413733 w 3302716"/>
                <a:gd name="connsiteY350" fmla="*/ 661565 h 2641600"/>
                <a:gd name="connsiteX351" fmla="*/ 2415885 w 3302716"/>
                <a:gd name="connsiteY351" fmla="*/ 667642 h 2641600"/>
                <a:gd name="connsiteX352" fmla="*/ 2421267 w 3302716"/>
                <a:gd name="connsiteY352" fmla="*/ 674732 h 2641600"/>
                <a:gd name="connsiteX353" fmla="*/ 2428802 w 3302716"/>
                <a:gd name="connsiteY353" fmla="*/ 682834 h 2641600"/>
                <a:gd name="connsiteX354" fmla="*/ 2434184 w 3302716"/>
                <a:gd name="connsiteY354" fmla="*/ 685872 h 2641600"/>
                <a:gd name="connsiteX355" fmla="*/ 2437414 w 3302716"/>
                <a:gd name="connsiteY355" fmla="*/ 690936 h 2641600"/>
                <a:gd name="connsiteX356" fmla="*/ 2443872 w 3302716"/>
                <a:gd name="connsiteY356" fmla="*/ 693974 h 2641600"/>
                <a:gd name="connsiteX357" fmla="*/ 2448178 w 3302716"/>
                <a:gd name="connsiteY357" fmla="*/ 697013 h 2641600"/>
                <a:gd name="connsiteX358" fmla="*/ 2454636 w 3302716"/>
                <a:gd name="connsiteY358" fmla="*/ 700051 h 2641600"/>
                <a:gd name="connsiteX359" fmla="*/ 2461095 w 3302716"/>
                <a:gd name="connsiteY359" fmla="*/ 703090 h 2641600"/>
                <a:gd name="connsiteX360" fmla="*/ 2467553 w 3302716"/>
                <a:gd name="connsiteY360" fmla="*/ 704102 h 2641600"/>
                <a:gd name="connsiteX361" fmla="*/ 2472935 w 3302716"/>
                <a:gd name="connsiteY361" fmla="*/ 705115 h 2641600"/>
                <a:gd name="connsiteX362" fmla="*/ 2484776 w 3302716"/>
                <a:gd name="connsiteY362" fmla="*/ 707141 h 2641600"/>
                <a:gd name="connsiteX363" fmla="*/ 2493387 w 3302716"/>
                <a:gd name="connsiteY363" fmla="*/ 709166 h 2641600"/>
                <a:gd name="connsiteX364" fmla="*/ 2499846 w 3302716"/>
                <a:gd name="connsiteY364" fmla="*/ 713217 h 2641600"/>
                <a:gd name="connsiteX365" fmla="*/ 2504152 w 3302716"/>
                <a:gd name="connsiteY365" fmla="*/ 718281 h 2641600"/>
                <a:gd name="connsiteX366" fmla="*/ 2511686 w 3302716"/>
                <a:gd name="connsiteY366" fmla="*/ 721320 h 2641600"/>
                <a:gd name="connsiteX367" fmla="*/ 2520298 w 3302716"/>
                <a:gd name="connsiteY367" fmla="*/ 723345 h 2641600"/>
                <a:gd name="connsiteX368" fmla="*/ 2528909 w 3302716"/>
                <a:gd name="connsiteY368" fmla="*/ 726384 h 2641600"/>
                <a:gd name="connsiteX369" fmla="*/ 2534291 w 3302716"/>
                <a:gd name="connsiteY369" fmla="*/ 733473 h 2641600"/>
                <a:gd name="connsiteX370" fmla="*/ 2535368 w 3302716"/>
                <a:gd name="connsiteY370" fmla="*/ 739550 h 2641600"/>
                <a:gd name="connsiteX371" fmla="*/ 2534291 w 3302716"/>
                <a:gd name="connsiteY371" fmla="*/ 743601 h 2641600"/>
                <a:gd name="connsiteX372" fmla="*/ 2534291 w 3302716"/>
                <a:gd name="connsiteY372" fmla="*/ 747652 h 2641600"/>
                <a:gd name="connsiteX373" fmla="*/ 2537520 w 3302716"/>
                <a:gd name="connsiteY373" fmla="*/ 756767 h 2641600"/>
                <a:gd name="connsiteX374" fmla="*/ 2542903 w 3302716"/>
                <a:gd name="connsiteY374" fmla="*/ 764869 h 2641600"/>
                <a:gd name="connsiteX375" fmla="*/ 2545055 w 3302716"/>
                <a:gd name="connsiteY375" fmla="*/ 769933 h 2641600"/>
                <a:gd name="connsiteX376" fmla="*/ 2546132 w 3302716"/>
                <a:gd name="connsiteY376" fmla="*/ 774997 h 2641600"/>
                <a:gd name="connsiteX377" fmla="*/ 2550438 w 3302716"/>
                <a:gd name="connsiteY377" fmla="*/ 778036 h 2641600"/>
                <a:gd name="connsiteX378" fmla="*/ 2554743 w 3302716"/>
                <a:gd name="connsiteY378" fmla="*/ 783100 h 2641600"/>
                <a:gd name="connsiteX379" fmla="*/ 2559049 w 3302716"/>
                <a:gd name="connsiteY379" fmla="*/ 787151 h 2641600"/>
                <a:gd name="connsiteX380" fmla="*/ 2557973 w 3302716"/>
                <a:gd name="connsiteY380" fmla="*/ 790189 h 2641600"/>
                <a:gd name="connsiteX381" fmla="*/ 2551514 w 3302716"/>
                <a:gd name="connsiteY381" fmla="*/ 789176 h 2641600"/>
                <a:gd name="connsiteX382" fmla="*/ 2546132 w 3302716"/>
                <a:gd name="connsiteY382" fmla="*/ 785125 h 2641600"/>
                <a:gd name="connsiteX383" fmla="*/ 2542903 w 3302716"/>
                <a:gd name="connsiteY383" fmla="*/ 782087 h 2641600"/>
                <a:gd name="connsiteX384" fmla="*/ 2536444 w 3302716"/>
                <a:gd name="connsiteY384" fmla="*/ 778036 h 2641600"/>
                <a:gd name="connsiteX385" fmla="*/ 2525680 w 3302716"/>
                <a:gd name="connsiteY385" fmla="*/ 778036 h 2641600"/>
                <a:gd name="connsiteX386" fmla="*/ 2512763 w 3302716"/>
                <a:gd name="connsiteY386" fmla="*/ 781074 h 2641600"/>
                <a:gd name="connsiteX387" fmla="*/ 2504152 w 3302716"/>
                <a:gd name="connsiteY387" fmla="*/ 782087 h 2641600"/>
                <a:gd name="connsiteX388" fmla="*/ 2497693 w 3302716"/>
                <a:gd name="connsiteY388" fmla="*/ 782087 h 2641600"/>
                <a:gd name="connsiteX389" fmla="*/ 2491235 w 3302716"/>
                <a:gd name="connsiteY389" fmla="*/ 778036 h 2641600"/>
                <a:gd name="connsiteX390" fmla="*/ 2485852 w 3302716"/>
                <a:gd name="connsiteY390" fmla="*/ 776010 h 2641600"/>
                <a:gd name="connsiteX391" fmla="*/ 2480470 w 3302716"/>
                <a:gd name="connsiteY391" fmla="*/ 774997 h 2641600"/>
                <a:gd name="connsiteX392" fmla="*/ 2475088 w 3302716"/>
                <a:gd name="connsiteY392" fmla="*/ 772972 h 2641600"/>
                <a:gd name="connsiteX393" fmla="*/ 2468630 w 3302716"/>
                <a:gd name="connsiteY393" fmla="*/ 771959 h 2641600"/>
                <a:gd name="connsiteX394" fmla="*/ 2462171 w 3302716"/>
                <a:gd name="connsiteY394" fmla="*/ 769933 h 2641600"/>
                <a:gd name="connsiteX395" fmla="*/ 2456789 w 3302716"/>
                <a:gd name="connsiteY395" fmla="*/ 769933 h 2641600"/>
                <a:gd name="connsiteX396" fmla="*/ 2452484 w 3302716"/>
                <a:gd name="connsiteY396" fmla="*/ 769933 h 2641600"/>
                <a:gd name="connsiteX397" fmla="*/ 2448178 w 3302716"/>
                <a:gd name="connsiteY397" fmla="*/ 769933 h 2641600"/>
                <a:gd name="connsiteX398" fmla="*/ 2446025 w 3302716"/>
                <a:gd name="connsiteY398" fmla="*/ 772972 h 2641600"/>
                <a:gd name="connsiteX399" fmla="*/ 2450331 w 3302716"/>
                <a:gd name="connsiteY399" fmla="*/ 776010 h 2641600"/>
                <a:gd name="connsiteX400" fmla="*/ 2458942 w 3302716"/>
                <a:gd name="connsiteY400" fmla="*/ 780061 h 2641600"/>
                <a:gd name="connsiteX401" fmla="*/ 2472935 w 3302716"/>
                <a:gd name="connsiteY401" fmla="*/ 785125 h 2641600"/>
                <a:gd name="connsiteX402" fmla="*/ 2482623 w 3302716"/>
                <a:gd name="connsiteY402" fmla="*/ 788163 h 2641600"/>
                <a:gd name="connsiteX403" fmla="*/ 2488005 w 3302716"/>
                <a:gd name="connsiteY403" fmla="*/ 790189 h 2641600"/>
                <a:gd name="connsiteX404" fmla="*/ 2494464 w 3302716"/>
                <a:gd name="connsiteY404" fmla="*/ 791202 h 2641600"/>
                <a:gd name="connsiteX405" fmla="*/ 2497693 w 3302716"/>
                <a:gd name="connsiteY405" fmla="*/ 791202 h 2641600"/>
                <a:gd name="connsiteX406" fmla="*/ 2501999 w 3302716"/>
                <a:gd name="connsiteY406" fmla="*/ 792215 h 2641600"/>
                <a:gd name="connsiteX407" fmla="*/ 2505228 w 3302716"/>
                <a:gd name="connsiteY407" fmla="*/ 793227 h 2641600"/>
                <a:gd name="connsiteX408" fmla="*/ 2508457 w 3302716"/>
                <a:gd name="connsiteY408" fmla="*/ 795253 h 2641600"/>
                <a:gd name="connsiteX409" fmla="*/ 2510610 w 3302716"/>
                <a:gd name="connsiteY409" fmla="*/ 797279 h 2641600"/>
                <a:gd name="connsiteX410" fmla="*/ 2517069 w 3302716"/>
                <a:gd name="connsiteY410" fmla="*/ 800317 h 2641600"/>
                <a:gd name="connsiteX411" fmla="*/ 2525680 w 3302716"/>
                <a:gd name="connsiteY411" fmla="*/ 804368 h 2641600"/>
                <a:gd name="connsiteX412" fmla="*/ 2534291 w 3302716"/>
                <a:gd name="connsiteY412" fmla="*/ 807406 h 2641600"/>
                <a:gd name="connsiteX413" fmla="*/ 2540750 w 3302716"/>
                <a:gd name="connsiteY413" fmla="*/ 812470 h 2641600"/>
                <a:gd name="connsiteX414" fmla="*/ 2541826 w 3302716"/>
                <a:gd name="connsiteY414" fmla="*/ 813483 h 2641600"/>
                <a:gd name="connsiteX415" fmla="*/ 2543979 w 3302716"/>
                <a:gd name="connsiteY415" fmla="*/ 816521 h 2641600"/>
                <a:gd name="connsiteX416" fmla="*/ 2542903 w 3302716"/>
                <a:gd name="connsiteY416" fmla="*/ 820573 h 2641600"/>
                <a:gd name="connsiteX417" fmla="*/ 2534291 w 3302716"/>
                <a:gd name="connsiteY417" fmla="*/ 821585 h 2641600"/>
                <a:gd name="connsiteX418" fmla="*/ 2527833 w 3302716"/>
                <a:gd name="connsiteY418" fmla="*/ 821585 h 2641600"/>
                <a:gd name="connsiteX419" fmla="*/ 2523527 w 3302716"/>
                <a:gd name="connsiteY419" fmla="*/ 820573 h 2641600"/>
                <a:gd name="connsiteX420" fmla="*/ 2518145 w 3302716"/>
                <a:gd name="connsiteY420" fmla="*/ 820573 h 2641600"/>
                <a:gd name="connsiteX421" fmla="*/ 2513839 w 3302716"/>
                <a:gd name="connsiteY421" fmla="*/ 821585 h 2641600"/>
                <a:gd name="connsiteX422" fmla="*/ 2509534 w 3302716"/>
                <a:gd name="connsiteY422" fmla="*/ 821585 h 2641600"/>
                <a:gd name="connsiteX423" fmla="*/ 2505228 w 3302716"/>
                <a:gd name="connsiteY423" fmla="*/ 822598 h 2641600"/>
                <a:gd name="connsiteX424" fmla="*/ 2499846 w 3302716"/>
                <a:gd name="connsiteY424" fmla="*/ 823611 h 2641600"/>
                <a:gd name="connsiteX425" fmla="*/ 2493387 w 3302716"/>
                <a:gd name="connsiteY425" fmla="*/ 825637 h 2641600"/>
                <a:gd name="connsiteX426" fmla="*/ 2485852 w 3302716"/>
                <a:gd name="connsiteY426" fmla="*/ 826649 h 2641600"/>
                <a:gd name="connsiteX427" fmla="*/ 2479394 w 3302716"/>
                <a:gd name="connsiteY427" fmla="*/ 827662 h 2641600"/>
                <a:gd name="connsiteX428" fmla="*/ 2475088 w 3302716"/>
                <a:gd name="connsiteY428" fmla="*/ 828675 h 2641600"/>
                <a:gd name="connsiteX429" fmla="*/ 2469706 w 3302716"/>
                <a:gd name="connsiteY429" fmla="*/ 828675 h 2641600"/>
                <a:gd name="connsiteX430" fmla="*/ 2464324 w 3302716"/>
                <a:gd name="connsiteY430" fmla="*/ 828675 h 2641600"/>
                <a:gd name="connsiteX431" fmla="*/ 2460018 w 3302716"/>
                <a:gd name="connsiteY431" fmla="*/ 827662 h 2641600"/>
                <a:gd name="connsiteX432" fmla="*/ 2454636 w 3302716"/>
                <a:gd name="connsiteY432" fmla="*/ 827662 h 2641600"/>
                <a:gd name="connsiteX433" fmla="*/ 2448178 w 3302716"/>
                <a:gd name="connsiteY433" fmla="*/ 826649 h 2641600"/>
                <a:gd name="connsiteX434" fmla="*/ 2443872 w 3302716"/>
                <a:gd name="connsiteY434" fmla="*/ 826649 h 2641600"/>
                <a:gd name="connsiteX435" fmla="*/ 2438490 w 3302716"/>
                <a:gd name="connsiteY435" fmla="*/ 826649 h 2641600"/>
                <a:gd name="connsiteX436" fmla="*/ 2434184 w 3302716"/>
                <a:gd name="connsiteY436" fmla="*/ 827662 h 2641600"/>
                <a:gd name="connsiteX437" fmla="*/ 2428802 w 3302716"/>
                <a:gd name="connsiteY437" fmla="*/ 828675 h 2641600"/>
                <a:gd name="connsiteX438" fmla="*/ 2423420 w 3302716"/>
                <a:gd name="connsiteY438" fmla="*/ 828675 h 2641600"/>
                <a:gd name="connsiteX439" fmla="*/ 2420191 w 3302716"/>
                <a:gd name="connsiteY439" fmla="*/ 828675 h 2641600"/>
                <a:gd name="connsiteX440" fmla="*/ 2414809 w 3302716"/>
                <a:gd name="connsiteY440" fmla="*/ 827662 h 2641600"/>
                <a:gd name="connsiteX441" fmla="*/ 2411580 w 3302716"/>
                <a:gd name="connsiteY441" fmla="*/ 825637 h 2641600"/>
                <a:gd name="connsiteX442" fmla="*/ 2406198 w 3302716"/>
                <a:gd name="connsiteY442" fmla="*/ 819560 h 2641600"/>
                <a:gd name="connsiteX443" fmla="*/ 2405121 w 3302716"/>
                <a:gd name="connsiteY443" fmla="*/ 813483 h 2641600"/>
                <a:gd name="connsiteX444" fmla="*/ 2400816 w 3302716"/>
                <a:gd name="connsiteY444" fmla="*/ 808419 h 2641600"/>
                <a:gd name="connsiteX445" fmla="*/ 2387899 w 3302716"/>
                <a:gd name="connsiteY445" fmla="*/ 805381 h 2641600"/>
                <a:gd name="connsiteX446" fmla="*/ 2379287 w 3302716"/>
                <a:gd name="connsiteY446" fmla="*/ 804368 h 2641600"/>
                <a:gd name="connsiteX447" fmla="*/ 2371752 w 3302716"/>
                <a:gd name="connsiteY447" fmla="*/ 801330 h 2641600"/>
                <a:gd name="connsiteX448" fmla="*/ 2365294 w 3302716"/>
                <a:gd name="connsiteY448" fmla="*/ 799304 h 2641600"/>
                <a:gd name="connsiteX449" fmla="*/ 2360988 w 3302716"/>
                <a:gd name="connsiteY449" fmla="*/ 797279 h 2641600"/>
                <a:gd name="connsiteX450" fmla="*/ 2356682 w 3302716"/>
                <a:gd name="connsiteY450" fmla="*/ 795253 h 2641600"/>
                <a:gd name="connsiteX451" fmla="*/ 2353453 w 3302716"/>
                <a:gd name="connsiteY451" fmla="*/ 792215 h 2641600"/>
                <a:gd name="connsiteX452" fmla="*/ 2350224 w 3302716"/>
                <a:gd name="connsiteY452" fmla="*/ 791202 h 2641600"/>
                <a:gd name="connsiteX453" fmla="*/ 2346995 w 3302716"/>
                <a:gd name="connsiteY453" fmla="*/ 789176 h 2641600"/>
                <a:gd name="connsiteX454" fmla="*/ 2341613 w 3302716"/>
                <a:gd name="connsiteY454" fmla="*/ 785125 h 2641600"/>
                <a:gd name="connsiteX455" fmla="*/ 2337307 w 3302716"/>
                <a:gd name="connsiteY455" fmla="*/ 784112 h 2641600"/>
                <a:gd name="connsiteX456" fmla="*/ 2330848 w 3302716"/>
                <a:gd name="connsiteY456" fmla="*/ 785125 h 2641600"/>
                <a:gd name="connsiteX457" fmla="*/ 2321161 w 3302716"/>
                <a:gd name="connsiteY457" fmla="*/ 790189 h 2641600"/>
                <a:gd name="connsiteX458" fmla="*/ 2309320 w 3302716"/>
                <a:gd name="connsiteY458" fmla="*/ 795253 h 2641600"/>
                <a:gd name="connsiteX459" fmla="*/ 2300709 w 3302716"/>
                <a:gd name="connsiteY459" fmla="*/ 796266 h 2641600"/>
                <a:gd name="connsiteX460" fmla="*/ 2293174 w 3302716"/>
                <a:gd name="connsiteY460" fmla="*/ 798291 h 2641600"/>
                <a:gd name="connsiteX461" fmla="*/ 2287792 w 3302716"/>
                <a:gd name="connsiteY461" fmla="*/ 803355 h 2641600"/>
                <a:gd name="connsiteX462" fmla="*/ 2280257 w 3302716"/>
                <a:gd name="connsiteY462" fmla="*/ 810445 h 2641600"/>
                <a:gd name="connsiteX463" fmla="*/ 2272722 w 3302716"/>
                <a:gd name="connsiteY463" fmla="*/ 814496 h 2641600"/>
                <a:gd name="connsiteX464" fmla="*/ 2265187 w 3302716"/>
                <a:gd name="connsiteY464" fmla="*/ 814496 h 2641600"/>
                <a:gd name="connsiteX465" fmla="*/ 2257652 w 3302716"/>
                <a:gd name="connsiteY465" fmla="*/ 810445 h 2641600"/>
                <a:gd name="connsiteX466" fmla="*/ 2252270 w 3302716"/>
                <a:gd name="connsiteY466" fmla="*/ 806394 h 2641600"/>
                <a:gd name="connsiteX467" fmla="*/ 2247964 w 3302716"/>
                <a:gd name="connsiteY467" fmla="*/ 803355 h 2641600"/>
                <a:gd name="connsiteX468" fmla="*/ 2242582 w 3302716"/>
                <a:gd name="connsiteY468" fmla="*/ 799304 h 2641600"/>
                <a:gd name="connsiteX469" fmla="*/ 2239353 w 3302716"/>
                <a:gd name="connsiteY469" fmla="*/ 796266 h 2641600"/>
                <a:gd name="connsiteX470" fmla="*/ 2236124 w 3302716"/>
                <a:gd name="connsiteY470" fmla="*/ 791202 h 2641600"/>
                <a:gd name="connsiteX471" fmla="*/ 2236124 w 3302716"/>
                <a:gd name="connsiteY471" fmla="*/ 788163 h 2641600"/>
                <a:gd name="connsiteX472" fmla="*/ 2240429 w 3302716"/>
                <a:gd name="connsiteY472" fmla="*/ 783100 h 2641600"/>
                <a:gd name="connsiteX473" fmla="*/ 2249041 w 3302716"/>
                <a:gd name="connsiteY473" fmla="*/ 777023 h 2641600"/>
                <a:gd name="connsiteX474" fmla="*/ 2258728 w 3302716"/>
                <a:gd name="connsiteY474" fmla="*/ 772972 h 2641600"/>
                <a:gd name="connsiteX475" fmla="*/ 2265187 w 3302716"/>
                <a:gd name="connsiteY475" fmla="*/ 769933 h 2641600"/>
                <a:gd name="connsiteX476" fmla="*/ 2270569 w 3302716"/>
                <a:gd name="connsiteY476" fmla="*/ 769933 h 2641600"/>
                <a:gd name="connsiteX477" fmla="*/ 2273798 w 3302716"/>
                <a:gd name="connsiteY477" fmla="*/ 769933 h 2641600"/>
                <a:gd name="connsiteX478" fmla="*/ 2275951 w 3302716"/>
                <a:gd name="connsiteY478" fmla="*/ 769933 h 2641600"/>
                <a:gd name="connsiteX479" fmla="*/ 2279180 w 3302716"/>
                <a:gd name="connsiteY479" fmla="*/ 768921 h 2641600"/>
                <a:gd name="connsiteX480" fmla="*/ 2283486 w 3302716"/>
                <a:gd name="connsiteY480" fmla="*/ 766895 h 2641600"/>
                <a:gd name="connsiteX481" fmla="*/ 2288868 w 3302716"/>
                <a:gd name="connsiteY481" fmla="*/ 761831 h 2641600"/>
                <a:gd name="connsiteX482" fmla="*/ 2300709 w 3302716"/>
                <a:gd name="connsiteY482" fmla="*/ 752716 h 2641600"/>
                <a:gd name="connsiteX483" fmla="*/ 2311473 w 3302716"/>
                <a:gd name="connsiteY483" fmla="*/ 745627 h 2641600"/>
                <a:gd name="connsiteX484" fmla="*/ 2315779 w 3302716"/>
                <a:gd name="connsiteY484" fmla="*/ 739550 h 2641600"/>
                <a:gd name="connsiteX485" fmla="*/ 2312549 w 3302716"/>
                <a:gd name="connsiteY485" fmla="*/ 733473 h 2641600"/>
                <a:gd name="connsiteX486" fmla="*/ 2302862 w 3302716"/>
                <a:gd name="connsiteY486" fmla="*/ 727396 h 2641600"/>
                <a:gd name="connsiteX487" fmla="*/ 2292097 w 3302716"/>
                <a:gd name="connsiteY487" fmla="*/ 724358 h 2641600"/>
                <a:gd name="connsiteX488" fmla="*/ 2288868 w 3302716"/>
                <a:gd name="connsiteY488" fmla="*/ 719294 h 2641600"/>
                <a:gd name="connsiteX489" fmla="*/ 2293174 w 3302716"/>
                <a:gd name="connsiteY489" fmla="*/ 705115 h 2641600"/>
                <a:gd name="connsiteX490" fmla="*/ 2305014 w 3302716"/>
                <a:gd name="connsiteY490" fmla="*/ 689923 h 2641600"/>
                <a:gd name="connsiteX491" fmla="*/ 2313626 w 3302716"/>
                <a:gd name="connsiteY491" fmla="*/ 677770 h 2641600"/>
                <a:gd name="connsiteX492" fmla="*/ 2312549 w 3302716"/>
                <a:gd name="connsiteY492" fmla="*/ 666629 h 2641600"/>
                <a:gd name="connsiteX493" fmla="*/ 2299632 w 3302716"/>
                <a:gd name="connsiteY493" fmla="*/ 649412 h 2641600"/>
                <a:gd name="connsiteX494" fmla="*/ 2289945 w 3302716"/>
                <a:gd name="connsiteY494" fmla="*/ 639284 h 2641600"/>
                <a:gd name="connsiteX495" fmla="*/ 2280257 w 3302716"/>
                <a:gd name="connsiteY495" fmla="*/ 631182 h 2641600"/>
                <a:gd name="connsiteX496" fmla="*/ 2271645 w 3302716"/>
                <a:gd name="connsiteY496" fmla="*/ 624092 h 2641600"/>
                <a:gd name="connsiteX497" fmla="*/ 2264111 w 3302716"/>
                <a:gd name="connsiteY497" fmla="*/ 619028 h 2641600"/>
                <a:gd name="connsiteX498" fmla="*/ 2255499 w 3302716"/>
                <a:gd name="connsiteY498" fmla="*/ 613964 h 2641600"/>
                <a:gd name="connsiteX499" fmla="*/ 2247964 w 3302716"/>
                <a:gd name="connsiteY499" fmla="*/ 610926 h 2641600"/>
                <a:gd name="connsiteX500" fmla="*/ 2240429 w 3302716"/>
                <a:gd name="connsiteY500" fmla="*/ 606875 h 2641600"/>
                <a:gd name="connsiteX501" fmla="*/ 2231818 w 3302716"/>
                <a:gd name="connsiteY501" fmla="*/ 603837 h 2641600"/>
                <a:gd name="connsiteX502" fmla="*/ 2223207 w 3302716"/>
                <a:gd name="connsiteY502" fmla="*/ 599786 h 2641600"/>
                <a:gd name="connsiteX503" fmla="*/ 2214595 w 3302716"/>
                <a:gd name="connsiteY503" fmla="*/ 596747 h 2641600"/>
                <a:gd name="connsiteX504" fmla="*/ 2205984 w 3302716"/>
                <a:gd name="connsiteY504" fmla="*/ 591683 h 2641600"/>
                <a:gd name="connsiteX505" fmla="*/ 2198449 w 3302716"/>
                <a:gd name="connsiteY505" fmla="*/ 586619 h 2641600"/>
                <a:gd name="connsiteX506" fmla="*/ 2190914 w 3302716"/>
                <a:gd name="connsiteY506" fmla="*/ 582568 h 2641600"/>
                <a:gd name="connsiteX507" fmla="*/ 2184456 w 3302716"/>
                <a:gd name="connsiteY507" fmla="*/ 578517 h 2641600"/>
                <a:gd name="connsiteX508" fmla="*/ 2177997 w 3302716"/>
                <a:gd name="connsiteY508" fmla="*/ 575479 h 2641600"/>
                <a:gd name="connsiteX509" fmla="*/ 2174768 w 3302716"/>
                <a:gd name="connsiteY509" fmla="*/ 572440 h 2641600"/>
                <a:gd name="connsiteX510" fmla="*/ 2166157 w 3302716"/>
                <a:gd name="connsiteY510" fmla="*/ 567376 h 2641600"/>
                <a:gd name="connsiteX511" fmla="*/ 2157545 w 3302716"/>
                <a:gd name="connsiteY511" fmla="*/ 562312 h 2641600"/>
                <a:gd name="connsiteX512" fmla="*/ 2152163 w 3302716"/>
                <a:gd name="connsiteY512" fmla="*/ 561300 h 2641600"/>
                <a:gd name="connsiteX513" fmla="*/ 2153240 w 3302716"/>
                <a:gd name="connsiteY513" fmla="*/ 567376 h 2641600"/>
                <a:gd name="connsiteX514" fmla="*/ 2159698 w 3302716"/>
                <a:gd name="connsiteY514" fmla="*/ 576491 h 2641600"/>
                <a:gd name="connsiteX515" fmla="*/ 2160774 w 3302716"/>
                <a:gd name="connsiteY515" fmla="*/ 582568 h 2641600"/>
                <a:gd name="connsiteX516" fmla="*/ 2157545 w 3302716"/>
                <a:gd name="connsiteY516" fmla="*/ 585607 h 2641600"/>
                <a:gd name="connsiteX517" fmla="*/ 2144628 w 3302716"/>
                <a:gd name="connsiteY517" fmla="*/ 585607 h 2641600"/>
                <a:gd name="connsiteX518" fmla="*/ 2136017 w 3302716"/>
                <a:gd name="connsiteY518" fmla="*/ 585607 h 2641600"/>
                <a:gd name="connsiteX519" fmla="*/ 2131711 w 3302716"/>
                <a:gd name="connsiteY519" fmla="*/ 585607 h 2641600"/>
                <a:gd name="connsiteX520" fmla="*/ 2126329 w 3302716"/>
                <a:gd name="connsiteY520" fmla="*/ 586619 h 2641600"/>
                <a:gd name="connsiteX521" fmla="*/ 2123100 w 3302716"/>
                <a:gd name="connsiteY521" fmla="*/ 589658 h 2641600"/>
                <a:gd name="connsiteX522" fmla="*/ 2118794 w 3302716"/>
                <a:gd name="connsiteY522" fmla="*/ 591683 h 2641600"/>
                <a:gd name="connsiteX523" fmla="*/ 2116191 w 3302716"/>
                <a:gd name="connsiteY523" fmla="*/ 592173 h 2641600"/>
                <a:gd name="connsiteX524" fmla="*/ 2144897 w 3302716"/>
                <a:gd name="connsiteY524" fmla="*/ 626457 h 2641600"/>
                <a:gd name="connsiteX525" fmla="*/ 2127911 w 3302716"/>
                <a:gd name="connsiteY525" fmla="*/ 673271 h 2641600"/>
                <a:gd name="connsiteX526" fmla="*/ 2152737 w 3302716"/>
                <a:gd name="connsiteY526" fmla="*/ 743494 h 2641600"/>
                <a:gd name="connsiteX527" fmla="*/ 2112232 w 3302716"/>
                <a:gd name="connsiteY527" fmla="*/ 774704 h 2641600"/>
                <a:gd name="connsiteX528" fmla="*/ 2033836 w 3302716"/>
                <a:gd name="connsiteY528" fmla="*/ 790309 h 2641600"/>
                <a:gd name="connsiteX529" fmla="*/ 2018156 w 3302716"/>
                <a:gd name="connsiteY529" fmla="*/ 852729 h 2641600"/>
                <a:gd name="connsiteX530" fmla="*/ 1994637 w 3302716"/>
                <a:gd name="connsiteY530" fmla="*/ 930753 h 2641600"/>
                <a:gd name="connsiteX531" fmla="*/ 1971119 w 3302716"/>
                <a:gd name="connsiteY531" fmla="*/ 930753 h 2641600"/>
                <a:gd name="connsiteX532" fmla="*/ 1931920 w 3302716"/>
                <a:gd name="connsiteY532" fmla="*/ 954161 h 2641600"/>
                <a:gd name="connsiteX533" fmla="*/ 1892722 w 3302716"/>
                <a:gd name="connsiteY533" fmla="*/ 993173 h 2641600"/>
                <a:gd name="connsiteX534" fmla="*/ 1830005 w 3302716"/>
                <a:gd name="connsiteY534" fmla="*/ 1181733 h 2641600"/>
                <a:gd name="connsiteX535" fmla="*/ 1853524 w 3302716"/>
                <a:gd name="connsiteY535" fmla="*/ 1205141 h 2641600"/>
                <a:gd name="connsiteX536" fmla="*/ 1877043 w 3302716"/>
                <a:gd name="connsiteY536" fmla="*/ 1275363 h 2641600"/>
                <a:gd name="connsiteX537" fmla="*/ 1908402 w 3302716"/>
                <a:gd name="connsiteY537" fmla="*/ 1275363 h 2641600"/>
                <a:gd name="connsiteX538" fmla="*/ 2057354 w 3302716"/>
                <a:gd name="connsiteY538" fmla="*/ 1361191 h 2641600"/>
                <a:gd name="connsiteX539" fmla="*/ 2135751 w 3302716"/>
                <a:gd name="connsiteY539" fmla="*/ 1368993 h 2641600"/>
                <a:gd name="connsiteX540" fmla="*/ 2152737 w 3302716"/>
                <a:gd name="connsiteY540" fmla="*/ 1509438 h 2641600"/>
                <a:gd name="connsiteX541" fmla="*/ 2184095 w 3302716"/>
                <a:gd name="connsiteY541" fmla="*/ 1525043 h 2641600"/>
                <a:gd name="connsiteX542" fmla="*/ 2215454 w 3302716"/>
                <a:gd name="connsiteY542" fmla="*/ 1501635 h 2641600"/>
                <a:gd name="connsiteX543" fmla="*/ 2199774 w 3302716"/>
                <a:gd name="connsiteY543" fmla="*/ 1384598 h 2641600"/>
                <a:gd name="connsiteX544" fmla="*/ 2278171 w 3302716"/>
                <a:gd name="connsiteY544" fmla="*/ 1314376 h 2641600"/>
                <a:gd name="connsiteX545" fmla="*/ 2231133 w 3302716"/>
                <a:gd name="connsiteY545" fmla="*/ 1220746 h 2641600"/>
                <a:gd name="connsiteX546" fmla="*/ 2238972 w 3302716"/>
                <a:gd name="connsiteY546" fmla="*/ 1189536 h 2641600"/>
                <a:gd name="connsiteX547" fmla="*/ 2246812 w 3302716"/>
                <a:gd name="connsiteY547" fmla="*/ 1103709 h 2641600"/>
                <a:gd name="connsiteX548" fmla="*/ 2246812 w 3302716"/>
                <a:gd name="connsiteY548" fmla="*/ 1063396 h 2641600"/>
                <a:gd name="connsiteX549" fmla="*/ 2246812 w 3302716"/>
                <a:gd name="connsiteY549" fmla="*/ 1024383 h 2641600"/>
                <a:gd name="connsiteX550" fmla="*/ 2278171 w 3302716"/>
                <a:gd name="connsiteY550" fmla="*/ 1016581 h 2641600"/>
                <a:gd name="connsiteX551" fmla="*/ 2325208 w 3302716"/>
                <a:gd name="connsiteY551" fmla="*/ 1032186 h 2641600"/>
                <a:gd name="connsiteX552" fmla="*/ 2364406 w 3302716"/>
                <a:gd name="connsiteY552" fmla="*/ 1024383 h 2641600"/>
                <a:gd name="connsiteX553" fmla="*/ 2403605 w 3302716"/>
                <a:gd name="connsiteY553" fmla="*/ 1079001 h 2641600"/>
                <a:gd name="connsiteX554" fmla="*/ 2450642 w 3302716"/>
                <a:gd name="connsiteY554" fmla="*/ 1086803 h 2641600"/>
                <a:gd name="connsiteX555" fmla="*/ 2450642 w 3302716"/>
                <a:gd name="connsiteY555" fmla="*/ 1197338 h 2641600"/>
                <a:gd name="connsiteX556" fmla="*/ 2474161 w 3302716"/>
                <a:gd name="connsiteY556" fmla="*/ 1197338 h 2641600"/>
                <a:gd name="connsiteX557" fmla="*/ 2489840 w 3302716"/>
                <a:gd name="connsiteY557" fmla="*/ 1212943 h 2641600"/>
                <a:gd name="connsiteX558" fmla="*/ 2544718 w 3302716"/>
                <a:gd name="connsiteY558" fmla="*/ 1197338 h 2641600"/>
                <a:gd name="connsiteX559" fmla="*/ 2568237 w 3302716"/>
                <a:gd name="connsiteY559" fmla="*/ 1127116 h 2641600"/>
                <a:gd name="connsiteX560" fmla="*/ 2654473 w 3302716"/>
                <a:gd name="connsiteY560" fmla="*/ 1290968 h 2641600"/>
                <a:gd name="connsiteX561" fmla="*/ 2654473 w 3302716"/>
                <a:gd name="connsiteY561" fmla="*/ 1322178 h 2641600"/>
                <a:gd name="connsiteX562" fmla="*/ 2756388 w 3302716"/>
                <a:gd name="connsiteY562" fmla="*/ 1376796 h 2641600"/>
                <a:gd name="connsiteX563" fmla="*/ 2764228 w 3302716"/>
                <a:gd name="connsiteY563" fmla="*/ 1415808 h 2641600"/>
                <a:gd name="connsiteX564" fmla="*/ 2795586 w 3302716"/>
                <a:gd name="connsiteY564" fmla="*/ 1493833 h 2641600"/>
                <a:gd name="connsiteX565" fmla="*/ 2756388 w 3302716"/>
                <a:gd name="connsiteY565" fmla="*/ 1525043 h 2641600"/>
                <a:gd name="connsiteX566" fmla="*/ 2701511 w 3302716"/>
                <a:gd name="connsiteY566" fmla="*/ 1564055 h 2641600"/>
                <a:gd name="connsiteX567" fmla="*/ 2630954 w 3302716"/>
                <a:gd name="connsiteY567" fmla="*/ 1571858 h 2641600"/>
                <a:gd name="connsiteX568" fmla="*/ 2536878 w 3302716"/>
                <a:gd name="connsiteY568" fmla="*/ 1564055 h 2641600"/>
                <a:gd name="connsiteX569" fmla="*/ 2505520 w 3302716"/>
                <a:gd name="connsiteY569" fmla="*/ 1595265 h 2641600"/>
                <a:gd name="connsiteX570" fmla="*/ 2450642 w 3302716"/>
                <a:gd name="connsiteY570" fmla="*/ 1626475 h 2641600"/>
                <a:gd name="connsiteX571" fmla="*/ 2427123 w 3302716"/>
                <a:gd name="connsiteY571" fmla="*/ 1681093 h 2641600"/>
                <a:gd name="connsiteX572" fmla="*/ 2482001 w 3302716"/>
                <a:gd name="connsiteY572" fmla="*/ 1634278 h 2641600"/>
                <a:gd name="connsiteX573" fmla="*/ 2591756 w 3302716"/>
                <a:gd name="connsiteY573" fmla="*/ 1610870 h 2641600"/>
                <a:gd name="connsiteX574" fmla="*/ 2583916 w 3302716"/>
                <a:gd name="connsiteY574" fmla="*/ 1642080 h 2641600"/>
                <a:gd name="connsiteX575" fmla="*/ 2560397 w 3302716"/>
                <a:gd name="connsiteY575" fmla="*/ 1665488 h 2641600"/>
                <a:gd name="connsiteX576" fmla="*/ 2591756 w 3302716"/>
                <a:gd name="connsiteY576" fmla="*/ 1712303 h 2641600"/>
                <a:gd name="connsiteX577" fmla="*/ 2662313 w 3302716"/>
                <a:gd name="connsiteY577" fmla="*/ 1720105 h 2641600"/>
                <a:gd name="connsiteX578" fmla="*/ 2638794 w 3302716"/>
                <a:gd name="connsiteY578" fmla="*/ 1751315 h 2641600"/>
                <a:gd name="connsiteX579" fmla="*/ 2568237 w 3302716"/>
                <a:gd name="connsiteY579" fmla="*/ 1805932 h 2641600"/>
                <a:gd name="connsiteX580" fmla="*/ 2552557 w 3302716"/>
                <a:gd name="connsiteY580" fmla="*/ 1774722 h 2641600"/>
                <a:gd name="connsiteX581" fmla="*/ 2568237 w 3302716"/>
                <a:gd name="connsiteY581" fmla="*/ 1751315 h 2641600"/>
                <a:gd name="connsiteX582" fmla="*/ 2544718 w 3302716"/>
                <a:gd name="connsiteY582" fmla="*/ 1743513 h 2641600"/>
                <a:gd name="connsiteX583" fmla="*/ 2513359 w 3302716"/>
                <a:gd name="connsiteY583" fmla="*/ 1766920 h 2641600"/>
                <a:gd name="connsiteX584" fmla="*/ 2497680 w 3302716"/>
                <a:gd name="connsiteY584" fmla="*/ 1688895 h 2641600"/>
                <a:gd name="connsiteX585" fmla="*/ 2495890 w 3302716"/>
                <a:gd name="connsiteY585" fmla="*/ 1688450 h 2641600"/>
                <a:gd name="connsiteX586" fmla="*/ 2511424 w 3302716"/>
                <a:gd name="connsiteY586" fmla="*/ 1765675 h 2641600"/>
                <a:gd name="connsiteX587" fmla="*/ 2433074 w 3302716"/>
                <a:gd name="connsiteY587" fmla="*/ 1804626 h 2641600"/>
                <a:gd name="connsiteX588" fmla="*/ 2433074 w 3302716"/>
                <a:gd name="connsiteY588" fmla="*/ 1868245 h 2641600"/>
                <a:gd name="connsiteX589" fmla="*/ 2386065 w 3302716"/>
                <a:gd name="connsiteY589" fmla="*/ 1891616 h 2641600"/>
                <a:gd name="connsiteX590" fmla="*/ 2354725 w 3302716"/>
                <a:gd name="connsiteY590" fmla="*/ 1899406 h 2641600"/>
                <a:gd name="connsiteX591" fmla="*/ 2339055 w 3302716"/>
                <a:gd name="connsiteY591" fmla="*/ 1938357 h 2641600"/>
                <a:gd name="connsiteX592" fmla="*/ 2315550 w 3302716"/>
                <a:gd name="connsiteY592" fmla="*/ 1946147 h 2641600"/>
                <a:gd name="connsiteX593" fmla="*/ 2299880 w 3302716"/>
                <a:gd name="connsiteY593" fmla="*/ 1946147 h 2641600"/>
                <a:gd name="connsiteX594" fmla="*/ 2307715 w 3302716"/>
                <a:gd name="connsiteY594" fmla="*/ 1977307 h 2641600"/>
                <a:gd name="connsiteX595" fmla="*/ 2299880 w 3302716"/>
                <a:gd name="connsiteY595" fmla="*/ 1985097 h 2641600"/>
                <a:gd name="connsiteX596" fmla="*/ 2276376 w 3302716"/>
                <a:gd name="connsiteY596" fmla="*/ 1969517 h 2641600"/>
                <a:gd name="connsiteX597" fmla="*/ 2284211 w 3302716"/>
                <a:gd name="connsiteY597" fmla="*/ 2016258 h 2641600"/>
                <a:gd name="connsiteX598" fmla="*/ 2292045 w 3302716"/>
                <a:gd name="connsiteY598" fmla="*/ 2062999 h 2641600"/>
                <a:gd name="connsiteX599" fmla="*/ 2221531 w 3302716"/>
                <a:gd name="connsiteY599" fmla="*/ 2133110 h 2641600"/>
                <a:gd name="connsiteX600" fmla="*/ 2182356 w 3302716"/>
                <a:gd name="connsiteY600" fmla="*/ 2148691 h 2641600"/>
                <a:gd name="connsiteX601" fmla="*/ 2143182 w 3302716"/>
                <a:gd name="connsiteY601" fmla="*/ 2195432 h 2641600"/>
                <a:gd name="connsiteX602" fmla="*/ 2174521 w 3302716"/>
                <a:gd name="connsiteY602" fmla="*/ 2281123 h 2641600"/>
                <a:gd name="connsiteX603" fmla="*/ 2182356 w 3302716"/>
                <a:gd name="connsiteY603" fmla="*/ 2359025 h 2641600"/>
                <a:gd name="connsiteX604" fmla="*/ 2158851 w 3302716"/>
                <a:gd name="connsiteY604" fmla="*/ 2351235 h 2641600"/>
                <a:gd name="connsiteX605" fmla="*/ 2110536 w 3302716"/>
                <a:gd name="connsiteY605" fmla="*/ 2304494 h 2641600"/>
                <a:gd name="connsiteX606" fmla="*/ 2094866 w 3302716"/>
                <a:gd name="connsiteY606" fmla="*/ 2249963 h 2641600"/>
                <a:gd name="connsiteX607" fmla="*/ 2087031 w 3302716"/>
                <a:gd name="connsiteY607" fmla="*/ 2211012 h 2641600"/>
                <a:gd name="connsiteX608" fmla="*/ 2047857 w 3302716"/>
                <a:gd name="connsiteY608" fmla="*/ 2218802 h 2641600"/>
                <a:gd name="connsiteX609" fmla="*/ 2008682 w 3302716"/>
                <a:gd name="connsiteY609" fmla="*/ 2218802 h 2641600"/>
                <a:gd name="connsiteX610" fmla="*/ 1946002 w 3302716"/>
                <a:gd name="connsiteY610" fmla="*/ 2234382 h 2641600"/>
                <a:gd name="connsiteX611" fmla="*/ 1898993 w 3302716"/>
                <a:gd name="connsiteY611" fmla="*/ 2234382 h 2641600"/>
                <a:gd name="connsiteX612" fmla="*/ 1820643 w 3302716"/>
                <a:gd name="connsiteY612" fmla="*/ 2226592 h 2641600"/>
                <a:gd name="connsiteX613" fmla="*/ 1797138 w 3302716"/>
                <a:gd name="connsiteY613" fmla="*/ 2249963 h 2641600"/>
                <a:gd name="connsiteX614" fmla="*/ 1765799 w 3302716"/>
                <a:gd name="connsiteY614" fmla="*/ 2281123 h 2641600"/>
                <a:gd name="connsiteX615" fmla="*/ 1765799 w 3302716"/>
                <a:gd name="connsiteY615" fmla="*/ 2335361 h 2641600"/>
                <a:gd name="connsiteX616" fmla="*/ 1766357 w 3302716"/>
                <a:gd name="connsiteY616" fmla="*/ 2335472 h 2641600"/>
                <a:gd name="connsiteX617" fmla="*/ 1750647 w 3302716"/>
                <a:gd name="connsiteY617" fmla="*/ 2358920 h 2641600"/>
                <a:gd name="connsiteX618" fmla="*/ 1758502 w 3302716"/>
                <a:gd name="connsiteY618" fmla="*/ 2460528 h 2641600"/>
                <a:gd name="connsiteX619" fmla="*/ 1821341 w 3302716"/>
                <a:gd name="connsiteY619" fmla="*/ 2538689 h 2641600"/>
                <a:gd name="connsiteX620" fmla="*/ 1884179 w 3302716"/>
                <a:gd name="connsiteY620" fmla="*/ 2530873 h 2641600"/>
                <a:gd name="connsiteX621" fmla="*/ 1923453 w 3302716"/>
                <a:gd name="connsiteY621" fmla="*/ 2476160 h 2641600"/>
                <a:gd name="connsiteX622" fmla="*/ 2017711 w 3302716"/>
                <a:gd name="connsiteY622" fmla="*/ 2460528 h 2641600"/>
                <a:gd name="connsiteX623" fmla="*/ 2002001 w 3302716"/>
                <a:gd name="connsiteY623" fmla="*/ 2523057 h 2641600"/>
                <a:gd name="connsiteX624" fmla="*/ 1978437 w 3302716"/>
                <a:gd name="connsiteY624" fmla="*/ 2538689 h 2641600"/>
                <a:gd name="connsiteX625" fmla="*/ 1954872 w 3302716"/>
                <a:gd name="connsiteY625" fmla="*/ 2554321 h 2641600"/>
                <a:gd name="connsiteX626" fmla="*/ 1962727 w 3302716"/>
                <a:gd name="connsiteY626" fmla="*/ 2562137 h 2641600"/>
                <a:gd name="connsiteX627" fmla="*/ 1923453 w 3302716"/>
                <a:gd name="connsiteY627" fmla="*/ 2562137 h 2641600"/>
                <a:gd name="connsiteX628" fmla="*/ 1907743 w 3302716"/>
                <a:gd name="connsiteY628" fmla="*/ 2569953 h 2641600"/>
                <a:gd name="connsiteX629" fmla="*/ 1923453 w 3302716"/>
                <a:gd name="connsiteY629" fmla="*/ 2601217 h 2641600"/>
                <a:gd name="connsiteX630" fmla="*/ 1899889 w 3302716"/>
                <a:gd name="connsiteY630" fmla="*/ 2601217 h 2641600"/>
                <a:gd name="connsiteX631" fmla="*/ 1884179 w 3302716"/>
                <a:gd name="connsiteY631" fmla="*/ 2624665 h 2641600"/>
                <a:gd name="connsiteX632" fmla="*/ 1876324 w 3302716"/>
                <a:gd name="connsiteY632" fmla="*/ 2641600 h 2641600"/>
                <a:gd name="connsiteX633" fmla="*/ 1837050 w 3302716"/>
                <a:gd name="connsiteY633" fmla="*/ 2609033 h 2641600"/>
                <a:gd name="connsiteX634" fmla="*/ 1813486 w 3302716"/>
                <a:gd name="connsiteY634" fmla="*/ 2609033 h 2641600"/>
                <a:gd name="connsiteX635" fmla="*/ 1789921 w 3302716"/>
                <a:gd name="connsiteY635" fmla="*/ 2616849 h 2641600"/>
                <a:gd name="connsiteX636" fmla="*/ 1703518 w 3302716"/>
                <a:gd name="connsiteY636" fmla="*/ 2593401 h 2641600"/>
                <a:gd name="connsiteX637" fmla="*/ 1656390 w 3302716"/>
                <a:gd name="connsiteY637" fmla="*/ 2569953 h 2641600"/>
                <a:gd name="connsiteX638" fmla="*/ 1554278 w 3302716"/>
                <a:gd name="connsiteY638" fmla="*/ 2507425 h 2641600"/>
                <a:gd name="connsiteX639" fmla="*/ 1554278 w 3302716"/>
                <a:gd name="connsiteY639" fmla="*/ 2483976 h 2641600"/>
                <a:gd name="connsiteX640" fmla="*/ 1546423 w 3302716"/>
                <a:gd name="connsiteY640" fmla="*/ 2429264 h 2641600"/>
                <a:gd name="connsiteX641" fmla="*/ 1507149 w 3302716"/>
                <a:gd name="connsiteY641" fmla="*/ 2390184 h 2641600"/>
                <a:gd name="connsiteX642" fmla="*/ 1491439 w 3302716"/>
                <a:gd name="connsiteY642" fmla="*/ 2366736 h 2641600"/>
                <a:gd name="connsiteX643" fmla="*/ 1460020 w 3302716"/>
                <a:gd name="connsiteY643" fmla="*/ 2351104 h 2641600"/>
                <a:gd name="connsiteX644" fmla="*/ 1460020 w 3302716"/>
                <a:gd name="connsiteY644" fmla="*/ 2327656 h 2641600"/>
                <a:gd name="connsiteX645" fmla="*/ 1420746 w 3302716"/>
                <a:gd name="connsiteY645" fmla="*/ 2304208 h 2641600"/>
                <a:gd name="connsiteX646" fmla="*/ 1405037 w 3302716"/>
                <a:gd name="connsiteY646" fmla="*/ 2280759 h 2641600"/>
                <a:gd name="connsiteX647" fmla="*/ 1365763 w 3302716"/>
                <a:gd name="connsiteY647" fmla="*/ 2202599 h 2641600"/>
                <a:gd name="connsiteX648" fmla="*/ 1326489 w 3302716"/>
                <a:gd name="connsiteY648" fmla="*/ 2186967 h 2641600"/>
                <a:gd name="connsiteX649" fmla="*/ 1342198 w 3302716"/>
                <a:gd name="connsiteY649" fmla="*/ 2233863 h 2641600"/>
                <a:gd name="connsiteX650" fmla="*/ 1397182 w 3302716"/>
                <a:gd name="connsiteY650" fmla="*/ 2312024 h 2641600"/>
                <a:gd name="connsiteX651" fmla="*/ 1428601 w 3302716"/>
                <a:gd name="connsiteY651" fmla="*/ 2382368 h 2641600"/>
                <a:gd name="connsiteX652" fmla="*/ 1460020 w 3302716"/>
                <a:gd name="connsiteY652" fmla="*/ 2405816 h 2641600"/>
                <a:gd name="connsiteX653" fmla="*/ 1452165 w 3302716"/>
                <a:gd name="connsiteY653" fmla="*/ 2429264 h 2641600"/>
                <a:gd name="connsiteX654" fmla="*/ 1420746 w 3302716"/>
                <a:gd name="connsiteY654" fmla="*/ 2398000 h 2641600"/>
                <a:gd name="connsiteX655" fmla="*/ 1397182 w 3302716"/>
                <a:gd name="connsiteY655" fmla="*/ 2382368 h 2641600"/>
                <a:gd name="connsiteX656" fmla="*/ 1389327 w 3302716"/>
                <a:gd name="connsiteY656" fmla="*/ 2343288 h 2641600"/>
                <a:gd name="connsiteX657" fmla="*/ 1334343 w 3302716"/>
                <a:gd name="connsiteY657" fmla="*/ 2304208 h 2641600"/>
                <a:gd name="connsiteX658" fmla="*/ 1342198 w 3302716"/>
                <a:gd name="connsiteY658" fmla="*/ 2288576 h 2641600"/>
                <a:gd name="connsiteX659" fmla="*/ 1310779 w 3302716"/>
                <a:gd name="connsiteY659" fmla="*/ 2241679 h 2641600"/>
                <a:gd name="connsiteX660" fmla="*/ 1263650 w 3302716"/>
                <a:gd name="connsiteY660" fmla="*/ 2155703 h 2641600"/>
                <a:gd name="connsiteX661" fmla="*/ 1263954 w 3302716"/>
                <a:gd name="connsiteY661" fmla="*/ 2155665 h 2641600"/>
                <a:gd name="connsiteX662" fmla="*/ 1256528 w 3302716"/>
                <a:gd name="connsiteY662" fmla="*/ 2140901 h 2641600"/>
                <a:gd name="connsiteX663" fmla="*/ 1186014 w 3302716"/>
                <a:gd name="connsiteY663" fmla="*/ 2094160 h 2641600"/>
                <a:gd name="connsiteX664" fmla="*/ 1162509 w 3302716"/>
                <a:gd name="connsiteY664" fmla="*/ 2055209 h 2641600"/>
                <a:gd name="connsiteX665" fmla="*/ 1131169 w 3302716"/>
                <a:gd name="connsiteY665" fmla="*/ 2000678 h 2641600"/>
                <a:gd name="connsiteX666" fmla="*/ 1091995 w 3302716"/>
                <a:gd name="connsiteY666" fmla="*/ 1922776 h 2641600"/>
                <a:gd name="connsiteX667" fmla="*/ 1091995 w 3302716"/>
                <a:gd name="connsiteY667" fmla="*/ 1891616 h 2641600"/>
                <a:gd name="connsiteX668" fmla="*/ 1076324 w 3302716"/>
                <a:gd name="connsiteY668" fmla="*/ 1843576 h 2641600"/>
                <a:gd name="connsiteX669" fmla="*/ 1091995 w 3302716"/>
                <a:gd name="connsiteY669" fmla="*/ 1781255 h 2641600"/>
                <a:gd name="connsiteX670" fmla="*/ 1099830 w 3302716"/>
                <a:gd name="connsiteY670" fmla="*/ 1718934 h 2641600"/>
                <a:gd name="connsiteX671" fmla="*/ 1076324 w 3302716"/>
                <a:gd name="connsiteY671" fmla="*/ 1633242 h 2641600"/>
                <a:gd name="connsiteX672" fmla="*/ 1123334 w 3302716"/>
                <a:gd name="connsiteY672" fmla="*/ 1648822 h 2641600"/>
                <a:gd name="connsiteX673" fmla="*/ 1115500 w 3302716"/>
                <a:gd name="connsiteY673" fmla="*/ 1679983 h 2641600"/>
                <a:gd name="connsiteX674" fmla="*/ 1139004 w 3302716"/>
                <a:gd name="connsiteY674" fmla="*/ 1664403 h 2641600"/>
                <a:gd name="connsiteX675" fmla="*/ 1131169 w 3302716"/>
                <a:gd name="connsiteY675" fmla="*/ 1617662 h 2641600"/>
                <a:gd name="connsiteX676" fmla="*/ 1132077 w 3302716"/>
                <a:gd name="connsiteY676" fmla="*/ 1617662 h 2641600"/>
                <a:gd name="connsiteX677" fmla="*/ 1124440 w 3302716"/>
                <a:gd name="connsiteY677" fmla="*/ 1579660 h 2641600"/>
                <a:gd name="connsiteX678" fmla="*/ 1038204 w 3302716"/>
                <a:gd name="connsiteY678" fmla="*/ 1525043 h 2641600"/>
                <a:gd name="connsiteX679" fmla="*/ 975487 w 3302716"/>
                <a:gd name="connsiteY679" fmla="*/ 1439216 h 2641600"/>
                <a:gd name="connsiteX680" fmla="*/ 951968 w 3302716"/>
                <a:gd name="connsiteY680" fmla="*/ 1392401 h 2641600"/>
                <a:gd name="connsiteX681" fmla="*/ 959807 w 3302716"/>
                <a:gd name="connsiteY681" fmla="*/ 1329981 h 2641600"/>
                <a:gd name="connsiteX682" fmla="*/ 904931 w 3302716"/>
                <a:gd name="connsiteY682" fmla="*/ 1290968 h 2641600"/>
                <a:gd name="connsiteX683" fmla="*/ 818695 w 3302716"/>
                <a:gd name="connsiteY683" fmla="*/ 1134919 h 2641600"/>
                <a:gd name="connsiteX684" fmla="*/ 755978 w 3302716"/>
                <a:gd name="connsiteY684" fmla="*/ 1166128 h 2641600"/>
                <a:gd name="connsiteX685" fmla="*/ 676275 w 3302716"/>
                <a:gd name="connsiteY685" fmla="*/ 1127116 h 2641600"/>
                <a:gd name="connsiteX686" fmla="*/ 676275 w 3302716"/>
                <a:gd name="connsiteY686" fmla="*/ 1126457 h 2641600"/>
                <a:gd name="connsiteX687" fmla="*/ 558320 w 3302716"/>
                <a:gd name="connsiteY687" fmla="*/ 1103041 h 2641600"/>
                <a:gd name="connsiteX688" fmla="*/ 534729 w 3302716"/>
                <a:gd name="connsiteY688" fmla="*/ 1086130 h 2641600"/>
                <a:gd name="connsiteX689" fmla="*/ 479684 w 3302716"/>
                <a:gd name="connsiteY689" fmla="*/ 1118652 h 2641600"/>
                <a:gd name="connsiteX690" fmla="*/ 432501 w 3302716"/>
                <a:gd name="connsiteY690" fmla="*/ 1157679 h 2641600"/>
                <a:gd name="connsiteX691" fmla="*/ 424638 w 3302716"/>
                <a:gd name="connsiteY691" fmla="*/ 1118652 h 2641600"/>
                <a:gd name="connsiteX692" fmla="*/ 408911 w 3302716"/>
                <a:gd name="connsiteY692" fmla="*/ 1086130 h 2641600"/>
                <a:gd name="connsiteX693" fmla="*/ 346001 w 3302716"/>
                <a:gd name="connsiteY693" fmla="*/ 1165484 h 2641600"/>
                <a:gd name="connsiteX694" fmla="*/ 353865 w 3302716"/>
                <a:gd name="connsiteY694" fmla="*/ 1188901 h 2641600"/>
                <a:gd name="connsiteX695" fmla="*/ 251637 w 3302716"/>
                <a:gd name="connsiteY695" fmla="*/ 1298176 h 2641600"/>
                <a:gd name="connsiteX696" fmla="*/ 117955 w 3302716"/>
                <a:gd name="connsiteY696" fmla="*/ 1368425 h 2641600"/>
                <a:gd name="connsiteX697" fmla="*/ 235910 w 3302716"/>
                <a:gd name="connsiteY697" fmla="*/ 1266955 h 2641600"/>
                <a:gd name="connsiteX698" fmla="*/ 275228 w 3302716"/>
                <a:gd name="connsiteY698" fmla="*/ 1196706 h 2641600"/>
                <a:gd name="connsiteX699" fmla="*/ 204455 w 3302716"/>
                <a:gd name="connsiteY699" fmla="*/ 1196706 h 2641600"/>
                <a:gd name="connsiteX700" fmla="*/ 149409 w 3302716"/>
                <a:gd name="connsiteY700" fmla="*/ 1204511 h 2641600"/>
                <a:gd name="connsiteX701" fmla="*/ 141546 w 3302716"/>
                <a:gd name="connsiteY701" fmla="*/ 1149874 h 2641600"/>
                <a:gd name="connsiteX702" fmla="*/ 102228 w 3302716"/>
                <a:gd name="connsiteY702" fmla="*/ 1134263 h 2641600"/>
                <a:gd name="connsiteX703" fmla="*/ 94364 w 3302716"/>
                <a:gd name="connsiteY703" fmla="*/ 1093935 h 2641600"/>
                <a:gd name="connsiteX704" fmla="*/ 39318 w 3302716"/>
                <a:gd name="connsiteY704" fmla="*/ 1054908 h 2641600"/>
                <a:gd name="connsiteX705" fmla="*/ 47182 w 3302716"/>
                <a:gd name="connsiteY705" fmla="*/ 1015881 h 2641600"/>
                <a:gd name="connsiteX706" fmla="*/ 94364 w 3302716"/>
                <a:gd name="connsiteY706" fmla="*/ 984659 h 2641600"/>
                <a:gd name="connsiteX707" fmla="*/ 157273 w 3302716"/>
                <a:gd name="connsiteY707" fmla="*/ 961243 h 2641600"/>
                <a:gd name="connsiteX708" fmla="*/ 180864 w 3302716"/>
                <a:gd name="connsiteY708" fmla="*/ 906605 h 2641600"/>
                <a:gd name="connsiteX709" fmla="*/ 125818 w 3302716"/>
                <a:gd name="connsiteY709" fmla="*/ 898800 h 2641600"/>
                <a:gd name="connsiteX710" fmla="*/ 55046 w 3302716"/>
                <a:gd name="connsiteY710" fmla="*/ 898800 h 2641600"/>
                <a:gd name="connsiteX711" fmla="*/ 23591 w 3302716"/>
                <a:gd name="connsiteY711" fmla="*/ 867578 h 2641600"/>
                <a:gd name="connsiteX712" fmla="*/ 0 w 3302716"/>
                <a:gd name="connsiteY712" fmla="*/ 844162 h 2641600"/>
                <a:gd name="connsiteX713" fmla="*/ 78636 w 3302716"/>
                <a:gd name="connsiteY713" fmla="*/ 789524 h 2641600"/>
                <a:gd name="connsiteX714" fmla="*/ 117955 w 3302716"/>
                <a:gd name="connsiteY714" fmla="*/ 805135 h 2641600"/>
                <a:gd name="connsiteX715" fmla="*/ 149409 w 3302716"/>
                <a:gd name="connsiteY715" fmla="*/ 789524 h 2641600"/>
                <a:gd name="connsiteX716" fmla="*/ 149409 w 3302716"/>
                <a:gd name="connsiteY716" fmla="*/ 758303 h 2641600"/>
                <a:gd name="connsiteX717" fmla="*/ 102228 w 3302716"/>
                <a:gd name="connsiteY717" fmla="*/ 734887 h 2641600"/>
                <a:gd name="connsiteX718" fmla="*/ 55046 w 3302716"/>
                <a:gd name="connsiteY718" fmla="*/ 672443 h 2641600"/>
                <a:gd name="connsiteX719" fmla="*/ 55046 w 3302716"/>
                <a:gd name="connsiteY719" fmla="*/ 625611 h 2641600"/>
                <a:gd name="connsiteX720" fmla="*/ 117955 w 3302716"/>
                <a:gd name="connsiteY720" fmla="*/ 610000 h 2641600"/>
                <a:gd name="connsiteX721" fmla="*/ 149409 w 3302716"/>
                <a:gd name="connsiteY721" fmla="*/ 531946 h 2641600"/>
                <a:gd name="connsiteX722" fmla="*/ 196591 w 3302716"/>
                <a:gd name="connsiteY722" fmla="*/ 500725 h 2641600"/>
                <a:gd name="connsiteX723" fmla="*/ 259501 w 3302716"/>
                <a:gd name="connsiteY723" fmla="*/ 477308 h 2641600"/>
                <a:gd name="connsiteX724" fmla="*/ 298819 w 3302716"/>
                <a:gd name="connsiteY724" fmla="*/ 446087 h 2641600"/>
                <a:gd name="connsiteX725" fmla="*/ 369592 w 3302716"/>
                <a:gd name="connsiteY725" fmla="*/ 469503 h 2641600"/>
                <a:gd name="connsiteX726" fmla="*/ 377456 w 3302716"/>
                <a:gd name="connsiteY726" fmla="*/ 492919 h 2641600"/>
                <a:gd name="connsiteX727" fmla="*/ 416774 w 3302716"/>
                <a:gd name="connsiteY727" fmla="*/ 516335 h 2641600"/>
                <a:gd name="connsiteX728" fmla="*/ 463956 w 3302716"/>
                <a:gd name="connsiteY728" fmla="*/ 508530 h 2641600"/>
                <a:gd name="connsiteX729" fmla="*/ 566184 w 3302716"/>
                <a:gd name="connsiteY729" fmla="*/ 555362 h 2641600"/>
                <a:gd name="connsiteX730" fmla="*/ 636957 w 3302716"/>
                <a:gd name="connsiteY730" fmla="*/ 547557 h 2641600"/>
                <a:gd name="connsiteX731" fmla="*/ 660548 w 3302716"/>
                <a:gd name="connsiteY731" fmla="*/ 570973 h 2641600"/>
                <a:gd name="connsiteX732" fmla="*/ 676275 w 3302716"/>
                <a:gd name="connsiteY732" fmla="*/ 570973 h 2641600"/>
                <a:gd name="connsiteX733" fmla="*/ 676275 w 3302716"/>
                <a:gd name="connsiteY733" fmla="*/ 571839 h 2641600"/>
                <a:gd name="connsiteX734" fmla="*/ 724619 w 3302716"/>
                <a:gd name="connsiteY734" fmla="*/ 587444 h 2641600"/>
                <a:gd name="connsiteX735" fmla="*/ 763818 w 3302716"/>
                <a:gd name="connsiteY735" fmla="*/ 626457 h 2641600"/>
                <a:gd name="connsiteX736" fmla="*/ 826535 w 3302716"/>
                <a:gd name="connsiteY736" fmla="*/ 642061 h 2641600"/>
                <a:gd name="connsiteX737" fmla="*/ 865733 w 3302716"/>
                <a:gd name="connsiteY737" fmla="*/ 603049 h 2641600"/>
                <a:gd name="connsiteX738" fmla="*/ 1014685 w 3302716"/>
                <a:gd name="connsiteY738" fmla="*/ 532827 h 2641600"/>
                <a:gd name="connsiteX739" fmla="*/ 1069562 w 3302716"/>
                <a:gd name="connsiteY739" fmla="*/ 595247 h 2641600"/>
                <a:gd name="connsiteX740" fmla="*/ 1124440 w 3302716"/>
                <a:gd name="connsiteY740" fmla="*/ 579642 h 2641600"/>
                <a:gd name="connsiteX741" fmla="*/ 1210676 w 3302716"/>
                <a:gd name="connsiteY741" fmla="*/ 603049 h 2641600"/>
                <a:gd name="connsiteX742" fmla="*/ 1273393 w 3302716"/>
                <a:gd name="connsiteY742" fmla="*/ 634259 h 2641600"/>
                <a:gd name="connsiteX743" fmla="*/ 1328271 w 3302716"/>
                <a:gd name="connsiteY743" fmla="*/ 649864 h 2641600"/>
                <a:gd name="connsiteX744" fmla="*/ 1312592 w 3302716"/>
                <a:gd name="connsiteY744" fmla="*/ 681074 h 2641600"/>
                <a:gd name="connsiteX745" fmla="*/ 1351790 w 3302716"/>
                <a:gd name="connsiteY745" fmla="*/ 712284 h 2641600"/>
                <a:gd name="connsiteX746" fmla="*/ 1438025 w 3302716"/>
                <a:gd name="connsiteY746" fmla="*/ 696679 h 2641600"/>
                <a:gd name="connsiteX747" fmla="*/ 1477224 w 3302716"/>
                <a:gd name="connsiteY747" fmla="*/ 743494 h 2641600"/>
                <a:gd name="connsiteX748" fmla="*/ 1500741 w 3302716"/>
                <a:gd name="connsiteY748" fmla="*/ 751296 h 2641600"/>
                <a:gd name="connsiteX749" fmla="*/ 1492902 w 3302716"/>
                <a:gd name="connsiteY749" fmla="*/ 704481 h 2641600"/>
                <a:gd name="connsiteX750" fmla="*/ 1485063 w 3302716"/>
                <a:gd name="connsiteY750" fmla="*/ 681074 h 2641600"/>
                <a:gd name="connsiteX751" fmla="*/ 1555619 w 3302716"/>
                <a:gd name="connsiteY751" fmla="*/ 665469 h 2641600"/>
                <a:gd name="connsiteX752" fmla="*/ 1602657 w 3302716"/>
                <a:gd name="connsiteY752" fmla="*/ 696679 h 2641600"/>
                <a:gd name="connsiteX753" fmla="*/ 1681053 w 3302716"/>
                <a:gd name="connsiteY753" fmla="*/ 696679 h 2641600"/>
                <a:gd name="connsiteX754" fmla="*/ 1735930 w 3302716"/>
                <a:gd name="connsiteY754" fmla="*/ 712284 h 2641600"/>
                <a:gd name="connsiteX755" fmla="*/ 1748129 w 3302716"/>
                <a:gd name="connsiteY755" fmla="*/ 681931 h 2641600"/>
                <a:gd name="connsiteX756" fmla="*/ 1738522 w 3302716"/>
                <a:gd name="connsiteY756" fmla="*/ 676522 h 2641600"/>
                <a:gd name="connsiteX757" fmla="*/ 1733103 w 3302716"/>
                <a:gd name="connsiteY757" fmla="*/ 671437 h 2641600"/>
                <a:gd name="connsiteX758" fmla="*/ 1726600 w 3302716"/>
                <a:gd name="connsiteY758" fmla="*/ 666351 h 2641600"/>
                <a:gd name="connsiteX759" fmla="*/ 1720097 w 3302716"/>
                <a:gd name="connsiteY759" fmla="*/ 661266 h 2641600"/>
                <a:gd name="connsiteX760" fmla="*/ 1714677 w 3302716"/>
                <a:gd name="connsiteY760" fmla="*/ 656180 h 2641600"/>
                <a:gd name="connsiteX761" fmla="*/ 1711426 w 3302716"/>
                <a:gd name="connsiteY761" fmla="*/ 653129 h 2641600"/>
                <a:gd name="connsiteX762" fmla="*/ 1706007 w 3302716"/>
                <a:gd name="connsiteY762" fmla="*/ 649061 h 2641600"/>
                <a:gd name="connsiteX763" fmla="*/ 1703839 w 3302716"/>
                <a:gd name="connsiteY763" fmla="*/ 647026 h 2641600"/>
                <a:gd name="connsiteX764" fmla="*/ 1701671 w 3302716"/>
                <a:gd name="connsiteY764" fmla="*/ 646009 h 2641600"/>
                <a:gd name="connsiteX765" fmla="*/ 1698420 w 3302716"/>
                <a:gd name="connsiteY765" fmla="*/ 644992 h 2641600"/>
                <a:gd name="connsiteX766" fmla="*/ 1697336 w 3302716"/>
                <a:gd name="connsiteY766" fmla="*/ 644992 h 2641600"/>
                <a:gd name="connsiteX767" fmla="*/ 1694085 w 3302716"/>
                <a:gd name="connsiteY767" fmla="*/ 647026 h 2641600"/>
                <a:gd name="connsiteX768" fmla="*/ 1685414 w 3302716"/>
                <a:gd name="connsiteY768" fmla="*/ 653129 h 2641600"/>
                <a:gd name="connsiteX769" fmla="*/ 1678911 w 3302716"/>
                <a:gd name="connsiteY769" fmla="*/ 657197 h 2641600"/>
                <a:gd name="connsiteX770" fmla="*/ 1670240 w 3302716"/>
                <a:gd name="connsiteY770" fmla="*/ 661266 h 2641600"/>
                <a:gd name="connsiteX771" fmla="*/ 1660486 w 3302716"/>
                <a:gd name="connsiteY771" fmla="*/ 664317 h 2641600"/>
                <a:gd name="connsiteX772" fmla="*/ 1650731 w 3302716"/>
                <a:gd name="connsiteY772" fmla="*/ 667368 h 2641600"/>
                <a:gd name="connsiteX773" fmla="*/ 1639893 w 3302716"/>
                <a:gd name="connsiteY773" fmla="*/ 670420 h 2641600"/>
                <a:gd name="connsiteX774" fmla="*/ 1630138 w 3302716"/>
                <a:gd name="connsiteY774" fmla="*/ 671437 h 2641600"/>
                <a:gd name="connsiteX775" fmla="*/ 1623635 w 3302716"/>
                <a:gd name="connsiteY775" fmla="*/ 672454 h 2641600"/>
                <a:gd name="connsiteX776" fmla="*/ 1619300 w 3302716"/>
                <a:gd name="connsiteY776" fmla="*/ 674488 h 2641600"/>
                <a:gd name="connsiteX777" fmla="*/ 1614965 w 3302716"/>
                <a:gd name="connsiteY777" fmla="*/ 674488 h 2641600"/>
                <a:gd name="connsiteX778" fmla="*/ 1611713 w 3302716"/>
                <a:gd name="connsiteY778" fmla="*/ 674488 h 2641600"/>
                <a:gd name="connsiteX779" fmla="*/ 1606294 w 3302716"/>
                <a:gd name="connsiteY779" fmla="*/ 672454 h 2641600"/>
                <a:gd name="connsiteX780" fmla="*/ 1599791 w 3302716"/>
                <a:gd name="connsiteY780" fmla="*/ 670420 h 2641600"/>
                <a:gd name="connsiteX781" fmla="*/ 1594372 w 3302716"/>
                <a:gd name="connsiteY781" fmla="*/ 669403 h 2641600"/>
                <a:gd name="connsiteX782" fmla="*/ 1588953 w 3302716"/>
                <a:gd name="connsiteY782" fmla="*/ 667368 h 2641600"/>
                <a:gd name="connsiteX783" fmla="*/ 1583533 w 3302716"/>
                <a:gd name="connsiteY783" fmla="*/ 666351 h 2641600"/>
                <a:gd name="connsiteX784" fmla="*/ 1580282 w 3302716"/>
                <a:gd name="connsiteY784" fmla="*/ 666351 h 2641600"/>
                <a:gd name="connsiteX785" fmla="*/ 1577030 w 3302716"/>
                <a:gd name="connsiteY785" fmla="*/ 664317 h 2641600"/>
                <a:gd name="connsiteX786" fmla="*/ 1574863 w 3302716"/>
                <a:gd name="connsiteY786" fmla="*/ 661266 h 2641600"/>
                <a:gd name="connsiteX787" fmla="*/ 1574863 w 3302716"/>
                <a:gd name="connsiteY787" fmla="*/ 655163 h 2641600"/>
                <a:gd name="connsiteX788" fmla="*/ 1573779 w 3302716"/>
                <a:gd name="connsiteY788" fmla="*/ 648043 h 2641600"/>
                <a:gd name="connsiteX789" fmla="*/ 1570527 w 3302716"/>
                <a:gd name="connsiteY789" fmla="*/ 638890 h 2641600"/>
                <a:gd name="connsiteX790" fmla="*/ 1562941 w 3302716"/>
                <a:gd name="connsiteY790" fmla="*/ 630753 h 2641600"/>
                <a:gd name="connsiteX791" fmla="*/ 1554270 w 3302716"/>
                <a:gd name="connsiteY791" fmla="*/ 623633 h 2641600"/>
                <a:gd name="connsiteX792" fmla="*/ 1544515 w 3302716"/>
                <a:gd name="connsiteY792" fmla="*/ 617530 h 2641600"/>
                <a:gd name="connsiteX793" fmla="*/ 1536928 w 3302716"/>
                <a:gd name="connsiteY793" fmla="*/ 614479 h 2641600"/>
                <a:gd name="connsiteX794" fmla="*/ 1530425 w 3302716"/>
                <a:gd name="connsiteY794" fmla="*/ 612445 h 2641600"/>
                <a:gd name="connsiteX795" fmla="*/ 1528258 w 3302716"/>
                <a:gd name="connsiteY795" fmla="*/ 607359 h 2641600"/>
                <a:gd name="connsiteX796" fmla="*/ 1527174 w 3302716"/>
                <a:gd name="connsiteY796" fmla="*/ 601257 h 2641600"/>
                <a:gd name="connsiteX797" fmla="*/ 1527174 w 3302716"/>
                <a:gd name="connsiteY797" fmla="*/ 593120 h 2641600"/>
                <a:gd name="connsiteX798" fmla="*/ 1527174 w 3302716"/>
                <a:gd name="connsiteY798" fmla="*/ 586000 h 2641600"/>
                <a:gd name="connsiteX799" fmla="*/ 1528258 w 3302716"/>
                <a:gd name="connsiteY799" fmla="*/ 579898 h 2641600"/>
                <a:gd name="connsiteX800" fmla="*/ 1532593 w 3302716"/>
                <a:gd name="connsiteY800" fmla="*/ 578881 h 2641600"/>
                <a:gd name="connsiteX801" fmla="*/ 1540180 w 3302716"/>
                <a:gd name="connsiteY801" fmla="*/ 578881 h 2641600"/>
                <a:gd name="connsiteX802" fmla="*/ 1548851 w 3302716"/>
                <a:gd name="connsiteY802" fmla="*/ 577864 h 2641600"/>
                <a:gd name="connsiteX803" fmla="*/ 1556437 w 3302716"/>
                <a:gd name="connsiteY803" fmla="*/ 578881 h 2641600"/>
                <a:gd name="connsiteX804" fmla="*/ 1566192 w 3302716"/>
                <a:gd name="connsiteY804" fmla="*/ 581932 h 2641600"/>
                <a:gd name="connsiteX805" fmla="*/ 1572695 w 3302716"/>
                <a:gd name="connsiteY805" fmla="*/ 584983 h 2641600"/>
                <a:gd name="connsiteX806" fmla="*/ 1580282 w 3302716"/>
                <a:gd name="connsiteY806" fmla="*/ 588035 h 2641600"/>
                <a:gd name="connsiteX807" fmla="*/ 1588953 w 3302716"/>
                <a:gd name="connsiteY807" fmla="*/ 592103 h 2641600"/>
                <a:gd name="connsiteX808" fmla="*/ 1597623 w 3302716"/>
                <a:gd name="connsiteY808" fmla="*/ 597189 h 2641600"/>
                <a:gd name="connsiteX809" fmla="*/ 1605210 w 3302716"/>
                <a:gd name="connsiteY809" fmla="*/ 599223 h 2641600"/>
                <a:gd name="connsiteX810" fmla="*/ 1612797 w 3302716"/>
                <a:gd name="connsiteY810" fmla="*/ 601257 h 2641600"/>
                <a:gd name="connsiteX811" fmla="*/ 1616048 w 3302716"/>
                <a:gd name="connsiteY811" fmla="*/ 601257 h 2641600"/>
                <a:gd name="connsiteX812" fmla="*/ 1619300 w 3302716"/>
                <a:gd name="connsiteY812" fmla="*/ 599223 h 2641600"/>
                <a:gd name="connsiteX813" fmla="*/ 1620384 w 3302716"/>
                <a:gd name="connsiteY813" fmla="*/ 591086 h 2641600"/>
                <a:gd name="connsiteX814" fmla="*/ 1620384 w 3302716"/>
                <a:gd name="connsiteY814" fmla="*/ 582949 h 2641600"/>
                <a:gd name="connsiteX815" fmla="*/ 1614965 w 3302716"/>
                <a:gd name="connsiteY815" fmla="*/ 575829 h 2641600"/>
                <a:gd name="connsiteX816" fmla="*/ 1601959 w 3302716"/>
                <a:gd name="connsiteY816" fmla="*/ 570744 h 2641600"/>
                <a:gd name="connsiteX817" fmla="*/ 1587869 w 3302716"/>
                <a:gd name="connsiteY817" fmla="*/ 567693 h 2641600"/>
                <a:gd name="connsiteX818" fmla="*/ 1581366 w 3302716"/>
                <a:gd name="connsiteY818" fmla="*/ 566676 h 2641600"/>
                <a:gd name="connsiteX819" fmla="*/ 1574863 w 3302716"/>
                <a:gd name="connsiteY819" fmla="*/ 566676 h 2641600"/>
                <a:gd name="connsiteX820" fmla="*/ 1565108 w 3302716"/>
                <a:gd name="connsiteY820" fmla="*/ 564641 h 2641600"/>
                <a:gd name="connsiteX821" fmla="*/ 1553186 w 3302716"/>
                <a:gd name="connsiteY821" fmla="*/ 564641 h 2641600"/>
                <a:gd name="connsiteX822" fmla="*/ 1545599 w 3302716"/>
                <a:gd name="connsiteY822" fmla="*/ 564641 h 2641600"/>
                <a:gd name="connsiteX823" fmla="*/ 1540180 w 3302716"/>
                <a:gd name="connsiteY823" fmla="*/ 563624 h 2641600"/>
                <a:gd name="connsiteX824" fmla="*/ 1535845 w 3302716"/>
                <a:gd name="connsiteY824" fmla="*/ 560573 h 2641600"/>
                <a:gd name="connsiteX825" fmla="*/ 1530425 w 3302716"/>
                <a:gd name="connsiteY825" fmla="*/ 553453 h 2641600"/>
                <a:gd name="connsiteX826" fmla="*/ 1529342 w 3302716"/>
                <a:gd name="connsiteY826" fmla="*/ 545316 h 2641600"/>
                <a:gd name="connsiteX827" fmla="*/ 1529342 w 3302716"/>
                <a:gd name="connsiteY827" fmla="*/ 539214 h 2641600"/>
                <a:gd name="connsiteX828" fmla="*/ 1531509 w 3302716"/>
                <a:gd name="connsiteY828" fmla="*/ 535145 h 2641600"/>
                <a:gd name="connsiteX829" fmla="*/ 1539096 w 3302716"/>
                <a:gd name="connsiteY829" fmla="*/ 533111 h 2641600"/>
                <a:gd name="connsiteX830" fmla="*/ 1548851 w 3302716"/>
                <a:gd name="connsiteY830" fmla="*/ 535145 h 2641600"/>
                <a:gd name="connsiteX831" fmla="*/ 1557521 w 3302716"/>
                <a:gd name="connsiteY831" fmla="*/ 533111 h 2641600"/>
                <a:gd name="connsiteX832" fmla="*/ 1558605 w 3302716"/>
                <a:gd name="connsiteY832" fmla="*/ 528026 h 2641600"/>
                <a:gd name="connsiteX833" fmla="*/ 1555354 w 3302716"/>
                <a:gd name="connsiteY833" fmla="*/ 521923 h 2641600"/>
                <a:gd name="connsiteX834" fmla="*/ 1552102 w 3302716"/>
                <a:gd name="connsiteY834" fmla="*/ 519889 h 2641600"/>
                <a:gd name="connsiteX835" fmla="*/ 1547767 w 3302716"/>
                <a:gd name="connsiteY835" fmla="*/ 516838 h 2641600"/>
                <a:gd name="connsiteX836" fmla="*/ 1541264 w 3302716"/>
                <a:gd name="connsiteY836" fmla="*/ 510735 h 2641600"/>
                <a:gd name="connsiteX837" fmla="*/ 1535845 w 3302716"/>
                <a:gd name="connsiteY837" fmla="*/ 502598 h 2641600"/>
                <a:gd name="connsiteX838" fmla="*/ 1530425 w 3302716"/>
                <a:gd name="connsiteY838" fmla="*/ 497513 h 2641600"/>
                <a:gd name="connsiteX839" fmla="*/ 1530425 w 3302716"/>
                <a:gd name="connsiteY839" fmla="*/ 492427 h 2641600"/>
                <a:gd name="connsiteX840" fmla="*/ 1535845 w 3302716"/>
                <a:gd name="connsiteY840" fmla="*/ 487342 h 2641600"/>
                <a:gd name="connsiteX841" fmla="*/ 1542348 w 3302716"/>
                <a:gd name="connsiteY841" fmla="*/ 485308 h 2641600"/>
                <a:gd name="connsiteX842" fmla="*/ 1547767 w 3302716"/>
                <a:gd name="connsiteY842" fmla="*/ 483273 h 2641600"/>
                <a:gd name="connsiteX843" fmla="*/ 1549934 w 3302716"/>
                <a:gd name="connsiteY843" fmla="*/ 481239 h 2641600"/>
                <a:gd name="connsiteX844" fmla="*/ 1553186 w 3302716"/>
                <a:gd name="connsiteY844" fmla="*/ 475137 h 2641600"/>
                <a:gd name="connsiteX845" fmla="*/ 1554270 w 3302716"/>
                <a:gd name="connsiteY845" fmla="*/ 469034 h 2641600"/>
                <a:gd name="connsiteX846" fmla="*/ 1554270 w 3302716"/>
                <a:gd name="connsiteY846" fmla="*/ 465983 h 2641600"/>
                <a:gd name="connsiteX847" fmla="*/ 1557521 w 3302716"/>
                <a:gd name="connsiteY847" fmla="*/ 462931 h 2641600"/>
                <a:gd name="connsiteX848" fmla="*/ 1562941 w 3302716"/>
                <a:gd name="connsiteY848" fmla="*/ 461914 h 2641600"/>
                <a:gd name="connsiteX849" fmla="*/ 1570527 w 3302716"/>
                <a:gd name="connsiteY849" fmla="*/ 460897 h 2641600"/>
                <a:gd name="connsiteX850" fmla="*/ 1577030 w 3302716"/>
                <a:gd name="connsiteY850" fmla="*/ 456829 h 2641600"/>
                <a:gd name="connsiteX851" fmla="*/ 1582450 w 3302716"/>
                <a:gd name="connsiteY851" fmla="*/ 454795 h 2641600"/>
                <a:gd name="connsiteX852" fmla="*/ 1593288 w 3302716"/>
                <a:gd name="connsiteY852" fmla="*/ 452760 h 2641600"/>
                <a:gd name="connsiteX853" fmla="*/ 1605210 w 3302716"/>
                <a:gd name="connsiteY853" fmla="*/ 450726 h 2641600"/>
                <a:gd name="connsiteX854" fmla="*/ 1614965 w 3302716"/>
                <a:gd name="connsiteY854" fmla="*/ 447675 h 2641600"/>
                <a:gd name="connsiteX855" fmla="*/ 1622551 w 3302716"/>
                <a:gd name="connsiteY855" fmla="*/ 450726 h 2641600"/>
                <a:gd name="connsiteX856" fmla="*/ 1622551 w 3302716"/>
                <a:gd name="connsiteY856" fmla="*/ 456829 h 2641600"/>
                <a:gd name="connsiteX857" fmla="*/ 1619300 w 3302716"/>
                <a:gd name="connsiteY857" fmla="*/ 465983 h 2641600"/>
                <a:gd name="connsiteX858" fmla="*/ 1614965 w 3302716"/>
                <a:gd name="connsiteY858" fmla="*/ 471068 h 2641600"/>
                <a:gd name="connsiteX859" fmla="*/ 1616048 w 3302716"/>
                <a:gd name="connsiteY859" fmla="*/ 475137 h 2641600"/>
                <a:gd name="connsiteX860" fmla="*/ 1622551 w 3302716"/>
                <a:gd name="connsiteY860" fmla="*/ 474119 h 2641600"/>
                <a:gd name="connsiteX861" fmla="*/ 1630138 w 3302716"/>
                <a:gd name="connsiteY861" fmla="*/ 471068 h 2641600"/>
                <a:gd name="connsiteX862" fmla="*/ 1635557 w 3302716"/>
                <a:gd name="connsiteY862" fmla="*/ 472085 h 2641600"/>
                <a:gd name="connsiteX863" fmla="*/ 1637725 w 3302716"/>
                <a:gd name="connsiteY863" fmla="*/ 475137 h 2641600"/>
                <a:gd name="connsiteX864" fmla="*/ 1639893 w 3302716"/>
                <a:gd name="connsiteY864" fmla="*/ 482256 h 2641600"/>
                <a:gd name="connsiteX865" fmla="*/ 1646396 w 3302716"/>
                <a:gd name="connsiteY865" fmla="*/ 489376 h 2641600"/>
                <a:gd name="connsiteX866" fmla="*/ 1653983 w 3302716"/>
                <a:gd name="connsiteY866" fmla="*/ 494461 h 2641600"/>
                <a:gd name="connsiteX867" fmla="*/ 1661570 w 3302716"/>
                <a:gd name="connsiteY867" fmla="*/ 495479 h 2641600"/>
                <a:gd name="connsiteX868" fmla="*/ 1664821 w 3302716"/>
                <a:gd name="connsiteY868" fmla="*/ 493444 h 2641600"/>
                <a:gd name="connsiteX869" fmla="*/ 1664821 w 3302716"/>
                <a:gd name="connsiteY869" fmla="*/ 486325 h 2641600"/>
                <a:gd name="connsiteX870" fmla="*/ 1663737 w 3302716"/>
                <a:gd name="connsiteY870" fmla="*/ 479205 h 2641600"/>
                <a:gd name="connsiteX871" fmla="*/ 1662653 w 3302716"/>
                <a:gd name="connsiteY871" fmla="*/ 475137 h 2641600"/>
                <a:gd name="connsiteX872" fmla="*/ 1666989 w 3302716"/>
                <a:gd name="connsiteY872" fmla="*/ 475137 h 2641600"/>
                <a:gd name="connsiteX873" fmla="*/ 1672408 w 3302716"/>
                <a:gd name="connsiteY873" fmla="*/ 481239 h 2641600"/>
                <a:gd name="connsiteX874" fmla="*/ 1678911 w 3302716"/>
                <a:gd name="connsiteY874" fmla="*/ 487342 h 2641600"/>
                <a:gd name="connsiteX875" fmla="*/ 1684330 w 3302716"/>
                <a:gd name="connsiteY875" fmla="*/ 495479 h 2641600"/>
                <a:gd name="connsiteX876" fmla="*/ 1685414 w 3302716"/>
                <a:gd name="connsiteY876" fmla="*/ 506667 h 2641600"/>
                <a:gd name="connsiteX877" fmla="*/ 1686498 w 3302716"/>
                <a:gd name="connsiteY877" fmla="*/ 517855 h 2641600"/>
                <a:gd name="connsiteX878" fmla="*/ 1687582 w 3302716"/>
                <a:gd name="connsiteY878" fmla="*/ 529043 h 2641600"/>
                <a:gd name="connsiteX879" fmla="*/ 1691917 w 3302716"/>
                <a:gd name="connsiteY879" fmla="*/ 532094 h 2641600"/>
                <a:gd name="connsiteX880" fmla="*/ 1695168 w 3302716"/>
                <a:gd name="connsiteY880" fmla="*/ 523957 h 2641600"/>
                <a:gd name="connsiteX881" fmla="*/ 1698420 w 3302716"/>
                <a:gd name="connsiteY881" fmla="*/ 512769 h 2641600"/>
                <a:gd name="connsiteX882" fmla="*/ 1701671 w 3302716"/>
                <a:gd name="connsiteY882" fmla="*/ 505650 h 2641600"/>
                <a:gd name="connsiteX883" fmla="*/ 1702755 w 3302716"/>
                <a:gd name="connsiteY883" fmla="*/ 499547 h 2641600"/>
                <a:gd name="connsiteX884" fmla="*/ 1700588 w 3302716"/>
                <a:gd name="connsiteY884" fmla="*/ 494461 h 2641600"/>
                <a:gd name="connsiteX885" fmla="*/ 1697336 w 3302716"/>
                <a:gd name="connsiteY885" fmla="*/ 487342 h 2641600"/>
                <a:gd name="connsiteX886" fmla="*/ 1696252 w 3302716"/>
                <a:gd name="connsiteY886" fmla="*/ 481239 h 2641600"/>
                <a:gd name="connsiteX887" fmla="*/ 1697336 w 3302716"/>
                <a:gd name="connsiteY887" fmla="*/ 475137 h 2641600"/>
                <a:gd name="connsiteX888" fmla="*/ 1700588 w 3302716"/>
                <a:gd name="connsiteY888" fmla="*/ 470051 h 2641600"/>
                <a:gd name="connsiteX889" fmla="*/ 1704923 w 3302716"/>
                <a:gd name="connsiteY889" fmla="*/ 468017 h 2641600"/>
                <a:gd name="connsiteX890" fmla="*/ 1710342 w 3302716"/>
                <a:gd name="connsiteY890" fmla="*/ 469034 h 2641600"/>
                <a:gd name="connsiteX891" fmla="*/ 1714677 w 3302716"/>
                <a:gd name="connsiteY891" fmla="*/ 471068 h 2641600"/>
                <a:gd name="connsiteX892" fmla="*/ 1721180 w 3302716"/>
                <a:gd name="connsiteY892" fmla="*/ 474119 h 2641600"/>
                <a:gd name="connsiteX893" fmla="*/ 1723348 w 3302716"/>
                <a:gd name="connsiteY893" fmla="*/ 472085 h 2641600"/>
                <a:gd name="connsiteX894" fmla="*/ 1725516 w 3302716"/>
                <a:gd name="connsiteY894" fmla="*/ 470051 h 2641600"/>
                <a:gd name="connsiteX895" fmla="*/ 1723348 w 3302716"/>
                <a:gd name="connsiteY895" fmla="*/ 467000 h 2641600"/>
                <a:gd name="connsiteX896" fmla="*/ 1723348 w 3302716"/>
                <a:gd name="connsiteY896" fmla="*/ 465983 h 2641600"/>
                <a:gd name="connsiteX897" fmla="*/ 1721180 w 3302716"/>
                <a:gd name="connsiteY897" fmla="*/ 462931 h 2641600"/>
                <a:gd name="connsiteX898" fmla="*/ 1716845 w 3302716"/>
                <a:gd name="connsiteY898" fmla="*/ 458863 h 2641600"/>
                <a:gd name="connsiteX899" fmla="*/ 1713594 w 3302716"/>
                <a:gd name="connsiteY899" fmla="*/ 454795 h 2641600"/>
                <a:gd name="connsiteX900" fmla="*/ 1721180 w 3302716"/>
                <a:gd name="connsiteY900" fmla="*/ 452760 h 2641600"/>
                <a:gd name="connsiteX901" fmla="*/ 1727683 w 3302716"/>
                <a:gd name="connsiteY901" fmla="*/ 452760 h 2641600"/>
                <a:gd name="connsiteX902" fmla="*/ 1735270 w 3302716"/>
                <a:gd name="connsiteY902" fmla="*/ 452760 h 2641600"/>
                <a:gd name="connsiteX903" fmla="*/ 1741773 w 3302716"/>
                <a:gd name="connsiteY903" fmla="*/ 452760 h 2641600"/>
                <a:gd name="connsiteX904" fmla="*/ 1747193 w 3302716"/>
                <a:gd name="connsiteY904" fmla="*/ 453777 h 2641600"/>
                <a:gd name="connsiteX905" fmla="*/ 1752612 w 3302716"/>
                <a:gd name="connsiteY905" fmla="*/ 455812 h 2641600"/>
                <a:gd name="connsiteX906" fmla="*/ 1755863 w 3302716"/>
                <a:gd name="connsiteY906" fmla="*/ 458863 h 2641600"/>
                <a:gd name="connsiteX907" fmla="*/ 1758031 w 3302716"/>
                <a:gd name="connsiteY907" fmla="*/ 462931 h 2641600"/>
                <a:gd name="connsiteX908" fmla="*/ 1755863 w 3302716"/>
                <a:gd name="connsiteY908" fmla="*/ 469034 h 2641600"/>
                <a:gd name="connsiteX909" fmla="*/ 1751528 w 3302716"/>
                <a:gd name="connsiteY909" fmla="*/ 479205 h 2641600"/>
                <a:gd name="connsiteX910" fmla="*/ 1747193 w 3302716"/>
                <a:gd name="connsiteY910" fmla="*/ 485308 h 2641600"/>
                <a:gd name="connsiteX911" fmla="*/ 1742857 w 3302716"/>
                <a:gd name="connsiteY911" fmla="*/ 487342 h 2641600"/>
                <a:gd name="connsiteX912" fmla="*/ 1738522 w 3302716"/>
                <a:gd name="connsiteY912" fmla="*/ 490393 h 2641600"/>
                <a:gd name="connsiteX913" fmla="*/ 1735270 w 3302716"/>
                <a:gd name="connsiteY913" fmla="*/ 493444 h 2641600"/>
                <a:gd name="connsiteX914" fmla="*/ 1736354 w 3302716"/>
                <a:gd name="connsiteY914" fmla="*/ 500564 h 2641600"/>
                <a:gd name="connsiteX915" fmla="*/ 1738522 w 3302716"/>
                <a:gd name="connsiteY915" fmla="*/ 508701 h 2641600"/>
                <a:gd name="connsiteX916" fmla="*/ 1739606 w 3302716"/>
                <a:gd name="connsiteY916" fmla="*/ 517855 h 2641600"/>
                <a:gd name="connsiteX917" fmla="*/ 1741773 w 3302716"/>
                <a:gd name="connsiteY917" fmla="*/ 528026 h 2641600"/>
                <a:gd name="connsiteX918" fmla="*/ 1742857 w 3302716"/>
                <a:gd name="connsiteY918" fmla="*/ 538197 h 2641600"/>
                <a:gd name="connsiteX919" fmla="*/ 1745025 w 3302716"/>
                <a:gd name="connsiteY919" fmla="*/ 547351 h 2641600"/>
                <a:gd name="connsiteX920" fmla="*/ 1745025 w 3302716"/>
                <a:gd name="connsiteY920" fmla="*/ 554470 h 2641600"/>
                <a:gd name="connsiteX921" fmla="*/ 1743941 w 3302716"/>
                <a:gd name="connsiteY921" fmla="*/ 559556 h 2641600"/>
                <a:gd name="connsiteX922" fmla="*/ 1742857 w 3302716"/>
                <a:gd name="connsiteY922" fmla="*/ 561590 h 2641600"/>
                <a:gd name="connsiteX923" fmla="*/ 1741773 w 3302716"/>
                <a:gd name="connsiteY923" fmla="*/ 564641 h 2641600"/>
                <a:gd name="connsiteX924" fmla="*/ 1741773 w 3302716"/>
                <a:gd name="connsiteY924" fmla="*/ 571761 h 2641600"/>
                <a:gd name="connsiteX925" fmla="*/ 1745025 w 3302716"/>
                <a:gd name="connsiteY925" fmla="*/ 579898 h 2641600"/>
                <a:gd name="connsiteX926" fmla="*/ 1749360 w 3302716"/>
                <a:gd name="connsiteY926" fmla="*/ 586000 h 2641600"/>
                <a:gd name="connsiteX927" fmla="*/ 1753696 w 3302716"/>
                <a:gd name="connsiteY927" fmla="*/ 591086 h 2641600"/>
                <a:gd name="connsiteX928" fmla="*/ 1761282 w 3302716"/>
                <a:gd name="connsiteY928" fmla="*/ 597189 h 2641600"/>
                <a:gd name="connsiteX929" fmla="*/ 1769953 w 3302716"/>
                <a:gd name="connsiteY929" fmla="*/ 603291 h 2641600"/>
                <a:gd name="connsiteX930" fmla="*/ 1777540 w 3302716"/>
                <a:gd name="connsiteY930" fmla="*/ 608377 h 2641600"/>
                <a:gd name="connsiteX931" fmla="*/ 1784043 w 3302716"/>
                <a:gd name="connsiteY931" fmla="*/ 610411 h 2641600"/>
                <a:gd name="connsiteX932" fmla="*/ 1786211 w 3302716"/>
                <a:gd name="connsiteY932" fmla="*/ 612445 h 2641600"/>
                <a:gd name="connsiteX933" fmla="*/ 1788378 w 3302716"/>
                <a:gd name="connsiteY933" fmla="*/ 614479 h 2641600"/>
                <a:gd name="connsiteX934" fmla="*/ 1793797 w 3302716"/>
                <a:gd name="connsiteY934" fmla="*/ 618548 h 2641600"/>
                <a:gd name="connsiteX935" fmla="*/ 1797049 w 3302716"/>
                <a:gd name="connsiteY935" fmla="*/ 625667 h 2641600"/>
                <a:gd name="connsiteX936" fmla="*/ 1795965 w 3302716"/>
                <a:gd name="connsiteY936" fmla="*/ 632787 h 2641600"/>
                <a:gd name="connsiteX937" fmla="*/ 1791630 w 3302716"/>
                <a:gd name="connsiteY937" fmla="*/ 637872 h 2641600"/>
                <a:gd name="connsiteX938" fmla="*/ 1786211 w 3302716"/>
                <a:gd name="connsiteY938" fmla="*/ 638890 h 2641600"/>
                <a:gd name="connsiteX939" fmla="*/ 1782959 w 3302716"/>
                <a:gd name="connsiteY939" fmla="*/ 637872 h 2641600"/>
                <a:gd name="connsiteX940" fmla="*/ 1778624 w 3302716"/>
                <a:gd name="connsiteY940" fmla="*/ 637872 h 2641600"/>
                <a:gd name="connsiteX941" fmla="*/ 1775372 w 3302716"/>
                <a:gd name="connsiteY941" fmla="*/ 637872 h 2641600"/>
                <a:gd name="connsiteX942" fmla="*/ 1772121 w 3302716"/>
                <a:gd name="connsiteY942" fmla="*/ 637872 h 2641600"/>
                <a:gd name="connsiteX943" fmla="*/ 1772121 w 3302716"/>
                <a:gd name="connsiteY943" fmla="*/ 639907 h 2641600"/>
                <a:gd name="connsiteX944" fmla="*/ 1774288 w 3302716"/>
                <a:gd name="connsiteY944" fmla="*/ 646009 h 2641600"/>
                <a:gd name="connsiteX945" fmla="*/ 1776456 w 3302716"/>
                <a:gd name="connsiteY945" fmla="*/ 655163 h 2641600"/>
                <a:gd name="connsiteX946" fmla="*/ 1778624 w 3302716"/>
                <a:gd name="connsiteY946" fmla="*/ 664317 h 2641600"/>
                <a:gd name="connsiteX947" fmla="*/ 1777540 w 3302716"/>
                <a:gd name="connsiteY947" fmla="*/ 671437 h 2641600"/>
                <a:gd name="connsiteX948" fmla="*/ 1774803 w 3302716"/>
                <a:gd name="connsiteY948" fmla="*/ 673271 h 2641600"/>
                <a:gd name="connsiteX949" fmla="*/ 1782968 w 3302716"/>
                <a:gd name="connsiteY949" fmla="*/ 673271 h 2641600"/>
                <a:gd name="connsiteX950" fmla="*/ 1806487 w 3302716"/>
                <a:gd name="connsiteY950" fmla="*/ 688876 h 2641600"/>
                <a:gd name="connsiteX951" fmla="*/ 1845685 w 3302716"/>
                <a:gd name="connsiteY951" fmla="*/ 649864 h 2641600"/>
                <a:gd name="connsiteX952" fmla="*/ 1837845 w 3302716"/>
                <a:gd name="connsiteY952" fmla="*/ 603049 h 2641600"/>
                <a:gd name="connsiteX953" fmla="*/ 1782968 w 3302716"/>
                <a:gd name="connsiteY953" fmla="*/ 556234 h 2641600"/>
                <a:gd name="connsiteX954" fmla="*/ 1782968 w 3302716"/>
                <a:gd name="connsiteY954" fmla="*/ 517222 h 2641600"/>
                <a:gd name="connsiteX955" fmla="*/ 1880953 w 3302716"/>
                <a:gd name="connsiteY955" fmla="*/ 369887 h 2641600"/>
                <a:gd name="connsiteX956" fmla="*/ 1883100 w 3302716"/>
                <a:gd name="connsiteY956" fmla="*/ 369887 h 2641600"/>
                <a:gd name="connsiteX957" fmla="*/ 1884174 w 3302716"/>
                <a:gd name="connsiteY957" fmla="*/ 369887 h 2641600"/>
                <a:gd name="connsiteX958" fmla="*/ 1885248 w 3302716"/>
                <a:gd name="connsiteY958" fmla="*/ 370888 h 2641600"/>
                <a:gd name="connsiteX959" fmla="*/ 1889544 w 3302716"/>
                <a:gd name="connsiteY959" fmla="*/ 374891 h 2641600"/>
                <a:gd name="connsiteX960" fmla="*/ 1891691 w 3302716"/>
                <a:gd name="connsiteY960" fmla="*/ 378894 h 2641600"/>
                <a:gd name="connsiteX961" fmla="*/ 1892765 w 3302716"/>
                <a:gd name="connsiteY961" fmla="*/ 384899 h 2641600"/>
                <a:gd name="connsiteX962" fmla="*/ 1892765 w 3302716"/>
                <a:gd name="connsiteY962" fmla="*/ 389903 h 2641600"/>
                <a:gd name="connsiteX963" fmla="*/ 1895987 w 3302716"/>
                <a:gd name="connsiteY963" fmla="*/ 393907 h 2641600"/>
                <a:gd name="connsiteX964" fmla="*/ 1897061 w 3302716"/>
                <a:gd name="connsiteY964" fmla="*/ 398911 h 2641600"/>
                <a:gd name="connsiteX965" fmla="*/ 1897061 w 3302716"/>
                <a:gd name="connsiteY965" fmla="*/ 404916 h 2641600"/>
                <a:gd name="connsiteX966" fmla="*/ 1893839 w 3302716"/>
                <a:gd name="connsiteY966" fmla="*/ 409920 h 2641600"/>
                <a:gd name="connsiteX967" fmla="*/ 1889544 w 3302716"/>
                <a:gd name="connsiteY967" fmla="*/ 413923 h 2641600"/>
                <a:gd name="connsiteX968" fmla="*/ 1884174 w 3302716"/>
                <a:gd name="connsiteY968" fmla="*/ 415925 h 2641600"/>
                <a:gd name="connsiteX969" fmla="*/ 1880953 w 3302716"/>
                <a:gd name="connsiteY969" fmla="*/ 413923 h 2641600"/>
                <a:gd name="connsiteX970" fmla="*/ 1877731 w 3302716"/>
                <a:gd name="connsiteY970" fmla="*/ 409920 h 2641600"/>
                <a:gd name="connsiteX971" fmla="*/ 1873436 w 3302716"/>
                <a:gd name="connsiteY971" fmla="*/ 406917 h 2641600"/>
                <a:gd name="connsiteX972" fmla="*/ 1868066 w 3302716"/>
                <a:gd name="connsiteY972" fmla="*/ 404916 h 2641600"/>
                <a:gd name="connsiteX973" fmla="*/ 1863771 w 3302716"/>
                <a:gd name="connsiteY973" fmla="*/ 400912 h 2641600"/>
                <a:gd name="connsiteX974" fmla="*/ 1860549 w 3302716"/>
                <a:gd name="connsiteY974" fmla="*/ 397910 h 2641600"/>
                <a:gd name="connsiteX975" fmla="*/ 1861623 w 3302716"/>
                <a:gd name="connsiteY975" fmla="*/ 392906 h 2641600"/>
                <a:gd name="connsiteX976" fmla="*/ 1864844 w 3302716"/>
                <a:gd name="connsiteY976" fmla="*/ 387902 h 2641600"/>
                <a:gd name="connsiteX977" fmla="*/ 1868066 w 3302716"/>
                <a:gd name="connsiteY977" fmla="*/ 384899 h 2641600"/>
                <a:gd name="connsiteX978" fmla="*/ 1872362 w 3302716"/>
                <a:gd name="connsiteY978" fmla="*/ 381897 h 2641600"/>
                <a:gd name="connsiteX979" fmla="*/ 1874509 w 3302716"/>
                <a:gd name="connsiteY979" fmla="*/ 376893 h 2641600"/>
                <a:gd name="connsiteX980" fmla="*/ 1875583 w 3302716"/>
                <a:gd name="connsiteY980" fmla="*/ 374891 h 2641600"/>
                <a:gd name="connsiteX981" fmla="*/ 1875583 w 3302716"/>
                <a:gd name="connsiteY981" fmla="*/ 373890 h 2641600"/>
                <a:gd name="connsiteX982" fmla="*/ 1877731 w 3302716"/>
                <a:gd name="connsiteY982" fmla="*/ 370888 h 2641600"/>
                <a:gd name="connsiteX983" fmla="*/ 1509540 w 3302716"/>
                <a:gd name="connsiteY983" fmla="*/ 361950 h 2641600"/>
                <a:gd name="connsiteX984" fmla="*/ 1512757 w 3302716"/>
                <a:gd name="connsiteY984" fmla="*/ 361950 h 2641600"/>
                <a:gd name="connsiteX985" fmla="*/ 1515975 w 3302716"/>
                <a:gd name="connsiteY985" fmla="*/ 362950 h 2641600"/>
                <a:gd name="connsiteX986" fmla="*/ 1521338 w 3302716"/>
                <a:gd name="connsiteY986" fmla="*/ 364951 h 2641600"/>
                <a:gd name="connsiteX987" fmla="*/ 1525629 w 3302716"/>
                <a:gd name="connsiteY987" fmla="*/ 368952 h 2641600"/>
                <a:gd name="connsiteX988" fmla="*/ 1530992 w 3302716"/>
                <a:gd name="connsiteY988" fmla="*/ 370953 h 2641600"/>
                <a:gd name="connsiteX989" fmla="*/ 1537428 w 3302716"/>
                <a:gd name="connsiteY989" fmla="*/ 371953 h 2641600"/>
                <a:gd name="connsiteX990" fmla="*/ 1544937 w 3302716"/>
                <a:gd name="connsiteY990" fmla="*/ 373954 h 2641600"/>
                <a:gd name="connsiteX991" fmla="*/ 1554590 w 3302716"/>
                <a:gd name="connsiteY991" fmla="*/ 375955 h 2641600"/>
                <a:gd name="connsiteX992" fmla="*/ 1558881 w 3302716"/>
                <a:gd name="connsiteY992" fmla="*/ 381957 h 2641600"/>
                <a:gd name="connsiteX993" fmla="*/ 1562098 w 3302716"/>
                <a:gd name="connsiteY993" fmla="*/ 387959 h 2641600"/>
                <a:gd name="connsiteX994" fmla="*/ 1566389 w 3302716"/>
                <a:gd name="connsiteY994" fmla="*/ 393961 h 2641600"/>
                <a:gd name="connsiteX995" fmla="*/ 1571752 w 3302716"/>
                <a:gd name="connsiteY995" fmla="*/ 396962 h 2641600"/>
                <a:gd name="connsiteX996" fmla="*/ 1577116 w 3302716"/>
                <a:gd name="connsiteY996" fmla="*/ 394961 h 2641600"/>
                <a:gd name="connsiteX997" fmla="*/ 1581406 w 3302716"/>
                <a:gd name="connsiteY997" fmla="*/ 394961 h 2641600"/>
                <a:gd name="connsiteX998" fmla="*/ 1587842 w 3302716"/>
                <a:gd name="connsiteY998" fmla="*/ 397962 h 2641600"/>
                <a:gd name="connsiteX999" fmla="*/ 1594278 w 3302716"/>
                <a:gd name="connsiteY999" fmla="*/ 405965 h 2641600"/>
                <a:gd name="connsiteX1000" fmla="*/ 1598568 w 3302716"/>
                <a:gd name="connsiteY1000" fmla="*/ 417969 h 2641600"/>
                <a:gd name="connsiteX1001" fmla="*/ 1599641 w 3302716"/>
                <a:gd name="connsiteY1001" fmla="*/ 428973 h 2641600"/>
                <a:gd name="connsiteX1002" fmla="*/ 1601786 w 3302716"/>
                <a:gd name="connsiteY1002" fmla="*/ 432974 h 2641600"/>
                <a:gd name="connsiteX1003" fmla="*/ 1599641 w 3302716"/>
                <a:gd name="connsiteY1003" fmla="*/ 436976 h 2641600"/>
                <a:gd name="connsiteX1004" fmla="*/ 1597496 w 3302716"/>
                <a:gd name="connsiteY1004" fmla="*/ 439977 h 2641600"/>
                <a:gd name="connsiteX1005" fmla="*/ 1593205 w 3302716"/>
                <a:gd name="connsiteY1005" fmla="*/ 443978 h 2641600"/>
                <a:gd name="connsiteX1006" fmla="*/ 1587842 w 3302716"/>
                <a:gd name="connsiteY1006" fmla="*/ 445979 h 2641600"/>
                <a:gd name="connsiteX1007" fmla="*/ 1580334 w 3302716"/>
                <a:gd name="connsiteY1007" fmla="*/ 447979 h 2641600"/>
                <a:gd name="connsiteX1008" fmla="*/ 1571752 w 3302716"/>
                <a:gd name="connsiteY1008" fmla="*/ 450980 h 2641600"/>
                <a:gd name="connsiteX1009" fmla="*/ 1563171 w 3302716"/>
                <a:gd name="connsiteY1009" fmla="*/ 451981 h 2641600"/>
                <a:gd name="connsiteX1010" fmla="*/ 1554590 w 3302716"/>
                <a:gd name="connsiteY1010" fmla="*/ 453981 h 2641600"/>
                <a:gd name="connsiteX1011" fmla="*/ 1540646 w 3302716"/>
                <a:gd name="connsiteY1011" fmla="*/ 457983 h 2641600"/>
                <a:gd name="connsiteX1012" fmla="*/ 1536355 w 3302716"/>
                <a:gd name="connsiteY1012" fmla="*/ 460984 h 2641600"/>
                <a:gd name="connsiteX1013" fmla="*/ 1536355 w 3302716"/>
                <a:gd name="connsiteY1013" fmla="*/ 465985 h 2641600"/>
                <a:gd name="connsiteX1014" fmla="*/ 1536355 w 3302716"/>
                <a:gd name="connsiteY1014" fmla="*/ 472988 h 2641600"/>
                <a:gd name="connsiteX1015" fmla="*/ 1532065 w 3302716"/>
                <a:gd name="connsiteY1015" fmla="*/ 477990 h 2641600"/>
                <a:gd name="connsiteX1016" fmla="*/ 1523484 w 3302716"/>
                <a:gd name="connsiteY1016" fmla="*/ 480991 h 2641600"/>
                <a:gd name="connsiteX1017" fmla="*/ 1513830 w 3302716"/>
                <a:gd name="connsiteY1017" fmla="*/ 485992 h 2641600"/>
                <a:gd name="connsiteX1018" fmla="*/ 1507395 w 3302716"/>
                <a:gd name="connsiteY1018" fmla="*/ 496996 h 2641600"/>
                <a:gd name="connsiteX1019" fmla="*/ 1502031 w 3302716"/>
                <a:gd name="connsiteY1019" fmla="*/ 507000 h 2641600"/>
                <a:gd name="connsiteX1020" fmla="*/ 1496668 w 3302716"/>
                <a:gd name="connsiteY1020" fmla="*/ 508000 h 2641600"/>
                <a:gd name="connsiteX1021" fmla="*/ 1490232 w 3302716"/>
                <a:gd name="connsiteY1021" fmla="*/ 504999 h 2641600"/>
                <a:gd name="connsiteX1022" fmla="*/ 1484869 w 3302716"/>
                <a:gd name="connsiteY1022" fmla="*/ 499997 h 2641600"/>
                <a:gd name="connsiteX1023" fmla="*/ 1481651 w 3302716"/>
                <a:gd name="connsiteY1023" fmla="*/ 498997 h 2641600"/>
                <a:gd name="connsiteX1024" fmla="*/ 1477361 w 3302716"/>
                <a:gd name="connsiteY1024" fmla="*/ 500997 h 2641600"/>
                <a:gd name="connsiteX1025" fmla="*/ 1471998 w 3302716"/>
                <a:gd name="connsiteY1025" fmla="*/ 504999 h 2641600"/>
                <a:gd name="connsiteX1026" fmla="*/ 1464489 w 3302716"/>
                <a:gd name="connsiteY1026" fmla="*/ 508000 h 2641600"/>
                <a:gd name="connsiteX1027" fmla="*/ 1459126 w 3302716"/>
                <a:gd name="connsiteY1027" fmla="*/ 505999 h 2641600"/>
                <a:gd name="connsiteX1028" fmla="*/ 1458053 w 3302716"/>
                <a:gd name="connsiteY1028" fmla="*/ 497996 h 2641600"/>
                <a:gd name="connsiteX1029" fmla="*/ 1458053 w 3302716"/>
                <a:gd name="connsiteY1029" fmla="*/ 484992 h 2641600"/>
                <a:gd name="connsiteX1030" fmla="*/ 1454835 w 3302716"/>
                <a:gd name="connsiteY1030" fmla="*/ 468987 h 2641600"/>
                <a:gd name="connsiteX1031" fmla="*/ 1449472 w 3302716"/>
                <a:gd name="connsiteY1031" fmla="*/ 455982 h 2641600"/>
                <a:gd name="connsiteX1032" fmla="*/ 1447327 w 3302716"/>
                <a:gd name="connsiteY1032" fmla="*/ 452981 h 2641600"/>
                <a:gd name="connsiteX1033" fmla="*/ 1446254 w 3302716"/>
                <a:gd name="connsiteY1033" fmla="*/ 452981 h 2641600"/>
                <a:gd name="connsiteX1034" fmla="*/ 1443036 w 3302716"/>
                <a:gd name="connsiteY1034" fmla="*/ 451981 h 2641600"/>
                <a:gd name="connsiteX1035" fmla="*/ 1446254 w 3302716"/>
                <a:gd name="connsiteY1035" fmla="*/ 443978 h 2641600"/>
                <a:gd name="connsiteX1036" fmla="*/ 1454835 w 3302716"/>
                <a:gd name="connsiteY1036" fmla="*/ 432974 h 2641600"/>
                <a:gd name="connsiteX1037" fmla="*/ 1464489 w 3302716"/>
                <a:gd name="connsiteY1037" fmla="*/ 423971 h 2641600"/>
                <a:gd name="connsiteX1038" fmla="*/ 1471998 w 3302716"/>
                <a:gd name="connsiteY1038" fmla="*/ 416969 h 2641600"/>
                <a:gd name="connsiteX1039" fmla="*/ 1477361 w 3302716"/>
                <a:gd name="connsiteY1039" fmla="*/ 411967 h 2641600"/>
                <a:gd name="connsiteX1040" fmla="*/ 1488087 w 3302716"/>
                <a:gd name="connsiteY1040" fmla="*/ 401964 h 2641600"/>
                <a:gd name="connsiteX1041" fmla="*/ 1496668 w 3302716"/>
                <a:gd name="connsiteY1041" fmla="*/ 392960 h 2641600"/>
                <a:gd name="connsiteX1042" fmla="*/ 1502031 w 3302716"/>
                <a:gd name="connsiteY1042" fmla="*/ 385958 h 2641600"/>
                <a:gd name="connsiteX1043" fmla="*/ 1504177 w 3302716"/>
                <a:gd name="connsiteY1043" fmla="*/ 381957 h 2641600"/>
                <a:gd name="connsiteX1044" fmla="*/ 1505249 w 3302716"/>
                <a:gd name="connsiteY1044" fmla="*/ 376955 h 2641600"/>
                <a:gd name="connsiteX1045" fmla="*/ 1505249 w 3302716"/>
                <a:gd name="connsiteY1045" fmla="*/ 369953 h 2641600"/>
                <a:gd name="connsiteX1046" fmla="*/ 1507395 w 3302716"/>
                <a:gd name="connsiteY1046" fmla="*/ 363950 h 2641600"/>
                <a:gd name="connsiteX1047" fmla="*/ 1770098 w 3302716"/>
                <a:gd name="connsiteY1047" fmla="*/ 320675 h 2641600"/>
                <a:gd name="connsiteX1048" fmla="*/ 1777592 w 3302716"/>
                <a:gd name="connsiteY1048" fmla="*/ 325735 h 2641600"/>
                <a:gd name="connsiteX1049" fmla="*/ 1785087 w 3302716"/>
                <a:gd name="connsiteY1049" fmla="*/ 332819 h 2641600"/>
                <a:gd name="connsiteX1050" fmla="*/ 1788299 w 3302716"/>
                <a:gd name="connsiteY1050" fmla="*/ 336867 h 2641600"/>
                <a:gd name="connsiteX1051" fmla="*/ 1790440 w 3302716"/>
                <a:gd name="connsiteY1051" fmla="*/ 336867 h 2641600"/>
                <a:gd name="connsiteX1052" fmla="*/ 1793652 w 3302716"/>
                <a:gd name="connsiteY1052" fmla="*/ 336867 h 2641600"/>
                <a:gd name="connsiteX1053" fmla="*/ 1796864 w 3302716"/>
                <a:gd name="connsiteY1053" fmla="*/ 335855 h 2641600"/>
                <a:gd name="connsiteX1054" fmla="*/ 1801146 w 3302716"/>
                <a:gd name="connsiteY1054" fmla="*/ 331807 h 2641600"/>
                <a:gd name="connsiteX1055" fmla="*/ 1804358 w 3302716"/>
                <a:gd name="connsiteY1055" fmla="*/ 329783 h 2641600"/>
                <a:gd name="connsiteX1056" fmla="*/ 1808641 w 3302716"/>
                <a:gd name="connsiteY1056" fmla="*/ 331807 h 2641600"/>
                <a:gd name="connsiteX1057" fmla="*/ 1812923 w 3302716"/>
                <a:gd name="connsiteY1057" fmla="*/ 335855 h 2641600"/>
                <a:gd name="connsiteX1058" fmla="*/ 1817206 w 3302716"/>
                <a:gd name="connsiteY1058" fmla="*/ 336867 h 2641600"/>
                <a:gd name="connsiteX1059" fmla="*/ 1818277 w 3302716"/>
                <a:gd name="connsiteY1059" fmla="*/ 333831 h 2641600"/>
                <a:gd name="connsiteX1060" fmla="*/ 1817206 w 3302716"/>
                <a:gd name="connsiteY1060" fmla="*/ 331807 h 2641600"/>
                <a:gd name="connsiteX1061" fmla="*/ 1815065 w 3302716"/>
                <a:gd name="connsiteY1061" fmla="*/ 327759 h 2641600"/>
                <a:gd name="connsiteX1062" fmla="*/ 1815065 w 3302716"/>
                <a:gd name="connsiteY1062" fmla="*/ 323711 h 2641600"/>
                <a:gd name="connsiteX1063" fmla="*/ 1817206 w 3302716"/>
                <a:gd name="connsiteY1063" fmla="*/ 322699 h 2641600"/>
                <a:gd name="connsiteX1064" fmla="*/ 1820418 w 3302716"/>
                <a:gd name="connsiteY1064" fmla="*/ 323711 h 2641600"/>
                <a:gd name="connsiteX1065" fmla="*/ 1825771 w 3302716"/>
                <a:gd name="connsiteY1065" fmla="*/ 328771 h 2641600"/>
                <a:gd name="connsiteX1066" fmla="*/ 1831124 w 3302716"/>
                <a:gd name="connsiteY1066" fmla="*/ 331807 h 2641600"/>
                <a:gd name="connsiteX1067" fmla="*/ 1834336 w 3302716"/>
                <a:gd name="connsiteY1067" fmla="*/ 332819 h 2641600"/>
                <a:gd name="connsiteX1068" fmla="*/ 1835407 w 3302716"/>
                <a:gd name="connsiteY1068" fmla="*/ 330795 h 2641600"/>
                <a:gd name="connsiteX1069" fmla="*/ 1836478 w 3302716"/>
                <a:gd name="connsiteY1069" fmla="*/ 328771 h 2641600"/>
                <a:gd name="connsiteX1070" fmla="*/ 1842901 w 3302716"/>
                <a:gd name="connsiteY1070" fmla="*/ 327759 h 2641600"/>
                <a:gd name="connsiteX1071" fmla="*/ 1848255 w 3302716"/>
                <a:gd name="connsiteY1071" fmla="*/ 329783 h 2641600"/>
                <a:gd name="connsiteX1072" fmla="*/ 1849325 w 3302716"/>
                <a:gd name="connsiteY1072" fmla="*/ 335855 h 2641600"/>
                <a:gd name="connsiteX1073" fmla="*/ 1848255 w 3302716"/>
                <a:gd name="connsiteY1073" fmla="*/ 342939 h 2641600"/>
                <a:gd name="connsiteX1074" fmla="*/ 1843972 w 3302716"/>
                <a:gd name="connsiteY1074" fmla="*/ 352048 h 2641600"/>
                <a:gd name="connsiteX1075" fmla="*/ 1842901 w 3302716"/>
                <a:gd name="connsiteY1075" fmla="*/ 358120 h 2641600"/>
                <a:gd name="connsiteX1076" fmla="*/ 1843972 w 3302716"/>
                <a:gd name="connsiteY1076" fmla="*/ 360144 h 2641600"/>
                <a:gd name="connsiteX1077" fmla="*/ 1849325 w 3302716"/>
                <a:gd name="connsiteY1077" fmla="*/ 363180 h 2641600"/>
                <a:gd name="connsiteX1078" fmla="*/ 1855749 w 3302716"/>
                <a:gd name="connsiteY1078" fmla="*/ 371276 h 2641600"/>
                <a:gd name="connsiteX1079" fmla="*/ 1858961 w 3302716"/>
                <a:gd name="connsiteY1079" fmla="*/ 378360 h 2641600"/>
                <a:gd name="connsiteX1080" fmla="*/ 1856820 w 3302716"/>
                <a:gd name="connsiteY1080" fmla="*/ 379372 h 2641600"/>
                <a:gd name="connsiteX1081" fmla="*/ 1851466 w 3302716"/>
                <a:gd name="connsiteY1081" fmla="*/ 377348 h 2641600"/>
                <a:gd name="connsiteX1082" fmla="*/ 1847184 w 3302716"/>
                <a:gd name="connsiteY1082" fmla="*/ 375324 h 2641600"/>
                <a:gd name="connsiteX1083" fmla="*/ 1843972 w 3302716"/>
                <a:gd name="connsiteY1083" fmla="*/ 375324 h 2641600"/>
                <a:gd name="connsiteX1084" fmla="*/ 1843972 w 3302716"/>
                <a:gd name="connsiteY1084" fmla="*/ 378360 h 2641600"/>
                <a:gd name="connsiteX1085" fmla="*/ 1847184 w 3302716"/>
                <a:gd name="connsiteY1085" fmla="*/ 383420 h 2641600"/>
                <a:gd name="connsiteX1086" fmla="*/ 1848255 w 3302716"/>
                <a:gd name="connsiteY1086" fmla="*/ 385444 h 2641600"/>
                <a:gd name="connsiteX1087" fmla="*/ 1843972 w 3302716"/>
                <a:gd name="connsiteY1087" fmla="*/ 387468 h 2641600"/>
                <a:gd name="connsiteX1088" fmla="*/ 1835407 w 3302716"/>
                <a:gd name="connsiteY1088" fmla="*/ 393541 h 2641600"/>
                <a:gd name="connsiteX1089" fmla="*/ 1824700 w 3302716"/>
                <a:gd name="connsiteY1089" fmla="*/ 398601 h 2641600"/>
                <a:gd name="connsiteX1090" fmla="*/ 1812923 w 3302716"/>
                <a:gd name="connsiteY1090" fmla="*/ 401637 h 2641600"/>
                <a:gd name="connsiteX1091" fmla="*/ 1807570 w 3302716"/>
                <a:gd name="connsiteY1091" fmla="*/ 400625 h 2641600"/>
                <a:gd name="connsiteX1092" fmla="*/ 1807570 w 3302716"/>
                <a:gd name="connsiteY1092" fmla="*/ 394553 h 2641600"/>
                <a:gd name="connsiteX1093" fmla="*/ 1809712 w 3302716"/>
                <a:gd name="connsiteY1093" fmla="*/ 386456 h 2641600"/>
                <a:gd name="connsiteX1094" fmla="*/ 1811853 w 3302716"/>
                <a:gd name="connsiteY1094" fmla="*/ 379372 h 2641600"/>
                <a:gd name="connsiteX1095" fmla="*/ 1811853 w 3302716"/>
                <a:gd name="connsiteY1095" fmla="*/ 375324 h 2641600"/>
                <a:gd name="connsiteX1096" fmla="*/ 1810782 w 3302716"/>
                <a:gd name="connsiteY1096" fmla="*/ 374312 h 2641600"/>
                <a:gd name="connsiteX1097" fmla="*/ 1807570 w 3302716"/>
                <a:gd name="connsiteY1097" fmla="*/ 374312 h 2641600"/>
                <a:gd name="connsiteX1098" fmla="*/ 1800076 w 3302716"/>
                <a:gd name="connsiteY1098" fmla="*/ 375324 h 2641600"/>
                <a:gd name="connsiteX1099" fmla="*/ 1792581 w 3302716"/>
                <a:gd name="connsiteY1099" fmla="*/ 375324 h 2641600"/>
                <a:gd name="connsiteX1100" fmla="*/ 1790440 w 3302716"/>
                <a:gd name="connsiteY1100" fmla="*/ 375324 h 2641600"/>
                <a:gd name="connsiteX1101" fmla="*/ 1788299 w 3302716"/>
                <a:gd name="connsiteY1101" fmla="*/ 373300 h 2641600"/>
                <a:gd name="connsiteX1102" fmla="*/ 1791511 w 3302716"/>
                <a:gd name="connsiteY1102" fmla="*/ 368240 h 2641600"/>
                <a:gd name="connsiteX1103" fmla="*/ 1792581 w 3302716"/>
                <a:gd name="connsiteY1103" fmla="*/ 364192 h 2641600"/>
                <a:gd name="connsiteX1104" fmla="*/ 1790440 w 3302716"/>
                <a:gd name="connsiteY1104" fmla="*/ 363180 h 2641600"/>
                <a:gd name="connsiteX1105" fmla="*/ 1786157 w 3302716"/>
                <a:gd name="connsiteY1105" fmla="*/ 363180 h 2641600"/>
                <a:gd name="connsiteX1106" fmla="*/ 1782946 w 3302716"/>
                <a:gd name="connsiteY1106" fmla="*/ 363180 h 2641600"/>
                <a:gd name="connsiteX1107" fmla="*/ 1778663 w 3302716"/>
                <a:gd name="connsiteY1107" fmla="*/ 362168 h 2641600"/>
                <a:gd name="connsiteX1108" fmla="*/ 1775451 w 3302716"/>
                <a:gd name="connsiteY1108" fmla="*/ 359132 h 2641600"/>
                <a:gd name="connsiteX1109" fmla="*/ 1772239 w 3302716"/>
                <a:gd name="connsiteY1109" fmla="*/ 354072 h 2641600"/>
                <a:gd name="connsiteX1110" fmla="*/ 1771168 w 3302716"/>
                <a:gd name="connsiteY1110" fmla="*/ 347999 h 2641600"/>
                <a:gd name="connsiteX1111" fmla="*/ 1770098 w 3302716"/>
                <a:gd name="connsiteY1111" fmla="*/ 342939 h 2641600"/>
                <a:gd name="connsiteX1112" fmla="*/ 1769027 w 3302716"/>
                <a:gd name="connsiteY1112" fmla="*/ 335855 h 2641600"/>
                <a:gd name="connsiteX1113" fmla="*/ 1767957 w 3302716"/>
                <a:gd name="connsiteY1113" fmla="*/ 329783 h 2641600"/>
                <a:gd name="connsiteX1114" fmla="*/ 1766886 w 3302716"/>
                <a:gd name="connsiteY1114" fmla="*/ 322699 h 2641600"/>
                <a:gd name="connsiteX1115" fmla="*/ 1648242 w 3302716"/>
                <a:gd name="connsiteY1115" fmla="*/ 307975 h 2641600"/>
                <a:gd name="connsiteX1116" fmla="*/ 1655845 w 3302716"/>
                <a:gd name="connsiteY1116" fmla="*/ 307975 h 2641600"/>
                <a:gd name="connsiteX1117" fmla="*/ 1660189 w 3302716"/>
                <a:gd name="connsiteY1117" fmla="*/ 310033 h 2641600"/>
                <a:gd name="connsiteX1118" fmla="*/ 1661276 w 3302716"/>
                <a:gd name="connsiteY1118" fmla="*/ 313121 h 2641600"/>
                <a:gd name="connsiteX1119" fmla="*/ 1660189 w 3302716"/>
                <a:gd name="connsiteY1119" fmla="*/ 316209 h 2641600"/>
                <a:gd name="connsiteX1120" fmla="*/ 1661276 w 3302716"/>
                <a:gd name="connsiteY1120" fmla="*/ 321355 h 2641600"/>
                <a:gd name="connsiteX1121" fmla="*/ 1665620 w 3302716"/>
                <a:gd name="connsiteY1121" fmla="*/ 323414 h 2641600"/>
                <a:gd name="connsiteX1122" fmla="*/ 1671051 w 3302716"/>
                <a:gd name="connsiteY1122" fmla="*/ 327531 h 2641600"/>
                <a:gd name="connsiteX1123" fmla="*/ 1672137 w 3302716"/>
                <a:gd name="connsiteY1123" fmla="*/ 331648 h 2641600"/>
                <a:gd name="connsiteX1124" fmla="*/ 1672137 w 3302716"/>
                <a:gd name="connsiteY1124" fmla="*/ 336794 h 2641600"/>
                <a:gd name="connsiteX1125" fmla="*/ 1677568 w 3302716"/>
                <a:gd name="connsiteY1125" fmla="*/ 339882 h 2641600"/>
                <a:gd name="connsiteX1126" fmla="*/ 1681913 w 3302716"/>
                <a:gd name="connsiteY1126" fmla="*/ 343999 h 2641600"/>
                <a:gd name="connsiteX1127" fmla="*/ 1685172 w 3302716"/>
                <a:gd name="connsiteY1127" fmla="*/ 348116 h 2641600"/>
                <a:gd name="connsiteX1128" fmla="*/ 1685172 w 3302716"/>
                <a:gd name="connsiteY1128" fmla="*/ 353262 h 2641600"/>
                <a:gd name="connsiteX1129" fmla="*/ 1685172 w 3302716"/>
                <a:gd name="connsiteY1129" fmla="*/ 356350 h 2641600"/>
                <a:gd name="connsiteX1130" fmla="*/ 1687344 w 3302716"/>
                <a:gd name="connsiteY1130" fmla="*/ 359437 h 2641600"/>
                <a:gd name="connsiteX1131" fmla="*/ 1692775 w 3302716"/>
                <a:gd name="connsiteY1131" fmla="*/ 361496 h 2641600"/>
                <a:gd name="connsiteX1132" fmla="*/ 1698206 w 3302716"/>
                <a:gd name="connsiteY1132" fmla="*/ 364584 h 2641600"/>
                <a:gd name="connsiteX1133" fmla="*/ 1704723 w 3302716"/>
                <a:gd name="connsiteY1133" fmla="*/ 368701 h 2641600"/>
                <a:gd name="connsiteX1134" fmla="*/ 1709068 w 3302716"/>
                <a:gd name="connsiteY1134" fmla="*/ 368701 h 2641600"/>
                <a:gd name="connsiteX1135" fmla="*/ 1710154 w 3302716"/>
                <a:gd name="connsiteY1135" fmla="*/ 363554 h 2641600"/>
                <a:gd name="connsiteX1136" fmla="*/ 1710154 w 3302716"/>
                <a:gd name="connsiteY1136" fmla="*/ 356350 h 2641600"/>
                <a:gd name="connsiteX1137" fmla="*/ 1710154 w 3302716"/>
                <a:gd name="connsiteY1137" fmla="*/ 351203 h 2641600"/>
                <a:gd name="connsiteX1138" fmla="*/ 1710154 w 3302716"/>
                <a:gd name="connsiteY1138" fmla="*/ 346057 h 2641600"/>
                <a:gd name="connsiteX1139" fmla="*/ 1710154 w 3302716"/>
                <a:gd name="connsiteY1139" fmla="*/ 340911 h 2641600"/>
                <a:gd name="connsiteX1140" fmla="*/ 1706895 w 3302716"/>
                <a:gd name="connsiteY1140" fmla="*/ 338852 h 2641600"/>
                <a:gd name="connsiteX1141" fmla="*/ 1704723 w 3302716"/>
                <a:gd name="connsiteY1141" fmla="*/ 338852 h 2641600"/>
                <a:gd name="connsiteX1142" fmla="*/ 1703637 w 3302716"/>
                <a:gd name="connsiteY1142" fmla="*/ 337823 h 2641600"/>
                <a:gd name="connsiteX1143" fmla="*/ 1702551 w 3302716"/>
                <a:gd name="connsiteY1143" fmla="*/ 332677 h 2641600"/>
                <a:gd name="connsiteX1144" fmla="*/ 1702551 w 3302716"/>
                <a:gd name="connsiteY1144" fmla="*/ 327531 h 2641600"/>
                <a:gd name="connsiteX1145" fmla="*/ 1702551 w 3302716"/>
                <a:gd name="connsiteY1145" fmla="*/ 322384 h 2641600"/>
                <a:gd name="connsiteX1146" fmla="*/ 1703637 w 3302716"/>
                <a:gd name="connsiteY1146" fmla="*/ 319297 h 2641600"/>
                <a:gd name="connsiteX1147" fmla="*/ 1706895 w 3302716"/>
                <a:gd name="connsiteY1147" fmla="*/ 316209 h 2641600"/>
                <a:gd name="connsiteX1148" fmla="*/ 1713413 w 3302716"/>
                <a:gd name="connsiteY1148" fmla="*/ 314150 h 2641600"/>
                <a:gd name="connsiteX1149" fmla="*/ 1718844 w 3302716"/>
                <a:gd name="connsiteY1149" fmla="*/ 312092 h 2641600"/>
                <a:gd name="connsiteX1150" fmla="*/ 1723188 w 3302716"/>
                <a:gd name="connsiteY1150" fmla="*/ 309004 h 2641600"/>
                <a:gd name="connsiteX1151" fmla="*/ 1724274 w 3302716"/>
                <a:gd name="connsiteY1151" fmla="*/ 307975 h 2641600"/>
                <a:gd name="connsiteX1152" fmla="*/ 1724274 w 3302716"/>
                <a:gd name="connsiteY1152" fmla="*/ 312092 h 2641600"/>
                <a:gd name="connsiteX1153" fmla="*/ 1723188 w 3302716"/>
                <a:gd name="connsiteY1153" fmla="*/ 321355 h 2641600"/>
                <a:gd name="connsiteX1154" fmla="*/ 1723188 w 3302716"/>
                <a:gd name="connsiteY1154" fmla="*/ 331648 h 2641600"/>
                <a:gd name="connsiteX1155" fmla="*/ 1722102 w 3302716"/>
                <a:gd name="connsiteY1155" fmla="*/ 338852 h 2641600"/>
                <a:gd name="connsiteX1156" fmla="*/ 1721016 w 3302716"/>
                <a:gd name="connsiteY1156" fmla="*/ 343999 h 2641600"/>
                <a:gd name="connsiteX1157" fmla="*/ 1721016 w 3302716"/>
                <a:gd name="connsiteY1157" fmla="*/ 348116 h 2641600"/>
                <a:gd name="connsiteX1158" fmla="*/ 1722102 w 3302716"/>
                <a:gd name="connsiteY1158" fmla="*/ 353262 h 2641600"/>
                <a:gd name="connsiteX1159" fmla="*/ 1727533 w 3302716"/>
                <a:gd name="connsiteY1159" fmla="*/ 355320 h 2641600"/>
                <a:gd name="connsiteX1160" fmla="*/ 1731878 w 3302716"/>
                <a:gd name="connsiteY1160" fmla="*/ 352233 h 2641600"/>
                <a:gd name="connsiteX1161" fmla="*/ 1734050 w 3302716"/>
                <a:gd name="connsiteY1161" fmla="*/ 346057 h 2641600"/>
                <a:gd name="connsiteX1162" fmla="*/ 1736223 w 3302716"/>
                <a:gd name="connsiteY1162" fmla="*/ 342969 h 2641600"/>
                <a:gd name="connsiteX1163" fmla="*/ 1742740 w 3302716"/>
                <a:gd name="connsiteY1163" fmla="*/ 345028 h 2641600"/>
                <a:gd name="connsiteX1164" fmla="*/ 1750343 w 3302716"/>
                <a:gd name="connsiteY1164" fmla="*/ 351203 h 2641600"/>
                <a:gd name="connsiteX1165" fmla="*/ 1754688 w 3302716"/>
                <a:gd name="connsiteY1165" fmla="*/ 354291 h 2641600"/>
                <a:gd name="connsiteX1166" fmla="*/ 1755774 w 3302716"/>
                <a:gd name="connsiteY1166" fmla="*/ 358408 h 2641600"/>
                <a:gd name="connsiteX1167" fmla="*/ 1754688 w 3302716"/>
                <a:gd name="connsiteY1167" fmla="*/ 363554 h 2641600"/>
                <a:gd name="connsiteX1168" fmla="*/ 1754688 w 3302716"/>
                <a:gd name="connsiteY1168" fmla="*/ 369730 h 2641600"/>
                <a:gd name="connsiteX1169" fmla="*/ 1754688 w 3302716"/>
                <a:gd name="connsiteY1169" fmla="*/ 371788 h 2641600"/>
                <a:gd name="connsiteX1170" fmla="*/ 1753602 w 3302716"/>
                <a:gd name="connsiteY1170" fmla="*/ 375905 h 2641600"/>
                <a:gd name="connsiteX1171" fmla="*/ 1750343 w 3302716"/>
                <a:gd name="connsiteY1171" fmla="*/ 382081 h 2641600"/>
                <a:gd name="connsiteX1172" fmla="*/ 1744912 w 3302716"/>
                <a:gd name="connsiteY1172" fmla="*/ 388257 h 2641600"/>
                <a:gd name="connsiteX1173" fmla="*/ 1742740 w 3302716"/>
                <a:gd name="connsiteY1173" fmla="*/ 392374 h 2641600"/>
                <a:gd name="connsiteX1174" fmla="*/ 1737309 w 3302716"/>
                <a:gd name="connsiteY1174" fmla="*/ 394432 h 2641600"/>
                <a:gd name="connsiteX1175" fmla="*/ 1727533 w 3302716"/>
                <a:gd name="connsiteY1175" fmla="*/ 393403 h 2641600"/>
                <a:gd name="connsiteX1176" fmla="*/ 1715585 w 3302716"/>
                <a:gd name="connsiteY1176" fmla="*/ 391344 h 2641600"/>
                <a:gd name="connsiteX1177" fmla="*/ 1706895 w 3302716"/>
                <a:gd name="connsiteY1177" fmla="*/ 388257 h 2641600"/>
                <a:gd name="connsiteX1178" fmla="*/ 1701465 w 3302716"/>
                <a:gd name="connsiteY1178" fmla="*/ 387227 h 2641600"/>
                <a:gd name="connsiteX1179" fmla="*/ 1697120 w 3302716"/>
                <a:gd name="connsiteY1179" fmla="*/ 390315 h 2641600"/>
                <a:gd name="connsiteX1180" fmla="*/ 1693861 w 3302716"/>
                <a:gd name="connsiteY1180" fmla="*/ 393403 h 2641600"/>
                <a:gd name="connsiteX1181" fmla="*/ 1689516 w 3302716"/>
                <a:gd name="connsiteY1181" fmla="*/ 395461 h 2641600"/>
                <a:gd name="connsiteX1182" fmla="*/ 1685172 w 3302716"/>
                <a:gd name="connsiteY1182" fmla="*/ 398549 h 2641600"/>
                <a:gd name="connsiteX1183" fmla="*/ 1677568 w 3302716"/>
                <a:gd name="connsiteY1183" fmla="*/ 400608 h 2641600"/>
                <a:gd name="connsiteX1184" fmla="*/ 1669965 w 3302716"/>
                <a:gd name="connsiteY1184" fmla="*/ 401637 h 2641600"/>
                <a:gd name="connsiteX1185" fmla="*/ 1664534 w 3302716"/>
                <a:gd name="connsiteY1185" fmla="*/ 401637 h 2641600"/>
                <a:gd name="connsiteX1186" fmla="*/ 1660189 w 3302716"/>
                <a:gd name="connsiteY1186" fmla="*/ 401637 h 2641600"/>
                <a:gd name="connsiteX1187" fmla="*/ 1653672 w 3302716"/>
                <a:gd name="connsiteY1187" fmla="*/ 401637 h 2641600"/>
                <a:gd name="connsiteX1188" fmla="*/ 1646069 w 3302716"/>
                <a:gd name="connsiteY1188" fmla="*/ 399578 h 2641600"/>
                <a:gd name="connsiteX1189" fmla="*/ 1637380 w 3302716"/>
                <a:gd name="connsiteY1189" fmla="*/ 395461 h 2641600"/>
                <a:gd name="connsiteX1190" fmla="*/ 1630863 w 3302716"/>
                <a:gd name="connsiteY1190" fmla="*/ 392374 h 2641600"/>
                <a:gd name="connsiteX1191" fmla="*/ 1631949 w 3302716"/>
                <a:gd name="connsiteY1191" fmla="*/ 388257 h 2641600"/>
                <a:gd name="connsiteX1192" fmla="*/ 1638466 w 3302716"/>
                <a:gd name="connsiteY1192" fmla="*/ 387227 h 2641600"/>
                <a:gd name="connsiteX1193" fmla="*/ 1646069 w 3302716"/>
                <a:gd name="connsiteY1193" fmla="*/ 387227 h 2641600"/>
                <a:gd name="connsiteX1194" fmla="*/ 1652586 w 3302716"/>
                <a:gd name="connsiteY1194" fmla="*/ 387227 h 2641600"/>
                <a:gd name="connsiteX1195" fmla="*/ 1658017 w 3302716"/>
                <a:gd name="connsiteY1195" fmla="*/ 385169 h 2641600"/>
                <a:gd name="connsiteX1196" fmla="*/ 1663448 w 3302716"/>
                <a:gd name="connsiteY1196" fmla="*/ 380023 h 2641600"/>
                <a:gd name="connsiteX1197" fmla="*/ 1664534 w 3302716"/>
                <a:gd name="connsiteY1197" fmla="*/ 373847 h 2641600"/>
                <a:gd name="connsiteX1198" fmla="*/ 1663448 w 3302716"/>
                <a:gd name="connsiteY1198" fmla="*/ 369730 h 2641600"/>
                <a:gd name="connsiteX1199" fmla="*/ 1656931 w 3302716"/>
                <a:gd name="connsiteY1199" fmla="*/ 369730 h 2641600"/>
                <a:gd name="connsiteX1200" fmla="*/ 1649328 w 3302716"/>
                <a:gd name="connsiteY1200" fmla="*/ 374876 h 2641600"/>
                <a:gd name="connsiteX1201" fmla="*/ 1646069 w 3302716"/>
                <a:gd name="connsiteY1201" fmla="*/ 376935 h 2641600"/>
                <a:gd name="connsiteX1202" fmla="*/ 1640638 w 3302716"/>
                <a:gd name="connsiteY1202" fmla="*/ 376935 h 2641600"/>
                <a:gd name="connsiteX1203" fmla="*/ 1633035 w 3302716"/>
                <a:gd name="connsiteY1203" fmla="*/ 371788 h 2641600"/>
                <a:gd name="connsiteX1204" fmla="*/ 1626518 w 3302716"/>
                <a:gd name="connsiteY1204" fmla="*/ 366642 h 2641600"/>
                <a:gd name="connsiteX1205" fmla="*/ 1620001 w 3302716"/>
                <a:gd name="connsiteY1205" fmla="*/ 362525 h 2641600"/>
                <a:gd name="connsiteX1206" fmla="*/ 1615656 w 3302716"/>
                <a:gd name="connsiteY1206" fmla="*/ 360467 h 2641600"/>
                <a:gd name="connsiteX1207" fmla="*/ 1613484 w 3302716"/>
                <a:gd name="connsiteY1207" fmla="*/ 355320 h 2641600"/>
                <a:gd name="connsiteX1208" fmla="*/ 1611311 w 3302716"/>
                <a:gd name="connsiteY1208" fmla="*/ 351203 h 2641600"/>
                <a:gd name="connsiteX1209" fmla="*/ 1611311 w 3302716"/>
                <a:gd name="connsiteY1209" fmla="*/ 347086 h 2641600"/>
                <a:gd name="connsiteX1210" fmla="*/ 1613484 w 3302716"/>
                <a:gd name="connsiteY1210" fmla="*/ 343999 h 2641600"/>
                <a:gd name="connsiteX1211" fmla="*/ 1620001 w 3302716"/>
                <a:gd name="connsiteY1211" fmla="*/ 338852 h 2641600"/>
                <a:gd name="connsiteX1212" fmla="*/ 1624345 w 3302716"/>
                <a:gd name="connsiteY1212" fmla="*/ 333706 h 2641600"/>
                <a:gd name="connsiteX1213" fmla="*/ 1626518 w 3302716"/>
                <a:gd name="connsiteY1213" fmla="*/ 330618 h 2641600"/>
                <a:gd name="connsiteX1214" fmla="*/ 1627604 w 3302716"/>
                <a:gd name="connsiteY1214" fmla="*/ 328560 h 2641600"/>
                <a:gd name="connsiteX1215" fmla="*/ 1630863 w 3302716"/>
                <a:gd name="connsiteY1215" fmla="*/ 322384 h 2641600"/>
                <a:gd name="connsiteX1216" fmla="*/ 1636293 w 3302716"/>
                <a:gd name="connsiteY1216" fmla="*/ 315180 h 2641600"/>
                <a:gd name="connsiteX1217" fmla="*/ 1638466 w 3302716"/>
                <a:gd name="connsiteY1217" fmla="*/ 312092 h 2641600"/>
                <a:gd name="connsiteX1218" fmla="*/ 1641725 w 3302716"/>
                <a:gd name="connsiteY1218" fmla="*/ 309004 h 2641600"/>
                <a:gd name="connsiteX1219" fmla="*/ 1864918 w 3302716"/>
                <a:gd name="connsiteY1219" fmla="*/ 306387 h 2641600"/>
                <a:gd name="connsiteX1220" fmla="*/ 1871331 w 3302716"/>
                <a:gd name="connsiteY1220" fmla="*/ 306387 h 2641600"/>
                <a:gd name="connsiteX1221" fmla="*/ 1876675 w 3302716"/>
                <a:gd name="connsiteY1221" fmla="*/ 307419 h 2641600"/>
                <a:gd name="connsiteX1222" fmla="*/ 1883088 w 3302716"/>
                <a:gd name="connsiteY1222" fmla="*/ 312578 h 2641600"/>
                <a:gd name="connsiteX1223" fmla="*/ 1887363 w 3302716"/>
                <a:gd name="connsiteY1223" fmla="*/ 318769 h 2641600"/>
                <a:gd name="connsiteX1224" fmla="*/ 1890570 w 3302716"/>
                <a:gd name="connsiteY1224" fmla="*/ 323929 h 2641600"/>
                <a:gd name="connsiteX1225" fmla="*/ 1891677 w 3302716"/>
                <a:gd name="connsiteY1225" fmla="*/ 324641 h 2641600"/>
                <a:gd name="connsiteX1226" fmla="*/ 1892185 w 3302716"/>
                <a:gd name="connsiteY1226" fmla="*/ 324167 h 2641600"/>
                <a:gd name="connsiteX1227" fmla="*/ 1895247 w 3302716"/>
                <a:gd name="connsiteY1227" fmla="*/ 323214 h 2641600"/>
                <a:gd name="connsiteX1228" fmla="*/ 1896267 w 3302716"/>
                <a:gd name="connsiteY1228" fmla="*/ 322262 h 2641600"/>
                <a:gd name="connsiteX1229" fmla="*/ 1897288 w 3302716"/>
                <a:gd name="connsiteY1229" fmla="*/ 323214 h 2641600"/>
                <a:gd name="connsiteX1230" fmla="*/ 1898308 w 3302716"/>
                <a:gd name="connsiteY1230" fmla="*/ 325119 h 2641600"/>
                <a:gd name="connsiteX1231" fmla="*/ 1898308 w 3302716"/>
                <a:gd name="connsiteY1231" fmla="*/ 327024 h 2641600"/>
                <a:gd name="connsiteX1232" fmla="*/ 1898712 w 3302716"/>
                <a:gd name="connsiteY1232" fmla="*/ 327778 h 2641600"/>
                <a:gd name="connsiteX1233" fmla="*/ 1903396 w 3302716"/>
                <a:gd name="connsiteY1233" fmla="*/ 327024 h 2641600"/>
                <a:gd name="connsiteX1234" fmla="*/ 1906602 w 3302716"/>
                <a:gd name="connsiteY1234" fmla="*/ 322897 h 2641600"/>
                <a:gd name="connsiteX1235" fmla="*/ 1908740 w 3302716"/>
                <a:gd name="connsiteY1235" fmla="*/ 319801 h 2641600"/>
                <a:gd name="connsiteX1236" fmla="*/ 1914084 w 3302716"/>
                <a:gd name="connsiteY1236" fmla="*/ 318769 h 2641600"/>
                <a:gd name="connsiteX1237" fmla="*/ 1918359 w 3302716"/>
                <a:gd name="connsiteY1237" fmla="*/ 319801 h 2641600"/>
                <a:gd name="connsiteX1238" fmla="*/ 1922634 w 3302716"/>
                <a:gd name="connsiteY1238" fmla="*/ 319801 h 2641600"/>
                <a:gd name="connsiteX1239" fmla="*/ 1924772 w 3302716"/>
                <a:gd name="connsiteY1239" fmla="*/ 322897 h 2641600"/>
                <a:gd name="connsiteX1240" fmla="*/ 1925841 w 3302716"/>
                <a:gd name="connsiteY1240" fmla="*/ 328056 h 2641600"/>
                <a:gd name="connsiteX1241" fmla="*/ 1929047 w 3302716"/>
                <a:gd name="connsiteY1241" fmla="*/ 336311 h 2641600"/>
                <a:gd name="connsiteX1242" fmla="*/ 1936529 w 3302716"/>
                <a:gd name="connsiteY1242" fmla="*/ 343534 h 2641600"/>
                <a:gd name="connsiteX1243" fmla="*/ 1941873 w 3302716"/>
                <a:gd name="connsiteY1243" fmla="*/ 350758 h 2641600"/>
                <a:gd name="connsiteX1244" fmla="*/ 1945079 w 3302716"/>
                <a:gd name="connsiteY1244" fmla="*/ 357981 h 2641600"/>
                <a:gd name="connsiteX1245" fmla="*/ 1948286 w 3302716"/>
                <a:gd name="connsiteY1245" fmla="*/ 361076 h 2641600"/>
                <a:gd name="connsiteX1246" fmla="*/ 1957905 w 3302716"/>
                <a:gd name="connsiteY1246" fmla="*/ 360045 h 2641600"/>
                <a:gd name="connsiteX1247" fmla="*/ 1969662 w 3302716"/>
                <a:gd name="connsiteY1247" fmla="*/ 359013 h 2641600"/>
                <a:gd name="connsiteX1248" fmla="*/ 1978212 w 3302716"/>
                <a:gd name="connsiteY1248" fmla="*/ 360045 h 2641600"/>
                <a:gd name="connsiteX1249" fmla="*/ 1982488 w 3302716"/>
                <a:gd name="connsiteY1249" fmla="*/ 361076 h 2641600"/>
                <a:gd name="connsiteX1250" fmla="*/ 1987832 w 3302716"/>
                <a:gd name="connsiteY1250" fmla="*/ 359013 h 2641600"/>
                <a:gd name="connsiteX1251" fmla="*/ 1993176 w 3302716"/>
                <a:gd name="connsiteY1251" fmla="*/ 353853 h 2641600"/>
                <a:gd name="connsiteX1252" fmla="*/ 1998520 w 3302716"/>
                <a:gd name="connsiteY1252" fmla="*/ 348694 h 2641600"/>
                <a:gd name="connsiteX1253" fmla="*/ 2003864 w 3302716"/>
                <a:gd name="connsiteY1253" fmla="*/ 344566 h 2641600"/>
                <a:gd name="connsiteX1254" fmla="*/ 2010277 w 3302716"/>
                <a:gd name="connsiteY1254" fmla="*/ 339407 h 2641600"/>
                <a:gd name="connsiteX1255" fmla="*/ 2015621 w 3302716"/>
                <a:gd name="connsiteY1255" fmla="*/ 336311 h 2641600"/>
                <a:gd name="connsiteX1256" fmla="*/ 2028447 w 3302716"/>
                <a:gd name="connsiteY1256" fmla="*/ 335279 h 2641600"/>
                <a:gd name="connsiteX1257" fmla="*/ 2031653 w 3302716"/>
                <a:gd name="connsiteY1257" fmla="*/ 336311 h 2641600"/>
                <a:gd name="connsiteX1258" fmla="*/ 2039135 w 3302716"/>
                <a:gd name="connsiteY1258" fmla="*/ 337343 h 2641600"/>
                <a:gd name="connsiteX1259" fmla="*/ 2047685 w 3302716"/>
                <a:gd name="connsiteY1259" fmla="*/ 340439 h 2641600"/>
                <a:gd name="connsiteX1260" fmla="*/ 2055167 w 3302716"/>
                <a:gd name="connsiteY1260" fmla="*/ 344566 h 2641600"/>
                <a:gd name="connsiteX1261" fmla="*/ 2060511 w 3302716"/>
                <a:gd name="connsiteY1261" fmla="*/ 348694 h 2641600"/>
                <a:gd name="connsiteX1262" fmla="*/ 2062649 w 3302716"/>
                <a:gd name="connsiteY1262" fmla="*/ 353853 h 2641600"/>
                <a:gd name="connsiteX1263" fmla="*/ 2065855 w 3302716"/>
                <a:gd name="connsiteY1263" fmla="*/ 360045 h 2641600"/>
                <a:gd name="connsiteX1264" fmla="*/ 2065855 w 3302716"/>
                <a:gd name="connsiteY1264" fmla="*/ 368300 h 2641600"/>
                <a:gd name="connsiteX1265" fmla="*/ 2065855 w 3302716"/>
                <a:gd name="connsiteY1265" fmla="*/ 375523 h 2641600"/>
                <a:gd name="connsiteX1266" fmla="*/ 2066924 w 3302716"/>
                <a:gd name="connsiteY1266" fmla="*/ 377587 h 2641600"/>
                <a:gd name="connsiteX1267" fmla="*/ 2065855 w 3302716"/>
                <a:gd name="connsiteY1267" fmla="*/ 381714 h 2641600"/>
                <a:gd name="connsiteX1268" fmla="*/ 2060511 w 3302716"/>
                <a:gd name="connsiteY1268" fmla="*/ 384810 h 2641600"/>
                <a:gd name="connsiteX1269" fmla="*/ 2054098 w 3302716"/>
                <a:gd name="connsiteY1269" fmla="*/ 389969 h 2641600"/>
                <a:gd name="connsiteX1270" fmla="*/ 2049823 w 3302716"/>
                <a:gd name="connsiteY1270" fmla="*/ 393065 h 2641600"/>
                <a:gd name="connsiteX1271" fmla="*/ 2043410 w 3302716"/>
                <a:gd name="connsiteY1271" fmla="*/ 394097 h 2641600"/>
                <a:gd name="connsiteX1272" fmla="*/ 2034860 w 3302716"/>
                <a:gd name="connsiteY1272" fmla="*/ 394097 h 2641600"/>
                <a:gd name="connsiteX1273" fmla="*/ 2028447 w 3302716"/>
                <a:gd name="connsiteY1273" fmla="*/ 393065 h 2641600"/>
                <a:gd name="connsiteX1274" fmla="*/ 2025240 w 3302716"/>
                <a:gd name="connsiteY1274" fmla="*/ 392033 h 2641600"/>
                <a:gd name="connsiteX1275" fmla="*/ 2022034 w 3302716"/>
                <a:gd name="connsiteY1275" fmla="*/ 393065 h 2641600"/>
                <a:gd name="connsiteX1276" fmla="*/ 2017759 w 3302716"/>
                <a:gd name="connsiteY1276" fmla="*/ 397192 h 2641600"/>
                <a:gd name="connsiteX1277" fmla="*/ 2013483 w 3302716"/>
                <a:gd name="connsiteY1277" fmla="*/ 399256 h 2641600"/>
                <a:gd name="connsiteX1278" fmla="*/ 2009208 w 3302716"/>
                <a:gd name="connsiteY1278" fmla="*/ 400288 h 2641600"/>
                <a:gd name="connsiteX1279" fmla="*/ 2002795 w 3302716"/>
                <a:gd name="connsiteY1279" fmla="*/ 401320 h 2641600"/>
                <a:gd name="connsiteX1280" fmla="*/ 1996382 w 3302716"/>
                <a:gd name="connsiteY1280" fmla="*/ 401320 h 2641600"/>
                <a:gd name="connsiteX1281" fmla="*/ 1989969 w 3302716"/>
                <a:gd name="connsiteY1281" fmla="*/ 402352 h 2641600"/>
                <a:gd name="connsiteX1282" fmla="*/ 1984625 w 3302716"/>
                <a:gd name="connsiteY1282" fmla="*/ 402352 h 2641600"/>
                <a:gd name="connsiteX1283" fmla="*/ 1979281 w 3302716"/>
                <a:gd name="connsiteY1283" fmla="*/ 403384 h 2641600"/>
                <a:gd name="connsiteX1284" fmla="*/ 1975006 w 3302716"/>
                <a:gd name="connsiteY1284" fmla="*/ 405447 h 2641600"/>
                <a:gd name="connsiteX1285" fmla="*/ 1969662 w 3302716"/>
                <a:gd name="connsiteY1285" fmla="*/ 407511 h 2641600"/>
                <a:gd name="connsiteX1286" fmla="*/ 1964318 w 3302716"/>
                <a:gd name="connsiteY1286" fmla="*/ 408543 h 2641600"/>
                <a:gd name="connsiteX1287" fmla="*/ 1957905 w 3302716"/>
                <a:gd name="connsiteY1287" fmla="*/ 409575 h 2641600"/>
                <a:gd name="connsiteX1288" fmla="*/ 1949355 w 3302716"/>
                <a:gd name="connsiteY1288" fmla="*/ 409575 h 2641600"/>
                <a:gd name="connsiteX1289" fmla="*/ 1940804 w 3302716"/>
                <a:gd name="connsiteY1289" fmla="*/ 408543 h 2641600"/>
                <a:gd name="connsiteX1290" fmla="*/ 1933322 w 3302716"/>
                <a:gd name="connsiteY1290" fmla="*/ 408543 h 2641600"/>
                <a:gd name="connsiteX1291" fmla="*/ 1929047 w 3302716"/>
                <a:gd name="connsiteY1291" fmla="*/ 406479 h 2641600"/>
                <a:gd name="connsiteX1292" fmla="*/ 1923703 w 3302716"/>
                <a:gd name="connsiteY1292" fmla="*/ 402352 h 2641600"/>
                <a:gd name="connsiteX1293" fmla="*/ 1918359 w 3302716"/>
                <a:gd name="connsiteY1293" fmla="*/ 399256 h 2641600"/>
                <a:gd name="connsiteX1294" fmla="*/ 1913015 w 3302716"/>
                <a:gd name="connsiteY1294" fmla="*/ 394097 h 2641600"/>
                <a:gd name="connsiteX1295" fmla="*/ 1907671 w 3302716"/>
                <a:gd name="connsiteY1295" fmla="*/ 387905 h 2641600"/>
                <a:gd name="connsiteX1296" fmla="*/ 1906602 w 3302716"/>
                <a:gd name="connsiteY1296" fmla="*/ 379650 h 2641600"/>
                <a:gd name="connsiteX1297" fmla="*/ 1907671 w 3302716"/>
                <a:gd name="connsiteY1297" fmla="*/ 369331 h 2641600"/>
                <a:gd name="connsiteX1298" fmla="*/ 1907671 w 3302716"/>
                <a:gd name="connsiteY1298" fmla="*/ 362108 h 2641600"/>
                <a:gd name="connsiteX1299" fmla="*/ 1907671 w 3302716"/>
                <a:gd name="connsiteY1299" fmla="*/ 355917 h 2641600"/>
                <a:gd name="connsiteX1300" fmla="*/ 1905533 w 3302716"/>
                <a:gd name="connsiteY1300" fmla="*/ 351790 h 2641600"/>
                <a:gd name="connsiteX1301" fmla="*/ 1903396 w 3302716"/>
                <a:gd name="connsiteY1301" fmla="*/ 346630 h 2641600"/>
                <a:gd name="connsiteX1302" fmla="*/ 1900189 w 3302716"/>
                <a:gd name="connsiteY1302" fmla="*/ 342503 h 2641600"/>
                <a:gd name="connsiteX1303" fmla="*/ 1895914 w 3302716"/>
                <a:gd name="connsiteY1303" fmla="*/ 339407 h 2641600"/>
                <a:gd name="connsiteX1304" fmla="*/ 1889501 w 3302716"/>
                <a:gd name="connsiteY1304" fmla="*/ 339407 h 2641600"/>
                <a:gd name="connsiteX1305" fmla="*/ 1883088 w 3302716"/>
                <a:gd name="connsiteY1305" fmla="*/ 340439 h 2641600"/>
                <a:gd name="connsiteX1306" fmla="*/ 1880951 w 3302716"/>
                <a:gd name="connsiteY1306" fmla="*/ 342503 h 2641600"/>
                <a:gd name="connsiteX1307" fmla="*/ 1876675 w 3302716"/>
                <a:gd name="connsiteY1307" fmla="*/ 342503 h 2641600"/>
                <a:gd name="connsiteX1308" fmla="*/ 1872400 w 3302716"/>
                <a:gd name="connsiteY1308" fmla="*/ 338375 h 2641600"/>
                <a:gd name="connsiteX1309" fmla="*/ 1863850 w 3302716"/>
                <a:gd name="connsiteY1309" fmla="*/ 332184 h 2641600"/>
                <a:gd name="connsiteX1310" fmla="*/ 1856368 w 3302716"/>
                <a:gd name="connsiteY1310" fmla="*/ 329088 h 2641600"/>
                <a:gd name="connsiteX1311" fmla="*/ 1851024 w 3302716"/>
                <a:gd name="connsiteY1311" fmla="*/ 322897 h 2641600"/>
                <a:gd name="connsiteX1312" fmla="*/ 1852093 w 3302716"/>
                <a:gd name="connsiteY1312" fmla="*/ 315674 h 2641600"/>
                <a:gd name="connsiteX1313" fmla="*/ 1858506 w 3302716"/>
                <a:gd name="connsiteY1313" fmla="*/ 309482 h 2641600"/>
                <a:gd name="connsiteX1314" fmla="*/ 1889077 w 3302716"/>
                <a:gd name="connsiteY1314" fmla="*/ 268287 h 2641600"/>
                <a:gd name="connsiteX1315" fmla="*/ 1890151 w 3302716"/>
                <a:gd name="connsiteY1315" fmla="*/ 269257 h 2641600"/>
                <a:gd name="connsiteX1316" fmla="*/ 1892299 w 3302716"/>
                <a:gd name="connsiteY1316" fmla="*/ 271197 h 2641600"/>
                <a:gd name="connsiteX1317" fmla="*/ 1892299 w 3302716"/>
                <a:gd name="connsiteY1317" fmla="*/ 274108 h 2641600"/>
                <a:gd name="connsiteX1318" fmla="*/ 1888003 w 3302716"/>
                <a:gd name="connsiteY1318" fmla="*/ 277988 h 2641600"/>
                <a:gd name="connsiteX1319" fmla="*/ 1881560 w 3302716"/>
                <a:gd name="connsiteY1319" fmla="*/ 281869 h 2641600"/>
                <a:gd name="connsiteX1320" fmla="*/ 1879412 w 3302716"/>
                <a:gd name="connsiteY1320" fmla="*/ 283809 h 2641600"/>
                <a:gd name="connsiteX1321" fmla="*/ 1876190 w 3302716"/>
                <a:gd name="connsiteY1321" fmla="*/ 285750 h 2641600"/>
                <a:gd name="connsiteX1322" fmla="*/ 1868673 w 3302716"/>
                <a:gd name="connsiteY1322" fmla="*/ 285750 h 2641600"/>
                <a:gd name="connsiteX1323" fmla="*/ 1860082 w 3302716"/>
                <a:gd name="connsiteY1323" fmla="*/ 283809 h 2641600"/>
                <a:gd name="connsiteX1324" fmla="*/ 1855786 w 3302716"/>
                <a:gd name="connsiteY1324" fmla="*/ 280899 h 2641600"/>
                <a:gd name="connsiteX1325" fmla="*/ 1855786 w 3302716"/>
                <a:gd name="connsiteY1325" fmla="*/ 277018 h 2641600"/>
                <a:gd name="connsiteX1326" fmla="*/ 1860082 w 3302716"/>
                <a:gd name="connsiteY1326" fmla="*/ 275078 h 2641600"/>
                <a:gd name="connsiteX1327" fmla="*/ 1870821 w 3302716"/>
                <a:gd name="connsiteY1327" fmla="*/ 272167 h 2641600"/>
                <a:gd name="connsiteX1328" fmla="*/ 1879412 w 3302716"/>
                <a:gd name="connsiteY1328" fmla="*/ 270227 h 2641600"/>
                <a:gd name="connsiteX1329" fmla="*/ 1886929 w 3302716"/>
                <a:gd name="connsiteY1329" fmla="*/ 269257 h 2641600"/>
                <a:gd name="connsiteX1330" fmla="*/ 1624012 w 3302716"/>
                <a:gd name="connsiteY1330" fmla="*/ 258762 h 2641600"/>
                <a:gd name="connsiteX1331" fmla="*/ 1632603 w 3302716"/>
                <a:gd name="connsiteY1331" fmla="*/ 258762 h 2641600"/>
                <a:gd name="connsiteX1332" fmla="*/ 1636898 w 3302716"/>
                <a:gd name="connsiteY1332" fmla="*/ 258762 h 2641600"/>
                <a:gd name="connsiteX1333" fmla="*/ 1640120 w 3302716"/>
                <a:gd name="connsiteY1333" fmla="*/ 258762 h 2641600"/>
                <a:gd name="connsiteX1334" fmla="*/ 1644416 w 3302716"/>
                <a:gd name="connsiteY1334" fmla="*/ 258762 h 2641600"/>
                <a:gd name="connsiteX1335" fmla="*/ 1650859 w 3302716"/>
                <a:gd name="connsiteY1335" fmla="*/ 258762 h 2641600"/>
                <a:gd name="connsiteX1336" fmla="*/ 1656228 w 3302716"/>
                <a:gd name="connsiteY1336" fmla="*/ 260826 h 2641600"/>
                <a:gd name="connsiteX1337" fmla="*/ 1660524 w 3302716"/>
                <a:gd name="connsiteY1337" fmla="*/ 264953 h 2641600"/>
                <a:gd name="connsiteX1338" fmla="*/ 1657302 w 3302716"/>
                <a:gd name="connsiteY1338" fmla="*/ 269081 h 2641600"/>
                <a:gd name="connsiteX1339" fmla="*/ 1653007 w 3302716"/>
                <a:gd name="connsiteY1339" fmla="*/ 274240 h 2641600"/>
                <a:gd name="connsiteX1340" fmla="*/ 1650859 w 3302716"/>
                <a:gd name="connsiteY1340" fmla="*/ 276304 h 2641600"/>
                <a:gd name="connsiteX1341" fmla="*/ 1650859 w 3302716"/>
                <a:gd name="connsiteY1341" fmla="*/ 278368 h 2641600"/>
                <a:gd name="connsiteX1342" fmla="*/ 1648711 w 3302716"/>
                <a:gd name="connsiteY1342" fmla="*/ 283527 h 2641600"/>
                <a:gd name="connsiteX1343" fmla="*/ 1646564 w 3302716"/>
                <a:gd name="connsiteY1343" fmla="*/ 290750 h 2641600"/>
                <a:gd name="connsiteX1344" fmla="*/ 1643342 w 3302716"/>
                <a:gd name="connsiteY1344" fmla="*/ 294878 h 2641600"/>
                <a:gd name="connsiteX1345" fmla="*/ 1637972 w 3302716"/>
                <a:gd name="connsiteY1345" fmla="*/ 299005 h 2641600"/>
                <a:gd name="connsiteX1346" fmla="*/ 1632603 w 3302716"/>
                <a:gd name="connsiteY1346" fmla="*/ 300037 h 2641600"/>
                <a:gd name="connsiteX1347" fmla="*/ 1631529 w 3302716"/>
                <a:gd name="connsiteY1347" fmla="*/ 301069 h 2641600"/>
                <a:gd name="connsiteX1348" fmla="*/ 1628307 w 3302716"/>
                <a:gd name="connsiteY1348" fmla="*/ 305197 h 2641600"/>
                <a:gd name="connsiteX1349" fmla="*/ 1624012 w 3302716"/>
                <a:gd name="connsiteY1349" fmla="*/ 306228 h 2641600"/>
                <a:gd name="connsiteX1350" fmla="*/ 1621864 w 3302716"/>
                <a:gd name="connsiteY1350" fmla="*/ 302101 h 2641600"/>
                <a:gd name="connsiteX1351" fmla="*/ 1619716 w 3302716"/>
                <a:gd name="connsiteY1351" fmla="*/ 294878 h 2641600"/>
                <a:gd name="connsiteX1352" fmla="*/ 1616494 w 3302716"/>
                <a:gd name="connsiteY1352" fmla="*/ 289718 h 2641600"/>
                <a:gd name="connsiteX1353" fmla="*/ 1613272 w 3302716"/>
                <a:gd name="connsiteY1353" fmla="*/ 286623 h 2641600"/>
                <a:gd name="connsiteX1354" fmla="*/ 1611125 w 3302716"/>
                <a:gd name="connsiteY1354" fmla="*/ 290750 h 2641600"/>
                <a:gd name="connsiteX1355" fmla="*/ 1610051 w 3302716"/>
                <a:gd name="connsiteY1355" fmla="*/ 297973 h 2641600"/>
                <a:gd name="connsiteX1356" fmla="*/ 1610051 w 3302716"/>
                <a:gd name="connsiteY1356" fmla="*/ 304165 h 2641600"/>
                <a:gd name="connsiteX1357" fmla="*/ 1607903 w 3302716"/>
                <a:gd name="connsiteY1357" fmla="*/ 307260 h 2641600"/>
                <a:gd name="connsiteX1358" fmla="*/ 1602534 w 3302716"/>
                <a:gd name="connsiteY1358" fmla="*/ 307260 h 2641600"/>
                <a:gd name="connsiteX1359" fmla="*/ 1596090 w 3302716"/>
                <a:gd name="connsiteY1359" fmla="*/ 307260 h 2641600"/>
                <a:gd name="connsiteX1360" fmla="*/ 1591795 w 3302716"/>
                <a:gd name="connsiteY1360" fmla="*/ 312420 h 2641600"/>
                <a:gd name="connsiteX1361" fmla="*/ 1591795 w 3302716"/>
                <a:gd name="connsiteY1361" fmla="*/ 317579 h 2641600"/>
                <a:gd name="connsiteX1362" fmla="*/ 1591795 w 3302716"/>
                <a:gd name="connsiteY1362" fmla="*/ 320675 h 2641600"/>
                <a:gd name="connsiteX1363" fmla="*/ 1590721 w 3302716"/>
                <a:gd name="connsiteY1363" fmla="*/ 317579 h 2641600"/>
                <a:gd name="connsiteX1364" fmla="*/ 1586425 w 3302716"/>
                <a:gd name="connsiteY1364" fmla="*/ 314484 h 2641600"/>
                <a:gd name="connsiteX1365" fmla="*/ 1579981 w 3302716"/>
                <a:gd name="connsiteY1365" fmla="*/ 310356 h 2641600"/>
                <a:gd name="connsiteX1366" fmla="*/ 1574612 w 3302716"/>
                <a:gd name="connsiteY1366" fmla="*/ 308292 h 2641600"/>
                <a:gd name="connsiteX1367" fmla="*/ 1567095 w 3302716"/>
                <a:gd name="connsiteY1367" fmla="*/ 308292 h 2641600"/>
                <a:gd name="connsiteX1368" fmla="*/ 1557430 w 3302716"/>
                <a:gd name="connsiteY1368" fmla="*/ 308292 h 2641600"/>
                <a:gd name="connsiteX1369" fmla="*/ 1550986 w 3302716"/>
                <a:gd name="connsiteY1369" fmla="*/ 306228 h 2641600"/>
                <a:gd name="connsiteX1370" fmla="*/ 1555282 w 3302716"/>
                <a:gd name="connsiteY1370" fmla="*/ 300037 h 2641600"/>
                <a:gd name="connsiteX1371" fmla="*/ 1562799 w 3302716"/>
                <a:gd name="connsiteY1371" fmla="*/ 293846 h 2641600"/>
                <a:gd name="connsiteX1372" fmla="*/ 1569242 w 3302716"/>
                <a:gd name="connsiteY1372" fmla="*/ 289718 h 2641600"/>
                <a:gd name="connsiteX1373" fmla="*/ 1575686 w 3302716"/>
                <a:gd name="connsiteY1373" fmla="*/ 284559 h 2641600"/>
                <a:gd name="connsiteX1374" fmla="*/ 1588573 w 3302716"/>
                <a:gd name="connsiteY1374" fmla="*/ 278368 h 2641600"/>
                <a:gd name="connsiteX1375" fmla="*/ 1600386 w 3302716"/>
                <a:gd name="connsiteY1375" fmla="*/ 271144 h 2641600"/>
                <a:gd name="connsiteX1376" fmla="*/ 1610051 w 3302716"/>
                <a:gd name="connsiteY1376" fmla="*/ 265985 h 2641600"/>
                <a:gd name="connsiteX1377" fmla="*/ 1615420 w 3302716"/>
                <a:gd name="connsiteY1377" fmla="*/ 260826 h 2641600"/>
                <a:gd name="connsiteX1378" fmla="*/ 1703386 w 3302716"/>
                <a:gd name="connsiteY1378" fmla="*/ 241300 h 2641600"/>
                <a:gd name="connsiteX1379" fmla="*/ 1708942 w 3302716"/>
                <a:gd name="connsiteY1379" fmla="*/ 243359 h 2641600"/>
                <a:gd name="connsiteX1380" fmla="*/ 1716721 w 3302716"/>
                <a:gd name="connsiteY1380" fmla="*/ 245419 h 2641600"/>
                <a:gd name="connsiteX1381" fmla="*/ 1722277 w 3302716"/>
                <a:gd name="connsiteY1381" fmla="*/ 248508 h 2641600"/>
                <a:gd name="connsiteX1382" fmla="*/ 1725611 w 3302716"/>
                <a:gd name="connsiteY1382" fmla="*/ 253657 h 2641600"/>
                <a:gd name="connsiteX1383" fmla="*/ 1723388 w 3302716"/>
                <a:gd name="connsiteY1383" fmla="*/ 261894 h 2641600"/>
                <a:gd name="connsiteX1384" fmla="*/ 1722277 w 3302716"/>
                <a:gd name="connsiteY1384" fmla="*/ 262924 h 2641600"/>
                <a:gd name="connsiteX1385" fmla="*/ 1720055 w 3302716"/>
                <a:gd name="connsiteY1385" fmla="*/ 268073 h 2641600"/>
                <a:gd name="connsiteX1386" fmla="*/ 1716721 w 3302716"/>
                <a:gd name="connsiteY1386" fmla="*/ 272192 h 2641600"/>
                <a:gd name="connsiteX1387" fmla="*/ 1712276 w 3302716"/>
                <a:gd name="connsiteY1387" fmla="*/ 276311 h 2641600"/>
                <a:gd name="connsiteX1388" fmla="*/ 1707831 w 3302716"/>
                <a:gd name="connsiteY1388" fmla="*/ 278370 h 2641600"/>
                <a:gd name="connsiteX1389" fmla="*/ 1702275 w 3302716"/>
                <a:gd name="connsiteY1389" fmla="*/ 279400 h 2641600"/>
                <a:gd name="connsiteX1390" fmla="*/ 1696718 w 3302716"/>
                <a:gd name="connsiteY1390" fmla="*/ 279400 h 2641600"/>
                <a:gd name="connsiteX1391" fmla="*/ 1695607 w 3302716"/>
                <a:gd name="connsiteY1391" fmla="*/ 279400 h 2641600"/>
                <a:gd name="connsiteX1392" fmla="*/ 1694496 w 3302716"/>
                <a:gd name="connsiteY1392" fmla="*/ 278370 h 2641600"/>
                <a:gd name="connsiteX1393" fmla="*/ 1693385 w 3302716"/>
                <a:gd name="connsiteY1393" fmla="*/ 276311 h 2641600"/>
                <a:gd name="connsiteX1394" fmla="*/ 1691162 w 3302716"/>
                <a:gd name="connsiteY1394" fmla="*/ 274251 h 2641600"/>
                <a:gd name="connsiteX1395" fmla="*/ 1686717 w 3302716"/>
                <a:gd name="connsiteY1395" fmla="*/ 270132 h 2641600"/>
                <a:gd name="connsiteX1396" fmla="*/ 1683383 w 3302716"/>
                <a:gd name="connsiteY1396" fmla="*/ 266013 h 2641600"/>
                <a:gd name="connsiteX1397" fmla="*/ 1681161 w 3302716"/>
                <a:gd name="connsiteY1397" fmla="*/ 261894 h 2641600"/>
                <a:gd name="connsiteX1398" fmla="*/ 1683383 w 3302716"/>
                <a:gd name="connsiteY1398" fmla="*/ 258805 h 2641600"/>
                <a:gd name="connsiteX1399" fmla="*/ 1687828 w 3302716"/>
                <a:gd name="connsiteY1399" fmla="*/ 253657 h 2641600"/>
                <a:gd name="connsiteX1400" fmla="*/ 1694496 w 3302716"/>
                <a:gd name="connsiteY1400" fmla="*/ 248508 h 2641600"/>
                <a:gd name="connsiteX1401" fmla="*/ 1700052 w 3302716"/>
                <a:gd name="connsiteY1401" fmla="*/ 244389 h 2641600"/>
                <a:gd name="connsiteX1402" fmla="*/ 1839678 w 3302716"/>
                <a:gd name="connsiteY1402" fmla="*/ 222250 h 2641600"/>
                <a:gd name="connsiteX1403" fmla="*/ 1843600 w 3302716"/>
                <a:gd name="connsiteY1403" fmla="*/ 222250 h 2641600"/>
                <a:gd name="connsiteX1404" fmla="*/ 1850463 w 3302716"/>
                <a:gd name="connsiteY1404" fmla="*/ 227426 h 2641600"/>
                <a:gd name="connsiteX1405" fmla="*/ 1856347 w 3302716"/>
                <a:gd name="connsiteY1405" fmla="*/ 232603 h 2641600"/>
                <a:gd name="connsiteX1406" fmla="*/ 1858308 w 3302716"/>
                <a:gd name="connsiteY1406" fmla="*/ 236744 h 2641600"/>
                <a:gd name="connsiteX1407" fmla="*/ 1859288 w 3302716"/>
                <a:gd name="connsiteY1407" fmla="*/ 237780 h 2641600"/>
                <a:gd name="connsiteX1408" fmla="*/ 1862230 w 3302716"/>
                <a:gd name="connsiteY1408" fmla="*/ 239850 h 2641600"/>
                <a:gd name="connsiteX1409" fmla="*/ 1866152 w 3302716"/>
                <a:gd name="connsiteY1409" fmla="*/ 245027 h 2641600"/>
                <a:gd name="connsiteX1410" fmla="*/ 1870074 w 3302716"/>
                <a:gd name="connsiteY1410" fmla="*/ 250204 h 2641600"/>
                <a:gd name="connsiteX1411" fmla="*/ 1870074 w 3302716"/>
                <a:gd name="connsiteY1411" fmla="*/ 253310 h 2641600"/>
                <a:gd name="connsiteX1412" fmla="*/ 1867132 w 3302716"/>
                <a:gd name="connsiteY1412" fmla="*/ 256416 h 2641600"/>
                <a:gd name="connsiteX1413" fmla="*/ 1865171 w 3302716"/>
                <a:gd name="connsiteY1413" fmla="*/ 261592 h 2641600"/>
                <a:gd name="connsiteX1414" fmla="*/ 1862230 w 3302716"/>
                <a:gd name="connsiteY1414" fmla="*/ 265734 h 2641600"/>
                <a:gd name="connsiteX1415" fmla="*/ 1857327 w 3302716"/>
                <a:gd name="connsiteY1415" fmla="*/ 267804 h 2641600"/>
                <a:gd name="connsiteX1416" fmla="*/ 1852424 w 3302716"/>
                <a:gd name="connsiteY1416" fmla="*/ 269875 h 2641600"/>
                <a:gd name="connsiteX1417" fmla="*/ 1847522 w 3302716"/>
                <a:gd name="connsiteY1417" fmla="*/ 269875 h 2641600"/>
                <a:gd name="connsiteX1418" fmla="*/ 1843600 w 3302716"/>
                <a:gd name="connsiteY1418" fmla="*/ 266769 h 2641600"/>
                <a:gd name="connsiteX1419" fmla="*/ 1840658 w 3302716"/>
                <a:gd name="connsiteY1419" fmla="*/ 259522 h 2641600"/>
                <a:gd name="connsiteX1420" fmla="*/ 1839678 w 3302716"/>
                <a:gd name="connsiteY1420" fmla="*/ 250204 h 2641600"/>
                <a:gd name="connsiteX1421" fmla="*/ 1837716 w 3302716"/>
                <a:gd name="connsiteY1421" fmla="*/ 242956 h 2641600"/>
                <a:gd name="connsiteX1422" fmla="*/ 1837716 w 3302716"/>
                <a:gd name="connsiteY1422" fmla="*/ 237780 h 2641600"/>
                <a:gd name="connsiteX1423" fmla="*/ 1836736 w 3302716"/>
                <a:gd name="connsiteY1423" fmla="*/ 232603 h 2641600"/>
                <a:gd name="connsiteX1424" fmla="*/ 1837716 w 3302716"/>
                <a:gd name="connsiteY1424" fmla="*/ 227426 h 2641600"/>
                <a:gd name="connsiteX1425" fmla="*/ 1774221 w 3302716"/>
                <a:gd name="connsiteY1425" fmla="*/ 200025 h 2641600"/>
                <a:gd name="connsiteX1426" fmla="*/ 1779422 w 3302716"/>
                <a:gd name="connsiteY1426" fmla="*/ 200025 h 2641600"/>
                <a:gd name="connsiteX1427" fmla="*/ 1784622 w 3302716"/>
                <a:gd name="connsiteY1427" fmla="*/ 200025 h 2641600"/>
                <a:gd name="connsiteX1428" fmla="*/ 1789823 w 3302716"/>
                <a:gd name="connsiteY1428" fmla="*/ 202062 h 2641600"/>
                <a:gd name="connsiteX1429" fmla="*/ 1793983 w 3302716"/>
                <a:gd name="connsiteY1429" fmla="*/ 208175 h 2641600"/>
                <a:gd name="connsiteX1430" fmla="*/ 1799183 w 3302716"/>
                <a:gd name="connsiteY1430" fmla="*/ 213270 h 2641600"/>
                <a:gd name="connsiteX1431" fmla="*/ 1805424 w 3302716"/>
                <a:gd name="connsiteY1431" fmla="*/ 215307 h 2641600"/>
                <a:gd name="connsiteX1432" fmla="*/ 1809584 w 3302716"/>
                <a:gd name="connsiteY1432" fmla="*/ 216326 h 2641600"/>
                <a:gd name="connsiteX1433" fmla="*/ 1811664 w 3302716"/>
                <a:gd name="connsiteY1433" fmla="*/ 219383 h 2641600"/>
                <a:gd name="connsiteX1434" fmla="*/ 1814785 w 3302716"/>
                <a:gd name="connsiteY1434" fmla="*/ 224477 h 2641600"/>
                <a:gd name="connsiteX1435" fmla="*/ 1818945 w 3302716"/>
                <a:gd name="connsiteY1435" fmla="*/ 229571 h 2641600"/>
                <a:gd name="connsiteX1436" fmla="*/ 1823105 w 3302716"/>
                <a:gd name="connsiteY1436" fmla="*/ 232628 h 2641600"/>
                <a:gd name="connsiteX1437" fmla="*/ 1825186 w 3302716"/>
                <a:gd name="connsiteY1437" fmla="*/ 234665 h 2641600"/>
                <a:gd name="connsiteX1438" fmla="*/ 1826226 w 3302716"/>
                <a:gd name="connsiteY1438" fmla="*/ 237722 h 2641600"/>
                <a:gd name="connsiteX1439" fmla="*/ 1829346 w 3302716"/>
                <a:gd name="connsiteY1439" fmla="*/ 244854 h 2641600"/>
                <a:gd name="connsiteX1440" fmla="*/ 1830386 w 3302716"/>
                <a:gd name="connsiteY1440" fmla="*/ 254023 h 2641600"/>
                <a:gd name="connsiteX1441" fmla="*/ 1829346 w 3302716"/>
                <a:gd name="connsiteY1441" fmla="*/ 261155 h 2641600"/>
                <a:gd name="connsiteX1442" fmla="*/ 1826226 w 3302716"/>
                <a:gd name="connsiteY1442" fmla="*/ 265230 h 2641600"/>
                <a:gd name="connsiteX1443" fmla="*/ 1824145 w 3302716"/>
                <a:gd name="connsiteY1443" fmla="*/ 267268 h 2641600"/>
                <a:gd name="connsiteX1444" fmla="*/ 1819985 w 3302716"/>
                <a:gd name="connsiteY1444" fmla="*/ 268287 h 2641600"/>
                <a:gd name="connsiteX1445" fmla="*/ 1815825 w 3302716"/>
                <a:gd name="connsiteY1445" fmla="*/ 266249 h 2641600"/>
                <a:gd name="connsiteX1446" fmla="*/ 1810624 w 3302716"/>
                <a:gd name="connsiteY1446" fmla="*/ 263193 h 2641600"/>
                <a:gd name="connsiteX1447" fmla="*/ 1806464 w 3302716"/>
                <a:gd name="connsiteY1447" fmla="*/ 261155 h 2641600"/>
                <a:gd name="connsiteX1448" fmla="*/ 1803344 w 3302716"/>
                <a:gd name="connsiteY1448" fmla="*/ 259117 h 2641600"/>
                <a:gd name="connsiteX1449" fmla="*/ 1800223 w 3302716"/>
                <a:gd name="connsiteY1449" fmla="*/ 254023 h 2641600"/>
                <a:gd name="connsiteX1450" fmla="*/ 1795023 w 3302716"/>
                <a:gd name="connsiteY1450" fmla="*/ 250967 h 2641600"/>
                <a:gd name="connsiteX1451" fmla="*/ 1787742 w 3302716"/>
                <a:gd name="connsiteY1451" fmla="*/ 249948 h 2641600"/>
                <a:gd name="connsiteX1452" fmla="*/ 1782542 w 3302716"/>
                <a:gd name="connsiteY1452" fmla="*/ 247910 h 2641600"/>
                <a:gd name="connsiteX1453" fmla="*/ 1778382 w 3302716"/>
                <a:gd name="connsiteY1453" fmla="*/ 242816 h 2641600"/>
                <a:gd name="connsiteX1454" fmla="*/ 1779422 w 3302716"/>
                <a:gd name="connsiteY1454" fmla="*/ 237722 h 2641600"/>
                <a:gd name="connsiteX1455" fmla="*/ 1783582 w 3302716"/>
                <a:gd name="connsiteY1455" fmla="*/ 237722 h 2641600"/>
                <a:gd name="connsiteX1456" fmla="*/ 1785662 w 3302716"/>
                <a:gd name="connsiteY1456" fmla="*/ 236703 h 2641600"/>
                <a:gd name="connsiteX1457" fmla="*/ 1783582 w 3302716"/>
                <a:gd name="connsiteY1457" fmla="*/ 230590 h 2641600"/>
                <a:gd name="connsiteX1458" fmla="*/ 1777342 w 3302716"/>
                <a:gd name="connsiteY1458" fmla="*/ 220402 h 2641600"/>
                <a:gd name="connsiteX1459" fmla="*/ 1772141 w 3302716"/>
                <a:gd name="connsiteY1459" fmla="*/ 211232 h 2641600"/>
                <a:gd name="connsiteX1460" fmla="*/ 1770061 w 3302716"/>
                <a:gd name="connsiteY1460" fmla="*/ 204100 h 2641600"/>
                <a:gd name="connsiteX1461" fmla="*/ 3053347 w 3302716"/>
                <a:gd name="connsiteY1461" fmla="*/ 145819 h 2641600"/>
                <a:gd name="connsiteX1462" fmla="*/ 3059596 w 3302716"/>
                <a:gd name="connsiteY1462" fmla="*/ 146950 h 2641600"/>
                <a:gd name="connsiteX1463" fmla="*/ 3063850 w 3302716"/>
                <a:gd name="connsiteY1463" fmla="*/ 149037 h 2641600"/>
                <a:gd name="connsiteX1464" fmla="*/ 3066219 w 3302716"/>
                <a:gd name="connsiteY1464" fmla="*/ 152505 h 2641600"/>
                <a:gd name="connsiteX1465" fmla="*/ 3067402 w 3302716"/>
                <a:gd name="connsiteY1465" fmla="*/ 157178 h 2641600"/>
                <a:gd name="connsiteX1466" fmla="*/ 3066588 w 3302716"/>
                <a:gd name="connsiteY1466" fmla="*/ 168683 h 2641600"/>
                <a:gd name="connsiteX1467" fmla="*/ 3062379 w 3302716"/>
                <a:gd name="connsiteY1467" fmla="*/ 181500 h 2641600"/>
                <a:gd name="connsiteX1468" fmla="*/ 3060380 w 3302716"/>
                <a:gd name="connsiteY1468" fmla="*/ 194210 h 2641600"/>
                <a:gd name="connsiteX1469" fmla="*/ 3064146 w 3302716"/>
                <a:gd name="connsiteY1469" fmla="*/ 203201 h 2641600"/>
                <a:gd name="connsiteX1470" fmla="*/ 3068828 w 3302716"/>
                <a:gd name="connsiteY1470" fmla="*/ 212864 h 2641600"/>
                <a:gd name="connsiteX1471" fmla="*/ 3069685 w 3302716"/>
                <a:gd name="connsiteY1471" fmla="*/ 222138 h 2641600"/>
                <a:gd name="connsiteX1472" fmla="*/ 3067955 w 3302716"/>
                <a:gd name="connsiteY1472" fmla="*/ 232972 h 2641600"/>
                <a:gd name="connsiteX1473" fmla="*/ 3069458 w 3302716"/>
                <a:gd name="connsiteY1473" fmla="*/ 244795 h 2641600"/>
                <a:gd name="connsiteX1474" fmla="*/ 3073544 w 3302716"/>
                <a:gd name="connsiteY1474" fmla="*/ 260937 h 2641600"/>
                <a:gd name="connsiteX1475" fmla="*/ 3078867 w 3302716"/>
                <a:gd name="connsiteY1475" fmla="*/ 279025 h 2641600"/>
                <a:gd name="connsiteX1476" fmla="*/ 3087426 w 3302716"/>
                <a:gd name="connsiteY1476" fmla="*/ 292226 h 2641600"/>
                <a:gd name="connsiteX1477" fmla="*/ 3100516 w 3302716"/>
                <a:gd name="connsiteY1477" fmla="*/ 293885 h 2641600"/>
                <a:gd name="connsiteX1478" fmla="*/ 3106819 w 3302716"/>
                <a:gd name="connsiteY1478" fmla="*/ 292289 h 2641600"/>
                <a:gd name="connsiteX1479" fmla="*/ 3111559 w 3302716"/>
                <a:gd name="connsiteY1479" fmla="*/ 293349 h 2641600"/>
                <a:gd name="connsiteX1480" fmla="*/ 3115113 w 3302716"/>
                <a:gd name="connsiteY1480" fmla="*/ 295614 h 2641600"/>
                <a:gd name="connsiteX1481" fmla="*/ 3117374 w 3302716"/>
                <a:gd name="connsiteY1481" fmla="*/ 298657 h 2641600"/>
                <a:gd name="connsiteX1482" fmla="*/ 3119635 w 3302716"/>
                <a:gd name="connsiteY1482" fmla="*/ 301701 h 2641600"/>
                <a:gd name="connsiteX1483" fmla="*/ 3123297 w 3302716"/>
                <a:gd name="connsiteY1483" fmla="*/ 304390 h 2641600"/>
                <a:gd name="connsiteX1484" fmla="*/ 3127229 w 3302716"/>
                <a:gd name="connsiteY1484" fmla="*/ 305203 h 2641600"/>
                <a:gd name="connsiteX1485" fmla="*/ 3134556 w 3302716"/>
                <a:gd name="connsiteY1485" fmla="*/ 304704 h 2641600"/>
                <a:gd name="connsiteX1486" fmla="*/ 3142368 w 3302716"/>
                <a:gd name="connsiteY1486" fmla="*/ 303179 h 2641600"/>
                <a:gd name="connsiteX1487" fmla="*/ 3148994 w 3302716"/>
                <a:gd name="connsiteY1487" fmla="*/ 302857 h 2641600"/>
                <a:gd name="connsiteX1488" fmla="*/ 3154434 w 3302716"/>
                <a:gd name="connsiteY1488" fmla="*/ 303740 h 2641600"/>
                <a:gd name="connsiteX1489" fmla="*/ 3157881 w 3302716"/>
                <a:gd name="connsiteY1489" fmla="*/ 305580 h 2641600"/>
                <a:gd name="connsiteX1490" fmla="*/ 3158741 w 3302716"/>
                <a:gd name="connsiteY1490" fmla="*/ 308978 h 2641600"/>
                <a:gd name="connsiteX1491" fmla="*/ 3156907 w 3302716"/>
                <a:gd name="connsiteY1491" fmla="*/ 313510 h 2641600"/>
                <a:gd name="connsiteX1492" fmla="*/ 3152379 w 3302716"/>
                <a:gd name="connsiteY1492" fmla="*/ 319176 h 2641600"/>
                <a:gd name="connsiteX1493" fmla="*/ 3145157 w 3302716"/>
                <a:gd name="connsiteY1493" fmla="*/ 325976 h 2641600"/>
                <a:gd name="connsiteX1494" fmla="*/ 3138636 w 3302716"/>
                <a:gd name="connsiteY1494" fmla="*/ 332599 h 2641600"/>
                <a:gd name="connsiteX1495" fmla="*/ 3139225 w 3302716"/>
                <a:gd name="connsiteY1495" fmla="*/ 337873 h 2641600"/>
                <a:gd name="connsiteX1496" fmla="*/ 3144718 w 3302716"/>
                <a:gd name="connsiteY1496" fmla="*/ 341907 h 2641600"/>
                <a:gd name="connsiteX1497" fmla="*/ 3153012 w 3302716"/>
                <a:gd name="connsiteY1497" fmla="*/ 345231 h 2641600"/>
                <a:gd name="connsiteX1498" fmla="*/ 3164701 w 3302716"/>
                <a:gd name="connsiteY1498" fmla="*/ 347244 h 2641600"/>
                <a:gd name="connsiteX1499" fmla="*/ 3176497 w 3302716"/>
                <a:gd name="connsiteY1499" fmla="*/ 349682 h 2641600"/>
                <a:gd name="connsiteX1500" fmla="*/ 3187378 w 3302716"/>
                <a:gd name="connsiteY1500" fmla="*/ 351448 h 2641600"/>
                <a:gd name="connsiteX1501" fmla="*/ 3196158 w 3302716"/>
                <a:gd name="connsiteY1501" fmla="*/ 353746 h 2641600"/>
                <a:gd name="connsiteX1502" fmla="*/ 3201921 w 3302716"/>
                <a:gd name="connsiteY1502" fmla="*/ 355903 h 2641600"/>
                <a:gd name="connsiteX1503" fmla="*/ 3204882 w 3302716"/>
                <a:gd name="connsiteY1503" fmla="*/ 358769 h 2641600"/>
                <a:gd name="connsiteX1504" fmla="*/ 3204934 w 3302716"/>
                <a:gd name="connsiteY1504" fmla="*/ 361920 h 2641600"/>
                <a:gd name="connsiteX1505" fmla="*/ 3204286 w 3302716"/>
                <a:gd name="connsiteY1505" fmla="*/ 365248 h 2641600"/>
                <a:gd name="connsiteX1506" fmla="*/ 3204446 w 3302716"/>
                <a:gd name="connsiteY1506" fmla="*/ 368823 h 2641600"/>
                <a:gd name="connsiteX1507" fmla="*/ 3205091 w 3302716"/>
                <a:gd name="connsiteY1507" fmla="*/ 371372 h 2641600"/>
                <a:gd name="connsiteX1508" fmla="*/ 3209561 w 3302716"/>
                <a:gd name="connsiteY1508" fmla="*/ 374308 h 2641600"/>
                <a:gd name="connsiteX1509" fmla="*/ 3216024 w 3302716"/>
                <a:gd name="connsiteY1509" fmla="*/ 376288 h 2641600"/>
                <a:gd name="connsiteX1510" fmla="*/ 3222595 w 3302716"/>
                <a:gd name="connsiteY1510" fmla="*/ 378693 h 2641600"/>
                <a:gd name="connsiteX1511" fmla="*/ 3225556 w 3302716"/>
                <a:gd name="connsiteY1511" fmla="*/ 381559 h 2641600"/>
                <a:gd name="connsiteX1512" fmla="*/ 3225824 w 3302716"/>
                <a:gd name="connsiteY1512" fmla="*/ 385560 h 2641600"/>
                <a:gd name="connsiteX1513" fmla="*/ 3224690 w 3302716"/>
                <a:gd name="connsiteY1513" fmla="*/ 389914 h 2641600"/>
                <a:gd name="connsiteX1514" fmla="*/ 3222048 w 3302716"/>
                <a:gd name="connsiteY1514" fmla="*/ 394199 h 2641600"/>
                <a:gd name="connsiteX1515" fmla="*/ 3221023 w 3302716"/>
                <a:gd name="connsiteY1515" fmla="*/ 398979 h 2641600"/>
                <a:gd name="connsiteX1516" fmla="*/ 3221290 w 3302716"/>
                <a:gd name="connsiteY1516" fmla="*/ 402979 h 2641600"/>
                <a:gd name="connsiteX1517" fmla="*/ 3223658 w 3302716"/>
                <a:gd name="connsiteY1517" fmla="*/ 406447 h 2641600"/>
                <a:gd name="connsiteX1518" fmla="*/ 3226835 w 3302716"/>
                <a:gd name="connsiteY1518" fmla="*/ 410163 h 2641600"/>
                <a:gd name="connsiteX1519" fmla="*/ 3228125 w 3302716"/>
                <a:gd name="connsiteY1519" fmla="*/ 415260 h 2641600"/>
                <a:gd name="connsiteX1520" fmla="*/ 3227207 w 3302716"/>
                <a:gd name="connsiteY1520" fmla="*/ 420465 h 2641600"/>
                <a:gd name="connsiteX1521" fmla="*/ 3225102 w 3302716"/>
                <a:gd name="connsiteY1521" fmla="*/ 426873 h 2641600"/>
                <a:gd name="connsiteX1522" fmla="*/ 3220574 w 3302716"/>
                <a:gd name="connsiteY1522" fmla="*/ 432539 h 2641600"/>
                <a:gd name="connsiteX1523" fmla="*/ 3216154 w 3302716"/>
                <a:gd name="connsiteY1523" fmla="*/ 438630 h 2641600"/>
                <a:gd name="connsiteX1524" fmla="*/ 3209903 w 3302716"/>
                <a:gd name="connsiteY1524" fmla="*/ 443377 h 2641600"/>
                <a:gd name="connsiteX1525" fmla="*/ 3201928 w 3302716"/>
                <a:gd name="connsiteY1525" fmla="*/ 447203 h 2641600"/>
                <a:gd name="connsiteX1526" fmla="*/ 3196647 w 3302716"/>
                <a:gd name="connsiteY1526" fmla="*/ 449896 h 2641600"/>
                <a:gd name="connsiteX1527" fmla="*/ 3194168 w 3302716"/>
                <a:gd name="connsiteY1527" fmla="*/ 451879 h 2641600"/>
                <a:gd name="connsiteX1528" fmla="*/ 3195406 w 3302716"/>
                <a:gd name="connsiteY1528" fmla="*/ 453826 h 2641600"/>
                <a:gd name="connsiteX1529" fmla="*/ 3198961 w 3302716"/>
                <a:gd name="connsiteY1529" fmla="*/ 456090 h 2641600"/>
                <a:gd name="connsiteX1530" fmla="*/ 3204723 w 3302716"/>
                <a:gd name="connsiteY1530" fmla="*/ 458247 h 2641600"/>
                <a:gd name="connsiteX1531" fmla="*/ 3212102 w 3302716"/>
                <a:gd name="connsiteY1531" fmla="*/ 460900 h 2641600"/>
                <a:gd name="connsiteX1532" fmla="*/ 3221312 w 3302716"/>
                <a:gd name="connsiteY1532" fmla="*/ 464896 h 2641600"/>
                <a:gd name="connsiteX1533" fmla="*/ 3230737 w 3302716"/>
                <a:gd name="connsiteY1533" fmla="*/ 469742 h 2641600"/>
                <a:gd name="connsiteX1534" fmla="*/ 3237145 w 3302716"/>
                <a:gd name="connsiteY1534" fmla="*/ 474448 h 2641600"/>
                <a:gd name="connsiteX1535" fmla="*/ 3237090 w 3302716"/>
                <a:gd name="connsiteY1535" fmla="*/ 477174 h 2641600"/>
                <a:gd name="connsiteX1536" fmla="*/ 3232294 w 3302716"/>
                <a:gd name="connsiteY1536" fmla="*/ 478840 h 2641600"/>
                <a:gd name="connsiteX1537" fmla="*/ 3225668 w 3302716"/>
                <a:gd name="connsiteY1537" fmla="*/ 479161 h 2641600"/>
                <a:gd name="connsiteX1538" fmla="*/ 3216240 w 3302716"/>
                <a:gd name="connsiteY1538" fmla="*/ 480192 h 2641600"/>
                <a:gd name="connsiteX1539" fmla="*/ 3208321 w 3302716"/>
                <a:gd name="connsiteY1539" fmla="*/ 481292 h 2641600"/>
                <a:gd name="connsiteX1540" fmla="*/ 3202017 w 3302716"/>
                <a:gd name="connsiteY1540" fmla="*/ 482888 h 2641600"/>
                <a:gd name="connsiteX1541" fmla="*/ 3198353 w 3302716"/>
                <a:gd name="connsiteY1541" fmla="*/ 486076 h 2641600"/>
                <a:gd name="connsiteX1542" fmla="*/ 3198405 w 3302716"/>
                <a:gd name="connsiteY1542" fmla="*/ 489226 h 2641600"/>
                <a:gd name="connsiteX1543" fmla="*/ 3198835 w 3302716"/>
                <a:gd name="connsiteY1543" fmla="*/ 490925 h 2641600"/>
                <a:gd name="connsiteX1544" fmla="*/ 3199643 w 3302716"/>
                <a:gd name="connsiteY1544" fmla="*/ 491173 h 2641600"/>
                <a:gd name="connsiteX1545" fmla="*/ 3202444 w 3302716"/>
                <a:gd name="connsiteY1545" fmla="*/ 490464 h 2641600"/>
                <a:gd name="connsiteX1546" fmla="*/ 3206647 w 3302716"/>
                <a:gd name="connsiteY1546" fmla="*/ 489400 h 2641600"/>
                <a:gd name="connsiteX1547" fmla="*/ 3213058 w 3302716"/>
                <a:gd name="connsiteY1547" fmla="*/ 488229 h 2641600"/>
                <a:gd name="connsiteX1548" fmla="*/ 3223294 w 3302716"/>
                <a:gd name="connsiteY1548" fmla="*/ 487446 h 2641600"/>
                <a:gd name="connsiteX1549" fmla="*/ 3235253 w 3302716"/>
                <a:gd name="connsiteY1549" fmla="*/ 487583 h 2641600"/>
                <a:gd name="connsiteX1550" fmla="*/ 3248828 w 3302716"/>
                <a:gd name="connsiteY1550" fmla="*/ 488215 h 2641600"/>
                <a:gd name="connsiteX1551" fmla="*/ 3260194 w 3302716"/>
                <a:gd name="connsiteY1551" fmla="*/ 488954 h 2641600"/>
                <a:gd name="connsiteX1552" fmla="*/ 3268866 w 3302716"/>
                <a:gd name="connsiteY1552" fmla="*/ 490826 h 2641600"/>
                <a:gd name="connsiteX1553" fmla="*/ 3277538 w 3302716"/>
                <a:gd name="connsiteY1553" fmla="*/ 492699 h 2641600"/>
                <a:gd name="connsiteX1554" fmla="*/ 3284324 w 3302716"/>
                <a:gd name="connsiteY1554" fmla="*/ 495953 h 2641600"/>
                <a:gd name="connsiteX1555" fmla="*/ 3288901 w 3302716"/>
                <a:gd name="connsiteY1555" fmla="*/ 499315 h 2641600"/>
                <a:gd name="connsiteX1556" fmla="*/ 3293100 w 3302716"/>
                <a:gd name="connsiteY1556" fmla="*/ 504128 h 2641600"/>
                <a:gd name="connsiteX1557" fmla="*/ 3295414 w 3302716"/>
                <a:gd name="connsiteY1557" fmla="*/ 510322 h 2641600"/>
                <a:gd name="connsiteX1558" fmla="*/ 3295626 w 3302716"/>
                <a:gd name="connsiteY1558" fmla="*/ 517048 h 2641600"/>
                <a:gd name="connsiteX1559" fmla="*/ 3291906 w 3302716"/>
                <a:gd name="connsiteY1559" fmla="*/ 522962 h 2641600"/>
                <a:gd name="connsiteX1560" fmla="*/ 3285061 w 3302716"/>
                <a:gd name="connsiteY1560" fmla="*/ 528310 h 2641600"/>
                <a:gd name="connsiteX1561" fmla="*/ 3277895 w 3302716"/>
                <a:gd name="connsiteY1561" fmla="*/ 532384 h 2641600"/>
                <a:gd name="connsiteX1562" fmla="*/ 3269705 w 3302716"/>
                <a:gd name="connsiteY1562" fmla="*/ 535361 h 2641600"/>
                <a:gd name="connsiteX1563" fmla="*/ 3261786 w 3302716"/>
                <a:gd name="connsiteY1563" fmla="*/ 536462 h 2641600"/>
                <a:gd name="connsiteX1564" fmla="*/ 3255537 w 3302716"/>
                <a:gd name="connsiteY1564" fmla="*/ 535331 h 2641600"/>
                <a:gd name="connsiteX1565" fmla="*/ 3251068 w 3302716"/>
                <a:gd name="connsiteY1565" fmla="*/ 532395 h 2641600"/>
                <a:gd name="connsiteX1566" fmla="*/ 3245305 w 3302716"/>
                <a:gd name="connsiteY1566" fmla="*/ 530238 h 2641600"/>
                <a:gd name="connsiteX1567" fmla="*/ 3233776 w 3302716"/>
                <a:gd name="connsiteY1567" fmla="*/ 531800 h 2641600"/>
                <a:gd name="connsiteX1568" fmla="*/ 3219983 w 3302716"/>
                <a:gd name="connsiteY1568" fmla="*/ 536195 h 2641600"/>
                <a:gd name="connsiteX1569" fmla="*/ 3205597 w 3302716"/>
                <a:gd name="connsiteY1569" fmla="*/ 541193 h 2641600"/>
                <a:gd name="connsiteX1570" fmla="*/ 3192934 w 3302716"/>
                <a:gd name="connsiteY1570" fmla="*/ 547110 h 2641600"/>
                <a:gd name="connsiteX1571" fmla="*/ 3183774 w 3302716"/>
                <a:gd name="connsiteY1571" fmla="*/ 552141 h 2641600"/>
                <a:gd name="connsiteX1572" fmla="*/ 3182103 w 3302716"/>
                <a:gd name="connsiteY1572" fmla="*/ 554372 h 2641600"/>
                <a:gd name="connsiteX1573" fmla="*/ 3188514 w 3302716"/>
                <a:gd name="connsiteY1573" fmla="*/ 553201 h 2641600"/>
                <a:gd name="connsiteX1574" fmla="*/ 3204353 w 3302716"/>
                <a:gd name="connsiteY1574" fmla="*/ 551000 h 2641600"/>
                <a:gd name="connsiteX1575" fmla="*/ 3211732 w 3302716"/>
                <a:gd name="connsiteY1575" fmla="*/ 553652 h 2641600"/>
                <a:gd name="connsiteX1576" fmla="*/ 3213830 w 3302716"/>
                <a:gd name="connsiteY1576" fmla="*/ 558996 h 2641600"/>
                <a:gd name="connsiteX1577" fmla="*/ 3212641 w 3302716"/>
                <a:gd name="connsiteY1577" fmla="*/ 566077 h 2641600"/>
                <a:gd name="connsiteX1578" fmla="*/ 3209029 w 3302716"/>
                <a:gd name="connsiteY1578" fmla="*/ 572416 h 2641600"/>
                <a:gd name="connsiteX1579" fmla="*/ 3206494 w 3302716"/>
                <a:gd name="connsiteY1579" fmla="*/ 577125 h 2641600"/>
                <a:gd name="connsiteX1580" fmla="*/ 3206817 w 3302716"/>
                <a:gd name="connsiteY1580" fmla="*/ 578399 h 2641600"/>
                <a:gd name="connsiteX1581" fmla="*/ 3211667 w 3302716"/>
                <a:gd name="connsiteY1581" fmla="*/ 574008 h 2641600"/>
                <a:gd name="connsiteX1582" fmla="*/ 3221799 w 3302716"/>
                <a:gd name="connsiteY1582" fmla="*/ 566923 h 2641600"/>
                <a:gd name="connsiteX1583" fmla="*/ 3235161 w 3302716"/>
                <a:gd name="connsiteY1583" fmla="*/ 560829 h 2641600"/>
                <a:gd name="connsiteX1584" fmla="*/ 3249332 w 3302716"/>
                <a:gd name="connsiteY1584" fmla="*/ 554982 h 2641600"/>
                <a:gd name="connsiteX1585" fmla="*/ 3264741 w 3302716"/>
                <a:gd name="connsiteY1585" fmla="*/ 551081 h 2641600"/>
                <a:gd name="connsiteX1586" fmla="*/ 3277671 w 3302716"/>
                <a:gd name="connsiteY1586" fmla="*/ 549164 h 2641600"/>
                <a:gd name="connsiteX1587" fmla="*/ 3289630 w 3302716"/>
                <a:gd name="connsiteY1587" fmla="*/ 549301 h 2641600"/>
                <a:gd name="connsiteX1588" fmla="*/ 3299110 w 3302716"/>
                <a:gd name="connsiteY1588" fmla="*/ 551421 h 2641600"/>
                <a:gd name="connsiteX1589" fmla="*/ 3302716 w 3302716"/>
                <a:gd name="connsiteY1589" fmla="*/ 556836 h 2641600"/>
                <a:gd name="connsiteX1590" fmla="*/ 3302283 w 3302716"/>
                <a:gd name="connsiteY1590" fmla="*/ 561014 h 2641600"/>
                <a:gd name="connsiteX1591" fmla="*/ 3299156 w 3302716"/>
                <a:gd name="connsiteY1591" fmla="*/ 566326 h 2641600"/>
                <a:gd name="connsiteX1592" fmla="*/ 3294951 w 3302716"/>
                <a:gd name="connsiteY1592" fmla="*/ 573266 h 2641600"/>
                <a:gd name="connsiteX1593" fmla="*/ 3288859 w 3302716"/>
                <a:gd name="connsiteY1593" fmla="*/ 581588 h 2641600"/>
                <a:gd name="connsiteX1594" fmla="*/ 3280666 w 3302716"/>
                <a:gd name="connsiteY1594" fmla="*/ 590441 h 2641600"/>
                <a:gd name="connsiteX1595" fmla="*/ 3271073 w 3302716"/>
                <a:gd name="connsiteY1595" fmla="*/ 599650 h 2641600"/>
                <a:gd name="connsiteX1596" fmla="*/ 3260886 w 3302716"/>
                <a:gd name="connsiteY1596" fmla="*/ 609460 h 2641600"/>
                <a:gd name="connsiteX1597" fmla="*/ 3249999 w 3302716"/>
                <a:gd name="connsiteY1597" fmla="*/ 619448 h 2641600"/>
                <a:gd name="connsiteX1598" fmla="*/ 3239113 w 3302716"/>
                <a:gd name="connsiteY1598" fmla="*/ 629435 h 2641600"/>
                <a:gd name="connsiteX1599" fmla="*/ 3228118 w 3302716"/>
                <a:gd name="connsiteY1599" fmla="*/ 638998 h 2641600"/>
                <a:gd name="connsiteX1600" fmla="*/ 3217717 w 3302716"/>
                <a:gd name="connsiteY1600" fmla="*/ 647959 h 2641600"/>
                <a:gd name="connsiteX1601" fmla="*/ 3208016 w 3302716"/>
                <a:gd name="connsiteY1601" fmla="*/ 656742 h 2641600"/>
                <a:gd name="connsiteX1602" fmla="*/ 3198585 w 3302716"/>
                <a:gd name="connsiteY1602" fmla="*/ 663650 h 2641600"/>
                <a:gd name="connsiteX1603" fmla="*/ 3189855 w 3302716"/>
                <a:gd name="connsiteY1603" fmla="*/ 670379 h 2641600"/>
                <a:gd name="connsiteX1604" fmla="*/ 3183496 w 3302716"/>
                <a:gd name="connsiteY1604" fmla="*/ 674701 h 2641600"/>
                <a:gd name="connsiteX1605" fmla="*/ 3179023 w 3302716"/>
                <a:gd name="connsiteY1605" fmla="*/ 677641 h 2641600"/>
                <a:gd name="connsiteX1606" fmla="*/ 3171641 w 3302716"/>
                <a:gd name="connsiteY1606" fmla="*/ 680866 h 2641600"/>
                <a:gd name="connsiteX1607" fmla="*/ 3166468 w 3302716"/>
                <a:gd name="connsiteY1607" fmla="*/ 683983 h 2641600"/>
                <a:gd name="connsiteX1608" fmla="*/ 3163396 w 3302716"/>
                <a:gd name="connsiteY1608" fmla="*/ 686569 h 2641600"/>
                <a:gd name="connsiteX1609" fmla="*/ 3159246 w 3302716"/>
                <a:gd name="connsiteY1609" fmla="*/ 690783 h 2641600"/>
                <a:gd name="connsiteX1610" fmla="*/ 3156226 w 3302716"/>
                <a:gd name="connsiteY1610" fmla="*/ 696519 h 2641600"/>
                <a:gd name="connsiteX1611" fmla="*/ 3152344 w 3302716"/>
                <a:gd name="connsiteY1611" fmla="*/ 704734 h 2641600"/>
                <a:gd name="connsiteX1612" fmla="*/ 3148298 w 3302716"/>
                <a:gd name="connsiteY1612" fmla="*/ 715250 h 2641600"/>
                <a:gd name="connsiteX1613" fmla="*/ 3143119 w 3302716"/>
                <a:gd name="connsiteY1613" fmla="*/ 730121 h 2641600"/>
                <a:gd name="connsiteX1614" fmla="*/ 3135946 w 3302716"/>
                <a:gd name="connsiteY1614" fmla="*/ 745948 h 2641600"/>
                <a:gd name="connsiteX1615" fmla="*/ 3126727 w 3302716"/>
                <a:gd name="connsiteY1615" fmla="*/ 759581 h 2641600"/>
                <a:gd name="connsiteX1616" fmla="*/ 3115678 w 3302716"/>
                <a:gd name="connsiteY1616" fmla="*/ 771870 h 2641600"/>
                <a:gd name="connsiteX1617" fmla="*/ 3104791 w 3302716"/>
                <a:gd name="connsiteY1617" fmla="*/ 781858 h 2641600"/>
                <a:gd name="connsiteX1618" fmla="*/ 3094282 w 3302716"/>
                <a:gd name="connsiteY1618" fmla="*/ 790394 h 2641600"/>
                <a:gd name="connsiteX1619" fmla="*/ 3083235 w 3302716"/>
                <a:gd name="connsiteY1619" fmla="*/ 796806 h 2641600"/>
                <a:gd name="connsiteX1620" fmla="*/ 3073160 w 3302716"/>
                <a:gd name="connsiteY1620" fmla="*/ 801164 h 2641600"/>
                <a:gd name="connsiteX1621" fmla="*/ 3066263 w 3302716"/>
                <a:gd name="connsiteY1621" fmla="*/ 803362 h 2641600"/>
                <a:gd name="connsiteX1622" fmla="*/ 3058989 w 3302716"/>
                <a:gd name="connsiteY1622" fmla="*/ 807011 h 2641600"/>
                <a:gd name="connsiteX1623" fmla="*/ 3049343 w 3302716"/>
                <a:gd name="connsiteY1623" fmla="*/ 813069 h 2641600"/>
                <a:gd name="connsiteX1624" fmla="*/ 3038942 w 3302716"/>
                <a:gd name="connsiteY1624" fmla="*/ 822030 h 2641600"/>
                <a:gd name="connsiteX1625" fmla="*/ 3028863 w 3302716"/>
                <a:gd name="connsiteY1625" fmla="*/ 832265 h 2641600"/>
                <a:gd name="connsiteX1626" fmla="*/ 3019807 w 3302716"/>
                <a:gd name="connsiteY1626" fmla="*/ 843597 h 2641600"/>
                <a:gd name="connsiteX1627" fmla="*/ 3013552 w 3302716"/>
                <a:gd name="connsiteY1627" fmla="*/ 854220 h 2641600"/>
                <a:gd name="connsiteX1628" fmla="*/ 3010315 w 3302716"/>
                <a:gd name="connsiteY1628" fmla="*/ 864983 h 2641600"/>
                <a:gd name="connsiteX1629" fmla="*/ 3011872 w 3302716"/>
                <a:gd name="connsiteY1629" fmla="*/ 874081 h 2641600"/>
                <a:gd name="connsiteX1630" fmla="*/ 3013537 w 3302716"/>
                <a:gd name="connsiteY1630" fmla="*/ 883603 h 2641600"/>
                <a:gd name="connsiteX1631" fmla="*/ 3011808 w 3302716"/>
                <a:gd name="connsiteY1631" fmla="*/ 894437 h 2641600"/>
                <a:gd name="connsiteX1632" fmla="*/ 3007977 w 3302716"/>
                <a:gd name="connsiteY1632" fmla="*/ 905802 h 2641600"/>
                <a:gd name="connsiteX1633" fmla="*/ 3003446 w 3302716"/>
                <a:gd name="connsiteY1633" fmla="*/ 917345 h 2641600"/>
                <a:gd name="connsiteX1634" fmla="*/ 2996599 w 3302716"/>
                <a:gd name="connsiteY1634" fmla="*/ 928570 h 2641600"/>
                <a:gd name="connsiteX1635" fmla="*/ 2990022 w 3302716"/>
                <a:gd name="connsiteY1635" fmla="*/ 937919 h 2641600"/>
                <a:gd name="connsiteX1636" fmla="*/ 2985117 w 3302716"/>
                <a:gd name="connsiteY1636" fmla="*/ 945036 h 2641600"/>
                <a:gd name="connsiteX1637" fmla="*/ 2981074 w 3302716"/>
                <a:gd name="connsiteY1637" fmla="*/ 949675 h 2641600"/>
                <a:gd name="connsiteX1638" fmla="*/ 2980693 w 3302716"/>
                <a:gd name="connsiteY1638" fmla="*/ 957004 h 2641600"/>
                <a:gd name="connsiteX1639" fmla="*/ 2986075 w 3302716"/>
                <a:gd name="connsiteY1639" fmla="*/ 966489 h 2641600"/>
                <a:gd name="connsiteX1640" fmla="*/ 2990164 w 3302716"/>
                <a:gd name="connsiteY1640" fmla="*/ 976754 h 2641600"/>
                <a:gd name="connsiteX1641" fmla="*/ 2985203 w 3302716"/>
                <a:gd name="connsiteY1641" fmla="*/ 986598 h 2641600"/>
                <a:gd name="connsiteX1642" fmla="*/ 2980352 w 3302716"/>
                <a:gd name="connsiteY1642" fmla="*/ 990989 h 2641600"/>
                <a:gd name="connsiteX1643" fmla="*/ 2977603 w 3302716"/>
                <a:gd name="connsiteY1643" fmla="*/ 994849 h 2641600"/>
                <a:gd name="connsiteX1644" fmla="*/ 2974961 w 3302716"/>
                <a:gd name="connsiteY1644" fmla="*/ 999134 h 2641600"/>
                <a:gd name="connsiteX1645" fmla="*/ 2972535 w 3302716"/>
                <a:gd name="connsiteY1645" fmla="*/ 1004268 h 2641600"/>
                <a:gd name="connsiteX1646" fmla="*/ 2972639 w 3302716"/>
                <a:gd name="connsiteY1646" fmla="*/ 1010569 h 2641600"/>
                <a:gd name="connsiteX1647" fmla="*/ 2972366 w 3302716"/>
                <a:gd name="connsiteY1647" fmla="*/ 1018323 h 2641600"/>
                <a:gd name="connsiteX1648" fmla="*/ 2971930 w 3302716"/>
                <a:gd name="connsiteY1648" fmla="*/ 1028377 h 2641600"/>
                <a:gd name="connsiteX1649" fmla="*/ 2972947 w 3302716"/>
                <a:gd name="connsiteY1649" fmla="*/ 1041227 h 2641600"/>
                <a:gd name="connsiteX1650" fmla="*/ 2971758 w 3302716"/>
                <a:gd name="connsiteY1650" fmla="*/ 1048308 h 2641600"/>
                <a:gd name="connsiteX1651" fmla="*/ 2970139 w 3302716"/>
                <a:gd name="connsiteY1651" fmla="*/ 1053690 h 2641600"/>
                <a:gd name="connsiteX1652" fmla="*/ 2966311 w 3302716"/>
                <a:gd name="connsiteY1652" fmla="*/ 1059178 h 2641600"/>
                <a:gd name="connsiteX1653" fmla="*/ 2961246 w 3302716"/>
                <a:gd name="connsiteY1653" fmla="*/ 1062721 h 2641600"/>
                <a:gd name="connsiteX1654" fmla="*/ 2954779 w 3302716"/>
                <a:gd name="connsiteY1654" fmla="*/ 1066617 h 2641600"/>
                <a:gd name="connsiteX1655" fmla="*/ 2948691 w 3302716"/>
                <a:gd name="connsiteY1655" fmla="*/ 1069062 h 2641600"/>
                <a:gd name="connsiteX1656" fmla="*/ 2941794 w 3302716"/>
                <a:gd name="connsiteY1656" fmla="*/ 1071260 h 2641600"/>
                <a:gd name="connsiteX1657" fmla="*/ 2933983 w 3302716"/>
                <a:gd name="connsiteY1657" fmla="*/ 1072786 h 2641600"/>
                <a:gd name="connsiteX1658" fmla="*/ 2926764 w 3302716"/>
                <a:gd name="connsiteY1658" fmla="*/ 1073709 h 2641600"/>
                <a:gd name="connsiteX1659" fmla="*/ 2920245 w 3302716"/>
                <a:gd name="connsiteY1659" fmla="*/ 1074455 h 2641600"/>
                <a:gd name="connsiteX1660" fmla="*/ 2913404 w 3302716"/>
                <a:gd name="connsiteY1660" fmla="*/ 1073927 h 2641600"/>
                <a:gd name="connsiteX1661" fmla="*/ 2907263 w 3302716"/>
                <a:gd name="connsiteY1661" fmla="*/ 1073221 h 2641600"/>
                <a:gd name="connsiteX1662" fmla="*/ 2901930 w 3302716"/>
                <a:gd name="connsiteY1662" fmla="*/ 1072763 h 2641600"/>
                <a:gd name="connsiteX1663" fmla="*/ 2897783 w 3302716"/>
                <a:gd name="connsiteY1663" fmla="*/ 1071101 h 2641600"/>
                <a:gd name="connsiteX1664" fmla="*/ 2895037 w 3302716"/>
                <a:gd name="connsiteY1664" fmla="*/ 1069084 h 2641600"/>
                <a:gd name="connsiteX1665" fmla="*/ 2893098 w 3302716"/>
                <a:gd name="connsiteY1665" fmla="*/ 1067315 h 2641600"/>
                <a:gd name="connsiteX1666" fmla="*/ 2891107 w 3302716"/>
                <a:gd name="connsiteY1666" fmla="*/ 1062395 h 2641600"/>
                <a:gd name="connsiteX1667" fmla="*/ 2887824 w 3302716"/>
                <a:gd name="connsiteY1667" fmla="*/ 1058254 h 2641600"/>
                <a:gd name="connsiteX1668" fmla="*/ 2882438 w 3302716"/>
                <a:gd name="connsiteY1668" fmla="*/ 1054645 h 2641600"/>
                <a:gd name="connsiteX1669" fmla="*/ 2876460 w 3302716"/>
                <a:gd name="connsiteY1669" fmla="*/ 1051639 h 2641600"/>
                <a:gd name="connsiteX1670" fmla="*/ 2869297 w 3302716"/>
                <a:gd name="connsiteY1670" fmla="*/ 1049836 h 2641600"/>
                <a:gd name="connsiteX1671" fmla="*/ 2860247 w 3302716"/>
                <a:gd name="connsiteY1671" fmla="*/ 1049415 h 2641600"/>
                <a:gd name="connsiteX1672" fmla="*/ 2851519 w 3302716"/>
                <a:gd name="connsiteY1672" fmla="*/ 1050268 h 2641600"/>
                <a:gd name="connsiteX1673" fmla="*/ 2841121 w 3302716"/>
                <a:gd name="connsiteY1673" fmla="*/ 1053352 h 2641600"/>
                <a:gd name="connsiteX1674" fmla="*/ 2829592 w 3302716"/>
                <a:gd name="connsiteY1674" fmla="*/ 1054915 h 2641600"/>
                <a:gd name="connsiteX1675" fmla="*/ 2817903 w 3302716"/>
                <a:gd name="connsiteY1675" fmla="*/ 1052901 h 2641600"/>
                <a:gd name="connsiteX1676" fmla="*/ 2803953 w 3302716"/>
                <a:gd name="connsiteY1676" fmla="*/ 1047845 h 2641600"/>
                <a:gd name="connsiteX1677" fmla="*/ 2792590 w 3302716"/>
                <a:gd name="connsiteY1677" fmla="*/ 1041229 h 2641600"/>
                <a:gd name="connsiteX1678" fmla="*/ 2780797 w 3302716"/>
                <a:gd name="connsiteY1678" fmla="*/ 1032915 h 2641600"/>
                <a:gd name="connsiteX1679" fmla="*/ 2769704 w 3302716"/>
                <a:gd name="connsiteY1679" fmla="*/ 1024423 h 2641600"/>
                <a:gd name="connsiteX1680" fmla="*/ 2760335 w 3302716"/>
                <a:gd name="connsiteY1680" fmla="*/ 1016850 h 2641600"/>
                <a:gd name="connsiteX1681" fmla="*/ 2752796 w 3302716"/>
                <a:gd name="connsiteY1681" fmla="*/ 1010623 h 2641600"/>
                <a:gd name="connsiteX1682" fmla="*/ 2745473 w 3302716"/>
                <a:gd name="connsiteY1682" fmla="*/ 1005245 h 2641600"/>
                <a:gd name="connsiteX1683" fmla="*/ 2737126 w 3302716"/>
                <a:gd name="connsiteY1683" fmla="*/ 998770 h 2641600"/>
                <a:gd name="connsiteX1684" fmla="*/ 2728187 w 3302716"/>
                <a:gd name="connsiteY1684" fmla="*/ 992897 h 2641600"/>
                <a:gd name="connsiteX1685" fmla="*/ 2719840 w 3302716"/>
                <a:gd name="connsiteY1685" fmla="*/ 986422 h 2641600"/>
                <a:gd name="connsiteX1686" fmla="*/ 2712679 w 3302716"/>
                <a:gd name="connsiteY1686" fmla="*/ 978742 h 2641600"/>
                <a:gd name="connsiteX1687" fmla="*/ 2707027 w 3302716"/>
                <a:gd name="connsiteY1687" fmla="*/ 971133 h 2641600"/>
                <a:gd name="connsiteX1688" fmla="*/ 2702560 w 3302716"/>
                <a:gd name="connsiteY1688" fmla="*/ 962320 h 2641600"/>
                <a:gd name="connsiteX1689" fmla="*/ 2702296 w 3302716"/>
                <a:gd name="connsiteY1689" fmla="*/ 952443 h 2641600"/>
                <a:gd name="connsiteX1690" fmla="*/ 2701331 w 3302716"/>
                <a:gd name="connsiteY1690" fmla="*/ 942744 h 2641600"/>
                <a:gd name="connsiteX1691" fmla="*/ 2698265 w 3302716"/>
                <a:gd name="connsiteY1691" fmla="*/ 933576 h 2641600"/>
                <a:gd name="connsiteX1692" fmla="*/ 2691805 w 3302716"/>
                <a:gd name="connsiteY1692" fmla="*/ 925719 h 2641600"/>
                <a:gd name="connsiteX1693" fmla="*/ 2685560 w 3302716"/>
                <a:gd name="connsiteY1693" fmla="*/ 918712 h 2641600"/>
                <a:gd name="connsiteX1694" fmla="*/ 2677914 w 3302716"/>
                <a:gd name="connsiteY1694" fmla="*/ 912060 h 2641600"/>
                <a:gd name="connsiteX1695" fmla="*/ 2671183 w 3302716"/>
                <a:gd name="connsiteY1695" fmla="*/ 906080 h 2641600"/>
                <a:gd name="connsiteX1696" fmla="*/ 2664560 w 3302716"/>
                <a:gd name="connsiteY1696" fmla="*/ 900524 h 2641600"/>
                <a:gd name="connsiteX1697" fmla="*/ 2660953 w 3302716"/>
                <a:gd name="connsiteY1697" fmla="*/ 895109 h 2641600"/>
                <a:gd name="connsiteX1698" fmla="*/ 2658425 w 3302716"/>
                <a:gd name="connsiteY1698" fmla="*/ 888066 h 2641600"/>
                <a:gd name="connsiteX1699" fmla="*/ 2657245 w 3302716"/>
                <a:gd name="connsiteY1699" fmla="*/ 877516 h 2641600"/>
                <a:gd name="connsiteX1700" fmla="*/ 2657629 w 3302716"/>
                <a:gd name="connsiteY1700" fmla="*/ 864311 h 2641600"/>
                <a:gd name="connsiteX1701" fmla="*/ 2657798 w 3302716"/>
                <a:gd name="connsiteY1701" fmla="*/ 850257 h 2641600"/>
                <a:gd name="connsiteX1702" fmla="*/ 2659475 w 3302716"/>
                <a:gd name="connsiteY1702" fmla="*/ 836273 h 2641600"/>
                <a:gd name="connsiteX1703" fmla="*/ 2661960 w 3302716"/>
                <a:gd name="connsiteY1703" fmla="*/ 822536 h 2641600"/>
                <a:gd name="connsiteX1704" fmla="*/ 2665198 w 3302716"/>
                <a:gd name="connsiteY1704" fmla="*/ 811773 h 2641600"/>
                <a:gd name="connsiteX1705" fmla="*/ 2668380 w 3302716"/>
                <a:gd name="connsiteY1705" fmla="*/ 803735 h 2641600"/>
                <a:gd name="connsiteX1706" fmla="*/ 2672908 w 3302716"/>
                <a:gd name="connsiteY1706" fmla="*/ 798069 h 2641600"/>
                <a:gd name="connsiteX1707" fmla="*/ 2679160 w 3302716"/>
                <a:gd name="connsiteY1707" fmla="*/ 793323 h 2641600"/>
                <a:gd name="connsiteX1708" fmla="*/ 2685518 w 3302716"/>
                <a:gd name="connsiteY1708" fmla="*/ 789001 h 2641600"/>
                <a:gd name="connsiteX1709" fmla="*/ 2692578 w 3302716"/>
                <a:gd name="connsiteY1709" fmla="*/ 784502 h 2641600"/>
                <a:gd name="connsiteX1710" fmla="*/ 2699959 w 3302716"/>
                <a:gd name="connsiteY1710" fmla="*/ 781278 h 2641600"/>
                <a:gd name="connsiteX1711" fmla="*/ 2706426 w 3302716"/>
                <a:gd name="connsiteY1711" fmla="*/ 777381 h 2641600"/>
                <a:gd name="connsiteX1712" fmla="*/ 2711599 w 3302716"/>
                <a:gd name="connsiteY1712" fmla="*/ 774264 h 2641600"/>
                <a:gd name="connsiteX1713" fmla="*/ 2715156 w 3302716"/>
                <a:gd name="connsiteY1713" fmla="*/ 770651 h 2641600"/>
                <a:gd name="connsiteX1714" fmla="*/ 2719094 w 3302716"/>
                <a:gd name="connsiteY1714" fmla="*/ 759711 h 2641600"/>
                <a:gd name="connsiteX1715" fmla="*/ 2721364 w 3302716"/>
                <a:gd name="connsiteY1715" fmla="*/ 745124 h 2641600"/>
                <a:gd name="connsiteX1716" fmla="*/ 2720455 w 3302716"/>
                <a:gd name="connsiteY1716" fmla="*/ 732699 h 2641600"/>
                <a:gd name="connsiteX1717" fmla="*/ 2713239 w 3302716"/>
                <a:gd name="connsiteY1717" fmla="*/ 727745 h 2641600"/>
                <a:gd name="connsiteX1718" fmla="*/ 2708228 w 3302716"/>
                <a:gd name="connsiteY1718" fmla="*/ 728562 h 2641600"/>
                <a:gd name="connsiteX1719" fmla="*/ 2704727 w 3302716"/>
                <a:gd name="connsiteY1719" fmla="*/ 729448 h 2641600"/>
                <a:gd name="connsiteX1720" fmla="*/ 2700847 w 3302716"/>
                <a:gd name="connsiteY1720" fmla="*/ 731786 h 2641600"/>
                <a:gd name="connsiteX1721" fmla="*/ 2699176 w 3302716"/>
                <a:gd name="connsiteY1721" fmla="*/ 734017 h 2641600"/>
                <a:gd name="connsiteX1722" fmla="*/ 2696319 w 3302716"/>
                <a:gd name="connsiteY1722" fmla="*/ 737452 h 2641600"/>
                <a:gd name="connsiteX1723" fmla="*/ 2692869 w 3302716"/>
                <a:gd name="connsiteY1723" fmla="*/ 741489 h 2641600"/>
                <a:gd name="connsiteX1724" fmla="*/ 2690928 w 3302716"/>
                <a:gd name="connsiteY1724" fmla="*/ 745597 h 2641600"/>
                <a:gd name="connsiteX1725" fmla="*/ 2686992 w 3302716"/>
                <a:gd name="connsiteY1725" fmla="*/ 750661 h 2641600"/>
                <a:gd name="connsiteX1726" fmla="*/ 2682034 w 3302716"/>
                <a:gd name="connsiteY1726" fmla="*/ 754628 h 2641600"/>
                <a:gd name="connsiteX1727" fmla="*/ 2673630 w 3302716"/>
                <a:gd name="connsiteY1727" fmla="*/ 756755 h 2641600"/>
                <a:gd name="connsiteX1728" fmla="*/ 2665388 w 3302716"/>
                <a:gd name="connsiteY1728" fmla="*/ 756581 h 2641600"/>
                <a:gd name="connsiteX1729" fmla="*/ 2656015 w 3302716"/>
                <a:gd name="connsiteY1729" fmla="*/ 754886 h 2641600"/>
                <a:gd name="connsiteX1730" fmla="*/ 2647128 w 3302716"/>
                <a:gd name="connsiteY1730" fmla="*/ 752164 h 2641600"/>
                <a:gd name="connsiteX1731" fmla="*/ 2639427 w 3302716"/>
                <a:gd name="connsiteY1731" fmla="*/ 748237 h 2641600"/>
                <a:gd name="connsiteX1732" fmla="*/ 2633019 w 3302716"/>
                <a:gd name="connsiteY1732" fmla="*/ 743531 h 2641600"/>
                <a:gd name="connsiteX1733" fmla="*/ 2629412 w 3302716"/>
                <a:gd name="connsiteY1733" fmla="*/ 738116 h 2641600"/>
                <a:gd name="connsiteX1734" fmla="*/ 2630223 w 3302716"/>
                <a:gd name="connsiteY1734" fmla="*/ 732487 h 2641600"/>
                <a:gd name="connsiteX1735" fmla="*/ 2632865 w 3302716"/>
                <a:gd name="connsiteY1735" fmla="*/ 728203 h 2641600"/>
                <a:gd name="connsiteX1736" fmla="*/ 2639439 w 3302716"/>
                <a:gd name="connsiteY1736" fmla="*/ 724731 h 2641600"/>
                <a:gd name="connsiteX1737" fmla="*/ 2646120 w 3302716"/>
                <a:gd name="connsiteY1737" fmla="*/ 721683 h 2641600"/>
                <a:gd name="connsiteX1738" fmla="*/ 2652424 w 3302716"/>
                <a:gd name="connsiteY1738" fmla="*/ 720088 h 2641600"/>
                <a:gd name="connsiteX1739" fmla="*/ 2658942 w 3302716"/>
                <a:gd name="connsiteY1739" fmla="*/ 719342 h 2641600"/>
                <a:gd name="connsiteX1740" fmla="*/ 2663252 w 3302716"/>
                <a:gd name="connsiteY1740" fmla="*/ 718703 h 2641600"/>
                <a:gd name="connsiteX1741" fmla="*/ 2664653 w 3302716"/>
                <a:gd name="connsiteY1741" fmla="*/ 718348 h 2641600"/>
                <a:gd name="connsiteX1742" fmla="*/ 2662930 w 3302716"/>
                <a:gd name="connsiteY1742" fmla="*/ 717428 h 2641600"/>
                <a:gd name="connsiteX1743" fmla="*/ 2658297 w 3302716"/>
                <a:gd name="connsiteY1743" fmla="*/ 716793 h 2641600"/>
                <a:gd name="connsiteX1744" fmla="*/ 2653342 w 3302716"/>
                <a:gd name="connsiteY1744" fmla="*/ 714883 h 2641600"/>
                <a:gd name="connsiteX1745" fmla="*/ 2648280 w 3302716"/>
                <a:gd name="connsiteY1745" fmla="*/ 712549 h 2641600"/>
                <a:gd name="connsiteX1746" fmla="*/ 2644025 w 3302716"/>
                <a:gd name="connsiteY1746" fmla="*/ 710462 h 2641600"/>
                <a:gd name="connsiteX1747" fmla="*/ 2643272 w 3302716"/>
                <a:gd name="connsiteY1747" fmla="*/ 707489 h 2641600"/>
                <a:gd name="connsiteX1748" fmla="*/ 2646937 w 3302716"/>
                <a:gd name="connsiteY1748" fmla="*/ 704301 h 2641600"/>
                <a:gd name="connsiteX1749" fmla="*/ 2656528 w 3302716"/>
                <a:gd name="connsiteY1749" fmla="*/ 700969 h 2641600"/>
                <a:gd name="connsiteX1750" fmla="*/ 2666226 w 3302716"/>
                <a:gd name="connsiteY1750" fmla="*/ 698062 h 2641600"/>
                <a:gd name="connsiteX1751" fmla="*/ 2671291 w 3302716"/>
                <a:gd name="connsiteY1751" fmla="*/ 694520 h 2641600"/>
                <a:gd name="connsiteX1752" fmla="*/ 2672154 w 3302716"/>
                <a:gd name="connsiteY1752" fmla="*/ 692042 h 2641600"/>
                <a:gd name="connsiteX1753" fmla="*/ 2670001 w 3302716"/>
                <a:gd name="connsiteY1753" fmla="*/ 689423 h 2641600"/>
                <a:gd name="connsiteX1754" fmla="*/ 2664238 w 3302716"/>
                <a:gd name="connsiteY1754" fmla="*/ 687266 h 2641600"/>
                <a:gd name="connsiteX1755" fmla="*/ 2657775 w 3302716"/>
                <a:gd name="connsiteY1755" fmla="*/ 685286 h 2641600"/>
                <a:gd name="connsiteX1756" fmla="*/ 2650125 w 3302716"/>
                <a:gd name="connsiteY1756" fmla="*/ 684510 h 2641600"/>
                <a:gd name="connsiteX1757" fmla="*/ 2643177 w 3302716"/>
                <a:gd name="connsiteY1757" fmla="*/ 683557 h 2641600"/>
                <a:gd name="connsiteX1758" fmla="*/ 2637629 w 3302716"/>
                <a:gd name="connsiteY1758" fmla="*/ 682250 h 2641600"/>
                <a:gd name="connsiteX1759" fmla="*/ 2634075 w 3302716"/>
                <a:gd name="connsiteY1759" fmla="*/ 679985 h 2641600"/>
                <a:gd name="connsiteX1760" fmla="*/ 2632999 w 3302716"/>
                <a:gd name="connsiteY1760" fmla="*/ 675738 h 2641600"/>
                <a:gd name="connsiteX1761" fmla="*/ 2632302 w 3302716"/>
                <a:gd name="connsiteY1761" fmla="*/ 670038 h 2641600"/>
                <a:gd name="connsiteX1762" fmla="*/ 2632468 w 3302716"/>
                <a:gd name="connsiteY1762" fmla="*/ 661860 h 2641600"/>
                <a:gd name="connsiteX1763" fmla="*/ 2634197 w 3302716"/>
                <a:gd name="connsiteY1763" fmla="*/ 651027 h 2641600"/>
                <a:gd name="connsiteX1764" fmla="*/ 2635174 w 3302716"/>
                <a:gd name="connsiteY1764" fmla="*/ 637220 h 2641600"/>
                <a:gd name="connsiteX1765" fmla="*/ 2636098 w 3302716"/>
                <a:gd name="connsiteY1765" fmla="*/ 620262 h 2641600"/>
                <a:gd name="connsiteX1766" fmla="*/ 2634922 w 3302716"/>
                <a:gd name="connsiteY1766" fmla="*/ 603836 h 2641600"/>
                <a:gd name="connsiteX1767" fmla="*/ 2630888 w 3302716"/>
                <a:gd name="connsiteY1767" fmla="*/ 590846 h 2641600"/>
                <a:gd name="connsiteX1768" fmla="*/ 2626099 w 3302716"/>
                <a:gd name="connsiteY1768" fmla="*/ 580758 h 2641600"/>
                <a:gd name="connsiteX1769" fmla="*/ 2620124 w 3302716"/>
                <a:gd name="connsiteY1769" fmla="*/ 571875 h 2641600"/>
                <a:gd name="connsiteX1770" fmla="*/ 2612855 w 3302716"/>
                <a:gd name="connsiteY1770" fmla="*/ 563771 h 2641600"/>
                <a:gd name="connsiteX1771" fmla="*/ 2606288 w 3302716"/>
                <a:gd name="connsiteY1771" fmla="*/ 555489 h 2641600"/>
                <a:gd name="connsiteX1772" fmla="*/ 2601013 w 3302716"/>
                <a:gd name="connsiteY1772" fmla="*/ 546429 h 2641600"/>
                <a:gd name="connsiteX1773" fmla="*/ 2596709 w 3302716"/>
                <a:gd name="connsiteY1773" fmla="*/ 535314 h 2641600"/>
                <a:gd name="connsiteX1774" fmla="*/ 2591812 w 3302716"/>
                <a:gd name="connsiteY1774" fmla="*/ 524802 h 2641600"/>
                <a:gd name="connsiteX1775" fmla="*/ 2584651 w 3302716"/>
                <a:gd name="connsiteY1775" fmla="*/ 517123 h 2641600"/>
                <a:gd name="connsiteX1776" fmla="*/ 2575927 w 3302716"/>
                <a:gd name="connsiteY1776" fmla="*/ 512099 h 2641600"/>
                <a:gd name="connsiteX1777" fmla="*/ 2564831 w 3302716"/>
                <a:gd name="connsiteY1777" fmla="*/ 509484 h 2641600"/>
                <a:gd name="connsiteX1778" fmla="*/ 2553357 w 3302716"/>
                <a:gd name="connsiteY1778" fmla="*/ 508321 h 2641600"/>
                <a:gd name="connsiteX1779" fmla="*/ 2540913 w 3302716"/>
                <a:gd name="connsiteY1779" fmla="*/ 509211 h 2641600"/>
                <a:gd name="connsiteX1780" fmla="*/ 2527175 w 3302716"/>
                <a:gd name="connsiteY1780" fmla="*/ 510880 h 2641600"/>
                <a:gd name="connsiteX1781" fmla="*/ 2514246 w 3302716"/>
                <a:gd name="connsiteY1781" fmla="*/ 512797 h 2641600"/>
                <a:gd name="connsiteX1782" fmla="*/ 2501909 w 3302716"/>
                <a:gd name="connsiteY1782" fmla="*/ 514112 h 2641600"/>
                <a:gd name="connsiteX1783" fmla="*/ 2491458 w 3302716"/>
                <a:gd name="connsiteY1783" fmla="*/ 514045 h 2641600"/>
                <a:gd name="connsiteX1784" fmla="*/ 2482786 w 3302716"/>
                <a:gd name="connsiteY1784" fmla="*/ 512172 h 2641600"/>
                <a:gd name="connsiteX1785" fmla="*/ 2475407 w 3302716"/>
                <a:gd name="connsiteY1785" fmla="*/ 509520 h 2641600"/>
                <a:gd name="connsiteX1786" fmla="*/ 2469107 w 3302716"/>
                <a:gd name="connsiteY1786" fmla="*/ 505239 h 2641600"/>
                <a:gd name="connsiteX1787" fmla="*/ 2463992 w 3302716"/>
                <a:gd name="connsiteY1787" fmla="*/ 499754 h 2641600"/>
                <a:gd name="connsiteX1788" fmla="*/ 2458069 w 3302716"/>
                <a:gd name="connsiteY1788" fmla="*/ 494021 h 2641600"/>
                <a:gd name="connsiteX1789" fmla="*/ 2452739 w 3302716"/>
                <a:gd name="connsiteY1789" fmla="*/ 487687 h 2641600"/>
                <a:gd name="connsiteX1790" fmla="*/ 2449618 w 3302716"/>
                <a:gd name="connsiteY1790" fmla="*/ 481245 h 2641600"/>
                <a:gd name="connsiteX1791" fmla="*/ 2449028 w 3302716"/>
                <a:gd name="connsiteY1791" fmla="*/ 475970 h 2641600"/>
                <a:gd name="connsiteX1792" fmla="*/ 2450054 w 3302716"/>
                <a:gd name="connsiteY1792" fmla="*/ 471191 h 2641600"/>
                <a:gd name="connsiteX1793" fmla="*/ 2452481 w 3302716"/>
                <a:gd name="connsiteY1793" fmla="*/ 466056 h 2641600"/>
                <a:gd name="connsiteX1794" fmla="*/ 2454315 w 3302716"/>
                <a:gd name="connsiteY1794" fmla="*/ 461524 h 2641600"/>
                <a:gd name="connsiteX1795" fmla="*/ 2455341 w 3302716"/>
                <a:gd name="connsiteY1795" fmla="*/ 456745 h 2641600"/>
                <a:gd name="connsiteX1796" fmla="*/ 2454643 w 3302716"/>
                <a:gd name="connsiteY1796" fmla="*/ 451045 h 2641600"/>
                <a:gd name="connsiteX1797" fmla="*/ 2451522 w 3302716"/>
                <a:gd name="connsiteY1797" fmla="*/ 444604 h 2641600"/>
                <a:gd name="connsiteX1798" fmla="*/ 2446893 w 3302716"/>
                <a:gd name="connsiteY1798" fmla="*/ 438092 h 2641600"/>
                <a:gd name="connsiteX1799" fmla="*/ 2446788 w 3302716"/>
                <a:gd name="connsiteY1799" fmla="*/ 431790 h 2641600"/>
                <a:gd name="connsiteX1800" fmla="*/ 2447491 w 3302716"/>
                <a:gd name="connsiteY1800" fmla="*/ 425736 h 2641600"/>
                <a:gd name="connsiteX1801" fmla="*/ 2450619 w 3302716"/>
                <a:gd name="connsiteY1801" fmla="*/ 420425 h 2641600"/>
                <a:gd name="connsiteX1802" fmla="*/ 2456170 w 3302716"/>
                <a:gd name="connsiteY1802" fmla="*/ 415856 h 2641600"/>
                <a:gd name="connsiteX1803" fmla="*/ 2464630 w 3302716"/>
                <a:gd name="connsiteY1803" fmla="*/ 411002 h 2641600"/>
                <a:gd name="connsiteX1804" fmla="*/ 2474813 w 3302716"/>
                <a:gd name="connsiteY1804" fmla="*/ 407068 h 2641600"/>
                <a:gd name="connsiteX1805" fmla="*/ 2486612 w 3302716"/>
                <a:gd name="connsiteY1805" fmla="*/ 403630 h 2641600"/>
                <a:gd name="connsiteX1806" fmla="*/ 2499112 w 3302716"/>
                <a:gd name="connsiteY1806" fmla="*/ 400014 h 2641600"/>
                <a:gd name="connsiteX1807" fmla="*/ 2512097 w 3302716"/>
                <a:gd name="connsiteY1807" fmla="*/ 395371 h 2641600"/>
                <a:gd name="connsiteX1808" fmla="*/ 2523359 w 3302716"/>
                <a:gd name="connsiteY1808" fmla="*/ 389808 h 2641600"/>
                <a:gd name="connsiteX1809" fmla="*/ 2533920 w 3302716"/>
                <a:gd name="connsiteY1809" fmla="*/ 384423 h 2641600"/>
                <a:gd name="connsiteX1810" fmla="*/ 2542650 w 3302716"/>
                <a:gd name="connsiteY1810" fmla="*/ 377693 h 2641600"/>
                <a:gd name="connsiteX1811" fmla="*/ 2549765 w 3302716"/>
                <a:gd name="connsiteY1811" fmla="*/ 370468 h 2641600"/>
                <a:gd name="connsiteX1812" fmla="*/ 2553648 w 3302716"/>
                <a:gd name="connsiteY1812" fmla="*/ 362254 h 2641600"/>
                <a:gd name="connsiteX1813" fmla="*/ 2554406 w 3302716"/>
                <a:gd name="connsiteY1813" fmla="*/ 353474 h 2641600"/>
                <a:gd name="connsiteX1814" fmla="*/ 2557374 w 3302716"/>
                <a:gd name="connsiteY1814" fmla="*/ 344587 h 2641600"/>
                <a:gd name="connsiteX1815" fmla="*/ 2564759 w 3302716"/>
                <a:gd name="connsiteY1815" fmla="*/ 335486 h 2641600"/>
                <a:gd name="connsiteX1816" fmla="*/ 2575160 w 3302716"/>
                <a:gd name="connsiteY1816" fmla="*/ 326525 h 2641600"/>
                <a:gd name="connsiteX1817" fmla="*/ 2587878 w 3302716"/>
                <a:gd name="connsiteY1817" fmla="*/ 317882 h 2641600"/>
                <a:gd name="connsiteX1818" fmla="*/ 2600110 w 3302716"/>
                <a:gd name="connsiteY1818" fmla="*/ 310265 h 2641600"/>
                <a:gd name="connsiteX1819" fmla="*/ 2611535 w 3302716"/>
                <a:gd name="connsiteY1819" fmla="*/ 302402 h 2641600"/>
                <a:gd name="connsiteX1820" fmla="*/ 2619565 w 3302716"/>
                <a:gd name="connsiteY1820" fmla="*/ 295849 h 2641600"/>
                <a:gd name="connsiteX1821" fmla="*/ 2624793 w 3302716"/>
                <a:gd name="connsiteY1821" fmla="*/ 290006 h 2641600"/>
                <a:gd name="connsiteX1822" fmla="*/ 2627813 w 3302716"/>
                <a:gd name="connsiteY1822" fmla="*/ 284270 h 2641600"/>
                <a:gd name="connsiteX1823" fmla="*/ 2635843 w 3302716"/>
                <a:gd name="connsiteY1823" fmla="*/ 277717 h 2641600"/>
                <a:gd name="connsiteX1824" fmla="*/ 2645488 w 3302716"/>
                <a:gd name="connsiteY1824" fmla="*/ 271660 h 2641600"/>
                <a:gd name="connsiteX1825" fmla="*/ 2656642 w 3302716"/>
                <a:gd name="connsiteY1825" fmla="*/ 265672 h 2641600"/>
                <a:gd name="connsiteX1826" fmla="*/ 2670113 w 3302716"/>
                <a:gd name="connsiteY1826" fmla="*/ 260002 h 2641600"/>
                <a:gd name="connsiteX1827" fmla="*/ 2683906 w 3302716"/>
                <a:gd name="connsiteY1827" fmla="*/ 255607 h 2641600"/>
                <a:gd name="connsiteX1828" fmla="*/ 2696728 w 3302716"/>
                <a:gd name="connsiteY1828" fmla="*/ 253265 h 2641600"/>
                <a:gd name="connsiteX1829" fmla="*/ 2709172 w 3302716"/>
                <a:gd name="connsiteY1829" fmla="*/ 252375 h 2641600"/>
                <a:gd name="connsiteX1830" fmla="*/ 2719516 w 3302716"/>
                <a:gd name="connsiteY1830" fmla="*/ 252017 h 2641600"/>
                <a:gd name="connsiteX1831" fmla="*/ 2727920 w 3302716"/>
                <a:gd name="connsiteY1831" fmla="*/ 249890 h 2641600"/>
                <a:gd name="connsiteX1832" fmla="*/ 2733901 w 3302716"/>
                <a:gd name="connsiteY1832" fmla="*/ 247020 h 2641600"/>
                <a:gd name="connsiteX1833" fmla="*/ 2738267 w 3302716"/>
                <a:gd name="connsiteY1833" fmla="*/ 243655 h 2641600"/>
                <a:gd name="connsiteX1834" fmla="*/ 2741501 w 3302716"/>
                <a:gd name="connsiteY1834" fmla="*/ 238768 h 2641600"/>
                <a:gd name="connsiteX1835" fmla="*/ 2743335 w 3302716"/>
                <a:gd name="connsiteY1835" fmla="*/ 234236 h 2641600"/>
                <a:gd name="connsiteX1836" fmla="*/ 2745762 w 3302716"/>
                <a:gd name="connsiteY1836" fmla="*/ 229102 h 2641600"/>
                <a:gd name="connsiteX1837" fmla="*/ 2747273 w 3302716"/>
                <a:gd name="connsiteY1837" fmla="*/ 223295 h 2641600"/>
                <a:gd name="connsiteX1838" fmla="*/ 2752502 w 3302716"/>
                <a:gd name="connsiteY1838" fmla="*/ 217452 h 2641600"/>
                <a:gd name="connsiteX1839" fmla="*/ 2762633 w 3302716"/>
                <a:gd name="connsiteY1839" fmla="*/ 210368 h 2641600"/>
                <a:gd name="connsiteX1840" fmla="*/ 2777181 w 3302716"/>
                <a:gd name="connsiteY1840" fmla="*/ 203069 h 2641600"/>
                <a:gd name="connsiteX1841" fmla="*/ 2793023 w 3302716"/>
                <a:gd name="connsiteY1841" fmla="*/ 194991 h 2641600"/>
                <a:gd name="connsiteX1842" fmla="*/ 2809888 w 3302716"/>
                <a:gd name="connsiteY1842" fmla="*/ 188010 h 2641600"/>
                <a:gd name="connsiteX1843" fmla="*/ 2828154 w 3302716"/>
                <a:gd name="connsiteY1843" fmla="*/ 180675 h 2641600"/>
                <a:gd name="connsiteX1844" fmla="*/ 2843618 w 3302716"/>
                <a:gd name="connsiteY1844" fmla="*/ 174048 h 2641600"/>
                <a:gd name="connsiteX1845" fmla="*/ 2855687 w 3302716"/>
                <a:gd name="connsiteY1845" fmla="*/ 168733 h 2641600"/>
                <a:gd name="connsiteX1846" fmla="*/ 2860375 w 3302716"/>
                <a:gd name="connsiteY1846" fmla="*/ 166643 h 2641600"/>
                <a:gd name="connsiteX1847" fmla="*/ 2865278 w 3302716"/>
                <a:gd name="connsiteY1847" fmla="*/ 165402 h 2641600"/>
                <a:gd name="connsiteX1848" fmla="*/ 2870181 w 3302716"/>
                <a:gd name="connsiteY1848" fmla="*/ 164161 h 2641600"/>
                <a:gd name="connsiteX1849" fmla="*/ 2874491 w 3302716"/>
                <a:gd name="connsiteY1849" fmla="*/ 163522 h 2641600"/>
                <a:gd name="connsiteX1850" fmla="*/ 2880416 w 3302716"/>
                <a:gd name="connsiteY1850" fmla="*/ 163378 h 2641600"/>
                <a:gd name="connsiteX1851" fmla="*/ 2885749 w 3302716"/>
                <a:gd name="connsiteY1851" fmla="*/ 163836 h 2641600"/>
                <a:gd name="connsiteX1852" fmla="*/ 2891190 w 3302716"/>
                <a:gd name="connsiteY1852" fmla="*/ 164718 h 2641600"/>
                <a:gd name="connsiteX1853" fmla="*/ 2897223 w 3302716"/>
                <a:gd name="connsiteY1853" fmla="*/ 164999 h 2641600"/>
                <a:gd name="connsiteX1854" fmla="*/ 2903364 w 3302716"/>
                <a:gd name="connsiteY1854" fmla="*/ 165705 h 2641600"/>
                <a:gd name="connsiteX1855" fmla="*/ 2910205 w 3302716"/>
                <a:gd name="connsiteY1855" fmla="*/ 166233 h 2641600"/>
                <a:gd name="connsiteX1856" fmla="*/ 2917531 w 3302716"/>
                <a:gd name="connsiteY1856" fmla="*/ 165734 h 2641600"/>
                <a:gd name="connsiteX1857" fmla="*/ 2926852 w 3302716"/>
                <a:gd name="connsiteY1857" fmla="*/ 164279 h 2641600"/>
                <a:gd name="connsiteX1858" fmla="*/ 2936494 w 3302716"/>
                <a:gd name="connsiteY1858" fmla="*/ 164098 h 2641600"/>
                <a:gd name="connsiteX1859" fmla="*/ 2939563 w 3302716"/>
                <a:gd name="connsiteY1859" fmla="*/ 167389 h 2641600"/>
                <a:gd name="connsiteX1860" fmla="*/ 2938052 w 3302716"/>
                <a:gd name="connsiteY1860" fmla="*/ 173196 h 2641600"/>
                <a:gd name="connsiteX1861" fmla="*/ 2933039 w 3302716"/>
                <a:gd name="connsiteY1861" fmla="*/ 179889 h 2641600"/>
                <a:gd name="connsiteX1862" fmla="*/ 2926732 w 3302716"/>
                <a:gd name="connsiteY1862" fmla="*/ 187361 h 2641600"/>
                <a:gd name="connsiteX1863" fmla="*/ 2921018 w 3302716"/>
                <a:gd name="connsiteY1863" fmla="*/ 194231 h 2641600"/>
                <a:gd name="connsiteX1864" fmla="*/ 2916168 w 3302716"/>
                <a:gd name="connsiteY1864" fmla="*/ 198623 h 2641600"/>
                <a:gd name="connsiteX1865" fmla="*/ 2913689 w 3302716"/>
                <a:gd name="connsiteY1865" fmla="*/ 200607 h 2641600"/>
                <a:gd name="connsiteX1866" fmla="*/ 2927804 w 3302716"/>
                <a:gd name="connsiteY1866" fmla="*/ 197485 h 2641600"/>
                <a:gd name="connsiteX1867" fmla="*/ 2936154 w 3302716"/>
                <a:gd name="connsiteY1867" fmla="*/ 198084 h 2641600"/>
                <a:gd name="connsiteX1868" fmla="*/ 2940623 w 3302716"/>
                <a:gd name="connsiteY1868" fmla="*/ 201020 h 2641600"/>
                <a:gd name="connsiteX1869" fmla="*/ 2942614 w 3302716"/>
                <a:gd name="connsiteY1869" fmla="*/ 205940 h 2641600"/>
                <a:gd name="connsiteX1870" fmla="*/ 2942181 w 3302716"/>
                <a:gd name="connsiteY1870" fmla="*/ 210118 h 2641600"/>
                <a:gd name="connsiteX1871" fmla="*/ 2940833 w 3302716"/>
                <a:gd name="connsiteY1871" fmla="*/ 213623 h 2641600"/>
                <a:gd name="connsiteX1872" fmla="*/ 2941048 w 3302716"/>
                <a:gd name="connsiteY1872" fmla="*/ 214473 h 2641600"/>
                <a:gd name="connsiteX1873" fmla="*/ 2943312 w 3302716"/>
                <a:gd name="connsiteY1873" fmla="*/ 211640 h 2641600"/>
                <a:gd name="connsiteX1874" fmla="*/ 2947247 w 3302716"/>
                <a:gd name="connsiteY1874" fmla="*/ 206576 h 2641600"/>
                <a:gd name="connsiteX1875" fmla="*/ 2951882 w 3302716"/>
                <a:gd name="connsiteY1875" fmla="*/ 201335 h 2641600"/>
                <a:gd name="connsiteX1876" fmla="*/ 2955925 w 3302716"/>
                <a:gd name="connsiteY1876" fmla="*/ 196695 h 2641600"/>
                <a:gd name="connsiteX1877" fmla="*/ 2960182 w 3302716"/>
                <a:gd name="connsiteY1877" fmla="*/ 192906 h 2641600"/>
                <a:gd name="connsiteX1878" fmla="*/ 2964763 w 3302716"/>
                <a:gd name="connsiteY1878" fmla="*/ 190390 h 2641600"/>
                <a:gd name="connsiteX1879" fmla="*/ 2968157 w 3302716"/>
                <a:gd name="connsiteY1879" fmla="*/ 189079 h 2641600"/>
                <a:gd name="connsiteX1880" fmla="*/ 2972089 w 3302716"/>
                <a:gd name="connsiteY1880" fmla="*/ 189892 h 2641600"/>
                <a:gd name="connsiteX1881" fmla="*/ 2975051 w 3302716"/>
                <a:gd name="connsiteY1881" fmla="*/ 192758 h 2641600"/>
                <a:gd name="connsiteX1882" fmla="*/ 2978335 w 3302716"/>
                <a:gd name="connsiteY1882" fmla="*/ 196899 h 2641600"/>
                <a:gd name="connsiteX1883" fmla="*/ 2981188 w 3302716"/>
                <a:gd name="connsiteY1883" fmla="*/ 199340 h 2641600"/>
                <a:gd name="connsiteX1884" fmla="*/ 2984312 w 3302716"/>
                <a:gd name="connsiteY1884" fmla="*/ 199905 h 2641600"/>
                <a:gd name="connsiteX1885" fmla="*/ 2986521 w 3302716"/>
                <a:gd name="connsiteY1885" fmla="*/ 199798 h 2641600"/>
                <a:gd name="connsiteX1886" fmla="*/ 2989916 w 3302716"/>
                <a:gd name="connsiteY1886" fmla="*/ 198487 h 2641600"/>
                <a:gd name="connsiteX1887" fmla="*/ 2993095 w 3302716"/>
                <a:gd name="connsiteY1887" fmla="*/ 196326 h 2641600"/>
                <a:gd name="connsiteX1888" fmla="*/ 2996545 w 3302716"/>
                <a:gd name="connsiteY1888" fmla="*/ 192289 h 2641600"/>
                <a:gd name="connsiteX1889" fmla="*/ 3000265 w 3302716"/>
                <a:gd name="connsiteY1889" fmla="*/ 186376 h 2641600"/>
                <a:gd name="connsiteX1890" fmla="*/ 3003500 w 3302716"/>
                <a:gd name="connsiteY1890" fmla="*/ 181489 h 2641600"/>
                <a:gd name="connsiteX1891" fmla="*/ 3006734 w 3302716"/>
                <a:gd name="connsiteY1891" fmla="*/ 176602 h 2641600"/>
                <a:gd name="connsiteX1892" fmla="*/ 3009054 w 3302716"/>
                <a:gd name="connsiteY1892" fmla="*/ 171043 h 2641600"/>
                <a:gd name="connsiteX1893" fmla="*/ 3012989 w 3302716"/>
                <a:gd name="connsiteY1893" fmla="*/ 165979 h 2641600"/>
                <a:gd name="connsiteX1894" fmla="*/ 3017732 w 3302716"/>
                <a:gd name="connsiteY1894" fmla="*/ 161163 h 2641600"/>
                <a:gd name="connsiteX1895" fmla="*/ 3022475 w 3302716"/>
                <a:gd name="connsiteY1895" fmla="*/ 156346 h 2641600"/>
                <a:gd name="connsiteX1896" fmla="*/ 3028833 w 3302716"/>
                <a:gd name="connsiteY1896" fmla="*/ 152025 h 2641600"/>
                <a:gd name="connsiteX1897" fmla="*/ 3034814 w 3302716"/>
                <a:gd name="connsiteY1897" fmla="*/ 149155 h 2641600"/>
                <a:gd name="connsiteX1898" fmla="*/ 3039017 w 3302716"/>
                <a:gd name="connsiteY1898" fmla="*/ 148091 h 2641600"/>
                <a:gd name="connsiteX1899" fmla="*/ 3043920 w 3302716"/>
                <a:gd name="connsiteY1899" fmla="*/ 146850 h 2641600"/>
                <a:gd name="connsiteX1900" fmla="*/ 3048230 w 3302716"/>
                <a:gd name="connsiteY1900" fmla="*/ 146211 h 2641600"/>
                <a:gd name="connsiteX1901" fmla="*/ 1949844 w 3302716"/>
                <a:gd name="connsiteY1901" fmla="*/ 0 h 2641600"/>
                <a:gd name="connsiteX1902" fmla="*/ 1962733 w 3302716"/>
                <a:gd name="connsiteY1902" fmla="*/ 0 h 2641600"/>
                <a:gd name="connsiteX1903" fmla="*/ 1975623 w 3302716"/>
                <a:gd name="connsiteY1903" fmla="*/ 0 h 2641600"/>
                <a:gd name="connsiteX1904" fmla="*/ 1983142 w 3302716"/>
                <a:gd name="connsiteY1904" fmla="*/ 1015 h 2641600"/>
                <a:gd name="connsiteX1905" fmla="*/ 1989587 w 3302716"/>
                <a:gd name="connsiteY1905" fmla="*/ 3045 h 2641600"/>
                <a:gd name="connsiteX1906" fmla="*/ 1997105 w 3302716"/>
                <a:gd name="connsiteY1906" fmla="*/ 7106 h 2641600"/>
                <a:gd name="connsiteX1907" fmla="*/ 2005698 w 3302716"/>
                <a:gd name="connsiteY1907" fmla="*/ 10152 h 2641600"/>
                <a:gd name="connsiteX1908" fmla="*/ 2013217 w 3302716"/>
                <a:gd name="connsiteY1908" fmla="*/ 14213 h 2641600"/>
                <a:gd name="connsiteX1909" fmla="*/ 2020736 w 3302716"/>
                <a:gd name="connsiteY1909" fmla="*/ 15228 h 2641600"/>
                <a:gd name="connsiteX1910" fmla="*/ 2027181 w 3302716"/>
                <a:gd name="connsiteY1910" fmla="*/ 15228 h 2641600"/>
                <a:gd name="connsiteX1911" fmla="*/ 2034700 w 3302716"/>
                <a:gd name="connsiteY1911" fmla="*/ 13197 h 2641600"/>
                <a:gd name="connsiteX1912" fmla="*/ 2040071 w 3302716"/>
                <a:gd name="connsiteY1912" fmla="*/ 13197 h 2641600"/>
                <a:gd name="connsiteX1913" fmla="*/ 2046515 w 3302716"/>
                <a:gd name="connsiteY1913" fmla="*/ 14213 h 2641600"/>
                <a:gd name="connsiteX1914" fmla="*/ 2051886 w 3302716"/>
                <a:gd name="connsiteY1914" fmla="*/ 19289 h 2641600"/>
                <a:gd name="connsiteX1915" fmla="*/ 2056183 w 3302716"/>
                <a:gd name="connsiteY1915" fmla="*/ 25380 h 2641600"/>
                <a:gd name="connsiteX1916" fmla="*/ 2062627 w 3302716"/>
                <a:gd name="connsiteY1916" fmla="*/ 30456 h 2641600"/>
                <a:gd name="connsiteX1917" fmla="*/ 2063701 w 3302716"/>
                <a:gd name="connsiteY1917" fmla="*/ 34517 h 2641600"/>
                <a:gd name="connsiteX1918" fmla="*/ 2056183 w 3302716"/>
                <a:gd name="connsiteY1918" fmla="*/ 40608 h 2641600"/>
                <a:gd name="connsiteX1919" fmla="*/ 2044367 w 3302716"/>
                <a:gd name="connsiteY1919" fmla="*/ 46699 h 2641600"/>
                <a:gd name="connsiteX1920" fmla="*/ 2036848 w 3302716"/>
                <a:gd name="connsiteY1920" fmla="*/ 49745 h 2641600"/>
                <a:gd name="connsiteX1921" fmla="*/ 2032552 w 3302716"/>
                <a:gd name="connsiteY1921" fmla="*/ 53806 h 2641600"/>
                <a:gd name="connsiteX1922" fmla="*/ 2035774 w 3302716"/>
                <a:gd name="connsiteY1922" fmla="*/ 56851 h 2641600"/>
                <a:gd name="connsiteX1923" fmla="*/ 2041145 w 3302716"/>
                <a:gd name="connsiteY1923" fmla="*/ 60912 h 2641600"/>
                <a:gd name="connsiteX1924" fmla="*/ 2045441 w 3302716"/>
                <a:gd name="connsiteY1924" fmla="*/ 63958 h 2641600"/>
                <a:gd name="connsiteX1925" fmla="*/ 2046515 w 3302716"/>
                <a:gd name="connsiteY1925" fmla="*/ 69034 h 2641600"/>
                <a:gd name="connsiteX1926" fmla="*/ 2046515 w 3302716"/>
                <a:gd name="connsiteY1926" fmla="*/ 76140 h 2641600"/>
                <a:gd name="connsiteX1927" fmla="*/ 2044367 w 3302716"/>
                <a:gd name="connsiteY1927" fmla="*/ 82231 h 2641600"/>
                <a:gd name="connsiteX1928" fmla="*/ 2043293 w 3302716"/>
                <a:gd name="connsiteY1928" fmla="*/ 85277 h 2641600"/>
                <a:gd name="connsiteX1929" fmla="*/ 2043293 w 3302716"/>
                <a:gd name="connsiteY1929" fmla="*/ 88323 h 2641600"/>
                <a:gd name="connsiteX1930" fmla="*/ 2046515 w 3302716"/>
                <a:gd name="connsiteY1930" fmla="*/ 93399 h 2641600"/>
                <a:gd name="connsiteX1931" fmla="*/ 2052960 w 3302716"/>
                <a:gd name="connsiteY1931" fmla="*/ 101520 h 2641600"/>
                <a:gd name="connsiteX1932" fmla="*/ 2060479 w 3302716"/>
                <a:gd name="connsiteY1932" fmla="*/ 111672 h 2641600"/>
                <a:gd name="connsiteX1933" fmla="*/ 2062627 w 3302716"/>
                <a:gd name="connsiteY1933" fmla="*/ 123855 h 2641600"/>
                <a:gd name="connsiteX1934" fmla="*/ 2055108 w 3302716"/>
                <a:gd name="connsiteY1934" fmla="*/ 134007 h 2641600"/>
                <a:gd name="connsiteX1935" fmla="*/ 2041145 w 3302716"/>
                <a:gd name="connsiteY1935" fmla="*/ 142128 h 2641600"/>
                <a:gd name="connsiteX1936" fmla="*/ 2031478 w 3302716"/>
                <a:gd name="connsiteY1936" fmla="*/ 148220 h 2641600"/>
                <a:gd name="connsiteX1937" fmla="*/ 2028255 w 3302716"/>
                <a:gd name="connsiteY1937" fmla="*/ 153296 h 2641600"/>
                <a:gd name="connsiteX1938" fmla="*/ 2031478 w 3302716"/>
                <a:gd name="connsiteY1938" fmla="*/ 159387 h 2641600"/>
                <a:gd name="connsiteX1939" fmla="*/ 2041145 w 3302716"/>
                <a:gd name="connsiteY1939" fmla="*/ 165478 h 2641600"/>
                <a:gd name="connsiteX1940" fmla="*/ 2052960 w 3302716"/>
                <a:gd name="connsiteY1940" fmla="*/ 172584 h 2641600"/>
                <a:gd name="connsiteX1941" fmla="*/ 2060479 w 3302716"/>
                <a:gd name="connsiteY1941" fmla="*/ 182736 h 2641600"/>
                <a:gd name="connsiteX1942" fmla="*/ 2060479 w 3302716"/>
                <a:gd name="connsiteY1942" fmla="*/ 191873 h 2641600"/>
                <a:gd name="connsiteX1943" fmla="*/ 2057257 w 3302716"/>
                <a:gd name="connsiteY1943" fmla="*/ 202025 h 2641600"/>
                <a:gd name="connsiteX1944" fmla="*/ 2059405 w 3302716"/>
                <a:gd name="connsiteY1944" fmla="*/ 213193 h 2641600"/>
                <a:gd name="connsiteX1945" fmla="*/ 2060479 w 3302716"/>
                <a:gd name="connsiteY1945" fmla="*/ 222329 h 2641600"/>
                <a:gd name="connsiteX1946" fmla="*/ 2061553 w 3302716"/>
                <a:gd name="connsiteY1946" fmla="*/ 232481 h 2641600"/>
                <a:gd name="connsiteX1947" fmla="*/ 2062627 w 3302716"/>
                <a:gd name="connsiteY1947" fmla="*/ 245679 h 2641600"/>
                <a:gd name="connsiteX1948" fmla="*/ 2064776 w 3302716"/>
                <a:gd name="connsiteY1948" fmla="*/ 257862 h 2641600"/>
                <a:gd name="connsiteX1949" fmla="*/ 2066924 w 3302716"/>
                <a:gd name="connsiteY1949" fmla="*/ 268014 h 2641600"/>
                <a:gd name="connsiteX1950" fmla="*/ 2061553 w 3302716"/>
                <a:gd name="connsiteY1950" fmla="*/ 271059 h 2641600"/>
                <a:gd name="connsiteX1951" fmla="*/ 2054034 w 3302716"/>
                <a:gd name="connsiteY1951" fmla="*/ 269029 h 2641600"/>
                <a:gd name="connsiteX1952" fmla="*/ 2047590 w 3302716"/>
                <a:gd name="connsiteY1952" fmla="*/ 269029 h 2641600"/>
                <a:gd name="connsiteX1953" fmla="*/ 2047590 w 3302716"/>
                <a:gd name="connsiteY1953" fmla="*/ 272074 h 2641600"/>
                <a:gd name="connsiteX1954" fmla="*/ 2055108 w 3302716"/>
                <a:gd name="connsiteY1954" fmla="*/ 283242 h 2641600"/>
                <a:gd name="connsiteX1955" fmla="*/ 2062627 w 3302716"/>
                <a:gd name="connsiteY1955" fmla="*/ 294409 h 2641600"/>
                <a:gd name="connsiteX1956" fmla="*/ 2064776 w 3302716"/>
                <a:gd name="connsiteY1956" fmla="*/ 305576 h 2641600"/>
                <a:gd name="connsiteX1957" fmla="*/ 2063701 w 3302716"/>
                <a:gd name="connsiteY1957" fmla="*/ 313698 h 2641600"/>
                <a:gd name="connsiteX1958" fmla="*/ 2059405 w 3302716"/>
                <a:gd name="connsiteY1958" fmla="*/ 317759 h 2641600"/>
                <a:gd name="connsiteX1959" fmla="*/ 2057257 w 3302716"/>
                <a:gd name="connsiteY1959" fmla="*/ 318774 h 2641600"/>
                <a:gd name="connsiteX1960" fmla="*/ 2055108 w 3302716"/>
                <a:gd name="connsiteY1960" fmla="*/ 318774 h 2641600"/>
                <a:gd name="connsiteX1961" fmla="*/ 2054034 w 3302716"/>
                <a:gd name="connsiteY1961" fmla="*/ 318774 h 2641600"/>
                <a:gd name="connsiteX1962" fmla="*/ 2051886 w 3302716"/>
                <a:gd name="connsiteY1962" fmla="*/ 318774 h 2641600"/>
                <a:gd name="connsiteX1963" fmla="*/ 2043293 w 3302716"/>
                <a:gd name="connsiteY1963" fmla="*/ 317759 h 2641600"/>
                <a:gd name="connsiteX1964" fmla="*/ 2036848 w 3302716"/>
                <a:gd name="connsiteY1964" fmla="*/ 320804 h 2641600"/>
                <a:gd name="connsiteX1965" fmla="*/ 2031478 w 3302716"/>
                <a:gd name="connsiteY1965" fmla="*/ 322835 h 2641600"/>
                <a:gd name="connsiteX1966" fmla="*/ 2027181 w 3302716"/>
                <a:gd name="connsiteY1966" fmla="*/ 323850 h 2641600"/>
                <a:gd name="connsiteX1967" fmla="*/ 2026107 w 3302716"/>
                <a:gd name="connsiteY1967" fmla="*/ 323850 h 2641600"/>
                <a:gd name="connsiteX1968" fmla="*/ 2023959 w 3302716"/>
                <a:gd name="connsiteY1968" fmla="*/ 323850 h 2641600"/>
                <a:gd name="connsiteX1969" fmla="*/ 2022885 w 3302716"/>
                <a:gd name="connsiteY1969" fmla="*/ 322835 h 2641600"/>
                <a:gd name="connsiteX1970" fmla="*/ 2021810 w 3302716"/>
                <a:gd name="connsiteY1970" fmla="*/ 321819 h 2641600"/>
                <a:gd name="connsiteX1971" fmla="*/ 2018588 w 3302716"/>
                <a:gd name="connsiteY1971" fmla="*/ 318774 h 2641600"/>
                <a:gd name="connsiteX1972" fmla="*/ 2013217 w 3302716"/>
                <a:gd name="connsiteY1972" fmla="*/ 317759 h 2641600"/>
                <a:gd name="connsiteX1973" fmla="*/ 2006773 w 3302716"/>
                <a:gd name="connsiteY1973" fmla="*/ 317759 h 2641600"/>
                <a:gd name="connsiteX1974" fmla="*/ 2000328 w 3302716"/>
                <a:gd name="connsiteY1974" fmla="*/ 316743 h 2641600"/>
                <a:gd name="connsiteX1975" fmla="*/ 1996031 w 3302716"/>
                <a:gd name="connsiteY1975" fmla="*/ 315728 h 2641600"/>
                <a:gd name="connsiteX1976" fmla="*/ 1989587 w 3302716"/>
                <a:gd name="connsiteY1976" fmla="*/ 314713 h 2641600"/>
                <a:gd name="connsiteX1977" fmla="*/ 1986364 w 3302716"/>
                <a:gd name="connsiteY1977" fmla="*/ 313698 h 2641600"/>
                <a:gd name="connsiteX1978" fmla="*/ 1983142 w 3302716"/>
                <a:gd name="connsiteY1978" fmla="*/ 309637 h 2641600"/>
                <a:gd name="connsiteX1979" fmla="*/ 1980994 w 3302716"/>
                <a:gd name="connsiteY1979" fmla="*/ 306591 h 2641600"/>
                <a:gd name="connsiteX1980" fmla="*/ 1978845 w 3302716"/>
                <a:gd name="connsiteY1980" fmla="*/ 305576 h 2641600"/>
                <a:gd name="connsiteX1981" fmla="*/ 1974549 w 3302716"/>
                <a:gd name="connsiteY1981" fmla="*/ 305576 h 2641600"/>
                <a:gd name="connsiteX1982" fmla="*/ 1967030 w 3302716"/>
                <a:gd name="connsiteY1982" fmla="*/ 303546 h 2641600"/>
                <a:gd name="connsiteX1983" fmla="*/ 1958437 w 3302716"/>
                <a:gd name="connsiteY1983" fmla="*/ 300500 h 2641600"/>
                <a:gd name="connsiteX1984" fmla="*/ 1950918 w 3302716"/>
                <a:gd name="connsiteY1984" fmla="*/ 297455 h 2641600"/>
                <a:gd name="connsiteX1985" fmla="*/ 1944473 w 3302716"/>
                <a:gd name="connsiteY1985" fmla="*/ 292378 h 2641600"/>
                <a:gd name="connsiteX1986" fmla="*/ 1939102 w 3302716"/>
                <a:gd name="connsiteY1986" fmla="*/ 284257 h 2641600"/>
                <a:gd name="connsiteX1987" fmla="*/ 1936954 w 3302716"/>
                <a:gd name="connsiteY1987" fmla="*/ 276135 h 2641600"/>
                <a:gd name="connsiteX1988" fmla="*/ 1938028 w 3302716"/>
                <a:gd name="connsiteY1988" fmla="*/ 269029 h 2641600"/>
                <a:gd name="connsiteX1989" fmla="*/ 1938028 w 3302716"/>
                <a:gd name="connsiteY1989" fmla="*/ 263953 h 2641600"/>
                <a:gd name="connsiteX1990" fmla="*/ 1936954 w 3302716"/>
                <a:gd name="connsiteY1990" fmla="*/ 262938 h 2641600"/>
                <a:gd name="connsiteX1991" fmla="*/ 1930509 w 3302716"/>
                <a:gd name="connsiteY1991" fmla="*/ 261922 h 2641600"/>
                <a:gd name="connsiteX1992" fmla="*/ 1922991 w 3302716"/>
                <a:gd name="connsiteY1992" fmla="*/ 260907 h 2641600"/>
                <a:gd name="connsiteX1993" fmla="*/ 1915472 w 3302716"/>
                <a:gd name="connsiteY1993" fmla="*/ 256846 h 2641600"/>
                <a:gd name="connsiteX1994" fmla="*/ 1914398 w 3302716"/>
                <a:gd name="connsiteY1994" fmla="*/ 252786 h 2641600"/>
                <a:gd name="connsiteX1995" fmla="*/ 1912249 w 3302716"/>
                <a:gd name="connsiteY1995" fmla="*/ 248725 h 2641600"/>
                <a:gd name="connsiteX1996" fmla="*/ 1906879 w 3302716"/>
                <a:gd name="connsiteY1996" fmla="*/ 245679 h 2641600"/>
                <a:gd name="connsiteX1997" fmla="*/ 1900434 w 3302716"/>
                <a:gd name="connsiteY1997" fmla="*/ 241618 h 2641600"/>
                <a:gd name="connsiteX1998" fmla="*/ 1897211 w 3302716"/>
                <a:gd name="connsiteY1998" fmla="*/ 238573 h 2641600"/>
                <a:gd name="connsiteX1999" fmla="*/ 1893989 w 3302716"/>
                <a:gd name="connsiteY1999" fmla="*/ 233497 h 2641600"/>
                <a:gd name="connsiteX2000" fmla="*/ 1890767 w 3302716"/>
                <a:gd name="connsiteY2000" fmla="*/ 229436 h 2641600"/>
                <a:gd name="connsiteX2001" fmla="*/ 1888618 w 3302716"/>
                <a:gd name="connsiteY2001" fmla="*/ 223345 h 2641600"/>
                <a:gd name="connsiteX2002" fmla="*/ 1891841 w 3302716"/>
                <a:gd name="connsiteY2002" fmla="*/ 215223 h 2641600"/>
                <a:gd name="connsiteX2003" fmla="*/ 1898286 w 3302716"/>
                <a:gd name="connsiteY2003" fmla="*/ 207101 h 2641600"/>
                <a:gd name="connsiteX2004" fmla="*/ 1901508 w 3302716"/>
                <a:gd name="connsiteY2004" fmla="*/ 199995 h 2641600"/>
                <a:gd name="connsiteX2005" fmla="*/ 1903656 w 3302716"/>
                <a:gd name="connsiteY2005" fmla="*/ 193904 h 2641600"/>
                <a:gd name="connsiteX2006" fmla="*/ 1901508 w 3302716"/>
                <a:gd name="connsiteY2006" fmla="*/ 189843 h 2641600"/>
                <a:gd name="connsiteX2007" fmla="*/ 1899360 w 3302716"/>
                <a:gd name="connsiteY2007" fmla="*/ 183752 h 2641600"/>
                <a:gd name="connsiteX2008" fmla="*/ 1898286 w 3302716"/>
                <a:gd name="connsiteY2008" fmla="*/ 178676 h 2641600"/>
                <a:gd name="connsiteX2009" fmla="*/ 1897211 w 3302716"/>
                <a:gd name="connsiteY2009" fmla="*/ 178676 h 2641600"/>
                <a:gd name="connsiteX2010" fmla="*/ 1891841 w 3302716"/>
                <a:gd name="connsiteY2010" fmla="*/ 185782 h 2641600"/>
                <a:gd name="connsiteX2011" fmla="*/ 1887544 w 3302716"/>
                <a:gd name="connsiteY2011" fmla="*/ 195934 h 2641600"/>
                <a:gd name="connsiteX2012" fmla="*/ 1884322 w 3302716"/>
                <a:gd name="connsiteY2012" fmla="*/ 204056 h 2641600"/>
                <a:gd name="connsiteX2013" fmla="*/ 1881099 w 3302716"/>
                <a:gd name="connsiteY2013" fmla="*/ 209132 h 2641600"/>
                <a:gd name="connsiteX2014" fmla="*/ 1876803 w 3302716"/>
                <a:gd name="connsiteY2014" fmla="*/ 208117 h 2641600"/>
                <a:gd name="connsiteX2015" fmla="*/ 1873581 w 3302716"/>
                <a:gd name="connsiteY2015" fmla="*/ 204056 h 2641600"/>
                <a:gd name="connsiteX2016" fmla="*/ 1868210 w 3302716"/>
                <a:gd name="connsiteY2016" fmla="*/ 198980 h 2641600"/>
                <a:gd name="connsiteX2017" fmla="*/ 1863913 w 3302716"/>
                <a:gd name="connsiteY2017" fmla="*/ 193904 h 2641600"/>
                <a:gd name="connsiteX2018" fmla="*/ 1860691 w 3302716"/>
                <a:gd name="connsiteY2018" fmla="*/ 189843 h 2641600"/>
                <a:gd name="connsiteX2019" fmla="*/ 1858543 w 3302716"/>
                <a:gd name="connsiteY2019" fmla="*/ 180706 h 2641600"/>
                <a:gd name="connsiteX2020" fmla="*/ 1855320 w 3302716"/>
                <a:gd name="connsiteY2020" fmla="*/ 168524 h 2641600"/>
                <a:gd name="connsiteX2021" fmla="*/ 1851024 w 3302716"/>
                <a:gd name="connsiteY2021" fmla="*/ 155326 h 2641600"/>
                <a:gd name="connsiteX2022" fmla="*/ 1851024 w 3302716"/>
                <a:gd name="connsiteY2022" fmla="*/ 145174 h 2641600"/>
                <a:gd name="connsiteX2023" fmla="*/ 1852098 w 3302716"/>
                <a:gd name="connsiteY2023" fmla="*/ 137052 h 2641600"/>
                <a:gd name="connsiteX2024" fmla="*/ 1853172 w 3302716"/>
                <a:gd name="connsiteY2024" fmla="*/ 130961 h 2641600"/>
                <a:gd name="connsiteX2025" fmla="*/ 1857469 w 3302716"/>
                <a:gd name="connsiteY2025" fmla="*/ 125885 h 2641600"/>
                <a:gd name="connsiteX2026" fmla="*/ 1863913 w 3302716"/>
                <a:gd name="connsiteY2026" fmla="*/ 122839 h 2641600"/>
                <a:gd name="connsiteX2027" fmla="*/ 1871432 w 3302716"/>
                <a:gd name="connsiteY2027" fmla="*/ 121824 h 2641600"/>
                <a:gd name="connsiteX2028" fmla="*/ 1875729 w 3302716"/>
                <a:gd name="connsiteY2028" fmla="*/ 120809 h 2641600"/>
                <a:gd name="connsiteX2029" fmla="*/ 1880025 w 3302716"/>
                <a:gd name="connsiteY2029" fmla="*/ 120809 h 2641600"/>
                <a:gd name="connsiteX2030" fmla="*/ 1883248 w 3302716"/>
                <a:gd name="connsiteY2030" fmla="*/ 121824 h 2641600"/>
                <a:gd name="connsiteX2031" fmla="*/ 1884322 w 3302716"/>
                <a:gd name="connsiteY2031" fmla="*/ 120809 h 2641600"/>
                <a:gd name="connsiteX2032" fmla="*/ 1883248 w 3302716"/>
                <a:gd name="connsiteY2032" fmla="*/ 115733 h 2641600"/>
                <a:gd name="connsiteX2033" fmla="*/ 1881099 w 3302716"/>
                <a:gd name="connsiteY2033" fmla="*/ 109642 h 2641600"/>
                <a:gd name="connsiteX2034" fmla="*/ 1876803 w 3302716"/>
                <a:gd name="connsiteY2034" fmla="*/ 105581 h 2641600"/>
                <a:gd name="connsiteX2035" fmla="*/ 1875729 w 3302716"/>
                <a:gd name="connsiteY2035" fmla="*/ 101520 h 2641600"/>
                <a:gd name="connsiteX2036" fmla="*/ 1876803 w 3302716"/>
                <a:gd name="connsiteY2036" fmla="*/ 96444 h 2641600"/>
                <a:gd name="connsiteX2037" fmla="*/ 1881099 w 3302716"/>
                <a:gd name="connsiteY2037" fmla="*/ 91368 h 2641600"/>
                <a:gd name="connsiteX2038" fmla="*/ 1884322 w 3302716"/>
                <a:gd name="connsiteY2038" fmla="*/ 86292 h 2641600"/>
                <a:gd name="connsiteX2039" fmla="*/ 1889693 w 3302716"/>
                <a:gd name="connsiteY2039" fmla="*/ 82231 h 2641600"/>
                <a:gd name="connsiteX2040" fmla="*/ 1898286 w 3302716"/>
                <a:gd name="connsiteY2040" fmla="*/ 75125 h 2641600"/>
                <a:gd name="connsiteX2041" fmla="*/ 1909027 w 3302716"/>
                <a:gd name="connsiteY2041" fmla="*/ 72079 h 2641600"/>
                <a:gd name="connsiteX2042" fmla="*/ 1918694 w 3302716"/>
                <a:gd name="connsiteY2042" fmla="*/ 76140 h 2641600"/>
                <a:gd name="connsiteX2043" fmla="*/ 1926213 w 3302716"/>
                <a:gd name="connsiteY2043" fmla="*/ 83247 h 2641600"/>
                <a:gd name="connsiteX2044" fmla="*/ 1931584 w 3302716"/>
                <a:gd name="connsiteY2044" fmla="*/ 88323 h 2641600"/>
                <a:gd name="connsiteX2045" fmla="*/ 1933732 w 3302716"/>
                <a:gd name="connsiteY2045" fmla="*/ 91368 h 2641600"/>
                <a:gd name="connsiteX2046" fmla="*/ 1939102 w 3302716"/>
                <a:gd name="connsiteY2046" fmla="*/ 90353 h 2641600"/>
                <a:gd name="connsiteX2047" fmla="*/ 1945547 w 3302716"/>
                <a:gd name="connsiteY2047" fmla="*/ 86292 h 2641600"/>
                <a:gd name="connsiteX2048" fmla="*/ 1954140 w 3302716"/>
                <a:gd name="connsiteY2048" fmla="*/ 80201 h 2641600"/>
                <a:gd name="connsiteX2049" fmla="*/ 1962733 w 3302716"/>
                <a:gd name="connsiteY2049" fmla="*/ 73094 h 2641600"/>
                <a:gd name="connsiteX2050" fmla="*/ 1970252 w 3302716"/>
                <a:gd name="connsiteY2050" fmla="*/ 63958 h 2641600"/>
                <a:gd name="connsiteX2051" fmla="*/ 1972400 w 3302716"/>
                <a:gd name="connsiteY2051" fmla="*/ 56851 h 2641600"/>
                <a:gd name="connsiteX2052" fmla="*/ 1972400 w 3302716"/>
                <a:gd name="connsiteY2052" fmla="*/ 55836 h 2641600"/>
                <a:gd name="connsiteX2053" fmla="*/ 1969178 w 3302716"/>
                <a:gd name="connsiteY2053" fmla="*/ 57866 h 2641600"/>
                <a:gd name="connsiteX2054" fmla="*/ 1961659 w 3302716"/>
                <a:gd name="connsiteY2054" fmla="*/ 63958 h 2641600"/>
                <a:gd name="connsiteX2055" fmla="*/ 1950918 w 3302716"/>
                <a:gd name="connsiteY2055" fmla="*/ 68018 h 2641600"/>
                <a:gd name="connsiteX2056" fmla="*/ 1942325 w 3302716"/>
                <a:gd name="connsiteY2056" fmla="*/ 68018 h 2641600"/>
                <a:gd name="connsiteX2057" fmla="*/ 1939102 w 3302716"/>
                <a:gd name="connsiteY2057" fmla="*/ 61927 h 2641600"/>
                <a:gd name="connsiteX2058" fmla="*/ 1941251 w 3302716"/>
                <a:gd name="connsiteY2058" fmla="*/ 52790 h 2641600"/>
                <a:gd name="connsiteX2059" fmla="*/ 1945547 w 3302716"/>
                <a:gd name="connsiteY2059" fmla="*/ 49745 h 2641600"/>
                <a:gd name="connsiteX2060" fmla="*/ 1950918 w 3302716"/>
                <a:gd name="connsiteY2060" fmla="*/ 42638 h 2641600"/>
                <a:gd name="connsiteX2061" fmla="*/ 1955214 w 3302716"/>
                <a:gd name="connsiteY2061" fmla="*/ 36547 h 2641600"/>
                <a:gd name="connsiteX2062" fmla="*/ 1953066 w 3302716"/>
                <a:gd name="connsiteY2062" fmla="*/ 29441 h 2641600"/>
                <a:gd name="connsiteX2063" fmla="*/ 1945547 w 3302716"/>
                <a:gd name="connsiteY2063" fmla="*/ 25380 h 2641600"/>
                <a:gd name="connsiteX2064" fmla="*/ 1939102 w 3302716"/>
                <a:gd name="connsiteY2064" fmla="*/ 23350 h 2641600"/>
                <a:gd name="connsiteX2065" fmla="*/ 1934806 w 3302716"/>
                <a:gd name="connsiteY2065" fmla="*/ 18273 h 2641600"/>
                <a:gd name="connsiteX2066" fmla="*/ 1936954 w 3302716"/>
                <a:gd name="connsiteY2066" fmla="*/ 11167 h 2641600"/>
                <a:gd name="connsiteX2067" fmla="*/ 1939102 w 3302716"/>
                <a:gd name="connsiteY2067" fmla="*/ 4061 h 2641600"/>
                <a:gd name="connsiteX2068" fmla="*/ 1942325 w 3302716"/>
                <a:gd name="connsiteY2068" fmla="*/ 1015 h 264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</a:cxnLst>
              <a:rect l="l" t="t" r="r" b="b"/>
              <a:pathLst>
                <a:path w="3302716" h="2641600">
                  <a:moveTo>
                    <a:pt x="2559049" y="2582862"/>
                  </a:moveTo>
                  <a:lnTo>
                    <a:pt x="2592386" y="2583921"/>
                  </a:lnTo>
                  <a:lnTo>
                    <a:pt x="2589211" y="2601912"/>
                  </a:lnTo>
                  <a:lnTo>
                    <a:pt x="2555874" y="2596621"/>
                  </a:lnTo>
                  <a:close/>
                  <a:moveTo>
                    <a:pt x="2363209" y="2508250"/>
                  </a:moveTo>
                  <a:lnTo>
                    <a:pt x="2425554" y="2508250"/>
                  </a:lnTo>
                  <a:lnTo>
                    <a:pt x="2472313" y="2532062"/>
                  </a:lnTo>
                  <a:lnTo>
                    <a:pt x="2503486" y="2547937"/>
                  </a:lnTo>
                  <a:lnTo>
                    <a:pt x="2441140" y="2540000"/>
                  </a:lnTo>
                  <a:lnTo>
                    <a:pt x="2417761" y="2555875"/>
                  </a:lnTo>
                  <a:lnTo>
                    <a:pt x="2386588" y="2555875"/>
                  </a:lnTo>
                  <a:lnTo>
                    <a:pt x="2371002" y="2547937"/>
                  </a:lnTo>
                  <a:lnTo>
                    <a:pt x="2332036" y="2532062"/>
                  </a:lnTo>
                  <a:lnTo>
                    <a:pt x="2363209" y="2524125"/>
                  </a:lnTo>
                  <a:close/>
                  <a:moveTo>
                    <a:pt x="2118948" y="2422525"/>
                  </a:moveTo>
                  <a:cubicBezTo>
                    <a:pt x="2205762" y="2422525"/>
                    <a:pt x="2205762" y="2422525"/>
                    <a:pt x="2205762" y="2422525"/>
                  </a:cubicBezTo>
                  <a:cubicBezTo>
                    <a:pt x="2261007" y="2445861"/>
                    <a:pt x="2261007" y="2445861"/>
                    <a:pt x="2261007" y="2445861"/>
                  </a:cubicBezTo>
                  <a:cubicBezTo>
                    <a:pt x="2261007" y="2445861"/>
                    <a:pt x="2268899" y="2461418"/>
                    <a:pt x="2276791" y="2469197"/>
                  </a:cubicBezTo>
                  <a:cubicBezTo>
                    <a:pt x="2292575" y="2476976"/>
                    <a:pt x="2316252" y="2476976"/>
                    <a:pt x="2316252" y="2476976"/>
                  </a:cubicBezTo>
                  <a:cubicBezTo>
                    <a:pt x="2332036" y="2492533"/>
                    <a:pt x="2332036" y="2492533"/>
                    <a:pt x="2332036" y="2492533"/>
                  </a:cubicBezTo>
                  <a:cubicBezTo>
                    <a:pt x="2332036" y="2492533"/>
                    <a:pt x="2332036" y="2500312"/>
                    <a:pt x="2316252" y="2500312"/>
                  </a:cubicBezTo>
                  <a:cubicBezTo>
                    <a:pt x="2300467" y="2500312"/>
                    <a:pt x="2253114" y="2500312"/>
                    <a:pt x="2253114" y="2500312"/>
                  </a:cubicBezTo>
                  <a:cubicBezTo>
                    <a:pt x="2237330" y="2484754"/>
                    <a:pt x="2237330" y="2484754"/>
                    <a:pt x="2237330" y="2484754"/>
                  </a:cubicBezTo>
                  <a:cubicBezTo>
                    <a:pt x="2221546" y="2461418"/>
                    <a:pt x="2221546" y="2461418"/>
                    <a:pt x="2221546" y="2461418"/>
                  </a:cubicBezTo>
                  <a:cubicBezTo>
                    <a:pt x="2174193" y="2453640"/>
                    <a:pt x="2174193" y="2453640"/>
                    <a:pt x="2174193" y="2453640"/>
                  </a:cubicBezTo>
                  <a:cubicBezTo>
                    <a:pt x="2126840" y="2453640"/>
                    <a:pt x="2126840" y="2453640"/>
                    <a:pt x="2126840" y="2453640"/>
                  </a:cubicBezTo>
                  <a:cubicBezTo>
                    <a:pt x="2095272" y="2453640"/>
                    <a:pt x="2095272" y="2453640"/>
                    <a:pt x="2095272" y="2453640"/>
                  </a:cubicBezTo>
                  <a:cubicBezTo>
                    <a:pt x="2055811" y="2445861"/>
                    <a:pt x="2055811" y="2445861"/>
                    <a:pt x="2055811" y="2445861"/>
                  </a:cubicBezTo>
                  <a:lnTo>
                    <a:pt x="2071595" y="2430304"/>
                  </a:lnTo>
                  <a:cubicBezTo>
                    <a:pt x="2118948" y="2422525"/>
                    <a:pt x="2118948" y="2422525"/>
                    <a:pt x="2118948" y="2422525"/>
                  </a:cubicBezTo>
                  <a:close/>
                  <a:moveTo>
                    <a:pt x="2079418" y="1711621"/>
                  </a:moveTo>
                  <a:lnTo>
                    <a:pt x="2126206" y="1812416"/>
                  </a:lnTo>
                  <a:lnTo>
                    <a:pt x="2126206" y="1859157"/>
                  </a:lnTo>
                  <a:lnTo>
                    <a:pt x="2127911" y="1858642"/>
                  </a:lnTo>
                  <a:lnTo>
                    <a:pt x="2127911" y="1813735"/>
                  </a:lnTo>
                  <a:lnTo>
                    <a:pt x="2080873" y="1712303"/>
                  </a:lnTo>
                  <a:close/>
                  <a:moveTo>
                    <a:pt x="2795587" y="1516062"/>
                  </a:moveTo>
                  <a:lnTo>
                    <a:pt x="2795587" y="1539460"/>
                  </a:lnTo>
                  <a:lnTo>
                    <a:pt x="2779712" y="1570658"/>
                  </a:lnTo>
                  <a:lnTo>
                    <a:pt x="2787649" y="1586257"/>
                  </a:lnTo>
                  <a:lnTo>
                    <a:pt x="2851149" y="1617455"/>
                  </a:lnTo>
                  <a:lnTo>
                    <a:pt x="2867024" y="1656452"/>
                  </a:lnTo>
                  <a:lnTo>
                    <a:pt x="2867024" y="1687650"/>
                  </a:lnTo>
                  <a:lnTo>
                    <a:pt x="2835274" y="1695450"/>
                  </a:lnTo>
                  <a:lnTo>
                    <a:pt x="2819399" y="1672051"/>
                  </a:lnTo>
                  <a:lnTo>
                    <a:pt x="2795587" y="1679851"/>
                  </a:lnTo>
                  <a:lnTo>
                    <a:pt x="2771774" y="1664252"/>
                  </a:lnTo>
                  <a:lnTo>
                    <a:pt x="2732087" y="1656452"/>
                  </a:lnTo>
                  <a:lnTo>
                    <a:pt x="2708274" y="1664252"/>
                  </a:lnTo>
                  <a:lnTo>
                    <a:pt x="2708274" y="1633054"/>
                  </a:lnTo>
                  <a:lnTo>
                    <a:pt x="2716212" y="1609656"/>
                  </a:lnTo>
                  <a:lnTo>
                    <a:pt x="2755899" y="1547260"/>
                  </a:lnTo>
                  <a:close/>
                  <a:moveTo>
                    <a:pt x="2089290" y="790575"/>
                  </a:moveTo>
                  <a:lnTo>
                    <a:pt x="2095710" y="791589"/>
                  </a:lnTo>
                  <a:lnTo>
                    <a:pt x="2102131" y="793616"/>
                  </a:lnTo>
                  <a:lnTo>
                    <a:pt x="2105341" y="799700"/>
                  </a:lnTo>
                  <a:lnTo>
                    <a:pt x="2108552" y="808824"/>
                  </a:lnTo>
                  <a:lnTo>
                    <a:pt x="2110692" y="816935"/>
                  </a:lnTo>
                  <a:lnTo>
                    <a:pt x="2111762" y="820991"/>
                  </a:lnTo>
                  <a:lnTo>
                    <a:pt x="2116042" y="820991"/>
                  </a:lnTo>
                  <a:lnTo>
                    <a:pt x="2119252" y="818963"/>
                  </a:lnTo>
                  <a:lnTo>
                    <a:pt x="2123533" y="815922"/>
                  </a:lnTo>
                  <a:lnTo>
                    <a:pt x="2127813" y="813894"/>
                  </a:lnTo>
                  <a:lnTo>
                    <a:pt x="2134234" y="813894"/>
                  </a:lnTo>
                  <a:lnTo>
                    <a:pt x="2141724" y="814908"/>
                  </a:lnTo>
                  <a:lnTo>
                    <a:pt x="2151355" y="816935"/>
                  </a:lnTo>
                  <a:lnTo>
                    <a:pt x="2159916" y="820991"/>
                  </a:lnTo>
                  <a:lnTo>
                    <a:pt x="2167406" y="824032"/>
                  </a:lnTo>
                  <a:lnTo>
                    <a:pt x="2172757" y="831129"/>
                  </a:lnTo>
                  <a:lnTo>
                    <a:pt x="2175967" y="839240"/>
                  </a:lnTo>
                  <a:lnTo>
                    <a:pt x="2181318" y="845324"/>
                  </a:lnTo>
                  <a:lnTo>
                    <a:pt x="2183458" y="849379"/>
                  </a:lnTo>
                  <a:lnTo>
                    <a:pt x="2184528" y="850393"/>
                  </a:lnTo>
                  <a:lnTo>
                    <a:pt x="2207000" y="850393"/>
                  </a:lnTo>
                  <a:lnTo>
                    <a:pt x="2209140" y="851407"/>
                  </a:lnTo>
                  <a:lnTo>
                    <a:pt x="2215560" y="853435"/>
                  </a:lnTo>
                  <a:lnTo>
                    <a:pt x="2220911" y="858504"/>
                  </a:lnTo>
                  <a:lnTo>
                    <a:pt x="2218771" y="862559"/>
                  </a:lnTo>
                  <a:lnTo>
                    <a:pt x="2214490" y="867629"/>
                  </a:lnTo>
                  <a:lnTo>
                    <a:pt x="2211280" y="869656"/>
                  </a:lnTo>
                  <a:lnTo>
                    <a:pt x="2209140" y="872698"/>
                  </a:lnTo>
                  <a:lnTo>
                    <a:pt x="2205930" y="874726"/>
                  </a:lnTo>
                  <a:lnTo>
                    <a:pt x="2202719" y="874726"/>
                  </a:lnTo>
                  <a:lnTo>
                    <a:pt x="2200579" y="874726"/>
                  </a:lnTo>
                  <a:lnTo>
                    <a:pt x="2198439" y="873712"/>
                  </a:lnTo>
                  <a:lnTo>
                    <a:pt x="2192018" y="870670"/>
                  </a:lnTo>
                  <a:lnTo>
                    <a:pt x="2184528" y="868643"/>
                  </a:lnTo>
                  <a:lnTo>
                    <a:pt x="2178107" y="866615"/>
                  </a:lnTo>
                  <a:lnTo>
                    <a:pt x="2173827" y="865601"/>
                  </a:lnTo>
                  <a:lnTo>
                    <a:pt x="2168477" y="862559"/>
                  </a:lnTo>
                  <a:lnTo>
                    <a:pt x="2164196" y="859518"/>
                  </a:lnTo>
                  <a:lnTo>
                    <a:pt x="2158846" y="857490"/>
                  </a:lnTo>
                  <a:lnTo>
                    <a:pt x="2153495" y="857490"/>
                  </a:lnTo>
                  <a:lnTo>
                    <a:pt x="2151355" y="861545"/>
                  </a:lnTo>
                  <a:lnTo>
                    <a:pt x="2152425" y="869656"/>
                  </a:lnTo>
                  <a:lnTo>
                    <a:pt x="2153495" y="876753"/>
                  </a:lnTo>
                  <a:lnTo>
                    <a:pt x="2153495" y="883851"/>
                  </a:lnTo>
                  <a:lnTo>
                    <a:pt x="2149215" y="887906"/>
                  </a:lnTo>
                  <a:lnTo>
                    <a:pt x="2141724" y="890948"/>
                  </a:lnTo>
                  <a:lnTo>
                    <a:pt x="2138514" y="893989"/>
                  </a:lnTo>
                  <a:lnTo>
                    <a:pt x="2137444" y="899058"/>
                  </a:lnTo>
                  <a:lnTo>
                    <a:pt x="2136374" y="903114"/>
                  </a:lnTo>
                  <a:lnTo>
                    <a:pt x="2133164" y="906156"/>
                  </a:lnTo>
                  <a:lnTo>
                    <a:pt x="2127813" y="909197"/>
                  </a:lnTo>
                  <a:lnTo>
                    <a:pt x="2123533" y="911225"/>
                  </a:lnTo>
                  <a:lnTo>
                    <a:pt x="2119252" y="908183"/>
                  </a:lnTo>
                  <a:lnTo>
                    <a:pt x="2118182" y="903114"/>
                  </a:lnTo>
                  <a:lnTo>
                    <a:pt x="2117112" y="897031"/>
                  </a:lnTo>
                  <a:lnTo>
                    <a:pt x="2112832" y="891961"/>
                  </a:lnTo>
                  <a:lnTo>
                    <a:pt x="2107481" y="890948"/>
                  </a:lnTo>
                  <a:lnTo>
                    <a:pt x="2101061" y="890948"/>
                  </a:lnTo>
                  <a:lnTo>
                    <a:pt x="2097851" y="891961"/>
                  </a:lnTo>
                  <a:lnTo>
                    <a:pt x="2094640" y="892975"/>
                  </a:lnTo>
                  <a:lnTo>
                    <a:pt x="2087150" y="896017"/>
                  </a:lnTo>
                  <a:lnTo>
                    <a:pt x="2079659" y="897031"/>
                  </a:lnTo>
                  <a:lnTo>
                    <a:pt x="2076449" y="892975"/>
                  </a:lnTo>
                  <a:lnTo>
                    <a:pt x="2077519" y="888920"/>
                  </a:lnTo>
                  <a:lnTo>
                    <a:pt x="2080729" y="881823"/>
                  </a:lnTo>
                  <a:lnTo>
                    <a:pt x="2086080" y="875740"/>
                  </a:lnTo>
                  <a:lnTo>
                    <a:pt x="2089290" y="873712"/>
                  </a:lnTo>
                  <a:lnTo>
                    <a:pt x="2093570" y="870670"/>
                  </a:lnTo>
                  <a:lnTo>
                    <a:pt x="2093570" y="866615"/>
                  </a:lnTo>
                  <a:lnTo>
                    <a:pt x="2091430" y="859518"/>
                  </a:lnTo>
                  <a:lnTo>
                    <a:pt x="2089290" y="852421"/>
                  </a:lnTo>
                  <a:lnTo>
                    <a:pt x="2088220" y="846337"/>
                  </a:lnTo>
                  <a:lnTo>
                    <a:pt x="2089290" y="839240"/>
                  </a:lnTo>
                  <a:lnTo>
                    <a:pt x="2089290" y="835185"/>
                  </a:lnTo>
                  <a:lnTo>
                    <a:pt x="2087150" y="830116"/>
                  </a:lnTo>
                  <a:lnTo>
                    <a:pt x="2085010" y="826060"/>
                  </a:lnTo>
                  <a:lnTo>
                    <a:pt x="2085010" y="816935"/>
                  </a:lnTo>
                  <a:lnTo>
                    <a:pt x="2085010" y="806797"/>
                  </a:lnTo>
                  <a:lnTo>
                    <a:pt x="2085010" y="798686"/>
                  </a:lnTo>
                  <a:lnTo>
                    <a:pt x="2086080" y="792603"/>
                  </a:lnTo>
                  <a:close/>
                  <a:moveTo>
                    <a:pt x="2239961" y="739775"/>
                  </a:moveTo>
                  <a:lnTo>
                    <a:pt x="2241866" y="739775"/>
                  </a:lnTo>
                  <a:lnTo>
                    <a:pt x="2243136" y="741362"/>
                  </a:lnTo>
                  <a:lnTo>
                    <a:pt x="2243136" y="743744"/>
                  </a:lnTo>
                  <a:lnTo>
                    <a:pt x="2243136" y="744537"/>
                  </a:lnTo>
                  <a:lnTo>
                    <a:pt x="2243136" y="746125"/>
                  </a:lnTo>
                  <a:lnTo>
                    <a:pt x="2241231" y="743744"/>
                  </a:lnTo>
                  <a:lnTo>
                    <a:pt x="2239961" y="740569"/>
                  </a:lnTo>
                  <a:close/>
                  <a:moveTo>
                    <a:pt x="1822166" y="407987"/>
                  </a:moveTo>
                  <a:lnTo>
                    <a:pt x="1869204" y="486012"/>
                  </a:lnTo>
                  <a:lnTo>
                    <a:pt x="1884883" y="556234"/>
                  </a:lnTo>
                  <a:lnTo>
                    <a:pt x="1916241" y="610852"/>
                  </a:lnTo>
                  <a:lnTo>
                    <a:pt x="1931920" y="649864"/>
                  </a:lnTo>
                  <a:lnTo>
                    <a:pt x="1963279" y="610852"/>
                  </a:lnTo>
                  <a:lnTo>
                    <a:pt x="1986798" y="642061"/>
                  </a:lnTo>
                  <a:lnTo>
                    <a:pt x="2002477" y="727889"/>
                  </a:lnTo>
                  <a:lnTo>
                    <a:pt x="2049515" y="657666"/>
                  </a:lnTo>
                  <a:lnTo>
                    <a:pt x="2060986" y="600583"/>
                  </a:lnTo>
                  <a:lnTo>
                    <a:pt x="2054209" y="599786"/>
                  </a:lnTo>
                  <a:lnTo>
                    <a:pt x="2040216" y="596747"/>
                  </a:lnTo>
                  <a:lnTo>
                    <a:pt x="2035910" y="592696"/>
                  </a:lnTo>
                  <a:lnTo>
                    <a:pt x="2031604" y="590670"/>
                  </a:lnTo>
                  <a:lnTo>
                    <a:pt x="2025146" y="591683"/>
                  </a:lnTo>
                  <a:lnTo>
                    <a:pt x="2015458" y="596747"/>
                  </a:lnTo>
                  <a:lnTo>
                    <a:pt x="2011152" y="598773"/>
                  </a:lnTo>
                  <a:lnTo>
                    <a:pt x="2006847" y="598773"/>
                  </a:lnTo>
                  <a:lnTo>
                    <a:pt x="1998235" y="593709"/>
                  </a:lnTo>
                  <a:lnTo>
                    <a:pt x="1992853" y="590670"/>
                  </a:lnTo>
                  <a:lnTo>
                    <a:pt x="1986395" y="586619"/>
                  </a:lnTo>
                  <a:lnTo>
                    <a:pt x="1979936" y="583581"/>
                  </a:lnTo>
                  <a:lnTo>
                    <a:pt x="1974554" y="581555"/>
                  </a:lnTo>
                  <a:lnTo>
                    <a:pt x="1971325" y="578517"/>
                  </a:lnTo>
                  <a:lnTo>
                    <a:pt x="1970249" y="575479"/>
                  </a:lnTo>
                  <a:lnTo>
                    <a:pt x="1972401" y="573453"/>
                  </a:lnTo>
                  <a:lnTo>
                    <a:pt x="1977784" y="570415"/>
                  </a:lnTo>
                  <a:lnTo>
                    <a:pt x="1985318" y="568389"/>
                  </a:lnTo>
                  <a:lnTo>
                    <a:pt x="1992853" y="567376"/>
                  </a:lnTo>
                  <a:lnTo>
                    <a:pt x="1999312" y="566364"/>
                  </a:lnTo>
                  <a:lnTo>
                    <a:pt x="2004694" y="565351"/>
                  </a:lnTo>
                  <a:lnTo>
                    <a:pt x="2009000" y="563325"/>
                  </a:lnTo>
                  <a:lnTo>
                    <a:pt x="2009000" y="562312"/>
                  </a:lnTo>
                  <a:lnTo>
                    <a:pt x="2005770" y="560287"/>
                  </a:lnTo>
                  <a:lnTo>
                    <a:pt x="1998235" y="558261"/>
                  </a:lnTo>
                  <a:lnTo>
                    <a:pt x="1989624" y="555223"/>
                  </a:lnTo>
                  <a:lnTo>
                    <a:pt x="1981013" y="553197"/>
                  </a:lnTo>
                  <a:lnTo>
                    <a:pt x="1974554" y="552185"/>
                  </a:lnTo>
                  <a:lnTo>
                    <a:pt x="1970249" y="551172"/>
                  </a:lnTo>
                  <a:lnTo>
                    <a:pt x="1964867" y="548133"/>
                  </a:lnTo>
                  <a:lnTo>
                    <a:pt x="1962714" y="546108"/>
                  </a:lnTo>
                  <a:lnTo>
                    <a:pt x="1960561" y="542057"/>
                  </a:lnTo>
                  <a:lnTo>
                    <a:pt x="1960561" y="534967"/>
                  </a:lnTo>
                  <a:lnTo>
                    <a:pt x="1960561" y="522814"/>
                  </a:lnTo>
                  <a:lnTo>
                    <a:pt x="1960561" y="514712"/>
                  </a:lnTo>
                  <a:lnTo>
                    <a:pt x="1960561" y="505597"/>
                  </a:lnTo>
                  <a:lnTo>
                    <a:pt x="1961637" y="489392"/>
                  </a:lnTo>
                  <a:lnTo>
                    <a:pt x="1965943" y="468123"/>
                  </a:lnTo>
                  <a:lnTo>
                    <a:pt x="1973478" y="449893"/>
                  </a:lnTo>
                  <a:lnTo>
                    <a:pt x="1984242" y="437740"/>
                  </a:lnTo>
                  <a:lnTo>
                    <a:pt x="1993930" y="431663"/>
                  </a:lnTo>
                  <a:lnTo>
                    <a:pt x="2002541" y="431663"/>
                  </a:lnTo>
                  <a:lnTo>
                    <a:pt x="2010076" y="434702"/>
                  </a:lnTo>
                  <a:lnTo>
                    <a:pt x="2014382" y="438753"/>
                  </a:lnTo>
                  <a:lnTo>
                    <a:pt x="2013305" y="447868"/>
                  </a:lnTo>
                  <a:lnTo>
                    <a:pt x="2006847" y="469136"/>
                  </a:lnTo>
                  <a:lnTo>
                    <a:pt x="2005770" y="485341"/>
                  </a:lnTo>
                  <a:lnTo>
                    <a:pt x="2009000" y="499520"/>
                  </a:lnTo>
                  <a:lnTo>
                    <a:pt x="2014382" y="509648"/>
                  </a:lnTo>
                  <a:lnTo>
                    <a:pt x="2020840" y="519776"/>
                  </a:lnTo>
                  <a:lnTo>
                    <a:pt x="2027299" y="526865"/>
                  </a:lnTo>
                  <a:lnTo>
                    <a:pt x="2033757" y="531929"/>
                  </a:lnTo>
                  <a:lnTo>
                    <a:pt x="2034654" y="533616"/>
                  </a:lnTo>
                  <a:lnTo>
                    <a:pt x="2035910" y="536993"/>
                  </a:lnTo>
                  <a:lnTo>
                    <a:pt x="2036986" y="538006"/>
                  </a:lnTo>
                  <a:lnTo>
                    <a:pt x="2034654" y="533616"/>
                  </a:lnTo>
                  <a:lnTo>
                    <a:pt x="2028375" y="516737"/>
                  </a:lnTo>
                  <a:lnTo>
                    <a:pt x="2020840" y="491418"/>
                  </a:lnTo>
                  <a:lnTo>
                    <a:pt x="2019764" y="470149"/>
                  </a:lnTo>
                  <a:lnTo>
                    <a:pt x="2022993" y="454957"/>
                  </a:lnTo>
                  <a:lnTo>
                    <a:pt x="2027299" y="440778"/>
                  </a:lnTo>
                  <a:lnTo>
                    <a:pt x="2034834" y="431663"/>
                  </a:lnTo>
                  <a:lnTo>
                    <a:pt x="2045598" y="428625"/>
                  </a:lnTo>
                  <a:lnTo>
                    <a:pt x="2058515" y="430650"/>
                  </a:lnTo>
                  <a:lnTo>
                    <a:pt x="2068203" y="435714"/>
                  </a:lnTo>
                  <a:lnTo>
                    <a:pt x="2074661" y="442804"/>
                  </a:lnTo>
                  <a:lnTo>
                    <a:pt x="2077890" y="449893"/>
                  </a:lnTo>
                  <a:lnTo>
                    <a:pt x="2080043" y="454957"/>
                  </a:lnTo>
                  <a:lnTo>
                    <a:pt x="2083272" y="461034"/>
                  </a:lnTo>
                  <a:lnTo>
                    <a:pt x="2084349" y="468123"/>
                  </a:lnTo>
                  <a:lnTo>
                    <a:pt x="2085425" y="476226"/>
                  </a:lnTo>
                  <a:lnTo>
                    <a:pt x="2087578" y="482302"/>
                  </a:lnTo>
                  <a:lnTo>
                    <a:pt x="2094037" y="483315"/>
                  </a:lnTo>
                  <a:lnTo>
                    <a:pt x="2102648" y="481290"/>
                  </a:lnTo>
                  <a:lnTo>
                    <a:pt x="2111259" y="476226"/>
                  </a:lnTo>
                  <a:lnTo>
                    <a:pt x="2117718" y="470149"/>
                  </a:lnTo>
                  <a:lnTo>
                    <a:pt x="2118794" y="465085"/>
                  </a:lnTo>
                  <a:lnTo>
                    <a:pt x="2120947" y="460021"/>
                  </a:lnTo>
                  <a:lnTo>
                    <a:pt x="2128482" y="455970"/>
                  </a:lnTo>
                  <a:lnTo>
                    <a:pt x="2137093" y="451919"/>
                  </a:lnTo>
                  <a:lnTo>
                    <a:pt x="2142475" y="447868"/>
                  </a:lnTo>
                  <a:lnTo>
                    <a:pt x="2148934" y="447868"/>
                  </a:lnTo>
                  <a:lnTo>
                    <a:pt x="2159698" y="452932"/>
                  </a:lnTo>
                  <a:lnTo>
                    <a:pt x="2172615" y="461034"/>
                  </a:lnTo>
                  <a:lnTo>
                    <a:pt x="2177997" y="467111"/>
                  </a:lnTo>
                  <a:lnTo>
                    <a:pt x="2182303" y="473187"/>
                  </a:lnTo>
                  <a:lnTo>
                    <a:pt x="2185532" y="478251"/>
                  </a:lnTo>
                  <a:lnTo>
                    <a:pt x="2190914" y="484328"/>
                  </a:lnTo>
                  <a:lnTo>
                    <a:pt x="2198449" y="489392"/>
                  </a:lnTo>
                  <a:lnTo>
                    <a:pt x="2204908" y="490405"/>
                  </a:lnTo>
                  <a:lnTo>
                    <a:pt x="2209213" y="485341"/>
                  </a:lnTo>
                  <a:lnTo>
                    <a:pt x="2215672" y="478251"/>
                  </a:lnTo>
                  <a:lnTo>
                    <a:pt x="2225360" y="475213"/>
                  </a:lnTo>
                  <a:lnTo>
                    <a:pt x="2236124" y="475213"/>
                  </a:lnTo>
                  <a:lnTo>
                    <a:pt x="2243659" y="478251"/>
                  </a:lnTo>
                  <a:lnTo>
                    <a:pt x="2246888" y="483315"/>
                  </a:lnTo>
                  <a:lnTo>
                    <a:pt x="2249041" y="485341"/>
                  </a:lnTo>
                  <a:lnTo>
                    <a:pt x="2252270" y="488379"/>
                  </a:lnTo>
                  <a:lnTo>
                    <a:pt x="2263034" y="490405"/>
                  </a:lnTo>
                  <a:lnTo>
                    <a:pt x="2270569" y="491418"/>
                  </a:lnTo>
                  <a:lnTo>
                    <a:pt x="2279180" y="491418"/>
                  </a:lnTo>
                  <a:lnTo>
                    <a:pt x="2287792" y="492430"/>
                  </a:lnTo>
                  <a:lnTo>
                    <a:pt x="2295327" y="492430"/>
                  </a:lnTo>
                  <a:lnTo>
                    <a:pt x="2302862" y="492430"/>
                  </a:lnTo>
                  <a:lnTo>
                    <a:pt x="2306091" y="493443"/>
                  </a:lnTo>
                  <a:lnTo>
                    <a:pt x="2308244" y="496481"/>
                  </a:lnTo>
                  <a:lnTo>
                    <a:pt x="2306091" y="498507"/>
                  </a:lnTo>
                  <a:lnTo>
                    <a:pt x="2303938" y="501545"/>
                  </a:lnTo>
                  <a:lnTo>
                    <a:pt x="2307167" y="501545"/>
                  </a:lnTo>
                  <a:lnTo>
                    <a:pt x="2314702" y="501545"/>
                  </a:lnTo>
                  <a:lnTo>
                    <a:pt x="2321161" y="503571"/>
                  </a:lnTo>
                  <a:lnTo>
                    <a:pt x="2325466" y="507622"/>
                  </a:lnTo>
                  <a:lnTo>
                    <a:pt x="2331925" y="512686"/>
                  </a:lnTo>
                  <a:lnTo>
                    <a:pt x="2336230" y="515724"/>
                  </a:lnTo>
                  <a:lnTo>
                    <a:pt x="2338383" y="516737"/>
                  </a:lnTo>
                  <a:lnTo>
                    <a:pt x="2337307" y="516737"/>
                  </a:lnTo>
                  <a:lnTo>
                    <a:pt x="2331925" y="518763"/>
                  </a:lnTo>
                  <a:lnTo>
                    <a:pt x="2328696" y="520788"/>
                  </a:lnTo>
                  <a:lnTo>
                    <a:pt x="2325466" y="522814"/>
                  </a:lnTo>
                  <a:lnTo>
                    <a:pt x="2329772" y="526865"/>
                  </a:lnTo>
                  <a:lnTo>
                    <a:pt x="2339460" y="529903"/>
                  </a:lnTo>
                  <a:lnTo>
                    <a:pt x="2349147" y="531929"/>
                  </a:lnTo>
                  <a:lnTo>
                    <a:pt x="2349147" y="534967"/>
                  </a:lnTo>
                  <a:lnTo>
                    <a:pt x="2344842" y="536993"/>
                  </a:lnTo>
                  <a:lnTo>
                    <a:pt x="2340536" y="538006"/>
                  </a:lnTo>
                  <a:lnTo>
                    <a:pt x="2338383" y="540031"/>
                  </a:lnTo>
                  <a:lnTo>
                    <a:pt x="2338383" y="545095"/>
                  </a:lnTo>
                  <a:lnTo>
                    <a:pt x="2337307" y="548133"/>
                  </a:lnTo>
                  <a:lnTo>
                    <a:pt x="2336230" y="553197"/>
                  </a:lnTo>
                  <a:lnTo>
                    <a:pt x="2336230" y="557249"/>
                  </a:lnTo>
                  <a:lnTo>
                    <a:pt x="2340536" y="562312"/>
                  </a:lnTo>
                  <a:lnTo>
                    <a:pt x="2349147" y="565351"/>
                  </a:lnTo>
                  <a:lnTo>
                    <a:pt x="2359912" y="563325"/>
                  </a:lnTo>
                  <a:lnTo>
                    <a:pt x="2366370" y="563325"/>
                  </a:lnTo>
                  <a:lnTo>
                    <a:pt x="2373905" y="566364"/>
                  </a:lnTo>
                  <a:lnTo>
                    <a:pt x="2382516" y="573453"/>
                  </a:lnTo>
                  <a:lnTo>
                    <a:pt x="2391128" y="580543"/>
                  </a:lnTo>
                  <a:lnTo>
                    <a:pt x="2398663" y="582568"/>
                  </a:lnTo>
                  <a:lnTo>
                    <a:pt x="2400816" y="580543"/>
                  </a:lnTo>
                  <a:lnTo>
                    <a:pt x="2397586" y="574466"/>
                  </a:lnTo>
                  <a:lnTo>
                    <a:pt x="2394357" y="569402"/>
                  </a:lnTo>
                  <a:lnTo>
                    <a:pt x="2394357" y="567376"/>
                  </a:lnTo>
                  <a:lnTo>
                    <a:pt x="2400816" y="569402"/>
                  </a:lnTo>
                  <a:lnTo>
                    <a:pt x="2406198" y="570415"/>
                  </a:lnTo>
                  <a:lnTo>
                    <a:pt x="2413733" y="572440"/>
                  </a:lnTo>
                  <a:lnTo>
                    <a:pt x="2422344" y="573453"/>
                  </a:lnTo>
                  <a:lnTo>
                    <a:pt x="2429879" y="573453"/>
                  </a:lnTo>
                  <a:lnTo>
                    <a:pt x="2436337" y="574466"/>
                  </a:lnTo>
                  <a:lnTo>
                    <a:pt x="2441719" y="575479"/>
                  </a:lnTo>
                  <a:lnTo>
                    <a:pt x="2444949" y="576491"/>
                  </a:lnTo>
                  <a:lnTo>
                    <a:pt x="2446025" y="578517"/>
                  </a:lnTo>
                  <a:lnTo>
                    <a:pt x="2444949" y="582568"/>
                  </a:lnTo>
                  <a:lnTo>
                    <a:pt x="2446025" y="584594"/>
                  </a:lnTo>
                  <a:lnTo>
                    <a:pt x="2448178" y="585607"/>
                  </a:lnTo>
                  <a:lnTo>
                    <a:pt x="2452484" y="585607"/>
                  </a:lnTo>
                  <a:lnTo>
                    <a:pt x="2456789" y="585607"/>
                  </a:lnTo>
                  <a:lnTo>
                    <a:pt x="2462171" y="583581"/>
                  </a:lnTo>
                  <a:lnTo>
                    <a:pt x="2468630" y="582568"/>
                  </a:lnTo>
                  <a:lnTo>
                    <a:pt x="2477241" y="582568"/>
                  </a:lnTo>
                  <a:lnTo>
                    <a:pt x="2488005" y="583581"/>
                  </a:lnTo>
                  <a:lnTo>
                    <a:pt x="2499846" y="584594"/>
                  </a:lnTo>
                  <a:lnTo>
                    <a:pt x="2508457" y="588645"/>
                  </a:lnTo>
                  <a:lnTo>
                    <a:pt x="2510610" y="593709"/>
                  </a:lnTo>
                  <a:lnTo>
                    <a:pt x="2507381" y="599786"/>
                  </a:lnTo>
                  <a:lnTo>
                    <a:pt x="2499846" y="603837"/>
                  </a:lnTo>
                  <a:lnTo>
                    <a:pt x="2494464" y="606875"/>
                  </a:lnTo>
                  <a:lnTo>
                    <a:pt x="2494464" y="610926"/>
                  </a:lnTo>
                  <a:lnTo>
                    <a:pt x="2499846" y="613964"/>
                  </a:lnTo>
                  <a:lnTo>
                    <a:pt x="2504152" y="617003"/>
                  </a:lnTo>
                  <a:lnTo>
                    <a:pt x="2509534" y="622067"/>
                  </a:lnTo>
                  <a:lnTo>
                    <a:pt x="2510610" y="627131"/>
                  </a:lnTo>
                  <a:lnTo>
                    <a:pt x="2510610" y="631182"/>
                  </a:lnTo>
                  <a:lnTo>
                    <a:pt x="2508457" y="635233"/>
                  </a:lnTo>
                  <a:lnTo>
                    <a:pt x="2504152" y="638271"/>
                  </a:lnTo>
                  <a:lnTo>
                    <a:pt x="2499846" y="640297"/>
                  </a:lnTo>
                  <a:lnTo>
                    <a:pt x="2495540" y="643335"/>
                  </a:lnTo>
                  <a:lnTo>
                    <a:pt x="2495540" y="645361"/>
                  </a:lnTo>
                  <a:lnTo>
                    <a:pt x="2497693" y="650425"/>
                  </a:lnTo>
                  <a:lnTo>
                    <a:pt x="2504152" y="654476"/>
                  </a:lnTo>
                  <a:lnTo>
                    <a:pt x="2510610" y="659540"/>
                  </a:lnTo>
                  <a:lnTo>
                    <a:pt x="2513839" y="665617"/>
                  </a:lnTo>
                  <a:lnTo>
                    <a:pt x="2513839" y="670680"/>
                  </a:lnTo>
                  <a:lnTo>
                    <a:pt x="2510610" y="675744"/>
                  </a:lnTo>
                  <a:lnTo>
                    <a:pt x="2505228" y="679796"/>
                  </a:lnTo>
                  <a:lnTo>
                    <a:pt x="2501999" y="680808"/>
                  </a:lnTo>
                  <a:lnTo>
                    <a:pt x="2499846" y="680808"/>
                  </a:lnTo>
                  <a:lnTo>
                    <a:pt x="2493387" y="676757"/>
                  </a:lnTo>
                  <a:lnTo>
                    <a:pt x="2484776" y="673719"/>
                  </a:lnTo>
                  <a:lnTo>
                    <a:pt x="2477241" y="669668"/>
                  </a:lnTo>
                  <a:lnTo>
                    <a:pt x="2470783" y="666629"/>
                  </a:lnTo>
                  <a:lnTo>
                    <a:pt x="2464324" y="662578"/>
                  </a:lnTo>
                  <a:lnTo>
                    <a:pt x="2461095" y="660553"/>
                  </a:lnTo>
                  <a:lnTo>
                    <a:pt x="2455713" y="659540"/>
                  </a:lnTo>
                  <a:lnTo>
                    <a:pt x="2451407" y="657514"/>
                  </a:lnTo>
                  <a:lnTo>
                    <a:pt x="2443872" y="654476"/>
                  </a:lnTo>
                  <a:lnTo>
                    <a:pt x="2434184" y="651438"/>
                  </a:lnTo>
                  <a:lnTo>
                    <a:pt x="2425573" y="650425"/>
                  </a:lnTo>
                  <a:lnTo>
                    <a:pt x="2418038" y="651438"/>
                  </a:lnTo>
                  <a:lnTo>
                    <a:pt x="2413733" y="655489"/>
                  </a:lnTo>
                  <a:lnTo>
                    <a:pt x="2413733" y="661565"/>
                  </a:lnTo>
                  <a:lnTo>
                    <a:pt x="2415885" y="667642"/>
                  </a:lnTo>
                  <a:lnTo>
                    <a:pt x="2421267" y="674732"/>
                  </a:lnTo>
                  <a:lnTo>
                    <a:pt x="2428802" y="682834"/>
                  </a:lnTo>
                  <a:lnTo>
                    <a:pt x="2434184" y="685872"/>
                  </a:lnTo>
                  <a:lnTo>
                    <a:pt x="2437414" y="690936"/>
                  </a:lnTo>
                  <a:lnTo>
                    <a:pt x="2443872" y="693974"/>
                  </a:lnTo>
                  <a:lnTo>
                    <a:pt x="2448178" y="697013"/>
                  </a:lnTo>
                  <a:lnTo>
                    <a:pt x="2454636" y="700051"/>
                  </a:lnTo>
                  <a:lnTo>
                    <a:pt x="2461095" y="703090"/>
                  </a:lnTo>
                  <a:lnTo>
                    <a:pt x="2467553" y="704102"/>
                  </a:lnTo>
                  <a:lnTo>
                    <a:pt x="2472935" y="705115"/>
                  </a:lnTo>
                  <a:lnTo>
                    <a:pt x="2484776" y="707141"/>
                  </a:lnTo>
                  <a:lnTo>
                    <a:pt x="2493387" y="709166"/>
                  </a:lnTo>
                  <a:lnTo>
                    <a:pt x="2499846" y="713217"/>
                  </a:lnTo>
                  <a:lnTo>
                    <a:pt x="2504152" y="718281"/>
                  </a:lnTo>
                  <a:lnTo>
                    <a:pt x="2511686" y="721320"/>
                  </a:lnTo>
                  <a:lnTo>
                    <a:pt x="2520298" y="723345"/>
                  </a:lnTo>
                  <a:lnTo>
                    <a:pt x="2528909" y="726384"/>
                  </a:lnTo>
                  <a:lnTo>
                    <a:pt x="2534291" y="733473"/>
                  </a:lnTo>
                  <a:lnTo>
                    <a:pt x="2535368" y="739550"/>
                  </a:lnTo>
                  <a:lnTo>
                    <a:pt x="2534291" y="743601"/>
                  </a:lnTo>
                  <a:lnTo>
                    <a:pt x="2534291" y="747652"/>
                  </a:lnTo>
                  <a:lnTo>
                    <a:pt x="2537520" y="756767"/>
                  </a:lnTo>
                  <a:lnTo>
                    <a:pt x="2542903" y="764869"/>
                  </a:lnTo>
                  <a:lnTo>
                    <a:pt x="2545055" y="769933"/>
                  </a:lnTo>
                  <a:lnTo>
                    <a:pt x="2546132" y="774997"/>
                  </a:lnTo>
                  <a:lnTo>
                    <a:pt x="2550438" y="778036"/>
                  </a:lnTo>
                  <a:lnTo>
                    <a:pt x="2554743" y="783100"/>
                  </a:lnTo>
                  <a:lnTo>
                    <a:pt x="2559049" y="787151"/>
                  </a:lnTo>
                  <a:lnTo>
                    <a:pt x="2557973" y="790189"/>
                  </a:lnTo>
                  <a:lnTo>
                    <a:pt x="2551514" y="789176"/>
                  </a:lnTo>
                  <a:lnTo>
                    <a:pt x="2546132" y="785125"/>
                  </a:lnTo>
                  <a:lnTo>
                    <a:pt x="2542903" y="782087"/>
                  </a:lnTo>
                  <a:lnTo>
                    <a:pt x="2536444" y="778036"/>
                  </a:lnTo>
                  <a:lnTo>
                    <a:pt x="2525680" y="778036"/>
                  </a:lnTo>
                  <a:lnTo>
                    <a:pt x="2512763" y="781074"/>
                  </a:lnTo>
                  <a:lnTo>
                    <a:pt x="2504152" y="782087"/>
                  </a:lnTo>
                  <a:lnTo>
                    <a:pt x="2497693" y="782087"/>
                  </a:lnTo>
                  <a:lnTo>
                    <a:pt x="2491235" y="778036"/>
                  </a:lnTo>
                  <a:lnTo>
                    <a:pt x="2485852" y="776010"/>
                  </a:lnTo>
                  <a:lnTo>
                    <a:pt x="2480470" y="774997"/>
                  </a:lnTo>
                  <a:lnTo>
                    <a:pt x="2475088" y="772972"/>
                  </a:lnTo>
                  <a:lnTo>
                    <a:pt x="2468630" y="771959"/>
                  </a:lnTo>
                  <a:lnTo>
                    <a:pt x="2462171" y="769933"/>
                  </a:lnTo>
                  <a:lnTo>
                    <a:pt x="2456789" y="769933"/>
                  </a:lnTo>
                  <a:lnTo>
                    <a:pt x="2452484" y="769933"/>
                  </a:lnTo>
                  <a:lnTo>
                    <a:pt x="2448178" y="769933"/>
                  </a:lnTo>
                  <a:lnTo>
                    <a:pt x="2446025" y="772972"/>
                  </a:lnTo>
                  <a:lnTo>
                    <a:pt x="2450331" y="776010"/>
                  </a:lnTo>
                  <a:lnTo>
                    <a:pt x="2458942" y="780061"/>
                  </a:lnTo>
                  <a:lnTo>
                    <a:pt x="2472935" y="785125"/>
                  </a:lnTo>
                  <a:lnTo>
                    <a:pt x="2482623" y="788163"/>
                  </a:lnTo>
                  <a:lnTo>
                    <a:pt x="2488005" y="790189"/>
                  </a:lnTo>
                  <a:lnTo>
                    <a:pt x="2494464" y="791202"/>
                  </a:lnTo>
                  <a:lnTo>
                    <a:pt x="2497693" y="791202"/>
                  </a:lnTo>
                  <a:lnTo>
                    <a:pt x="2501999" y="792215"/>
                  </a:lnTo>
                  <a:lnTo>
                    <a:pt x="2505228" y="793227"/>
                  </a:lnTo>
                  <a:lnTo>
                    <a:pt x="2508457" y="795253"/>
                  </a:lnTo>
                  <a:lnTo>
                    <a:pt x="2510610" y="797279"/>
                  </a:lnTo>
                  <a:lnTo>
                    <a:pt x="2517069" y="800317"/>
                  </a:lnTo>
                  <a:lnTo>
                    <a:pt x="2525680" y="804368"/>
                  </a:lnTo>
                  <a:lnTo>
                    <a:pt x="2534291" y="807406"/>
                  </a:lnTo>
                  <a:lnTo>
                    <a:pt x="2540750" y="812470"/>
                  </a:lnTo>
                  <a:lnTo>
                    <a:pt x="2541826" y="813483"/>
                  </a:lnTo>
                  <a:lnTo>
                    <a:pt x="2543979" y="816521"/>
                  </a:lnTo>
                  <a:lnTo>
                    <a:pt x="2542903" y="820573"/>
                  </a:lnTo>
                  <a:lnTo>
                    <a:pt x="2534291" y="821585"/>
                  </a:lnTo>
                  <a:lnTo>
                    <a:pt x="2527833" y="821585"/>
                  </a:lnTo>
                  <a:lnTo>
                    <a:pt x="2523527" y="820573"/>
                  </a:lnTo>
                  <a:lnTo>
                    <a:pt x="2518145" y="820573"/>
                  </a:lnTo>
                  <a:lnTo>
                    <a:pt x="2513839" y="821585"/>
                  </a:lnTo>
                  <a:lnTo>
                    <a:pt x="2509534" y="821585"/>
                  </a:lnTo>
                  <a:lnTo>
                    <a:pt x="2505228" y="822598"/>
                  </a:lnTo>
                  <a:lnTo>
                    <a:pt x="2499846" y="823611"/>
                  </a:lnTo>
                  <a:lnTo>
                    <a:pt x="2493387" y="825637"/>
                  </a:lnTo>
                  <a:lnTo>
                    <a:pt x="2485852" y="826649"/>
                  </a:lnTo>
                  <a:lnTo>
                    <a:pt x="2479394" y="827662"/>
                  </a:lnTo>
                  <a:lnTo>
                    <a:pt x="2475088" y="828675"/>
                  </a:lnTo>
                  <a:lnTo>
                    <a:pt x="2469706" y="828675"/>
                  </a:lnTo>
                  <a:lnTo>
                    <a:pt x="2464324" y="828675"/>
                  </a:lnTo>
                  <a:lnTo>
                    <a:pt x="2460018" y="827662"/>
                  </a:lnTo>
                  <a:lnTo>
                    <a:pt x="2454636" y="827662"/>
                  </a:lnTo>
                  <a:lnTo>
                    <a:pt x="2448178" y="826649"/>
                  </a:lnTo>
                  <a:lnTo>
                    <a:pt x="2443872" y="826649"/>
                  </a:lnTo>
                  <a:lnTo>
                    <a:pt x="2438490" y="826649"/>
                  </a:lnTo>
                  <a:lnTo>
                    <a:pt x="2434184" y="827662"/>
                  </a:lnTo>
                  <a:lnTo>
                    <a:pt x="2428802" y="828675"/>
                  </a:lnTo>
                  <a:lnTo>
                    <a:pt x="2423420" y="828675"/>
                  </a:lnTo>
                  <a:lnTo>
                    <a:pt x="2420191" y="828675"/>
                  </a:lnTo>
                  <a:lnTo>
                    <a:pt x="2414809" y="827662"/>
                  </a:lnTo>
                  <a:lnTo>
                    <a:pt x="2411580" y="825637"/>
                  </a:lnTo>
                  <a:lnTo>
                    <a:pt x="2406198" y="819560"/>
                  </a:lnTo>
                  <a:lnTo>
                    <a:pt x="2405121" y="813483"/>
                  </a:lnTo>
                  <a:lnTo>
                    <a:pt x="2400816" y="808419"/>
                  </a:lnTo>
                  <a:lnTo>
                    <a:pt x="2387899" y="805381"/>
                  </a:lnTo>
                  <a:lnTo>
                    <a:pt x="2379287" y="804368"/>
                  </a:lnTo>
                  <a:lnTo>
                    <a:pt x="2371752" y="801330"/>
                  </a:lnTo>
                  <a:lnTo>
                    <a:pt x="2365294" y="799304"/>
                  </a:lnTo>
                  <a:lnTo>
                    <a:pt x="2360988" y="797279"/>
                  </a:lnTo>
                  <a:lnTo>
                    <a:pt x="2356682" y="795253"/>
                  </a:lnTo>
                  <a:lnTo>
                    <a:pt x="2353453" y="792215"/>
                  </a:lnTo>
                  <a:lnTo>
                    <a:pt x="2350224" y="791202"/>
                  </a:lnTo>
                  <a:lnTo>
                    <a:pt x="2346995" y="789176"/>
                  </a:lnTo>
                  <a:lnTo>
                    <a:pt x="2341613" y="785125"/>
                  </a:lnTo>
                  <a:lnTo>
                    <a:pt x="2337307" y="784112"/>
                  </a:lnTo>
                  <a:lnTo>
                    <a:pt x="2330848" y="785125"/>
                  </a:lnTo>
                  <a:lnTo>
                    <a:pt x="2321161" y="790189"/>
                  </a:lnTo>
                  <a:lnTo>
                    <a:pt x="2309320" y="795253"/>
                  </a:lnTo>
                  <a:lnTo>
                    <a:pt x="2300709" y="796266"/>
                  </a:lnTo>
                  <a:lnTo>
                    <a:pt x="2293174" y="798291"/>
                  </a:lnTo>
                  <a:lnTo>
                    <a:pt x="2287792" y="803355"/>
                  </a:lnTo>
                  <a:lnTo>
                    <a:pt x="2280257" y="810445"/>
                  </a:lnTo>
                  <a:lnTo>
                    <a:pt x="2272722" y="814496"/>
                  </a:lnTo>
                  <a:lnTo>
                    <a:pt x="2265187" y="814496"/>
                  </a:lnTo>
                  <a:lnTo>
                    <a:pt x="2257652" y="810445"/>
                  </a:lnTo>
                  <a:lnTo>
                    <a:pt x="2252270" y="806394"/>
                  </a:lnTo>
                  <a:lnTo>
                    <a:pt x="2247964" y="803355"/>
                  </a:lnTo>
                  <a:lnTo>
                    <a:pt x="2242582" y="799304"/>
                  </a:lnTo>
                  <a:lnTo>
                    <a:pt x="2239353" y="796266"/>
                  </a:lnTo>
                  <a:lnTo>
                    <a:pt x="2236124" y="791202"/>
                  </a:lnTo>
                  <a:lnTo>
                    <a:pt x="2236124" y="788163"/>
                  </a:lnTo>
                  <a:lnTo>
                    <a:pt x="2240429" y="783100"/>
                  </a:lnTo>
                  <a:lnTo>
                    <a:pt x="2249041" y="777023"/>
                  </a:lnTo>
                  <a:lnTo>
                    <a:pt x="2258728" y="772972"/>
                  </a:lnTo>
                  <a:lnTo>
                    <a:pt x="2265187" y="769933"/>
                  </a:lnTo>
                  <a:lnTo>
                    <a:pt x="2270569" y="769933"/>
                  </a:lnTo>
                  <a:lnTo>
                    <a:pt x="2273798" y="769933"/>
                  </a:lnTo>
                  <a:lnTo>
                    <a:pt x="2275951" y="769933"/>
                  </a:lnTo>
                  <a:lnTo>
                    <a:pt x="2279180" y="768921"/>
                  </a:lnTo>
                  <a:lnTo>
                    <a:pt x="2283486" y="766895"/>
                  </a:lnTo>
                  <a:lnTo>
                    <a:pt x="2288868" y="761831"/>
                  </a:lnTo>
                  <a:lnTo>
                    <a:pt x="2300709" y="752716"/>
                  </a:lnTo>
                  <a:lnTo>
                    <a:pt x="2311473" y="745627"/>
                  </a:lnTo>
                  <a:lnTo>
                    <a:pt x="2315779" y="739550"/>
                  </a:lnTo>
                  <a:lnTo>
                    <a:pt x="2312549" y="733473"/>
                  </a:lnTo>
                  <a:lnTo>
                    <a:pt x="2302862" y="727396"/>
                  </a:lnTo>
                  <a:lnTo>
                    <a:pt x="2292097" y="724358"/>
                  </a:lnTo>
                  <a:lnTo>
                    <a:pt x="2288868" y="719294"/>
                  </a:lnTo>
                  <a:lnTo>
                    <a:pt x="2293174" y="705115"/>
                  </a:lnTo>
                  <a:lnTo>
                    <a:pt x="2305014" y="689923"/>
                  </a:lnTo>
                  <a:lnTo>
                    <a:pt x="2313626" y="677770"/>
                  </a:lnTo>
                  <a:lnTo>
                    <a:pt x="2312549" y="666629"/>
                  </a:lnTo>
                  <a:lnTo>
                    <a:pt x="2299632" y="649412"/>
                  </a:lnTo>
                  <a:lnTo>
                    <a:pt x="2289945" y="639284"/>
                  </a:lnTo>
                  <a:lnTo>
                    <a:pt x="2280257" y="631182"/>
                  </a:lnTo>
                  <a:lnTo>
                    <a:pt x="2271645" y="624092"/>
                  </a:lnTo>
                  <a:lnTo>
                    <a:pt x="2264111" y="619028"/>
                  </a:lnTo>
                  <a:lnTo>
                    <a:pt x="2255499" y="613964"/>
                  </a:lnTo>
                  <a:lnTo>
                    <a:pt x="2247964" y="610926"/>
                  </a:lnTo>
                  <a:lnTo>
                    <a:pt x="2240429" y="606875"/>
                  </a:lnTo>
                  <a:lnTo>
                    <a:pt x="2231818" y="603837"/>
                  </a:lnTo>
                  <a:lnTo>
                    <a:pt x="2223207" y="599786"/>
                  </a:lnTo>
                  <a:lnTo>
                    <a:pt x="2214595" y="596747"/>
                  </a:lnTo>
                  <a:lnTo>
                    <a:pt x="2205984" y="591683"/>
                  </a:lnTo>
                  <a:lnTo>
                    <a:pt x="2198449" y="586619"/>
                  </a:lnTo>
                  <a:lnTo>
                    <a:pt x="2190914" y="582568"/>
                  </a:lnTo>
                  <a:lnTo>
                    <a:pt x="2184456" y="578517"/>
                  </a:lnTo>
                  <a:lnTo>
                    <a:pt x="2177997" y="575479"/>
                  </a:lnTo>
                  <a:lnTo>
                    <a:pt x="2174768" y="572440"/>
                  </a:lnTo>
                  <a:lnTo>
                    <a:pt x="2166157" y="567376"/>
                  </a:lnTo>
                  <a:lnTo>
                    <a:pt x="2157545" y="562312"/>
                  </a:lnTo>
                  <a:lnTo>
                    <a:pt x="2152163" y="561300"/>
                  </a:lnTo>
                  <a:lnTo>
                    <a:pt x="2153240" y="567376"/>
                  </a:lnTo>
                  <a:lnTo>
                    <a:pt x="2159698" y="576491"/>
                  </a:lnTo>
                  <a:lnTo>
                    <a:pt x="2160774" y="582568"/>
                  </a:lnTo>
                  <a:lnTo>
                    <a:pt x="2157545" y="585607"/>
                  </a:lnTo>
                  <a:lnTo>
                    <a:pt x="2144628" y="585607"/>
                  </a:lnTo>
                  <a:lnTo>
                    <a:pt x="2136017" y="585607"/>
                  </a:lnTo>
                  <a:lnTo>
                    <a:pt x="2131711" y="585607"/>
                  </a:lnTo>
                  <a:lnTo>
                    <a:pt x="2126329" y="586619"/>
                  </a:lnTo>
                  <a:lnTo>
                    <a:pt x="2123100" y="589658"/>
                  </a:lnTo>
                  <a:lnTo>
                    <a:pt x="2118794" y="591683"/>
                  </a:lnTo>
                  <a:lnTo>
                    <a:pt x="2116191" y="592173"/>
                  </a:lnTo>
                  <a:lnTo>
                    <a:pt x="2144897" y="626457"/>
                  </a:lnTo>
                  <a:lnTo>
                    <a:pt x="2127911" y="673271"/>
                  </a:lnTo>
                  <a:lnTo>
                    <a:pt x="2152737" y="743494"/>
                  </a:lnTo>
                  <a:lnTo>
                    <a:pt x="2112232" y="774704"/>
                  </a:lnTo>
                  <a:lnTo>
                    <a:pt x="2033836" y="790309"/>
                  </a:lnTo>
                  <a:lnTo>
                    <a:pt x="2018156" y="852729"/>
                  </a:lnTo>
                  <a:lnTo>
                    <a:pt x="1994637" y="930753"/>
                  </a:lnTo>
                  <a:lnTo>
                    <a:pt x="1971119" y="930753"/>
                  </a:lnTo>
                  <a:lnTo>
                    <a:pt x="1931920" y="954161"/>
                  </a:lnTo>
                  <a:lnTo>
                    <a:pt x="1892722" y="993173"/>
                  </a:lnTo>
                  <a:lnTo>
                    <a:pt x="1830005" y="1181733"/>
                  </a:lnTo>
                  <a:lnTo>
                    <a:pt x="1853524" y="1205141"/>
                  </a:lnTo>
                  <a:lnTo>
                    <a:pt x="1877043" y="1275363"/>
                  </a:lnTo>
                  <a:lnTo>
                    <a:pt x="1908402" y="1275363"/>
                  </a:lnTo>
                  <a:lnTo>
                    <a:pt x="2057354" y="1361191"/>
                  </a:lnTo>
                  <a:lnTo>
                    <a:pt x="2135751" y="1368993"/>
                  </a:lnTo>
                  <a:lnTo>
                    <a:pt x="2152737" y="1509438"/>
                  </a:lnTo>
                  <a:lnTo>
                    <a:pt x="2184095" y="1525043"/>
                  </a:lnTo>
                  <a:lnTo>
                    <a:pt x="2215454" y="1501635"/>
                  </a:lnTo>
                  <a:lnTo>
                    <a:pt x="2199774" y="1384598"/>
                  </a:lnTo>
                  <a:lnTo>
                    <a:pt x="2278171" y="1314376"/>
                  </a:lnTo>
                  <a:lnTo>
                    <a:pt x="2231133" y="1220746"/>
                  </a:lnTo>
                  <a:lnTo>
                    <a:pt x="2238972" y="1189536"/>
                  </a:lnTo>
                  <a:lnTo>
                    <a:pt x="2246812" y="1103709"/>
                  </a:lnTo>
                  <a:lnTo>
                    <a:pt x="2246812" y="1063396"/>
                  </a:lnTo>
                  <a:lnTo>
                    <a:pt x="2246812" y="1024383"/>
                  </a:lnTo>
                  <a:lnTo>
                    <a:pt x="2278171" y="1016581"/>
                  </a:lnTo>
                  <a:lnTo>
                    <a:pt x="2325208" y="1032186"/>
                  </a:lnTo>
                  <a:lnTo>
                    <a:pt x="2364406" y="1024383"/>
                  </a:lnTo>
                  <a:lnTo>
                    <a:pt x="2403605" y="1079001"/>
                  </a:lnTo>
                  <a:lnTo>
                    <a:pt x="2450642" y="1086803"/>
                  </a:lnTo>
                  <a:lnTo>
                    <a:pt x="2450642" y="1197338"/>
                  </a:lnTo>
                  <a:lnTo>
                    <a:pt x="2474161" y="1197338"/>
                  </a:lnTo>
                  <a:lnTo>
                    <a:pt x="2489840" y="1212943"/>
                  </a:lnTo>
                  <a:lnTo>
                    <a:pt x="2544718" y="1197338"/>
                  </a:lnTo>
                  <a:lnTo>
                    <a:pt x="2568237" y="1127116"/>
                  </a:lnTo>
                  <a:lnTo>
                    <a:pt x="2654473" y="1290968"/>
                  </a:lnTo>
                  <a:lnTo>
                    <a:pt x="2654473" y="1322178"/>
                  </a:lnTo>
                  <a:lnTo>
                    <a:pt x="2756388" y="1376796"/>
                  </a:lnTo>
                  <a:lnTo>
                    <a:pt x="2764228" y="1415808"/>
                  </a:lnTo>
                  <a:lnTo>
                    <a:pt x="2795586" y="1493833"/>
                  </a:lnTo>
                  <a:lnTo>
                    <a:pt x="2756388" y="1525043"/>
                  </a:lnTo>
                  <a:lnTo>
                    <a:pt x="2701511" y="1564055"/>
                  </a:lnTo>
                  <a:lnTo>
                    <a:pt x="2630954" y="1571858"/>
                  </a:lnTo>
                  <a:lnTo>
                    <a:pt x="2536878" y="1564055"/>
                  </a:lnTo>
                  <a:lnTo>
                    <a:pt x="2505520" y="1595265"/>
                  </a:lnTo>
                  <a:lnTo>
                    <a:pt x="2450642" y="1626475"/>
                  </a:lnTo>
                  <a:lnTo>
                    <a:pt x="2427123" y="1681093"/>
                  </a:lnTo>
                  <a:lnTo>
                    <a:pt x="2482001" y="1634278"/>
                  </a:lnTo>
                  <a:lnTo>
                    <a:pt x="2591756" y="1610870"/>
                  </a:lnTo>
                  <a:lnTo>
                    <a:pt x="2583916" y="1642080"/>
                  </a:lnTo>
                  <a:lnTo>
                    <a:pt x="2560397" y="1665488"/>
                  </a:lnTo>
                  <a:lnTo>
                    <a:pt x="2591756" y="1712303"/>
                  </a:lnTo>
                  <a:lnTo>
                    <a:pt x="2662313" y="1720105"/>
                  </a:lnTo>
                  <a:lnTo>
                    <a:pt x="2638794" y="1751315"/>
                  </a:lnTo>
                  <a:lnTo>
                    <a:pt x="2568237" y="1805932"/>
                  </a:lnTo>
                  <a:lnTo>
                    <a:pt x="2552557" y="1774722"/>
                  </a:lnTo>
                  <a:lnTo>
                    <a:pt x="2568237" y="1751315"/>
                  </a:lnTo>
                  <a:lnTo>
                    <a:pt x="2544718" y="1743513"/>
                  </a:lnTo>
                  <a:lnTo>
                    <a:pt x="2513359" y="1766920"/>
                  </a:lnTo>
                  <a:lnTo>
                    <a:pt x="2497680" y="1688895"/>
                  </a:lnTo>
                  <a:lnTo>
                    <a:pt x="2495890" y="1688450"/>
                  </a:lnTo>
                  <a:lnTo>
                    <a:pt x="2511424" y="1765675"/>
                  </a:lnTo>
                  <a:lnTo>
                    <a:pt x="2433074" y="1804626"/>
                  </a:lnTo>
                  <a:lnTo>
                    <a:pt x="2433074" y="1868245"/>
                  </a:lnTo>
                  <a:lnTo>
                    <a:pt x="2386065" y="1891616"/>
                  </a:lnTo>
                  <a:lnTo>
                    <a:pt x="2354725" y="1899406"/>
                  </a:lnTo>
                  <a:lnTo>
                    <a:pt x="2339055" y="1938357"/>
                  </a:lnTo>
                  <a:lnTo>
                    <a:pt x="2315550" y="1946147"/>
                  </a:lnTo>
                  <a:lnTo>
                    <a:pt x="2299880" y="1946147"/>
                  </a:lnTo>
                  <a:lnTo>
                    <a:pt x="2307715" y="1977307"/>
                  </a:lnTo>
                  <a:lnTo>
                    <a:pt x="2299880" y="1985097"/>
                  </a:lnTo>
                  <a:lnTo>
                    <a:pt x="2276376" y="1969517"/>
                  </a:lnTo>
                  <a:lnTo>
                    <a:pt x="2284211" y="2016258"/>
                  </a:lnTo>
                  <a:lnTo>
                    <a:pt x="2292045" y="2062999"/>
                  </a:lnTo>
                  <a:lnTo>
                    <a:pt x="2221531" y="2133110"/>
                  </a:lnTo>
                  <a:lnTo>
                    <a:pt x="2182356" y="2148691"/>
                  </a:lnTo>
                  <a:lnTo>
                    <a:pt x="2143182" y="2195432"/>
                  </a:lnTo>
                  <a:lnTo>
                    <a:pt x="2174521" y="2281123"/>
                  </a:lnTo>
                  <a:lnTo>
                    <a:pt x="2182356" y="2359025"/>
                  </a:lnTo>
                  <a:lnTo>
                    <a:pt x="2158851" y="2351235"/>
                  </a:lnTo>
                  <a:lnTo>
                    <a:pt x="2110536" y="2304494"/>
                  </a:lnTo>
                  <a:lnTo>
                    <a:pt x="2094866" y="2249963"/>
                  </a:lnTo>
                  <a:lnTo>
                    <a:pt x="2087031" y="2211012"/>
                  </a:lnTo>
                  <a:lnTo>
                    <a:pt x="2047857" y="2218802"/>
                  </a:lnTo>
                  <a:lnTo>
                    <a:pt x="2008682" y="2218802"/>
                  </a:lnTo>
                  <a:lnTo>
                    <a:pt x="1946002" y="2234382"/>
                  </a:lnTo>
                  <a:lnTo>
                    <a:pt x="1898993" y="2234382"/>
                  </a:lnTo>
                  <a:lnTo>
                    <a:pt x="1820643" y="2226592"/>
                  </a:lnTo>
                  <a:lnTo>
                    <a:pt x="1797138" y="2249963"/>
                  </a:lnTo>
                  <a:lnTo>
                    <a:pt x="1765799" y="2281123"/>
                  </a:lnTo>
                  <a:lnTo>
                    <a:pt x="1765799" y="2335361"/>
                  </a:lnTo>
                  <a:lnTo>
                    <a:pt x="1766357" y="2335472"/>
                  </a:lnTo>
                  <a:lnTo>
                    <a:pt x="1750647" y="2358920"/>
                  </a:lnTo>
                  <a:lnTo>
                    <a:pt x="1758502" y="2460528"/>
                  </a:lnTo>
                  <a:lnTo>
                    <a:pt x="1821341" y="2538689"/>
                  </a:lnTo>
                  <a:lnTo>
                    <a:pt x="1884179" y="2530873"/>
                  </a:lnTo>
                  <a:lnTo>
                    <a:pt x="1923453" y="2476160"/>
                  </a:lnTo>
                  <a:lnTo>
                    <a:pt x="2017711" y="2460528"/>
                  </a:lnTo>
                  <a:lnTo>
                    <a:pt x="2002001" y="2523057"/>
                  </a:lnTo>
                  <a:lnTo>
                    <a:pt x="1978437" y="2538689"/>
                  </a:lnTo>
                  <a:lnTo>
                    <a:pt x="1954872" y="2554321"/>
                  </a:lnTo>
                  <a:lnTo>
                    <a:pt x="1962727" y="2562137"/>
                  </a:lnTo>
                  <a:lnTo>
                    <a:pt x="1923453" y="2562137"/>
                  </a:lnTo>
                  <a:lnTo>
                    <a:pt x="1907743" y="2569953"/>
                  </a:lnTo>
                  <a:lnTo>
                    <a:pt x="1923453" y="2601217"/>
                  </a:lnTo>
                  <a:lnTo>
                    <a:pt x="1899889" y="2601217"/>
                  </a:lnTo>
                  <a:lnTo>
                    <a:pt x="1884179" y="2624665"/>
                  </a:lnTo>
                  <a:lnTo>
                    <a:pt x="1876324" y="2641600"/>
                  </a:lnTo>
                  <a:lnTo>
                    <a:pt x="1837050" y="2609033"/>
                  </a:lnTo>
                  <a:lnTo>
                    <a:pt x="1813486" y="2609033"/>
                  </a:lnTo>
                  <a:lnTo>
                    <a:pt x="1789921" y="2616849"/>
                  </a:lnTo>
                  <a:lnTo>
                    <a:pt x="1703518" y="2593401"/>
                  </a:lnTo>
                  <a:lnTo>
                    <a:pt x="1656390" y="2569953"/>
                  </a:lnTo>
                  <a:lnTo>
                    <a:pt x="1554278" y="2507425"/>
                  </a:lnTo>
                  <a:lnTo>
                    <a:pt x="1554278" y="2483976"/>
                  </a:lnTo>
                  <a:lnTo>
                    <a:pt x="1546423" y="2429264"/>
                  </a:lnTo>
                  <a:lnTo>
                    <a:pt x="1507149" y="2390184"/>
                  </a:lnTo>
                  <a:lnTo>
                    <a:pt x="1491439" y="2366736"/>
                  </a:lnTo>
                  <a:lnTo>
                    <a:pt x="1460020" y="2351104"/>
                  </a:lnTo>
                  <a:lnTo>
                    <a:pt x="1460020" y="2327656"/>
                  </a:lnTo>
                  <a:lnTo>
                    <a:pt x="1420746" y="2304208"/>
                  </a:lnTo>
                  <a:lnTo>
                    <a:pt x="1405037" y="2280759"/>
                  </a:lnTo>
                  <a:lnTo>
                    <a:pt x="1365763" y="2202599"/>
                  </a:lnTo>
                  <a:lnTo>
                    <a:pt x="1326489" y="2186967"/>
                  </a:lnTo>
                  <a:lnTo>
                    <a:pt x="1342198" y="2233863"/>
                  </a:lnTo>
                  <a:lnTo>
                    <a:pt x="1397182" y="2312024"/>
                  </a:lnTo>
                  <a:lnTo>
                    <a:pt x="1428601" y="2382368"/>
                  </a:lnTo>
                  <a:lnTo>
                    <a:pt x="1460020" y="2405816"/>
                  </a:lnTo>
                  <a:lnTo>
                    <a:pt x="1452165" y="2429264"/>
                  </a:lnTo>
                  <a:lnTo>
                    <a:pt x="1420746" y="2398000"/>
                  </a:lnTo>
                  <a:lnTo>
                    <a:pt x="1397182" y="2382368"/>
                  </a:lnTo>
                  <a:lnTo>
                    <a:pt x="1389327" y="2343288"/>
                  </a:lnTo>
                  <a:lnTo>
                    <a:pt x="1334343" y="2304208"/>
                  </a:lnTo>
                  <a:lnTo>
                    <a:pt x="1342198" y="2288576"/>
                  </a:lnTo>
                  <a:lnTo>
                    <a:pt x="1310779" y="2241679"/>
                  </a:lnTo>
                  <a:lnTo>
                    <a:pt x="1263650" y="2155703"/>
                  </a:lnTo>
                  <a:lnTo>
                    <a:pt x="1263954" y="2155665"/>
                  </a:lnTo>
                  <a:lnTo>
                    <a:pt x="1256528" y="2140901"/>
                  </a:lnTo>
                  <a:lnTo>
                    <a:pt x="1186014" y="2094160"/>
                  </a:lnTo>
                  <a:lnTo>
                    <a:pt x="1162509" y="2055209"/>
                  </a:lnTo>
                  <a:lnTo>
                    <a:pt x="1131169" y="2000678"/>
                  </a:lnTo>
                  <a:lnTo>
                    <a:pt x="1091995" y="1922776"/>
                  </a:lnTo>
                  <a:lnTo>
                    <a:pt x="1091995" y="1891616"/>
                  </a:lnTo>
                  <a:lnTo>
                    <a:pt x="1076324" y="1843576"/>
                  </a:lnTo>
                  <a:lnTo>
                    <a:pt x="1091995" y="1781255"/>
                  </a:lnTo>
                  <a:lnTo>
                    <a:pt x="1099830" y="1718934"/>
                  </a:lnTo>
                  <a:lnTo>
                    <a:pt x="1076324" y="1633242"/>
                  </a:lnTo>
                  <a:lnTo>
                    <a:pt x="1123334" y="1648822"/>
                  </a:lnTo>
                  <a:lnTo>
                    <a:pt x="1115500" y="1679983"/>
                  </a:lnTo>
                  <a:lnTo>
                    <a:pt x="1139004" y="1664403"/>
                  </a:lnTo>
                  <a:lnTo>
                    <a:pt x="1131169" y="1617662"/>
                  </a:lnTo>
                  <a:lnTo>
                    <a:pt x="1132077" y="1617662"/>
                  </a:lnTo>
                  <a:lnTo>
                    <a:pt x="1124440" y="1579660"/>
                  </a:lnTo>
                  <a:lnTo>
                    <a:pt x="1038204" y="1525043"/>
                  </a:lnTo>
                  <a:lnTo>
                    <a:pt x="975487" y="1439216"/>
                  </a:lnTo>
                  <a:lnTo>
                    <a:pt x="951968" y="1392401"/>
                  </a:lnTo>
                  <a:lnTo>
                    <a:pt x="959807" y="1329981"/>
                  </a:lnTo>
                  <a:lnTo>
                    <a:pt x="904931" y="1290968"/>
                  </a:lnTo>
                  <a:lnTo>
                    <a:pt x="818695" y="1134919"/>
                  </a:lnTo>
                  <a:lnTo>
                    <a:pt x="755978" y="1166128"/>
                  </a:lnTo>
                  <a:lnTo>
                    <a:pt x="676275" y="1127116"/>
                  </a:lnTo>
                  <a:lnTo>
                    <a:pt x="676275" y="1126457"/>
                  </a:lnTo>
                  <a:lnTo>
                    <a:pt x="558320" y="1103041"/>
                  </a:lnTo>
                  <a:lnTo>
                    <a:pt x="534729" y="1086130"/>
                  </a:lnTo>
                  <a:lnTo>
                    <a:pt x="479684" y="1118652"/>
                  </a:lnTo>
                  <a:lnTo>
                    <a:pt x="432501" y="1157679"/>
                  </a:lnTo>
                  <a:lnTo>
                    <a:pt x="424638" y="1118652"/>
                  </a:lnTo>
                  <a:lnTo>
                    <a:pt x="408911" y="1086130"/>
                  </a:lnTo>
                  <a:lnTo>
                    <a:pt x="346001" y="1165484"/>
                  </a:lnTo>
                  <a:lnTo>
                    <a:pt x="353865" y="1188901"/>
                  </a:lnTo>
                  <a:lnTo>
                    <a:pt x="251637" y="1298176"/>
                  </a:lnTo>
                  <a:lnTo>
                    <a:pt x="117955" y="1368425"/>
                  </a:lnTo>
                  <a:lnTo>
                    <a:pt x="235910" y="1266955"/>
                  </a:lnTo>
                  <a:lnTo>
                    <a:pt x="275228" y="1196706"/>
                  </a:lnTo>
                  <a:lnTo>
                    <a:pt x="204455" y="1196706"/>
                  </a:lnTo>
                  <a:lnTo>
                    <a:pt x="149409" y="1204511"/>
                  </a:lnTo>
                  <a:lnTo>
                    <a:pt x="141546" y="1149874"/>
                  </a:lnTo>
                  <a:lnTo>
                    <a:pt x="102228" y="1134263"/>
                  </a:lnTo>
                  <a:lnTo>
                    <a:pt x="94364" y="1093935"/>
                  </a:lnTo>
                  <a:lnTo>
                    <a:pt x="39318" y="1054908"/>
                  </a:lnTo>
                  <a:lnTo>
                    <a:pt x="47182" y="1015881"/>
                  </a:lnTo>
                  <a:lnTo>
                    <a:pt x="94364" y="984659"/>
                  </a:lnTo>
                  <a:lnTo>
                    <a:pt x="157273" y="961243"/>
                  </a:lnTo>
                  <a:lnTo>
                    <a:pt x="180864" y="906605"/>
                  </a:lnTo>
                  <a:lnTo>
                    <a:pt x="125818" y="898800"/>
                  </a:lnTo>
                  <a:lnTo>
                    <a:pt x="55046" y="898800"/>
                  </a:lnTo>
                  <a:lnTo>
                    <a:pt x="23591" y="867578"/>
                  </a:lnTo>
                  <a:lnTo>
                    <a:pt x="0" y="844162"/>
                  </a:lnTo>
                  <a:lnTo>
                    <a:pt x="78636" y="789524"/>
                  </a:lnTo>
                  <a:lnTo>
                    <a:pt x="117955" y="805135"/>
                  </a:lnTo>
                  <a:lnTo>
                    <a:pt x="149409" y="789524"/>
                  </a:lnTo>
                  <a:lnTo>
                    <a:pt x="149409" y="758303"/>
                  </a:lnTo>
                  <a:lnTo>
                    <a:pt x="102228" y="734887"/>
                  </a:lnTo>
                  <a:lnTo>
                    <a:pt x="55046" y="672443"/>
                  </a:lnTo>
                  <a:lnTo>
                    <a:pt x="55046" y="625611"/>
                  </a:lnTo>
                  <a:lnTo>
                    <a:pt x="117955" y="610000"/>
                  </a:lnTo>
                  <a:lnTo>
                    <a:pt x="149409" y="531946"/>
                  </a:lnTo>
                  <a:lnTo>
                    <a:pt x="196591" y="500725"/>
                  </a:lnTo>
                  <a:lnTo>
                    <a:pt x="259501" y="477308"/>
                  </a:lnTo>
                  <a:lnTo>
                    <a:pt x="298819" y="446087"/>
                  </a:lnTo>
                  <a:lnTo>
                    <a:pt x="369592" y="469503"/>
                  </a:lnTo>
                  <a:lnTo>
                    <a:pt x="377456" y="492919"/>
                  </a:lnTo>
                  <a:lnTo>
                    <a:pt x="416774" y="516335"/>
                  </a:lnTo>
                  <a:lnTo>
                    <a:pt x="463956" y="508530"/>
                  </a:lnTo>
                  <a:lnTo>
                    <a:pt x="566184" y="555362"/>
                  </a:lnTo>
                  <a:lnTo>
                    <a:pt x="636957" y="547557"/>
                  </a:lnTo>
                  <a:lnTo>
                    <a:pt x="660548" y="570973"/>
                  </a:lnTo>
                  <a:lnTo>
                    <a:pt x="676275" y="570973"/>
                  </a:lnTo>
                  <a:lnTo>
                    <a:pt x="676275" y="571839"/>
                  </a:lnTo>
                  <a:lnTo>
                    <a:pt x="724619" y="587444"/>
                  </a:lnTo>
                  <a:lnTo>
                    <a:pt x="763818" y="626457"/>
                  </a:lnTo>
                  <a:lnTo>
                    <a:pt x="826535" y="642061"/>
                  </a:lnTo>
                  <a:lnTo>
                    <a:pt x="865733" y="603049"/>
                  </a:lnTo>
                  <a:lnTo>
                    <a:pt x="1014685" y="532827"/>
                  </a:lnTo>
                  <a:lnTo>
                    <a:pt x="1069562" y="595247"/>
                  </a:lnTo>
                  <a:lnTo>
                    <a:pt x="1124440" y="579642"/>
                  </a:lnTo>
                  <a:lnTo>
                    <a:pt x="1210676" y="603049"/>
                  </a:lnTo>
                  <a:lnTo>
                    <a:pt x="1273393" y="634259"/>
                  </a:lnTo>
                  <a:lnTo>
                    <a:pt x="1328271" y="649864"/>
                  </a:lnTo>
                  <a:lnTo>
                    <a:pt x="1312592" y="681074"/>
                  </a:lnTo>
                  <a:lnTo>
                    <a:pt x="1351790" y="712284"/>
                  </a:lnTo>
                  <a:lnTo>
                    <a:pt x="1438025" y="696679"/>
                  </a:lnTo>
                  <a:lnTo>
                    <a:pt x="1477224" y="743494"/>
                  </a:lnTo>
                  <a:lnTo>
                    <a:pt x="1500741" y="751296"/>
                  </a:lnTo>
                  <a:lnTo>
                    <a:pt x="1492902" y="704481"/>
                  </a:lnTo>
                  <a:lnTo>
                    <a:pt x="1485063" y="681074"/>
                  </a:lnTo>
                  <a:lnTo>
                    <a:pt x="1555619" y="665469"/>
                  </a:lnTo>
                  <a:lnTo>
                    <a:pt x="1602657" y="696679"/>
                  </a:lnTo>
                  <a:lnTo>
                    <a:pt x="1681053" y="696679"/>
                  </a:lnTo>
                  <a:lnTo>
                    <a:pt x="1735930" y="712284"/>
                  </a:lnTo>
                  <a:lnTo>
                    <a:pt x="1748129" y="681931"/>
                  </a:lnTo>
                  <a:lnTo>
                    <a:pt x="1738522" y="676522"/>
                  </a:lnTo>
                  <a:lnTo>
                    <a:pt x="1733103" y="671437"/>
                  </a:lnTo>
                  <a:lnTo>
                    <a:pt x="1726600" y="666351"/>
                  </a:lnTo>
                  <a:lnTo>
                    <a:pt x="1720097" y="661266"/>
                  </a:lnTo>
                  <a:lnTo>
                    <a:pt x="1714677" y="656180"/>
                  </a:lnTo>
                  <a:lnTo>
                    <a:pt x="1711426" y="653129"/>
                  </a:lnTo>
                  <a:lnTo>
                    <a:pt x="1706007" y="649061"/>
                  </a:lnTo>
                  <a:lnTo>
                    <a:pt x="1703839" y="647026"/>
                  </a:lnTo>
                  <a:lnTo>
                    <a:pt x="1701671" y="646009"/>
                  </a:lnTo>
                  <a:lnTo>
                    <a:pt x="1698420" y="644992"/>
                  </a:lnTo>
                  <a:lnTo>
                    <a:pt x="1697336" y="644992"/>
                  </a:lnTo>
                  <a:lnTo>
                    <a:pt x="1694085" y="647026"/>
                  </a:lnTo>
                  <a:lnTo>
                    <a:pt x="1685414" y="653129"/>
                  </a:lnTo>
                  <a:lnTo>
                    <a:pt x="1678911" y="657197"/>
                  </a:lnTo>
                  <a:lnTo>
                    <a:pt x="1670240" y="661266"/>
                  </a:lnTo>
                  <a:lnTo>
                    <a:pt x="1660486" y="664317"/>
                  </a:lnTo>
                  <a:lnTo>
                    <a:pt x="1650731" y="667368"/>
                  </a:lnTo>
                  <a:lnTo>
                    <a:pt x="1639893" y="670420"/>
                  </a:lnTo>
                  <a:lnTo>
                    <a:pt x="1630138" y="671437"/>
                  </a:lnTo>
                  <a:lnTo>
                    <a:pt x="1623635" y="672454"/>
                  </a:lnTo>
                  <a:lnTo>
                    <a:pt x="1619300" y="674488"/>
                  </a:lnTo>
                  <a:lnTo>
                    <a:pt x="1614965" y="674488"/>
                  </a:lnTo>
                  <a:lnTo>
                    <a:pt x="1611713" y="674488"/>
                  </a:lnTo>
                  <a:lnTo>
                    <a:pt x="1606294" y="672454"/>
                  </a:lnTo>
                  <a:lnTo>
                    <a:pt x="1599791" y="670420"/>
                  </a:lnTo>
                  <a:lnTo>
                    <a:pt x="1594372" y="669403"/>
                  </a:lnTo>
                  <a:lnTo>
                    <a:pt x="1588953" y="667368"/>
                  </a:lnTo>
                  <a:lnTo>
                    <a:pt x="1583533" y="666351"/>
                  </a:lnTo>
                  <a:lnTo>
                    <a:pt x="1580282" y="666351"/>
                  </a:lnTo>
                  <a:lnTo>
                    <a:pt x="1577030" y="664317"/>
                  </a:lnTo>
                  <a:lnTo>
                    <a:pt x="1574863" y="661266"/>
                  </a:lnTo>
                  <a:lnTo>
                    <a:pt x="1574863" y="655163"/>
                  </a:lnTo>
                  <a:lnTo>
                    <a:pt x="1573779" y="648043"/>
                  </a:lnTo>
                  <a:lnTo>
                    <a:pt x="1570527" y="638890"/>
                  </a:lnTo>
                  <a:lnTo>
                    <a:pt x="1562941" y="630753"/>
                  </a:lnTo>
                  <a:lnTo>
                    <a:pt x="1554270" y="623633"/>
                  </a:lnTo>
                  <a:lnTo>
                    <a:pt x="1544515" y="617530"/>
                  </a:lnTo>
                  <a:lnTo>
                    <a:pt x="1536928" y="614479"/>
                  </a:lnTo>
                  <a:lnTo>
                    <a:pt x="1530425" y="612445"/>
                  </a:lnTo>
                  <a:lnTo>
                    <a:pt x="1528258" y="607359"/>
                  </a:lnTo>
                  <a:lnTo>
                    <a:pt x="1527174" y="601257"/>
                  </a:lnTo>
                  <a:lnTo>
                    <a:pt x="1527174" y="593120"/>
                  </a:lnTo>
                  <a:lnTo>
                    <a:pt x="1527174" y="586000"/>
                  </a:lnTo>
                  <a:lnTo>
                    <a:pt x="1528258" y="579898"/>
                  </a:lnTo>
                  <a:lnTo>
                    <a:pt x="1532593" y="578881"/>
                  </a:lnTo>
                  <a:lnTo>
                    <a:pt x="1540180" y="578881"/>
                  </a:lnTo>
                  <a:lnTo>
                    <a:pt x="1548851" y="577864"/>
                  </a:lnTo>
                  <a:lnTo>
                    <a:pt x="1556437" y="578881"/>
                  </a:lnTo>
                  <a:lnTo>
                    <a:pt x="1566192" y="581932"/>
                  </a:lnTo>
                  <a:lnTo>
                    <a:pt x="1572695" y="584983"/>
                  </a:lnTo>
                  <a:lnTo>
                    <a:pt x="1580282" y="588035"/>
                  </a:lnTo>
                  <a:lnTo>
                    <a:pt x="1588953" y="592103"/>
                  </a:lnTo>
                  <a:lnTo>
                    <a:pt x="1597623" y="597189"/>
                  </a:lnTo>
                  <a:lnTo>
                    <a:pt x="1605210" y="599223"/>
                  </a:lnTo>
                  <a:lnTo>
                    <a:pt x="1612797" y="601257"/>
                  </a:lnTo>
                  <a:lnTo>
                    <a:pt x="1616048" y="601257"/>
                  </a:lnTo>
                  <a:lnTo>
                    <a:pt x="1619300" y="599223"/>
                  </a:lnTo>
                  <a:lnTo>
                    <a:pt x="1620384" y="591086"/>
                  </a:lnTo>
                  <a:lnTo>
                    <a:pt x="1620384" y="582949"/>
                  </a:lnTo>
                  <a:lnTo>
                    <a:pt x="1614965" y="575829"/>
                  </a:lnTo>
                  <a:lnTo>
                    <a:pt x="1601959" y="570744"/>
                  </a:lnTo>
                  <a:lnTo>
                    <a:pt x="1587869" y="567693"/>
                  </a:lnTo>
                  <a:lnTo>
                    <a:pt x="1581366" y="566676"/>
                  </a:lnTo>
                  <a:lnTo>
                    <a:pt x="1574863" y="566676"/>
                  </a:lnTo>
                  <a:lnTo>
                    <a:pt x="1565108" y="564641"/>
                  </a:lnTo>
                  <a:lnTo>
                    <a:pt x="1553186" y="564641"/>
                  </a:lnTo>
                  <a:lnTo>
                    <a:pt x="1545599" y="564641"/>
                  </a:lnTo>
                  <a:lnTo>
                    <a:pt x="1540180" y="563624"/>
                  </a:lnTo>
                  <a:lnTo>
                    <a:pt x="1535845" y="560573"/>
                  </a:lnTo>
                  <a:lnTo>
                    <a:pt x="1530425" y="553453"/>
                  </a:lnTo>
                  <a:lnTo>
                    <a:pt x="1529342" y="545316"/>
                  </a:lnTo>
                  <a:lnTo>
                    <a:pt x="1529342" y="539214"/>
                  </a:lnTo>
                  <a:lnTo>
                    <a:pt x="1531509" y="535145"/>
                  </a:lnTo>
                  <a:lnTo>
                    <a:pt x="1539096" y="533111"/>
                  </a:lnTo>
                  <a:lnTo>
                    <a:pt x="1548851" y="535145"/>
                  </a:lnTo>
                  <a:lnTo>
                    <a:pt x="1557521" y="533111"/>
                  </a:lnTo>
                  <a:lnTo>
                    <a:pt x="1558605" y="528026"/>
                  </a:lnTo>
                  <a:lnTo>
                    <a:pt x="1555354" y="521923"/>
                  </a:lnTo>
                  <a:lnTo>
                    <a:pt x="1552102" y="519889"/>
                  </a:lnTo>
                  <a:lnTo>
                    <a:pt x="1547767" y="516838"/>
                  </a:lnTo>
                  <a:lnTo>
                    <a:pt x="1541264" y="510735"/>
                  </a:lnTo>
                  <a:lnTo>
                    <a:pt x="1535845" y="502598"/>
                  </a:lnTo>
                  <a:lnTo>
                    <a:pt x="1530425" y="497513"/>
                  </a:lnTo>
                  <a:lnTo>
                    <a:pt x="1530425" y="492427"/>
                  </a:lnTo>
                  <a:lnTo>
                    <a:pt x="1535845" y="487342"/>
                  </a:lnTo>
                  <a:lnTo>
                    <a:pt x="1542348" y="485308"/>
                  </a:lnTo>
                  <a:lnTo>
                    <a:pt x="1547767" y="483273"/>
                  </a:lnTo>
                  <a:lnTo>
                    <a:pt x="1549934" y="481239"/>
                  </a:lnTo>
                  <a:lnTo>
                    <a:pt x="1553186" y="475137"/>
                  </a:lnTo>
                  <a:lnTo>
                    <a:pt x="1554270" y="469034"/>
                  </a:lnTo>
                  <a:lnTo>
                    <a:pt x="1554270" y="465983"/>
                  </a:lnTo>
                  <a:lnTo>
                    <a:pt x="1557521" y="462931"/>
                  </a:lnTo>
                  <a:lnTo>
                    <a:pt x="1562941" y="461914"/>
                  </a:lnTo>
                  <a:lnTo>
                    <a:pt x="1570527" y="460897"/>
                  </a:lnTo>
                  <a:lnTo>
                    <a:pt x="1577030" y="456829"/>
                  </a:lnTo>
                  <a:lnTo>
                    <a:pt x="1582450" y="454795"/>
                  </a:lnTo>
                  <a:lnTo>
                    <a:pt x="1593288" y="452760"/>
                  </a:lnTo>
                  <a:lnTo>
                    <a:pt x="1605210" y="450726"/>
                  </a:lnTo>
                  <a:lnTo>
                    <a:pt x="1614965" y="447675"/>
                  </a:lnTo>
                  <a:lnTo>
                    <a:pt x="1622551" y="450726"/>
                  </a:lnTo>
                  <a:lnTo>
                    <a:pt x="1622551" y="456829"/>
                  </a:lnTo>
                  <a:lnTo>
                    <a:pt x="1619300" y="465983"/>
                  </a:lnTo>
                  <a:lnTo>
                    <a:pt x="1614965" y="471068"/>
                  </a:lnTo>
                  <a:lnTo>
                    <a:pt x="1616048" y="475137"/>
                  </a:lnTo>
                  <a:lnTo>
                    <a:pt x="1622551" y="474119"/>
                  </a:lnTo>
                  <a:lnTo>
                    <a:pt x="1630138" y="471068"/>
                  </a:lnTo>
                  <a:lnTo>
                    <a:pt x="1635557" y="472085"/>
                  </a:lnTo>
                  <a:lnTo>
                    <a:pt x="1637725" y="475137"/>
                  </a:lnTo>
                  <a:lnTo>
                    <a:pt x="1639893" y="482256"/>
                  </a:lnTo>
                  <a:lnTo>
                    <a:pt x="1646396" y="489376"/>
                  </a:lnTo>
                  <a:lnTo>
                    <a:pt x="1653983" y="494461"/>
                  </a:lnTo>
                  <a:lnTo>
                    <a:pt x="1661570" y="495479"/>
                  </a:lnTo>
                  <a:lnTo>
                    <a:pt x="1664821" y="493444"/>
                  </a:lnTo>
                  <a:lnTo>
                    <a:pt x="1664821" y="486325"/>
                  </a:lnTo>
                  <a:lnTo>
                    <a:pt x="1663737" y="479205"/>
                  </a:lnTo>
                  <a:lnTo>
                    <a:pt x="1662653" y="475137"/>
                  </a:lnTo>
                  <a:lnTo>
                    <a:pt x="1666989" y="475137"/>
                  </a:lnTo>
                  <a:lnTo>
                    <a:pt x="1672408" y="481239"/>
                  </a:lnTo>
                  <a:lnTo>
                    <a:pt x="1678911" y="487342"/>
                  </a:lnTo>
                  <a:lnTo>
                    <a:pt x="1684330" y="495479"/>
                  </a:lnTo>
                  <a:lnTo>
                    <a:pt x="1685414" y="506667"/>
                  </a:lnTo>
                  <a:lnTo>
                    <a:pt x="1686498" y="517855"/>
                  </a:lnTo>
                  <a:lnTo>
                    <a:pt x="1687582" y="529043"/>
                  </a:lnTo>
                  <a:lnTo>
                    <a:pt x="1691917" y="532094"/>
                  </a:lnTo>
                  <a:lnTo>
                    <a:pt x="1695168" y="523957"/>
                  </a:lnTo>
                  <a:lnTo>
                    <a:pt x="1698420" y="512769"/>
                  </a:lnTo>
                  <a:lnTo>
                    <a:pt x="1701671" y="505650"/>
                  </a:lnTo>
                  <a:lnTo>
                    <a:pt x="1702755" y="499547"/>
                  </a:lnTo>
                  <a:lnTo>
                    <a:pt x="1700588" y="494461"/>
                  </a:lnTo>
                  <a:lnTo>
                    <a:pt x="1697336" y="487342"/>
                  </a:lnTo>
                  <a:lnTo>
                    <a:pt x="1696252" y="481239"/>
                  </a:lnTo>
                  <a:lnTo>
                    <a:pt x="1697336" y="475137"/>
                  </a:lnTo>
                  <a:lnTo>
                    <a:pt x="1700588" y="470051"/>
                  </a:lnTo>
                  <a:lnTo>
                    <a:pt x="1704923" y="468017"/>
                  </a:lnTo>
                  <a:lnTo>
                    <a:pt x="1710342" y="469034"/>
                  </a:lnTo>
                  <a:lnTo>
                    <a:pt x="1714677" y="471068"/>
                  </a:lnTo>
                  <a:lnTo>
                    <a:pt x="1721180" y="474119"/>
                  </a:lnTo>
                  <a:lnTo>
                    <a:pt x="1723348" y="472085"/>
                  </a:lnTo>
                  <a:lnTo>
                    <a:pt x="1725516" y="470051"/>
                  </a:lnTo>
                  <a:lnTo>
                    <a:pt x="1723348" y="467000"/>
                  </a:lnTo>
                  <a:lnTo>
                    <a:pt x="1723348" y="465983"/>
                  </a:lnTo>
                  <a:lnTo>
                    <a:pt x="1721180" y="462931"/>
                  </a:lnTo>
                  <a:lnTo>
                    <a:pt x="1716845" y="458863"/>
                  </a:lnTo>
                  <a:lnTo>
                    <a:pt x="1713594" y="454795"/>
                  </a:lnTo>
                  <a:lnTo>
                    <a:pt x="1721180" y="452760"/>
                  </a:lnTo>
                  <a:lnTo>
                    <a:pt x="1727683" y="452760"/>
                  </a:lnTo>
                  <a:lnTo>
                    <a:pt x="1735270" y="452760"/>
                  </a:lnTo>
                  <a:lnTo>
                    <a:pt x="1741773" y="452760"/>
                  </a:lnTo>
                  <a:lnTo>
                    <a:pt x="1747193" y="453777"/>
                  </a:lnTo>
                  <a:lnTo>
                    <a:pt x="1752612" y="455812"/>
                  </a:lnTo>
                  <a:lnTo>
                    <a:pt x="1755863" y="458863"/>
                  </a:lnTo>
                  <a:lnTo>
                    <a:pt x="1758031" y="462931"/>
                  </a:lnTo>
                  <a:lnTo>
                    <a:pt x="1755863" y="469034"/>
                  </a:lnTo>
                  <a:lnTo>
                    <a:pt x="1751528" y="479205"/>
                  </a:lnTo>
                  <a:lnTo>
                    <a:pt x="1747193" y="485308"/>
                  </a:lnTo>
                  <a:lnTo>
                    <a:pt x="1742857" y="487342"/>
                  </a:lnTo>
                  <a:lnTo>
                    <a:pt x="1738522" y="490393"/>
                  </a:lnTo>
                  <a:lnTo>
                    <a:pt x="1735270" y="493444"/>
                  </a:lnTo>
                  <a:lnTo>
                    <a:pt x="1736354" y="500564"/>
                  </a:lnTo>
                  <a:lnTo>
                    <a:pt x="1738522" y="508701"/>
                  </a:lnTo>
                  <a:lnTo>
                    <a:pt x="1739606" y="517855"/>
                  </a:lnTo>
                  <a:lnTo>
                    <a:pt x="1741773" y="528026"/>
                  </a:lnTo>
                  <a:lnTo>
                    <a:pt x="1742857" y="538197"/>
                  </a:lnTo>
                  <a:lnTo>
                    <a:pt x="1745025" y="547351"/>
                  </a:lnTo>
                  <a:lnTo>
                    <a:pt x="1745025" y="554470"/>
                  </a:lnTo>
                  <a:lnTo>
                    <a:pt x="1743941" y="559556"/>
                  </a:lnTo>
                  <a:lnTo>
                    <a:pt x="1742857" y="561590"/>
                  </a:lnTo>
                  <a:lnTo>
                    <a:pt x="1741773" y="564641"/>
                  </a:lnTo>
                  <a:lnTo>
                    <a:pt x="1741773" y="571761"/>
                  </a:lnTo>
                  <a:lnTo>
                    <a:pt x="1745025" y="579898"/>
                  </a:lnTo>
                  <a:lnTo>
                    <a:pt x="1749360" y="586000"/>
                  </a:lnTo>
                  <a:lnTo>
                    <a:pt x="1753696" y="591086"/>
                  </a:lnTo>
                  <a:lnTo>
                    <a:pt x="1761282" y="597189"/>
                  </a:lnTo>
                  <a:lnTo>
                    <a:pt x="1769953" y="603291"/>
                  </a:lnTo>
                  <a:lnTo>
                    <a:pt x="1777540" y="608377"/>
                  </a:lnTo>
                  <a:lnTo>
                    <a:pt x="1784043" y="610411"/>
                  </a:lnTo>
                  <a:lnTo>
                    <a:pt x="1786211" y="612445"/>
                  </a:lnTo>
                  <a:lnTo>
                    <a:pt x="1788378" y="614479"/>
                  </a:lnTo>
                  <a:lnTo>
                    <a:pt x="1793797" y="618548"/>
                  </a:lnTo>
                  <a:lnTo>
                    <a:pt x="1797049" y="625667"/>
                  </a:lnTo>
                  <a:lnTo>
                    <a:pt x="1795965" y="632787"/>
                  </a:lnTo>
                  <a:lnTo>
                    <a:pt x="1791630" y="637872"/>
                  </a:lnTo>
                  <a:lnTo>
                    <a:pt x="1786211" y="638890"/>
                  </a:lnTo>
                  <a:lnTo>
                    <a:pt x="1782959" y="637872"/>
                  </a:lnTo>
                  <a:lnTo>
                    <a:pt x="1778624" y="637872"/>
                  </a:lnTo>
                  <a:lnTo>
                    <a:pt x="1775372" y="637872"/>
                  </a:lnTo>
                  <a:lnTo>
                    <a:pt x="1772121" y="637872"/>
                  </a:lnTo>
                  <a:lnTo>
                    <a:pt x="1772121" y="639907"/>
                  </a:lnTo>
                  <a:lnTo>
                    <a:pt x="1774288" y="646009"/>
                  </a:lnTo>
                  <a:lnTo>
                    <a:pt x="1776456" y="655163"/>
                  </a:lnTo>
                  <a:lnTo>
                    <a:pt x="1778624" y="664317"/>
                  </a:lnTo>
                  <a:lnTo>
                    <a:pt x="1777540" y="671437"/>
                  </a:lnTo>
                  <a:lnTo>
                    <a:pt x="1774803" y="673271"/>
                  </a:lnTo>
                  <a:lnTo>
                    <a:pt x="1782968" y="673271"/>
                  </a:lnTo>
                  <a:lnTo>
                    <a:pt x="1806487" y="688876"/>
                  </a:lnTo>
                  <a:lnTo>
                    <a:pt x="1845685" y="649864"/>
                  </a:lnTo>
                  <a:lnTo>
                    <a:pt x="1837845" y="603049"/>
                  </a:lnTo>
                  <a:lnTo>
                    <a:pt x="1782968" y="556234"/>
                  </a:lnTo>
                  <a:lnTo>
                    <a:pt x="1782968" y="517222"/>
                  </a:lnTo>
                  <a:close/>
                  <a:moveTo>
                    <a:pt x="1880953" y="369887"/>
                  </a:moveTo>
                  <a:lnTo>
                    <a:pt x="1883100" y="369887"/>
                  </a:lnTo>
                  <a:lnTo>
                    <a:pt x="1884174" y="369887"/>
                  </a:lnTo>
                  <a:lnTo>
                    <a:pt x="1885248" y="370888"/>
                  </a:lnTo>
                  <a:lnTo>
                    <a:pt x="1889544" y="374891"/>
                  </a:lnTo>
                  <a:lnTo>
                    <a:pt x="1891691" y="378894"/>
                  </a:lnTo>
                  <a:lnTo>
                    <a:pt x="1892765" y="384899"/>
                  </a:lnTo>
                  <a:lnTo>
                    <a:pt x="1892765" y="389903"/>
                  </a:lnTo>
                  <a:lnTo>
                    <a:pt x="1895987" y="393907"/>
                  </a:lnTo>
                  <a:lnTo>
                    <a:pt x="1897061" y="398911"/>
                  </a:lnTo>
                  <a:lnTo>
                    <a:pt x="1897061" y="404916"/>
                  </a:lnTo>
                  <a:lnTo>
                    <a:pt x="1893839" y="409920"/>
                  </a:lnTo>
                  <a:lnTo>
                    <a:pt x="1889544" y="413923"/>
                  </a:lnTo>
                  <a:lnTo>
                    <a:pt x="1884174" y="415925"/>
                  </a:lnTo>
                  <a:lnTo>
                    <a:pt x="1880953" y="413923"/>
                  </a:lnTo>
                  <a:lnTo>
                    <a:pt x="1877731" y="409920"/>
                  </a:lnTo>
                  <a:lnTo>
                    <a:pt x="1873436" y="406917"/>
                  </a:lnTo>
                  <a:lnTo>
                    <a:pt x="1868066" y="404916"/>
                  </a:lnTo>
                  <a:lnTo>
                    <a:pt x="1863771" y="400912"/>
                  </a:lnTo>
                  <a:lnTo>
                    <a:pt x="1860549" y="397910"/>
                  </a:lnTo>
                  <a:lnTo>
                    <a:pt x="1861623" y="392906"/>
                  </a:lnTo>
                  <a:lnTo>
                    <a:pt x="1864844" y="387902"/>
                  </a:lnTo>
                  <a:lnTo>
                    <a:pt x="1868066" y="384899"/>
                  </a:lnTo>
                  <a:lnTo>
                    <a:pt x="1872362" y="381897"/>
                  </a:lnTo>
                  <a:lnTo>
                    <a:pt x="1874509" y="376893"/>
                  </a:lnTo>
                  <a:lnTo>
                    <a:pt x="1875583" y="374891"/>
                  </a:lnTo>
                  <a:lnTo>
                    <a:pt x="1875583" y="373890"/>
                  </a:lnTo>
                  <a:lnTo>
                    <a:pt x="1877731" y="370888"/>
                  </a:lnTo>
                  <a:close/>
                  <a:moveTo>
                    <a:pt x="1509540" y="361950"/>
                  </a:moveTo>
                  <a:lnTo>
                    <a:pt x="1512757" y="361950"/>
                  </a:lnTo>
                  <a:lnTo>
                    <a:pt x="1515975" y="362950"/>
                  </a:lnTo>
                  <a:lnTo>
                    <a:pt x="1521338" y="364951"/>
                  </a:lnTo>
                  <a:lnTo>
                    <a:pt x="1525629" y="368952"/>
                  </a:lnTo>
                  <a:lnTo>
                    <a:pt x="1530992" y="370953"/>
                  </a:lnTo>
                  <a:lnTo>
                    <a:pt x="1537428" y="371953"/>
                  </a:lnTo>
                  <a:lnTo>
                    <a:pt x="1544937" y="373954"/>
                  </a:lnTo>
                  <a:lnTo>
                    <a:pt x="1554590" y="375955"/>
                  </a:lnTo>
                  <a:lnTo>
                    <a:pt x="1558881" y="381957"/>
                  </a:lnTo>
                  <a:lnTo>
                    <a:pt x="1562098" y="387959"/>
                  </a:lnTo>
                  <a:lnTo>
                    <a:pt x="1566389" y="393961"/>
                  </a:lnTo>
                  <a:lnTo>
                    <a:pt x="1571752" y="396962"/>
                  </a:lnTo>
                  <a:lnTo>
                    <a:pt x="1577116" y="394961"/>
                  </a:lnTo>
                  <a:lnTo>
                    <a:pt x="1581406" y="394961"/>
                  </a:lnTo>
                  <a:lnTo>
                    <a:pt x="1587842" y="397962"/>
                  </a:lnTo>
                  <a:lnTo>
                    <a:pt x="1594278" y="405965"/>
                  </a:lnTo>
                  <a:lnTo>
                    <a:pt x="1598568" y="417969"/>
                  </a:lnTo>
                  <a:lnTo>
                    <a:pt x="1599641" y="428973"/>
                  </a:lnTo>
                  <a:lnTo>
                    <a:pt x="1601786" y="432974"/>
                  </a:lnTo>
                  <a:lnTo>
                    <a:pt x="1599641" y="436976"/>
                  </a:lnTo>
                  <a:lnTo>
                    <a:pt x="1597496" y="439977"/>
                  </a:lnTo>
                  <a:lnTo>
                    <a:pt x="1593205" y="443978"/>
                  </a:lnTo>
                  <a:lnTo>
                    <a:pt x="1587842" y="445979"/>
                  </a:lnTo>
                  <a:lnTo>
                    <a:pt x="1580334" y="447979"/>
                  </a:lnTo>
                  <a:lnTo>
                    <a:pt x="1571752" y="450980"/>
                  </a:lnTo>
                  <a:lnTo>
                    <a:pt x="1563171" y="451981"/>
                  </a:lnTo>
                  <a:lnTo>
                    <a:pt x="1554590" y="453981"/>
                  </a:lnTo>
                  <a:lnTo>
                    <a:pt x="1540646" y="457983"/>
                  </a:lnTo>
                  <a:lnTo>
                    <a:pt x="1536355" y="460984"/>
                  </a:lnTo>
                  <a:lnTo>
                    <a:pt x="1536355" y="465985"/>
                  </a:lnTo>
                  <a:lnTo>
                    <a:pt x="1536355" y="472988"/>
                  </a:lnTo>
                  <a:lnTo>
                    <a:pt x="1532065" y="477990"/>
                  </a:lnTo>
                  <a:lnTo>
                    <a:pt x="1523484" y="480991"/>
                  </a:lnTo>
                  <a:lnTo>
                    <a:pt x="1513830" y="485992"/>
                  </a:lnTo>
                  <a:lnTo>
                    <a:pt x="1507395" y="496996"/>
                  </a:lnTo>
                  <a:lnTo>
                    <a:pt x="1502031" y="507000"/>
                  </a:lnTo>
                  <a:lnTo>
                    <a:pt x="1496668" y="508000"/>
                  </a:lnTo>
                  <a:lnTo>
                    <a:pt x="1490232" y="504999"/>
                  </a:lnTo>
                  <a:lnTo>
                    <a:pt x="1484869" y="499997"/>
                  </a:lnTo>
                  <a:lnTo>
                    <a:pt x="1481651" y="498997"/>
                  </a:lnTo>
                  <a:lnTo>
                    <a:pt x="1477361" y="500997"/>
                  </a:lnTo>
                  <a:lnTo>
                    <a:pt x="1471998" y="504999"/>
                  </a:lnTo>
                  <a:lnTo>
                    <a:pt x="1464489" y="508000"/>
                  </a:lnTo>
                  <a:lnTo>
                    <a:pt x="1459126" y="505999"/>
                  </a:lnTo>
                  <a:lnTo>
                    <a:pt x="1458053" y="497996"/>
                  </a:lnTo>
                  <a:lnTo>
                    <a:pt x="1458053" y="484992"/>
                  </a:lnTo>
                  <a:lnTo>
                    <a:pt x="1454835" y="468987"/>
                  </a:lnTo>
                  <a:lnTo>
                    <a:pt x="1449472" y="455982"/>
                  </a:lnTo>
                  <a:lnTo>
                    <a:pt x="1447327" y="452981"/>
                  </a:lnTo>
                  <a:lnTo>
                    <a:pt x="1446254" y="452981"/>
                  </a:lnTo>
                  <a:lnTo>
                    <a:pt x="1443036" y="451981"/>
                  </a:lnTo>
                  <a:lnTo>
                    <a:pt x="1446254" y="443978"/>
                  </a:lnTo>
                  <a:lnTo>
                    <a:pt x="1454835" y="432974"/>
                  </a:lnTo>
                  <a:lnTo>
                    <a:pt x="1464489" y="423971"/>
                  </a:lnTo>
                  <a:lnTo>
                    <a:pt x="1471998" y="416969"/>
                  </a:lnTo>
                  <a:lnTo>
                    <a:pt x="1477361" y="411967"/>
                  </a:lnTo>
                  <a:lnTo>
                    <a:pt x="1488087" y="401964"/>
                  </a:lnTo>
                  <a:lnTo>
                    <a:pt x="1496668" y="392960"/>
                  </a:lnTo>
                  <a:lnTo>
                    <a:pt x="1502031" y="385958"/>
                  </a:lnTo>
                  <a:lnTo>
                    <a:pt x="1504177" y="381957"/>
                  </a:lnTo>
                  <a:lnTo>
                    <a:pt x="1505249" y="376955"/>
                  </a:lnTo>
                  <a:lnTo>
                    <a:pt x="1505249" y="369953"/>
                  </a:lnTo>
                  <a:lnTo>
                    <a:pt x="1507395" y="363950"/>
                  </a:lnTo>
                  <a:close/>
                  <a:moveTo>
                    <a:pt x="1770098" y="320675"/>
                  </a:moveTo>
                  <a:lnTo>
                    <a:pt x="1777592" y="325735"/>
                  </a:lnTo>
                  <a:lnTo>
                    <a:pt x="1785087" y="332819"/>
                  </a:lnTo>
                  <a:lnTo>
                    <a:pt x="1788299" y="336867"/>
                  </a:lnTo>
                  <a:lnTo>
                    <a:pt x="1790440" y="336867"/>
                  </a:lnTo>
                  <a:lnTo>
                    <a:pt x="1793652" y="336867"/>
                  </a:lnTo>
                  <a:lnTo>
                    <a:pt x="1796864" y="335855"/>
                  </a:lnTo>
                  <a:lnTo>
                    <a:pt x="1801146" y="331807"/>
                  </a:lnTo>
                  <a:lnTo>
                    <a:pt x="1804358" y="329783"/>
                  </a:lnTo>
                  <a:lnTo>
                    <a:pt x="1808641" y="331807"/>
                  </a:lnTo>
                  <a:lnTo>
                    <a:pt x="1812923" y="335855"/>
                  </a:lnTo>
                  <a:lnTo>
                    <a:pt x="1817206" y="336867"/>
                  </a:lnTo>
                  <a:lnTo>
                    <a:pt x="1818277" y="333831"/>
                  </a:lnTo>
                  <a:lnTo>
                    <a:pt x="1817206" y="331807"/>
                  </a:lnTo>
                  <a:lnTo>
                    <a:pt x="1815065" y="327759"/>
                  </a:lnTo>
                  <a:lnTo>
                    <a:pt x="1815065" y="323711"/>
                  </a:lnTo>
                  <a:lnTo>
                    <a:pt x="1817206" y="322699"/>
                  </a:lnTo>
                  <a:lnTo>
                    <a:pt x="1820418" y="323711"/>
                  </a:lnTo>
                  <a:lnTo>
                    <a:pt x="1825771" y="328771"/>
                  </a:lnTo>
                  <a:lnTo>
                    <a:pt x="1831124" y="331807"/>
                  </a:lnTo>
                  <a:lnTo>
                    <a:pt x="1834336" y="332819"/>
                  </a:lnTo>
                  <a:lnTo>
                    <a:pt x="1835407" y="330795"/>
                  </a:lnTo>
                  <a:lnTo>
                    <a:pt x="1836478" y="328771"/>
                  </a:lnTo>
                  <a:lnTo>
                    <a:pt x="1842901" y="327759"/>
                  </a:lnTo>
                  <a:lnTo>
                    <a:pt x="1848255" y="329783"/>
                  </a:lnTo>
                  <a:lnTo>
                    <a:pt x="1849325" y="335855"/>
                  </a:lnTo>
                  <a:lnTo>
                    <a:pt x="1848255" y="342939"/>
                  </a:lnTo>
                  <a:lnTo>
                    <a:pt x="1843972" y="352048"/>
                  </a:lnTo>
                  <a:lnTo>
                    <a:pt x="1842901" y="358120"/>
                  </a:lnTo>
                  <a:lnTo>
                    <a:pt x="1843972" y="360144"/>
                  </a:lnTo>
                  <a:lnTo>
                    <a:pt x="1849325" y="363180"/>
                  </a:lnTo>
                  <a:lnTo>
                    <a:pt x="1855749" y="371276"/>
                  </a:lnTo>
                  <a:lnTo>
                    <a:pt x="1858961" y="378360"/>
                  </a:lnTo>
                  <a:lnTo>
                    <a:pt x="1856820" y="379372"/>
                  </a:lnTo>
                  <a:lnTo>
                    <a:pt x="1851466" y="377348"/>
                  </a:lnTo>
                  <a:lnTo>
                    <a:pt x="1847184" y="375324"/>
                  </a:lnTo>
                  <a:lnTo>
                    <a:pt x="1843972" y="375324"/>
                  </a:lnTo>
                  <a:lnTo>
                    <a:pt x="1843972" y="378360"/>
                  </a:lnTo>
                  <a:lnTo>
                    <a:pt x="1847184" y="383420"/>
                  </a:lnTo>
                  <a:lnTo>
                    <a:pt x="1848255" y="385444"/>
                  </a:lnTo>
                  <a:lnTo>
                    <a:pt x="1843972" y="387468"/>
                  </a:lnTo>
                  <a:lnTo>
                    <a:pt x="1835407" y="393541"/>
                  </a:lnTo>
                  <a:lnTo>
                    <a:pt x="1824700" y="398601"/>
                  </a:lnTo>
                  <a:lnTo>
                    <a:pt x="1812923" y="401637"/>
                  </a:lnTo>
                  <a:lnTo>
                    <a:pt x="1807570" y="400625"/>
                  </a:lnTo>
                  <a:lnTo>
                    <a:pt x="1807570" y="394553"/>
                  </a:lnTo>
                  <a:lnTo>
                    <a:pt x="1809712" y="386456"/>
                  </a:lnTo>
                  <a:lnTo>
                    <a:pt x="1811853" y="379372"/>
                  </a:lnTo>
                  <a:lnTo>
                    <a:pt x="1811853" y="375324"/>
                  </a:lnTo>
                  <a:lnTo>
                    <a:pt x="1810782" y="374312"/>
                  </a:lnTo>
                  <a:lnTo>
                    <a:pt x="1807570" y="374312"/>
                  </a:lnTo>
                  <a:lnTo>
                    <a:pt x="1800076" y="375324"/>
                  </a:lnTo>
                  <a:lnTo>
                    <a:pt x="1792581" y="375324"/>
                  </a:lnTo>
                  <a:lnTo>
                    <a:pt x="1790440" y="375324"/>
                  </a:lnTo>
                  <a:lnTo>
                    <a:pt x="1788299" y="373300"/>
                  </a:lnTo>
                  <a:lnTo>
                    <a:pt x="1791511" y="368240"/>
                  </a:lnTo>
                  <a:lnTo>
                    <a:pt x="1792581" y="364192"/>
                  </a:lnTo>
                  <a:lnTo>
                    <a:pt x="1790440" y="363180"/>
                  </a:lnTo>
                  <a:lnTo>
                    <a:pt x="1786157" y="363180"/>
                  </a:lnTo>
                  <a:lnTo>
                    <a:pt x="1782946" y="363180"/>
                  </a:lnTo>
                  <a:lnTo>
                    <a:pt x="1778663" y="362168"/>
                  </a:lnTo>
                  <a:lnTo>
                    <a:pt x="1775451" y="359132"/>
                  </a:lnTo>
                  <a:lnTo>
                    <a:pt x="1772239" y="354072"/>
                  </a:lnTo>
                  <a:lnTo>
                    <a:pt x="1771168" y="347999"/>
                  </a:lnTo>
                  <a:lnTo>
                    <a:pt x="1770098" y="342939"/>
                  </a:lnTo>
                  <a:lnTo>
                    <a:pt x="1769027" y="335855"/>
                  </a:lnTo>
                  <a:lnTo>
                    <a:pt x="1767957" y="329783"/>
                  </a:lnTo>
                  <a:lnTo>
                    <a:pt x="1766886" y="322699"/>
                  </a:lnTo>
                  <a:close/>
                  <a:moveTo>
                    <a:pt x="1648242" y="307975"/>
                  </a:moveTo>
                  <a:lnTo>
                    <a:pt x="1655845" y="307975"/>
                  </a:lnTo>
                  <a:lnTo>
                    <a:pt x="1660189" y="310033"/>
                  </a:lnTo>
                  <a:lnTo>
                    <a:pt x="1661276" y="313121"/>
                  </a:lnTo>
                  <a:lnTo>
                    <a:pt x="1660189" y="316209"/>
                  </a:lnTo>
                  <a:lnTo>
                    <a:pt x="1661276" y="321355"/>
                  </a:lnTo>
                  <a:lnTo>
                    <a:pt x="1665620" y="323414"/>
                  </a:lnTo>
                  <a:lnTo>
                    <a:pt x="1671051" y="327531"/>
                  </a:lnTo>
                  <a:lnTo>
                    <a:pt x="1672137" y="331648"/>
                  </a:lnTo>
                  <a:lnTo>
                    <a:pt x="1672137" y="336794"/>
                  </a:lnTo>
                  <a:lnTo>
                    <a:pt x="1677568" y="339882"/>
                  </a:lnTo>
                  <a:lnTo>
                    <a:pt x="1681913" y="343999"/>
                  </a:lnTo>
                  <a:lnTo>
                    <a:pt x="1685172" y="348116"/>
                  </a:lnTo>
                  <a:lnTo>
                    <a:pt x="1685172" y="353262"/>
                  </a:lnTo>
                  <a:lnTo>
                    <a:pt x="1685172" y="356350"/>
                  </a:lnTo>
                  <a:lnTo>
                    <a:pt x="1687344" y="359437"/>
                  </a:lnTo>
                  <a:lnTo>
                    <a:pt x="1692775" y="361496"/>
                  </a:lnTo>
                  <a:lnTo>
                    <a:pt x="1698206" y="364584"/>
                  </a:lnTo>
                  <a:lnTo>
                    <a:pt x="1704723" y="368701"/>
                  </a:lnTo>
                  <a:lnTo>
                    <a:pt x="1709068" y="368701"/>
                  </a:lnTo>
                  <a:lnTo>
                    <a:pt x="1710154" y="363554"/>
                  </a:lnTo>
                  <a:lnTo>
                    <a:pt x="1710154" y="356350"/>
                  </a:lnTo>
                  <a:lnTo>
                    <a:pt x="1710154" y="351203"/>
                  </a:lnTo>
                  <a:lnTo>
                    <a:pt x="1710154" y="346057"/>
                  </a:lnTo>
                  <a:lnTo>
                    <a:pt x="1710154" y="340911"/>
                  </a:lnTo>
                  <a:lnTo>
                    <a:pt x="1706895" y="338852"/>
                  </a:lnTo>
                  <a:lnTo>
                    <a:pt x="1704723" y="338852"/>
                  </a:lnTo>
                  <a:lnTo>
                    <a:pt x="1703637" y="337823"/>
                  </a:lnTo>
                  <a:lnTo>
                    <a:pt x="1702551" y="332677"/>
                  </a:lnTo>
                  <a:lnTo>
                    <a:pt x="1702551" y="327531"/>
                  </a:lnTo>
                  <a:lnTo>
                    <a:pt x="1702551" y="322384"/>
                  </a:lnTo>
                  <a:lnTo>
                    <a:pt x="1703637" y="319297"/>
                  </a:lnTo>
                  <a:lnTo>
                    <a:pt x="1706895" y="316209"/>
                  </a:lnTo>
                  <a:lnTo>
                    <a:pt x="1713413" y="314150"/>
                  </a:lnTo>
                  <a:lnTo>
                    <a:pt x="1718844" y="312092"/>
                  </a:lnTo>
                  <a:lnTo>
                    <a:pt x="1723188" y="309004"/>
                  </a:lnTo>
                  <a:lnTo>
                    <a:pt x="1724274" y="307975"/>
                  </a:lnTo>
                  <a:lnTo>
                    <a:pt x="1724274" y="312092"/>
                  </a:lnTo>
                  <a:lnTo>
                    <a:pt x="1723188" y="321355"/>
                  </a:lnTo>
                  <a:lnTo>
                    <a:pt x="1723188" y="331648"/>
                  </a:lnTo>
                  <a:lnTo>
                    <a:pt x="1722102" y="338852"/>
                  </a:lnTo>
                  <a:lnTo>
                    <a:pt x="1721016" y="343999"/>
                  </a:lnTo>
                  <a:lnTo>
                    <a:pt x="1721016" y="348116"/>
                  </a:lnTo>
                  <a:lnTo>
                    <a:pt x="1722102" y="353262"/>
                  </a:lnTo>
                  <a:lnTo>
                    <a:pt x="1727533" y="355320"/>
                  </a:lnTo>
                  <a:lnTo>
                    <a:pt x="1731878" y="352233"/>
                  </a:lnTo>
                  <a:lnTo>
                    <a:pt x="1734050" y="346057"/>
                  </a:lnTo>
                  <a:lnTo>
                    <a:pt x="1736223" y="342969"/>
                  </a:lnTo>
                  <a:lnTo>
                    <a:pt x="1742740" y="345028"/>
                  </a:lnTo>
                  <a:lnTo>
                    <a:pt x="1750343" y="351203"/>
                  </a:lnTo>
                  <a:lnTo>
                    <a:pt x="1754688" y="354291"/>
                  </a:lnTo>
                  <a:lnTo>
                    <a:pt x="1755774" y="358408"/>
                  </a:lnTo>
                  <a:lnTo>
                    <a:pt x="1754688" y="363554"/>
                  </a:lnTo>
                  <a:lnTo>
                    <a:pt x="1754688" y="369730"/>
                  </a:lnTo>
                  <a:lnTo>
                    <a:pt x="1754688" y="371788"/>
                  </a:lnTo>
                  <a:lnTo>
                    <a:pt x="1753602" y="375905"/>
                  </a:lnTo>
                  <a:lnTo>
                    <a:pt x="1750343" y="382081"/>
                  </a:lnTo>
                  <a:lnTo>
                    <a:pt x="1744912" y="388257"/>
                  </a:lnTo>
                  <a:lnTo>
                    <a:pt x="1742740" y="392374"/>
                  </a:lnTo>
                  <a:lnTo>
                    <a:pt x="1737309" y="394432"/>
                  </a:lnTo>
                  <a:lnTo>
                    <a:pt x="1727533" y="393403"/>
                  </a:lnTo>
                  <a:lnTo>
                    <a:pt x="1715585" y="391344"/>
                  </a:lnTo>
                  <a:lnTo>
                    <a:pt x="1706895" y="388257"/>
                  </a:lnTo>
                  <a:lnTo>
                    <a:pt x="1701465" y="387227"/>
                  </a:lnTo>
                  <a:lnTo>
                    <a:pt x="1697120" y="390315"/>
                  </a:lnTo>
                  <a:lnTo>
                    <a:pt x="1693861" y="393403"/>
                  </a:lnTo>
                  <a:lnTo>
                    <a:pt x="1689516" y="395461"/>
                  </a:lnTo>
                  <a:lnTo>
                    <a:pt x="1685172" y="398549"/>
                  </a:lnTo>
                  <a:lnTo>
                    <a:pt x="1677568" y="400608"/>
                  </a:lnTo>
                  <a:lnTo>
                    <a:pt x="1669965" y="401637"/>
                  </a:lnTo>
                  <a:lnTo>
                    <a:pt x="1664534" y="401637"/>
                  </a:lnTo>
                  <a:lnTo>
                    <a:pt x="1660189" y="401637"/>
                  </a:lnTo>
                  <a:lnTo>
                    <a:pt x="1653672" y="401637"/>
                  </a:lnTo>
                  <a:lnTo>
                    <a:pt x="1646069" y="399578"/>
                  </a:lnTo>
                  <a:lnTo>
                    <a:pt x="1637380" y="395461"/>
                  </a:lnTo>
                  <a:lnTo>
                    <a:pt x="1630863" y="392374"/>
                  </a:lnTo>
                  <a:lnTo>
                    <a:pt x="1631949" y="388257"/>
                  </a:lnTo>
                  <a:lnTo>
                    <a:pt x="1638466" y="387227"/>
                  </a:lnTo>
                  <a:lnTo>
                    <a:pt x="1646069" y="387227"/>
                  </a:lnTo>
                  <a:lnTo>
                    <a:pt x="1652586" y="387227"/>
                  </a:lnTo>
                  <a:lnTo>
                    <a:pt x="1658017" y="385169"/>
                  </a:lnTo>
                  <a:lnTo>
                    <a:pt x="1663448" y="380023"/>
                  </a:lnTo>
                  <a:lnTo>
                    <a:pt x="1664534" y="373847"/>
                  </a:lnTo>
                  <a:lnTo>
                    <a:pt x="1663448" y="369730"/>
                  </a:lnTo>
                  <a:lnTo>
                    <a:pt x="1656931" y="369730"/>
                  </a:lnTo>
                  <a:lnTo>
                    <a:pt x="1649328" y="374876"/>
                  </a:lnTo>
                  <a:lnTo>
                    <a:pt x="1646069" y="376935"/>
                  </a:lnTo>
                  <a:lnTo>
                    <a:pt x="1640638" y="376935"/>
                  </a:lnTo>
                  <a:lnTo>
                    <a:pt x="1633035" y="371788"/>
                  </a:lnTo>
                  <a:lnTo>
                    <a:pt x="1626518" y="366642"/>
                  </a:lnTo>
                  <a:lnTo>
                    <a:pt x="1620001" y="362525"/>
                  </a:lnTo>
                  <a:lnTo>
                    <a:pt x="1615656" y="360467"/>
                  </a:lnTo>
                  <a:lnTo>
                    <a:pt x="1613484" y="355320"/>
                  </a:lnTo>
                  <a:lnTo>
                    <a:pt x="1611311" y="351203"/>
                  </a:lnTo>
                  <a:lnTo>
                    <a:pt x="1611311" y="347086"/>
                  </a:lnTo>
                  <a:lnTo>
                    <a:pt x="1613484" y="343999"/>
                  </a:lnTo>
                  <a:lnTo>
                    <a:pt x="1620001" y="338852"/>
                  </a:lnTo>
                  <a:lnTo>
                    <a:pt x="1624345" y="333706"/>
                  </a:lnTo>
                  <a:lnTo>
                    <a:pt x="1626518" y="330618"/>
                  </a:lnTo>
                  <a:lnTo>
                    <a:pt x="1627604" y="328560"/>
                  </a:lnTo>
                  <a:lnTo>
                    <a:pt x="1630863" y="322384"/>
                  </a:lnTo>
                  <a:lnTo>
                    <a:pt x="1636293" y="315180"/>
                  </a:lnTo>
                  <a:lnTo>
                    <a:pt x="1638466" y="312092"/>
                  </a:lnTo>
                  <a:lnTo>
                    <a:pt x="1641725" y="309004"/>
                  </a:lnTo>
                  <a:close/>
                  <a:moveTo>
                    <a:pt x="1864918" y="306387"/>
                  </a:moveTo>
                  <a:lnTo>
                    <a:pt x="1871331" y="306387"/>
                  </a:lnTo>
                  <a:lnTo>
                    <a:pt x="1876675" y="307419"/>
                  </a:lnTo>
                  <a:lnTo>
                    <a:pt x="1883088" y="312578"/>
                  </a:lnTo>
                  <a:lnTo>
                    <a:pt x="1887363" y="318769"/>
                  </a:lnTo>
                  <a:lnTo>
                    <a:pt x="1890570" y="323929"/>
                  </a:lnTo>
                  <a:lnTo>
                    <a:pt x="1891677" y="324641"/>
                  </a:lnTo>
                  <a:lnTo>
                    <a:pt x="1892185" y="324167"/>
                  </a:lnTo>
                  <a:lnTo>
                    <a:pt x="1895247" y="323214"/>
                  </a:lnTo>
                  <a:lnTo>
                    <a:pt x="1896267" y="322262"/>
                  </a:lnTo>
                  <a:lnTo>
                    <a:pt x="1897288" y="323214"/>
                  </a:lnTo>
                  <a:lnTo>
                    <a:pt x="1898308" y="325119"/>
                  </a:lnTo>
                  <a:lnTo>
                    <a:pt x="1898308" y="327024"/>
                  </a:lnTo>
                  <a:lnTo>
                    <a:pt x="1898712" y="327778"/>
                  </a:lnTo>
                  <a:lnTo>
                    <a:pt x="1903396" y="327024"/>
                  </a:lnTo>
                  <a:lnTo>
                    <a:pt x="1906602" y="322897"/>
                  </a:lnTo>
                  <a:lnTo>
                    <a:pt x="1908740" y="319801"/>
                  </a:lnTo>
                  <a:lnTo>
                    <a:pt x="1914084" y="318769"/>
                  </a:lnTo>
                  <a:lnTo>
                    <a:pt x="1918359" y="319801"/>
                  </a:lnTo>
                  <a:lnTo>
                    <a:pt x="1922634" y="319801"/>
                  </a:lnTo>
                  <a:lnTo>
                    <a:pt x="1924772" y="322897"/>
                  </a:lnTo>
                  <a:lnTo>
                    <a:pt x="1925841" y="328056"/>
                  </a:lnTo>
                  <a:lnTo>
                    <a:pt x="1929047" y="336311"/>
                  </a:lnTo>
                  <a:lnTo>
                    <a:pt x="1936529" y="343534"/>
                  </a:lnTo>
                  <a:lnTo>
                    <a:pt x="1941873" y="350758"/>
                  </a:lnTo>
                  <a:lnTo>
                    <a:pt x="1945079" y="357981"/>
                  </a:lnTo>
                  <a:lnTo>
                    <a:pt x="1948286" y="361076"/>
                  </a:lnTo>
                  <a:lnTo>
                    <a:pt x="1957905" y="360045"/>
                  </a:lnTo>
                  <a:lnTo>
                    <a:pt x="1969662" y="359013"/>
                  </a:lnTo>
                  <a:lnTo>
                    <a:pt x="1978212" y="360045"/>
                  </a:lnTo>
                  <a:lnTo>
                    <a:pt x="1982488" y="361076"/>
                  </a:lnTo>
                  <a:lnTo>
                    <a:pt x="1987832" y="359013"/>
                  </a:lnTo>
                  <a:lnTo>
                    <a:pt x="1993176" y="353853"/>
                  </a:lnTo>
                  <a:lnTo>
                    <a:pt x="1998520" y="348694"/>
                  </a:lnTo>
                  <a:lnTo>
                    <a:pt x="2003864" y="344566"/>
                  </a:lnTo>
                  <a:lnTo>
                    <a:pt x="2010277" y="339407"/>
                  </a:lnTo>
                  <a:lnTo>
                    <a:pt x="2015621" y="336311"/>
                  </a:lnTo>
                  <a:lnTo>
                    <a:pt x="2028447" y="335279"/>
                  </a:lnTo>
                  <a:lnTo>
                    <a:pt x="2031653" y="336311"/>
                  </a:lnTo>
                  <a:lnTo>
                    <a:pt x="2039135" y="337343"/>
                  </a:lnTo>
                  <a:lnTo>
                    <a:pt x="2047685" y="340439"/>
                  </a:lnTo>
                  <a:lnTo>
                    <a:pt x="2055167" y="344566"/>
                  </a:lnTo>
                  <a:lnTo>
                    <a:pt x="2060511" y="348694"/>
                  </a:lnTo>
                  <a:lnTo>
                    <a:pt x="2062649" y="353853"/>
                  </a:lnTo>
                  <a:lnTo>
                    <a:pt x="2065855" y="360045"/>
                  </a:lnTo>
                  <a:lnTo>
                    <a:pt x="2065855" y="368300"/>
                  </a:lnTo>
                  <a:lnTo>
                    <a:pt x="2065855" y="375523"/>
                  </a:lnTo>
                  <a:lnTo>
                    <a:pt x="2066924" y="377587"/>
                  </a:lnTo>
                  <a:lnTo>
                    <a:pt x="2065855" y="381714"/>
                  </a:lnTo>
                  <a:lnTo>
                    <a:pt x="2060511" y="384810"/>
                  </a:lnTo>
                  <a:lnTo>
                    <a:pt x="2054098" y="389969"/>
                  </a:lnTo>
                  <a:lnTo>
                    <a:pt x="2049823" y="393065"/>
                  </a:lnTo>
                  <a:lnTo>
                    <a:pt x="2043410" y="394097"/>
                  </a:lnTo>
                  <a:lnTo>
                    <a:pt x="2034860" y="394097"/>
                  </a:lnTo>
                  <a:lnTo>
                    <a:pt x="2028447" y="393065"/>
                  </a:lnTo>
                  <a:lnTo>
                    <a:pt x="2025240" y="392033"/>
                  </a:lnTo>
                  <a:lnTo>
                    <a:pt x="2022034" y="393065"/>
                  </a:lnTo>
                  <a:lnTo>
                    <a:pt x="2017759" y="397192"/>
                  </a:lnTo>
                  <a:lnTo>
                    <a:pt x="2013483" y="399256"/>
                  </a:lnTo>
                  <a:lnTo>
                    <a:pt x="2009208" y="400288"/>
                  </a:lnTo>
                  <a:lnTo>
                    <a:pt x="2002795" y="401320"/>
                  </a:lnTo>
                  <a:lnTo>
                    <a:pt x="1996382" y="401320"/>
                  </a:lnTo>
                  <a:lnTo>
                    <a:pt x="1989969" y="402352"/>
                  </a:lnTo>
                  <a:lnTo>
                    <a:pt x="1984625" y="402352"/>
                  </a:lnTo>
                  <a:lnTo>
                    <a:pt x="1979281" y="403384"/>
                  </a:lnTo>
                  <a:lnTo>
                    <a:pt x="1975006" y="405447"/>
                  </a:lnTo>
                  <a:lnTo>
                    <a:pt x="1969662" y="407511"/>
                  </a:lnTo>
                  <a:lnTo>
                    <a:pt x="1964318" y="408543"/>
                  </a:lnTo>
                  <a:lnTo>
                    <a:pt x="1957905" y="409575"/>
                  </a:lnTo>
                  <a:lnTo>
                    <a:pt x="1949355" y="409575"/>
                  </a:lnTo>
                  <a:lnTo>
                    <a:pt x="1940804" y="408543"/>
                  </a:lnTo>
                  <a:lnTo>
                    <a:pt x="1933322" y="408543"/>
                  </a:lnTo>
                  <a:lnTo>
                    <a:pt x="1929047" y="406479"/>
                  </a:lnTo>
                  <a:lnTo>
                    <a:pt x="1923703" y="402352"/>
                  </a:lnTo>
                  <a:lnTo>
                    <a:pt x="1918359" y="399256"/>
                  </a:lnTo>
                  <a:lnTo>
                    <a:pt x="1913015" y="394097"/>
                  </a:lnTo>
                  <a:lnTo>
                    <a:pt x="1907671" y="387905"/>
                  </a:lnTo>
                  <a:lnTo>
                    <a:pt x="1906602" y="379650"/>
                  </a:lnTo>
                  <a:lnTo>
                    <a:pt x="1907671" y="369331"/>
                  </a:lnTo>
                  <a:lnTo>
                    <a:pt x="1907671" y="362108"/>
                  </a:lnTo>
                  <a:lnTo>
                    <a:pt x="1907671" y="355917"/>
                  </a:lnTo>
                  <a:lnTo>
                    <a:pt x="1905533" y="351790"/>
                  </a:lnTo>
                  <a:lnTo>
                    <a:pt x="1903396" y="346630"/>
                  </a:lnTo>
                  <a:lnTo>
                    <a:pt x="1900189" y="342503"/>
                  </a:lnTo>
                  <a:lnTo>
                    <a:pt x="1895914" y="339407"/>
                  </a:lnTo>
                  <a:lnTo>
                    <a:pt x="1889501" y="339407"/>
                  </a:lnTo>
                  <a:lnTo>
                    <a:pt x="1883088" y="340439"/>
                  </a:lnTo>
                  <a:lnTo>
                    <a:pt x="1880951" y="342503"/>
                  </a:lnTo>
                  <a:lnTo>
                    <a:pt x="1876675" y="342503"/>
                  </a:lnTo>
                  <a:lnTo>
                    <a:pt x="1872400" y="338375"/>
                  </a:lnTo>
                  <a:lnTo>
                    <a:pt x="1863850" y="332184"/>
                  </a:lnTo>
                  <a:lnTo>
                    <a:pt x="1856368" y="329088"/>
                  </a:lnTo>
                  <a:lnTo>
                    <a:pt x="1851024" y="322897"/>
                  </a:lnTo>
                  <a:lnTo>
                    <a:pt x="1852093" y="315674"/>
                  </a:lnTo>
                  <a:lnTo>
                    <a:pt x="1858506" y="309482"/>
                  </a:lnTo>
                  <a:close/>
                  <a:moveTo>
                    <a:pt x="1889077" y="268287"/>
                  </a:moveTo>
                  <a:lnTo>
                    <a:pt x="1890151" y="269257"/>
                  </a:lnTo>
                  <a:lnTo>
                    <a:pt x="1892299" y="271197"/>
                  </a:lnTo>
                  <a:lnTo>
                    <a:pt x="1892299" y="274108"/>
                  </a:lnTo>
                  <a:lnTo>
                    <a:pt x="1888003" y="277988"/>
                  </a:lnTo>
                  <a:lnTo>
                    <a:pt x="1881560" y="281869"/>
                  </a:lnTo>
                  <a:lnTo>
                    <a:pt x="1879412" y="283809"/>
                  </a:lnTo>
                  <a:lnTo>
                    <a:pt x="1876190" y="285750"/>
                  </a:lnTo>
                  <a:lnTo>
                    <a:pt x="1868673" y="285750"/>
                  </a:lnTo>
                  <a:lnTo>
                    <a:pt x="1860082" y="283809"/>
                  </a:lnTo>
                  <a:lnTo>
                    <a:pt x="1855786" y="280899"/>
                  </a:lnTo>
                  <a:lnTo>
                    <a:pt x="1855786" y="277018"/>
                  </a:lnTo>
                  <a:lnTo>
                    <a:pt x="1860082" y="275078"/>
                  </a:lnTo>
                  <a:lnTo>
                    <a:pt x="1870821" y="272167"/>
                  </a:lnTo>
                  <a:lnTo>
                    <a:pt x="1879412" y="270227"/>
                  </a:lnTo>
                  <a:lnTo>
                    <a:pt x="1886929" y="269257"/>
                  </a:lnTo>
                  <a:close/>
                  <a:moveTo>
                    <a:pt x="1624012" y="258762"/>
                  </a:moveTo>
                  <a:lnTo>
                    <a:pt x="1632603" y="258762"/>
                  </a:lnTo>
                  <a:lnTo>
                    <a:pt x="1636898" y="258762"/>
                  </a:lnTo>
                  <a:lnTo>
                    <a:pt x="1640120" y="258762"/>
                  </a:lnTo>
                  <a:lnTo>
                    <a:pt x="1644416" y="258762"/>
                  </a:lnTo>
                  <a:lnTo>
                    <a:pt x="1650859" y="258762"/>
                  </a:lnTo>
                  <a:lnTo>
                    <a:pt x="1656228" y="260826"/>
                  </a:lnTo>
                  <a:lnTo>
                    <a:pt x="1660524" y="264953"/>
                  </a:lnTo>
                  <a:lnTo>
                    <a:pt x="1657302" y="269081"/>
                  </a:lnTo>
                  <a:lnTo>
                    <a:pt x="1653007" y="274240"/>
                  </a:lnTo>
                  <a:lnTo>
                    <a:pt x="1650859" y="276304"/>
                  </a:lnTo>
                  <a:lnTo>
                    <a:pt x="1650859" y="278368"/>
                  </a:lnTo>
                  <a:lnTo>
                    <a:pt x="1648711" y="283527"/>
                  </a:lnTo>
                  <a:lnTo>
                    <a:pt x="1646564" y="290750"/>
                  </a:lnTo>
                  <a:lnTo>
                    <a:pt x="1643342" y="294878"/>
                  </a:lnTo>
                  <a:lnTo>
                    <a:pt x="1637972" y="299005"/>
                  </a:lnTo>
                  <a:lnTo>
                    <a:pt x="1632603" y="300037"/>
                  </a:lnTo>
                  <a:lnTo>
                    <a:pt x="1631529" y="301069"/>
                  </a:lnTo>
                  <a:lnTo>
                    <a:pt x="1628307" y="305197"/>
                  </a:lnTo>
                  <a:lnTo>
                    <a:pt x="1624012" y="306228"/>
                  </a:lnTo>
                  <a:lnTo>
                    <a:pt x="1621864" y="302101"/>
                  </a:lnTo>
                  <a:lnTo>
                    <a:pt x="1619716" y="294878"/>
                  </a:lnTo>
                  <a:lnTo>
                    <a:pt x="1616494" y="289718"/>
                  </a:lnTo>
                  <a:lnTo>
                    <a:pt x="1613272" y="286623"/>
                  </a:lnTo>
                  <a:lnTo>
                    <a:pt x="1611125" y="290750"/>
                  </a:lnTo>
                  <a:lnTo>
                    <a:pt x="1610051" y="297973"/>
                  </a:lnTo>
                  <a:lnTo>
                    <a:pt x="1610051" y="304165"/>
                  </a:lnTo>
                  <a:lnTo>
                    <a:pt x="1607903" y="307260"/>
                  </a:lnTo>
                  <a:lnTo>
                    <a:pt x="1602534" y="307260"/>
                  </a:lnTo>
                  <a:lnTo>
                    <a:pt x="1596090" y="307260"/>
                  </a:lnTo>
                  <a:lnTo>
                    <a:pt x="1591795" y="312420"/>
                  </a:lnTo>
                  <a:lnTo>
                    <a:pt x="1591795" y="317579"/>
                  </a:lnTo>
                  <a:lnTo>
                    <a:pt x="1591795" y="320675"/>
                  </a:lnTo>
                  <a:lnTo>
                    <a:pt x="1590721" y="317579"/>
                  </a:lnTo>
                  <a:lnTo>
                    <a:pt x="1586425" y="314484"/>
                  </a:lnTo>
                  <a:lnTo>
                    <a:pt x="1579981" y="310356"/>
                  </a:lnTo>
                  <a:lnTo>
                    <a:pt x="1574612" y="308292"/>
                  </a:lnTo>
                  <a:lnTo>
                    <a:pt x="1567095" y="308292"/>
                  </a:lnTo>
                  <a:lnTo>
                    <a:pt x="1557430" y="308292"/>
                  </a:lnTo>
                  <a:lnTo>
                    <a:pt x="1550986" y="306228"/>
                  </a:lnTo>
                  <a:lnTo>
                    <a:pt x="1555282" y="300037"/>
                  </a:lnTo>
                  <a:lnTo>
                    <a:pt x="1562799" y="293846"/>
                  </a:lnTo>
                  <a:lnTo>
                    <a:pt x="1569242" y="289718"/>
                  </a:lnTo>
                  <a:lnTo>
                    <a:pt x="1575686" y="284559"/>
                  </a:lnTo>
                  <a:lnTo>
                    <a:pt x="1588573" y="278368"/>
                  </a:lnTo>
                  <a:lnTo>
                    <a:pt x="1600386" y="271144"/>
                  </a:lnTo>
                  <a:lnTo>
                    <a:pt x="1610051" y="265985"/>
                  </a:lnTo>
                  <a:lnTo>
                    <a:pt x="1615420" y="260826"/>
                  </a:lnTo>
                  <a:close/>
                  <a:moveTo>
                    <a:pt x="1703386" y="241300"/>
                  </a:moveTo>
                  <a:lnTo>
                    <a:pt x="1708942" y="243359"/>
                  </a:lnTo>
                  <a:lnTo>
                    <a:pt x="1716721" y="245419"/>
                  </a:lnTo>
                  <a:lnTo>
                    <a:pt x="1722277" y="248508"/>
                  </a:lnTo>
                  <a:lnTo>
                    <a:pt x="1725611" y="253657"/>
                  </a:lnTo>
                  <a:lnTo>
                    <a:pt x="1723388" y="261894"/>
                  </a:lnTo>
                  <a:lnTo>
                    <a:pt x="1722277" y="262924"/>
                  </a:lnTo>
                  <a:lnTo>
                    <a:pt x="1720055" y="268073"/>
                  </a:lnTo>
                  <a:lnTo>
                    <a:pt x="1716721" y="272192"/>
                  </a:lnTo>
                  <a:lnTo>
                    <a:pt x="1712276" y="276311"/>
                  </a:lnTo>
                  <a:lnTo>
                    <a:pt x="1707831" y="278370"/>
                  </a:lnTo>
                  <a:lnTo>
                    <a:pt x="1702275" y="279400"/>
                  </a:lnTo>
                  <a:lnTo>
                    <a:pt x="1696718" y="279400"/>
                  </a:lnTo>
                  <a:lnTo>
                    <a:pt x="1695607" y="279400"/>
                  </a:lnTo>
                  <a:lnTo>
                    <a:pt x="1694496" y="278370"/>
                  </a:lnTo>
                  <a:lnTo>
                    <a:pt x="1693385" y="276311"/>
                  </a:lnTo>
                  <a:lnTo>
                    <a:pt x="1691162" y="274251"/>
                  </a:lnTo>
                  <a:lnTo>
                    <a:pt x="1686717" y="270132"/>
                  </a:lnTo>
                  <a:lnTo>
                    <a:pt x="1683383" y="266013"/>
                  </a:lnTo>
                  <a:lnTo>
                    <a:pt x="1681161" y="261894"/>
                  </a:lnTo>
                  <a:lnTo>
                    <a:pt x="1683383" y="258805"/>
                  </a:lnTo>
                  <a:lnTo>
                    <a:pt x="1687828" y="253657"/>
                  </a:lnTo>
                  <a:lnTo>
                    <a:pt x="1694496" y="248508"/>
                  </a:lnTo>
                  <a:lnTo>
                    <a:pt x="1700052" y="244389"/>
                  </a:lnTo>
                  <a:close/>
                  <a:moveTo>
                    <a:pt x="1839678" y="222250"/>
                  </a:moveTo>
                  <a:lnTo>
                    <a:pt x="1843600" y="222250"/>
                  </a:lnTo>
                  <a:lnTo>
                    <a:pt x="1850463" y="227426"/>
                  </a:lnTo>
                  <a:lnTo>
                    <a:pt x="1856347" y="232603"/>
                  </a:lnTo>
                  <a:lnTo>
                    <a:pt x="1858308" y="236744"/>
                  </a:lnTo>
                  <a:lnTo>
                    <a:pt x="1859288" y="237780"/>
                  </a:lnTo>
                  <a:lnTo>
                    <a:pt x="1862230" y="239850"/>
                  </a:lnTo>
                  <a:lnTo>
                    <a:pt x="1866152" y="245027"/>
                  </a:lnTo>
                  <a:lnTo>
                    <a:pt x="1870074" y="250204"/>
                  </a:lnTo>
                  <a:lnTo>
                    <a:pt x="1870074" y="253310"/>
                  </a:lnTo>
                  <a:lnTo>
                    <a:pt x="1867132" y="256416"/>
                  </a:lnTo>
                  <a:lnTo>
                    <a:pt x="1865171" y="261592"/>
                  </a:lnTo>
                  <a:lnTo>
                    <a:pt x="1862230" y="265734"/>
                  </a:lnTo>
                  <a:lnTo>
                    <a:pt x="1857327" y="267804"/>
                  </a:lnTo>
                  <a:lnTo>
                    <a:pt x="1852424" y="269875"/>
                  </a:lnTo>
                  <a:lnTo>
                    <a:pt x="1847522" y="269875"/>
                  </a:lnTo>
                  <a:lnTo>
                    <a:pt x="1843600" y="266769"/>
                  </a:lnTo>
                  <a:lnTo>
                    <a:pt x="1840658" y="259522"/>
                  </a:lnTo>
                  <a:lnTo>
                    <a:pt x="1839678" y="250204"/>
                  </a:lnTo>
                  <a:lnTo>
                    <a:pt x="1837716" y="242956"/>
                  </a:lnTo>
                  <a:lnTo>
                    <a:pt x="1837716" y="237780"/>
                  </a:lnTo>
                  <a:lnTo>
                    <a:pt x="1836736" y="232603"/>
                  </a:lnTo>
                  <a:lnTo>
                    <a:pt x="1837716" y="227426"/>
                  </a:lnTo>
                  <a:close/>
                  <a:moveTo>
                    <a:pt x="1774221" y="200025"/>
                  </a:moveTo>
                  <a:lnTo>
                    <a:pt x="1779422" y="200025"/>
                  </a:lnTo>
                  <a:lnTo>
                    <a:pt x="1784622" y="200025"/>
                  </a:lnTo>
                  <a:lnTo>
                    <a:pt x="1789823" y="202062"/>
                  </a:lnTo>
                  <a:lnTo>
                    <a:pt x="1793983" y="208175"/>
                  </a:lnTo>
                  <a:lnTo>
                    <a:pt x="1799183" y="213270"/>
                  </a:lnTo>
                  <a:lnTo>
                    <a:pt x="1805424" y="215307"/>
                  </a:lnTo>
                  <a:lnTo>
                    <a:pt x="1809584" y="216326"/>
                  </a:lnTo>
                  <a:lnTo>
                    <a:pt x="1811664" y="219383"/>
                  </a:lnTo>
                  <a:lnTo>
                    <a:pt x="1814785" y="224477"/>
                  </a:lnTo>
                  <a:lnTo>
                    <a:pt x="1818945" y="229571"/>
                  </a:lnTo>
                  <a:lnTo>
                    <a:pt x="1823105" y="232628"/>
                  </a:lnTo>
                  <a:lnTo>
                    <a:pt x="1825186" y="234665"/>
                  </a:lnTo>
                  <a:lnTo>
                    <a:pt x="1826226" y="237722"/>
                  </a:lnTo>
                  <a:lnTo>
                    <a:pt x="1829346" y="244854"/>
                  </a:lnTo>
                  <a:lnTo>
                    <a:pt x="1830386" y="254023"/>
                  </a:lnTo>
                  <a:lnTo>
                    <a:pt x="1829346" y="261155"/>
                  </a:lnTo>
                  <a:lnTo>
                    <a:pt x="1826226" y="265230"/>
                  </a:lnTo>
                  <a:lnTo>
                    <a:pt x="1824145" y="267268"/>
                  </a:lnTo>
                  <a:lnTo>
                    <a:pt x="1819985" y="268287"/>
                  </a:lnTo>
                  <a:lnTo>
                    <a:pt x="1815825" y="266249"/>
                  </a:lnTo>
                  <a:lnTo>
                    <a:pt x="1810624" y="263193"/>
                  </a:lnTo>
                  <a:lnTo>
                    <a:pt x="1806464" y="261155"/>
                  </a:lnTo>
                  <a:lnTo>
                    <a:pt x="1803344" y="259117"/>
                  </a:lnTo>
                  <a:lnTo>
                    <a:pt x="1800223" y="254023"/>
                  </a:lnTo>
                  <a:lnTo>
                    <a:pt x="1795023" y="250967"/>
                  </a:lnTo>
                  <a:lnTo>
                    <a:pt x="1787742" y="249948"/>
                  </a:lnTo>
                  <a:lnTo>
                    <a:pt x="1782542" y="247910"/>
                  </a:lnTo>
                  <a:lnTo>
                    <a:pt x="1778382" y="242816"/>
                  </a:lnTo>
                  <a:lnTo>
                    <a:pt x="1779422" y="237722"/>
                  </a:lnTo>
                  <a:lnTo>
                    <a:pt x="1783582" y="237722"/>
                  </a:lnTo>
                  <a:lnTo>
                    <a:pt x="1785662" y="236703"/>
                  </a:lnTo>
                  <a:lnTo>
                    <a:pt x="1783582" y="230590"/>
                  </a:lnTo>
                  <a:lnTo>
                    <a:pt x="1777342" y="220402"/>
                  </a:lnTo>
                  <a:lnTo>
                    <a:pt x="1772141" y="211232"/>
                  </a:lnTo>
                  <a:lnTo>
                    <a:pt x="1770061" y="204100"/>
                  </a:lnTo>
                  <a:close/>
                  <a:moveTo>
                    <a:pt x="3053347" y="145819"/>
                  </a:moveTo>
                  <a:lnTo>
                    <a:pt x="3059596" y="146950"/>
                  </a:lnTo>
                  <a:lnTo>
                    <a:pt x="3063850" y="149037"/>
                  </a:lnTo>
                  <a:lnTo>
                    <a:pt x="3066219" y="152505"/>
                  </a:lnTo>
                  <a:lnTo>
                    <a:pt x="3067402" y="157178"/>
                  </a:lnTo>
                  <a:lnTo>
                    <a:pt x="3066588" y="168683"/>
                  </a:lnTo>
                  <a:lnTo>
                    <a:pt x="3062379" y="181500"/>
                  </a:lnTo>
                  <a:lnTo>
                    <a:pt x="3060380" y="194210"/>
                  </a:lnTo>
                  <a:lnTo>
                    <a:pt x="3064146" y="203201"/>
                  </a:lnTo>
                  <a:lnTo>
                    <a:pt x="3068828" y="212864"/>
                  </a:lnTo>
                  <a:lnTo>
                    <a:pt x="3069685" y="222138"/>
                  </a:lnTo>
                  <a:lnTo>
                    <a:pt x="3067955" y="232972"/>
                  </a:lnTo>
                  <a:lnTo>
                    <a:pt x="3069458" y="244795"/>
                  </a:lnTo>
                  <a:lnTo>
                    <a:pt x="3073544" y="260937"/>
                  </a:lnTo>
                  <a:lnTo>
                    <a:pt x="3078867" y="279025"/>
                  </a:lnTo>
                  <a:lnTo>
                    <a:pt x="3087426" y="292226"/>
                  </a:lnTo>
                  <a:lnTo>
                    <a:pt x="3100516" y="293885"/>
                  </a:lnTo>
                  <a:lnTo>
                    <a:pt x="3106819" y="292289"/>
                  </a:lnTo>
                  <a:lnTo>
                    <a:pt x="3111559" y="293349"/>
                  </a:lnTo>
                  <a:lnTo>
                    <a:pt x="3115113" y="295614"/>
                  </a:lnTo>
                  <a:lnTo>
                    <a:pt x="3117374" y="298657"/>
                  </a:lnTo>
                  <a:lnTo>
                    <a:pt x="3119635" y="301701"/>
                  </a:lnTo>
                  <a:lnTo>
                    <a:pt x="3123297" y="304390"/>
                  </a:lnTo>
                  <a:lnTo>
                    <a:pt x="3127229" y="305203"/>
                  </a:lnTo>
                  <a:lnTo>
                    <a:pt x="3134556" y="304704"/>
                  </a:lnTo>
                  <a:lnTo>
                    <a:pt x="3142368" y="303179"/>
                  </a:lnTo>
                  <a:lnTo>
                    <a:pt x="3148994" y="302857"/>
                  </a:lnTo>
                  <a:lnTo>
                    <a:pt x="3154434" y="303740"/>
                  </a:lnTo>
                  <a:lnTo>
                    <a:pt x="3157881" y="305580"/>
                  </a:lnTo>
                  <a:lnTo>
                    <a:pt x="3158741" y="308978"/>
                  </a:lnTo>
                  <a:lnTo>
                    <a:pt x="3156907" y="313510"/>
                  </a:lnTo>
                  <a:lnTo>
                    <a:pt x="3152379" y="319176"/>
                  </a:lnTo>
                  <a:lnTo>
                    <a:pt x="3145157" y="325976"/>
                  </a:lnTo>
                  <a:lnTo>
                    <a:pt x="3138636" y="332599"/>
                  </a:lnTo>
                  <a:lnTo>
                    <a:pt x="3139225" y="337873"/>
                  </a:lnTo>
                  <a:lnTo>
                    <a:pt x="3144718" y="341907"/>
                  </a:lnTo>
                  <a:lnTo>
                    <a:pt x="3153012" y="345231"/>
                  </a:lnTo>
                  <a:lnTo>
                    <a:pt x="3164701" y="347244"/>
                  </a:lnTo>
                  <a:lnTo>
                    <a:pt x="3176497" y="349682"/>
                  </a:lnTo>
                  <a:lnTo>
                    <a:pt x="3187378" y="351448"/>
                  </a:lnTo>
                  <a:lnTo>
                    <a:pt x="3196158" y="353746"/>
                  </a:lnTo>
                  <a:lnTo>
                    <a:pt x="3201921" y="355903"/>
                  </a:lnTo>
                  <a:lnTo>
                    <a:pt x="3204882" y="358769"/>
                  </a:lnTo>
                  <a:lnTo>
                    <a:pt x="3204934" y="361920"/>
                  </a:lnTo>
                  <a:lnTo>
                    <a:pt x="3204286" y="365248"/>
                  </a:lnTo>
                  <a:lnTo>
                    <a:pt x="3204446" y="368823"/>
                  </a:lnTo>
                  <a:lnTo>
                    <a:pt x="3205091" y="371372"/>
                  </a:lnTo>
                  <a:lnTo>
                    <a:pt x="3209561" y="374308"/>
                  </a:lnTo>
                  <a:lnTo>
                    <a:pt x="3216024" y="376288"/>
                  </a:lnTo>
                  <a:lnTo>
                    <a:pt x="3222595" y="378693"/>
                  </a:lnTo>
                  <a:lnTo>
                    <a:pt x="3225556" y="381559"/>
                  </a:lnTo>
                  <a:lnTo>
                    <a:pt x="3225824" y="385560"/>
                  </a:lnTo>
                  <a:lnTo>
                    <a:pt x="3224690" y="389914"/>
                  </a:lnTo>
                  <a:lnTo>
                    <a:pt x="3222048" y="394199"/>
                  </a:lnTo>
                  <a:lnTo>
                    <a:pt x="3221023" y="398979"/>
                  </a:lnTo>
                  <a:lnTo>
                    <a:pt x="3221290" y="402979"/>
                  </a:lnTo>
                  <a:lnTo>
                    <a:pt x="3223658" y="406447"/>
                  </a:lnTo>
                  <a:lnTo>
                    <a:pt x="3226835" y="410163"/>
                  </a:lnTo>
                  <a:lnTo>
                    <a:pt x="3228125" y="415260"/>
                  </a:lnTo>
                  <a:lnTo>
                    <a:pt x="3227207" y="420465"/>
                  </a:lnTo>
                  <a:lnTo>
                    <a:pt x="3225102" y="426873"/>
                  </a:lnTo>
                  <a:lnTo>
                    <a:pt x="3220574" y="432539"/>
                  </a:lnTo>
                  <a:lnTo>
                    <a:pt x="3216154" y="438630"/>
                  </a:lnTo>
                  <a:lnTo>
                    <a:pt x="3209903" y="443377"/>
                  </a:lnTo>
                  <a:lnTo>
                    <a:pt x="3201928" y="447203"/>
                  </a:lnTo>
                  <a:lnTo>
                    <a:pt x="3196647" y="449896"/>
                  </a:lnTo>
                  <a:lnTo>
                    <a:pt x="3194168" y="451879"/>
                  </a:lnTo>
                  <a:lnTo>
                    <a:pt x="3195406" y="453826"/>
                  </a:lnTo>
                  <a:lnTo>
                    <a:pt x="3198961" y="456090"/>
                  </a:lnTo>
                  <a:lnTo>
                    <a:pt x="3204723" y="458247"/>
                  </a:lnTo>
                  <a:lnTo>
                    <a:pt x="3212102" y="460900"/>
                  </a:lnTo>
                  <a:lnTo>
                    <a:pt x="3221312" y="464896"/>
                  </a:lnTo>
                  <a:lnTo>
                    <a:pt x="3230737" y="469742"/>
                  </a:lnTo>
                  <a:lnTo>
                    <a:pt x="3237145" y="474448"/>
                  </a:lnTo>
                  <a:lnTo>
                    <a:pt x="3237090" y="477174"/>
                  </a:lnTo>
                  <a:lnTo>
                    <a:pt x="3232294" y="478840"/>
                  </a:lnTo>
                  <a:lnTo>
                    <a:pt x="3225668" y="479161"/>
                  </a:lnTo>
                  <a:lnTo>
                    <a:pt x="3216240" y="480192"/>
                  </a:lnTo>
                  <a:lnTo>
                    <a:pt x="3208321" y="481292"/>
                  </a:lnTo>
                  <a:lnTo>
                    <a:pt x="3202017" y="482888"/>
                  </a:lnTo>
                  <a:lnTo>
                    <a:pt x="3198353" y="486076"/>
                  </a:lnTo>
                  <a:lnTo>
                    <a:pt x="3198405" y="489226"/>
                  </a:lnTo>
                  <a:lnTo>
                    <a:pt x="3198835" y="490925"/>
                  </a:lnTo>
                  <a:lnTo>
                    <a:pt x="3199643" y="491173"/>
                  </a:lnTo>
                  <a:lnTo>
                    <a:pt x="3202444" y="490464"/>
                  </a:lnTo>
                  <a:lnTo>
                    <a:pt x="3206647" y="489400"/>
                  </a:lnTo>
                  <a:lnTo>
                    <a:pt x="3213058" y="488229"/>
                  </a:lnTo>
                  <a:lnTo>
                    <a:pt x="3223294" y="487446"/>
                  </a:lnTo>
                  <a:lnTo>
                    <a:pt x="3235253" y="487583"/>
                  </a:lnTo>
                  <a:lnTo>
                    <a:pt x="3248828" y="488215"/>
                  </a:lnTo>
                  <a:lnTo>
                    <a:pt x="3260194" y="488954"/>
                  </a:lnTo>
                  <a:lnTo>
                    <a:pt x="3268866" y="490826"/>
                  </a:lnTo>
                  <a:lnTo>
                    <a:pt x="3277538" y="492699"/>
                  </a:lnTo>
                  <a:lnTo>
                    <a:pt x="3284324" y="495953"/>
                  </a:lnTo>
                  <a:lnTo>
                    <a:pt x="3288901" y="499315"/>
                  </a:lnTo>
                  <a:lnTo>
                    <a:pt x="3293100" y="504128"/>
                  </a:lnTo>
                  <a:lnTo>
                    <a:pt x="3295414" y="510322"/>
                  </a:lnTo>
                  <a:lnTo>
                    <a:pt x="3295626" y="517048"/>
                  </a:lnTo>
                  <a:lnTo>
                    <a:pt x="3291906" y="522962"/>
                  </a:lnTo>
                  <a:lnTo>
                    <a:pt x="3285061" y="528310"/>
                  </a:lnTo>
                  <a:lnTo>
                    <a:pt x="3277895" y="532384"/>
                  </a:lnTo>
                  <a:lnTo>
                    <a:pt x="3269705" y="535361"/>
                  </a:lnTo>
                  <a:lnTo>
                    <a:pt x="3261786" y="536462"/>
                  </a:lnTo>
                  <a:lnTo>
                    <a:pt x="3255537" y="535331"/>
                  </a:lnTo>
                  <a:lnTo>
                    <a:pt x="3251068" y="532395"/>
                  </a:lnTo>
                  <a:lnTo>
                    <a:pt x="3245305" y="530238"/>
                  </a:lnTo>
                  <a:lnTo>
                    <a:pt x="3233776" y="531800"/>
                  </a:lnTo>
                  <a:lnTo>
                    <a:pt x="3219983" y="536195"/>
                  </a:lnTo>
                  <a:lnTo>
                    <a:pt x="3205597" y="541193"/>
                  </a:lnTo>
                  <a:lnTo>
                    <a:pt x="3192934" y="547110"/>
                  </a:lnTo>
                  <a:lnTo>
                    <a:pt x="3183774" y="552141"/>
                  </a:lnTo>
                  <a:lnTo>
                    <a:pt x="3182103" y="554372"/>
                  </a:lnTo>
                  <a:lnTo>
                    <a:pt x="3188514" y="553201"/>
                  </a:lnTo>
                  <a:lnTo>
                    <a:pt x="3204353" y="551000"/>
                  </a:lnTo>
                  <a:lnTo>
                    <a:pt x="3211732" y="553652"/>
                  </a:lnTo>
                  <a:lnTo>
                    <a:pt x="3213830" y="558996"/>
                  </a:lnTo>
                  <a:lnTo>
                    <a:pt x="3212641" y="566077"/>
                  </a:lnTo>
                  <a:lnTo>
                    <a:pt x="3209029" y="572416"/>
                  </a:lnTo>
                  <a:lnTo>
                    <a:pt x="3206494" y="577125"/>
                  </a:lnTo>
                  <a:lnTo>
                    <a:pt x="3206817" y="578399"/>
                  </a:lnTo>
                  <a:lnTo>
                    <a:pt x="3211667" y="574008"/>
                  </a:lnTo>
                  <a:lnTo>
                    <a:pt x="3221799" y="566923"/>
                  </a:lnTo>
                  <a:lnTo>
                    <a:pt x="3235161" y="560829"/>
                  </a:lnTo>
                  <a:lnTo>
                    <a:pt x="3249332" y="554982"/>
                  </a:lnTo>
                  <a:lnTo>
                    <a:pt x="3264741" y="551081"/>
                  </a:lnTo>
                  <a:lnTo>
                    <a:pt x="3277671" y="549164"/>
                  </a:lnTo>
                  <a:lnTo>
                    <a:pt x="3289630" y="549301"/>
                  </a:lnTo>
                  <a:lnTo>
                    <a:pt x="3299110" y="551421"/>
                  </a:lnTo>
                  <a:lnTo>
                    <a:pt x="3302716" y="556836"/>
                  </a:lnTo>
                  <a:lnTo>
                    <a:pt x="3302283" y="561014"/>
                  </a:lnTo>
                  <a:lnTo>
                    <a:pt x="3299156" y="566326"/>
                  </a:lnTo>
                  <a:lnTo>
                    <a:pt x="3294951" y="573266"/>
                  </a:lnTo>
                  <a:lnTo>
                    <a:pt x="3288859" y="581588"/>
                  </a:lnTo>
                  <a:lnTo>
                    <a:pt x="3280666" y="590441"/>
                  </a:lnTo>
                  <a:lnTo>
                    <a:pt x="3271073" y="599650"/>
                  </a:lnTo>
                  <a:lnTo>
                    <a:pt x="3260886" y="609460"/>
                  </a:lnTo>
                  <a:lnTo>
                    <a:pt x="3249999" y="619448"/>
                  </a:lnTo>
                  <a:lnTo>
                    <a:pt x="3239113" y="629435"/>
                  </a:lnTo>
                  <a:lnTo>
                    <a:pt x="3228118" y="638998"/>
                  </a:lnTo>
                  <a:lnTo>
                    <a:pt x="3217717" y="647959"/>
                  </a:lnTo>
                  <a:lnTo>
                    <a:pt x="3208016" y="656742"/>
                  </a:lnTo>
                  <a:lnTo>
                    <a:pt x="3198585" y="663650"/>
                  </a:lnTo>
                  <a:lnTo>
                    <a:pt x="3189855" y="670379"/>
                  </a:lnTo>
                  <a:lnTo>
                    <a:pt x="3183496" y="674701"/>
                  </a:lnTo>
                  <a:lnTo>
                    <a:pt x="3179023" y="677641"/>
                  </a:lnTo>
                  <a:lnTo>
                    <a:pt x="3171641" y="680866"/>
                  </a:lnTo>
                  <a:lnTo>
                    <a:pt x="3166468" y="683983"/>
                  </a:lnTo>
                  <a:lnTo>
                    <a:pt x="3163396" y="686569"/>
                  </a:lnTo>
                  <a:lnTo>
                    <a:pt x="3159246" y="690783"/>
                  </a:lnTo>
                  <a:lnTo>
                    <a:pt x="3156226" y="696519"/>
                  </a:lnTo>
                  <a:lnTo>
                    <a:pt x="3152344" y="704734"/>
                  </a:lnTo>
                  <a:lnTo>
                    <a:pt x="3148298" y="715250"/>
                  </a:lnTo>
                  <a:lnTo>
                    <a:pt x="3143119" y="730121"/>
                  </a:lnTo>
                  <a:lnTo>
                    <a:pt x="3135946" y="745948"/>
                  </a:lnTo>
                  <a:lnTo>
                    <a:pt x="3126727" y="759581"/>
                  </a:lnTo>
                  <a:lnTo>
                    <a:pt x="3115678" y="771870"/>
                  </a:lnTo>
                  <a:lnTo>
                    <a:pt x="3104791" y="781858"/>
                  </a:lnTo>
                  <a:lnTo>
                    <a:pt x="3094282" y="790394"/>
                  </a:lnTo>
                  <a:lnTo>
                    <a:pt x="3083235" y="796806"/>
                  </a:lnTo>
                  <a:lnTo>
                    <a:pt x="3073160" y="801164"/>
                  </a:lnTo>
                  <a:lnTo>
                    <a:pt x="3066263" y="803362"/>
                  </a:lnTo>
                  <a:lnTo>
                    <a:pt x="3058989" y="807011"/>
                  </a:lnTo>
                  <a:lnTo>
                    <a:pt x="3049343" y="813069"/>
                  </a:lnTo>
                  <a:lnTo>
                    <a:pt x="3038942" y="822030"/>
                  </a:lnTo>
                  <a:lnTo>
                    <a:pt x="3028863" y="832265"/>
                  </a:lnTo>
                  <a:lnTo>
                    <a:pt x="3019807" y="843597"/>
                  </a:lnTo>
                  <a:lnTo>
                    <a:pt x="3013552" y="854220"/>
                  </a:lnTo>
                  <a:lnTo>
                    <a:pt x="3010315" y="864983"/>
                  </a:lnTo>
                  <a:lnTo>
                    <a:pt x="3011872" y="874081"/>
                  </a:lnTo>
                  <a:lnTo>
                    <a:pt x="3013537" y="883603"/>
                  </a:lnTo>
                  <a:lnTo>
                    <a:pt x="3011808" y="894437"/>
                  </a:lnTo>
                  <a:lnTo>
                    <a:pt x="3007977" y="905802"/>
                  </a:lnTo>
                  <a:lnTo>
                    <a:pt x="3003446" y="917345"/>
                  </a:lnTo>
                  <a:lnTo>
                    <a:pt x="2996599" y="928570"/>
                  </a:lnTo>
                  <a:lnTo>
                    <a:pt x="2990022" y="937919"/>
                  </a:lnTo>
                  <a:lnTo>
                    <a:pt x="2985117" y="945036"/>
                  </a:lnTo>
                  <a:lnTo>
                    <a:pt x="2981074" y="949675"/>
                  </a:lnTo>
                  <a:lnTo>
                    <a:pt x="2980693" y="957004"/>
                  </a:lnTo>
                  <a:lnTo>
                    <a:pt x="2986075" y="966489"/>
                  </a:lnTo>
                  <a:lnTo>
                    <a:pt x="2990164" y="976754"/>
                  </a:lnTo>
                  <a:lnTo>
                    <a:pt x="2985203" y="986598"/>
                  </a:lnTo>
                  <a:lnTo>
                    <a:pt x="2980352" y="990989"/>
                  </a:lnTo>
                  <a:lnTo>
                    <a:pt x="2977603" y="994849"/>
                  </a:lnTo>
                  <a:lnTo>
                    <a:pt x="2974961" y="999134"/>
                  </a:lnTo>
                  <a:lnTo>
                    <a:pt x="2972535" y="1004268"/>
                  </a:lnTo>
                  <a:lnTo>
                    <a:pt x="2972639" y="1010569"/>
                  </a:lnTo>
                  <a:lnTo>
                    <a:pt x="2972366" y="1018323"/>
                  </a:lnTo>
                  <a:lnTo>
                    <a:pt x="2971930" y="1028377"/>
                  </a:lnTo>
                  <a:lnTo>
                    <a:pt x="2972947" y="1041227"/>
                  </a:lnTo>
                  <a:lnTo>
                    <a:pt x="2971758" y="1048308"/>
                  </a:lnTo>
                  <a:lnTo>
                    <a:pt x="2970139" y="1053690"/>
                  </a:lnTo>
                  <a:lnTo>
                    <a:pt x="2966311" y="1059178"/>
                  </a:lnTo>
                  <a:lnTo>
                    <a:pt x="2961246" y="1062721"/>
                  </a:lnTo>
                  <a:lnTo>
                    <a:pt x="2954779" y="1066617"/>
                  </a:lnTo>
                  <a:lnTo>
                    <a:pt x="2948691" y="1069062"/>
                  </a:lnTo>
                  <a:lnTo>
                    <a:pt x="2941794" y="1071260"/>
                  </a:lnTo>
                  <a:lnTo>
                    <a:pt x="2933983" y="1072786"/>
                  </a:lnTo>
                  <a:lnTo>
                    <a:pt x="2926764" y="1073709"/>
                  </a:lnTo>
                  <a:lnTo>
                    <a:pt x="2920245" y="1074455"/>
                  </a:lnTo>
                  <a:lnTo>
                    <a:pt x="2913404" y="1073927"/>
                  </a:lnTo>
                  <a:lnTo>
                    <a:pt x="2907263" y="1073221"/>
                  </a:lnTo>
                  <a:lnTo>
                    <a:pt x="2901930" y="1072763"/>
                  </a:lnTo>
                  <a:lnTo>
                    <a:pt x="2897783" y="1071101"/>
                  </a:lnTo>
                  <a:lnTo>
                    <a:pt x="2895037" y="1069084"/>
                  </a:lnTo>
                  <a:lnTo>
                    <a:pt x="2893098" y="1067315"/>
                  </a:lnTo>
                  <a:lnTo>
                    <a:pt x="2891107" y="1062395"/>
                  </a:lnTo>
                  <a:lnTo>
                    <a:pt x="2887824" y="1058254"/>
                  </a:lnTo>
                  <a:lnTo>
                    <a:pt x="2882438" y="1054645"/>
                  </a:lnTo>
                  <a:lnTo>
                    <a:pt x="2876460" y="1051639"/>
                  </a:lnTo>
                  <a:lnTo>
                    <a:pt x="2869297" y="1049836"/>
                  </a:lnTo>
                  <a:lnTo>
                    <a:pt x="2860247" y="1049415"/>
                  </a:lnTo>
                  <a:lnTo>
                    <a:pt x="2851519" y="1050268"/>
                  </a:lnTo>
                  <a:lnTo>
                    <a:pt x="2841121" y="1053352"/>
                  </a:lnTo>
                  <a:lnTo>
                    <a:pt x="2829592" y="1054915"/>
                  </a:lnTo>
                  <a:lnTo>
                    <a:pt x="2817903" y="1052901"/>
                  </a:lnTo>
                  <a:lnTo>
                    <a:pt x="2803953" y="1047845"/>
                  </a:lnTo>
                  <a:lnTo>
                    <a:pt x="2792590" y="1041229"/>
                  </a:lnTo>
                  <a:lnTo>
                    <a:pt x="2780797" y="1032915"/>
                  </a:lnTo>
                  <a:lnTo>
                    <a:pt x="2769704" y="1024423"/>
                  </a:lnTo>
                  <a:lnTo>
                    <a:pt x="2760335" y="1016850"/>
                  </a:lnTo>
                  <a:lnTo>
                    <a:pt x="2752796" y="1010623"/>
                  </a:lnTo>
                  <a:lnTo>
                    <a:pt x="2745473" y="1005245"/>
                  </a:lnTo>
                  <a:lnTo>
                    <a:pt x="2737126" y="998770"/>
                  </a:lnTo>
                  <a:lnTo>
                    <a:pt x="2728187" y="992897"/>
                  </a:lnTo>
                  <a:lnTo>
                    <a:pt x="2719840" y="986422"/>
                  </a:lnTo>
                  <a:lnTo>
                    <a:pt x="2712679" y="978742"/>
                  </a:lnTo>
                  <a:lnTo>
                    <a:pt x="2707027" y="971133"/>
                  </a:lnTo>
                  <a:lnTo>
                    <a:pt x="2702560" y="962320"/>
                  </a:lnTo>
                  <a:lnTo>
                    <a:pt x="2702296" y="952443"/>
                  </a:lnTo>
                  <a:lnTo>
                    <a:pt x="2701331" y="942744"/>
                  </a:lnTo>
                  <a:lnTo>
                    <a:pt x="2698265" y="933576"/>
                  </a:lnTo>
                  <a:lnTo>
                    <a:pt x="2691805" y="925719"/>
                  </a:lnTo>
                  <a:lnTo>
                    <a:pt x="2685560" y="918712"/>
                  </a:lnTo>
                  <a:lnTo>
                    <a:pt x="2677914" y="912060"/>
                  </a:lnTo>
                  <a:lnTo>
                    <a:pt x="2671183" y="906080"/>
                  </a:lnTo>
                  <a:lnTo>
                    <a:pt x="2664560" y="900524"/>
                  </a:lnTo>
                  <a:lnTo>
                    <a:pt x="2660953" y="895109"/>
                  </a:lnTo>
                  <a:lnTo>
                    <a:pt x="2658425" y="888066"/>
                  </a:lnTo>
                  <a:lnTo>
                    <a:pt x="2657245" y="877516"/>
                  </a:lnTo>
                  <a:lnTo>
                    <a:pt x="2657629" y="864311"/>
                  </a:lnTo>
                  <a:lnTo>
                    <a:pt x="2657798" y="850257"/>
                  </a:lnTo>
                  <a:lnTo>
                    <a:pt x="2659475" y="836273"/>
                  </a:lnTo>
                  <a:lnTo>
                    <a:pt x="2661960" y="822536"/>
                  </a:lnTo>
                  <a:lnTo>
                    <a:pt x="2665198" y="811773"/>
                  </a:lnTo>
                  <a:lnTo>
                    <a:pt x="2668380" y="803735"/>
                  </a:lnTo>
                  <a:lnTo>
                    <a:pt x="2672908" y="798069"/>
                  </a:lnTo>
                  <a:lnTo>
                    <a:pt x="2679160" y="793323"/>
                  </a:lnTo>
                  <a:lnTo>
                    <a:pt x="2685518" y="789001"/>
                  </a:lnTo>
                  <a:lnTo>
                    <a:pt x="2692578" y="784502"/>
                  </a:lnTo>
                  <a:lnTo>
                    <a:pt x="2699959" y="781278"/>
                  </a:lnTo>
                  <a:lnTo>
                    <a:pt x="2706426" y="777381"/>
                  </a:lnTo>
                  <a:lnTo>
                    <a:pt x="2711599" y="774264"/>
                  </a:lnTo>
                  <a:lnTo>
                    <a:pt x="2715156" y="770651"/>
                  </a:lnTo>
                  <a:lnTo>
                    <a:pt x="2719094" y="759711"/>
                  </a:lnTo>
                  <a:lnTo>
                    <a:pt x="2721364" y="745124"/>
                  </a:lnTo>
                  <a:lnTo>
                    <a:pt x="2720455" y="732699"/>
                  </a:lnTo>
                  <a:lnTo>
                    <a:pt x="2713239" y="727745"/>
                  </a:lnTo>
                  <a:lnTo>
                    <a:pt x="2708228" y="728562"/>
                  </a:lnTo>
                  <a:lnTo>
                    <a:pt x="2704727" y="729448"/>
                  </a:lnTo>
                  <a:lnTo>
                    <a:pt x="2700847" y="731786"/>
                  </a:lnTo>
                  <a:lnTo>
                    <a:pt x="2699176" y="734017"/>
                  </a:lnTo>
                  <a:lnTo>
                    <a:pt x="2696319" y="737452"/>
                  </a:lnTo>
                  <a:lnTo>
                    <a:pt x="2692869" y="741489"/>
                  </a:lnTo>
                  <a:lnTo>
                    <a:pt x="2690928" y="745597"/>
                  </a:lnTo>
                  <a:lnTo>
                    <a:pt x="2686992" y="750661"/>
                  </a:lnTo>
                  <a:lnTo>
                    <a:pt x="2682034" y="754628"/>
                  </a:lnTo>
                  <a:lnTo>
                    <a:pt x="2673630" y="756755"/>
                  </a:lnTo>
                  <a:lnTo>
                    <a:pt x="2665388" y="756581"/>
                  </a:lnTo>
                  <a:lnTo>
                    <a:pt x="2656015" y="754886"/>
                  </a:lnTo>
                  <a:lnTo>
                    <a:pt x="2647128" y="752164"/>
                  </a:lnTo>
                  <a:lnTo>
                    <a:pt x="2639427" y="748237"/>
                  </a:lnTo>
                  <a:lnTo>
                    <a:pt x="2633019" y="743531"/>
                  </a:lnTo>
                  <a:lnTo>
                    <a:pt x="2629412" y="738116"/>
                  </a:lnTo>
                  <a:lnTo>
                    <a:pt x="2630223" y="732487"/>
                  </a:lnTo>
                  <a:lnTo>
                    <a:pt x="2632865" y="728203"/>
                  </a:lnTo>
                  <a:lnTo>
                    <a:pt x="2639439" y="724731"/>
                  </a:lnTo>
                  <a:lnTo>
                    <a:pt x="2646120" y="721683"/>
                  </a:lnTo>
                  <a:lnTo>
                    <a:pt x="2652424" y="720088"/>
                  </a:lnTo>
                  <a:lnTo>
                    <a:pt x="2658942" y="719342"/>
                  </a:lnTo>
                  <a:lnTo>
                    <a:pt x="2663252" y="718703"/>
                  </a:lnTo>
                  <a:lnTo>
                    <a:pt x="2664653" y="718348"/>
                  </a:lnTo>
                  <a:lnTo>
                    <a:pt x="2662930" y="717428"/>
                  </a:lnTo>
                  <a:lnTo>
                    <a:pt x="2658297" y="716793"/>
                  </a:lnTo>
                  <a:lnTo>
                    <a:pt x="2653342" y="714883"/>
                  </a:lnTo>
                  <a:lnTo>
                    <a:pt x="2648280" y="712549"/>
                  </a:lnTo>
                  <a:lnTo>
                    <a:pt x="2644025" y="710462"/>
                  </a:lnTo>
                  <a:lnTo>
                    <a:pt x="2643272" y="707489"/>
                  </a:lnTo>
                  <a:lnTo>
                    <a:pt x="2646937" y="704301"/>
                  </a:lnTo>
                  <a:lnTo>
                    <a:pt x="2656528" y="700969"/>
                  </a:lnTo>
                  <a:lnTo>
                    <a:pt x="2666226" y="698062"/>
                  </a:lnTo>
                  <a:lnTo>
                    <a:pt x="2671291" y="694520"/>
                  </a:lnTo>
                  <a:lnTo>
                    <a:pt x="2672154" y="692042"/>
                  </a:lnTo>
                  <a:lnTo>
                    <a:pt x="2670001" y="689423"/>
                  </a:lnTo>
                  <a:lnTo>
                    <a:pt x="2664238" y="687266"/>
                  </a:lnTo>
                  <a:lnTo>
                    <a:pt x="2657775" y="685286"/>
                  </a:lnTo>
                  <a:lnTo>
                    <a:pt x="2650125" y="684510"/>
                  </a:lnTo>
                  <a:lnTo>
                    <a:pt x="2643177" y="683557"/>
                  </a:lnTo>
                  <a:lnTo>
                    <a:pt x="2637629" y="682250"/>
                  </a:lnTo>
                  <a:lnTo>
                    <a:pt x="2634075" y="679985"/>
                  </a:lnTo>
                  <a:lnTo>
                    <a:pt x="2632999" y="675738"/>
                  </a:lnTo>
                  <a:lnTo>
                    <a:pt x="2632302" y="670038"/>
                  </a:lnTo>
                  <a:lnTo>
                    <a:pt x="2632468" y="661860"/>
                  </a:lnTo>
                  <a:lnTo>
                    <a:pt x="2634197" y="651027"/>
                  </a:lnTo>
                  <a:lnTo>
                    <a:pt x="2635174" y="637220"/>
                  </a:lnTo>
                  <a:lnTo>
                    <a:pt x="2636098" y="620262"/>
                  </a:lnTo>
                  <a:lnTo>
                    <a:pt x="2634922" y="603836"/>
                  </a:lnTo>
                  <a:lnTo>
                    <a:pt x="2630888" y="590846"/>
                  </a:lnTo>
                  <a:lnTo>
                    <a:pt x="2626099" y="580758"/>
                  </a:lnTo>
                  <a:lnTo>
                    <a:pt x="2620124" y="571875"/>
                  </a:lnTo>
                  <a:lnTo>
                    <a:pt x="2612855" y="563771"/>
                  </a:lnTo>
                  <a:lnTo>
                    <a:pt x="2606288" y="555489"/>
                  </a:lnTo>
                  <a:lnTo>
                    <a:pt x="2601013" y="546429"/>
                  </a:lnTo>
                  <a:lnTo>
                    <a:pt x="2596709" y="535314"/>
                  </a:lnTo>
                  <a:lnTo>
                    <a:pt x="2591812" y="524802"/>
                  </a:lnTo>
                  <a:lnTo>
                    <a:pt x="2584651" y="517123"/>
                  </a:lnTo>
                  <a:lnTo>
                    <a:pt x="2575927" y="512099"/>
                  </a:lnTo>
                  <a:lnTo>
                    <a:pt x="2564831" y="509484"/>
                  </a:lnTo>
                  <a:lnTo>
                    <a:pt x="2553357" y="508321"/>
                  </a:lnTo>
                  <a:lnTo>
                    <a:pt x="2540913" y="509211"/>
                  </a:lnTo>
                  <a:lnTo>
                    <a:pt x="2527175" y="510880"/>
                  </a:lnTo>
                  <a:lnTo>
                    <a:pt x="2514246" y="512797"/>
                  </a:lnTo>
                  <a:lnTo>
                    <a:pt x="2501909" y="514112"/>
                  </a:lnTo>
                  <a:lnTo>
                    <a:pt x="2491458" y="514045"/>
                  </a:lnTo>
                  <a:lnTo>
                    <a:pt x="2482786" y="512172"/>
                  </a:lnTo>
                  <a:lnTo>
                    <a:pt x="2475407" y="509520"/>
                  </a:lnTo>
                  <a:lnTo>
                    <a:pt x="2469107" y="505239"/>
                  </a:lnTo>
                  <a:lnTo>
                    <a:pt x="2463992" y="499754"/>
                  </a:lnTo>
                  <a:lnTo>
                    <a:pt x="2458069" y="494021"/>
                  </a:lnTo>
                  <a:lnTo>
                    <a:pt x="2452739" y="487687"/>
                  </a:lnTo>
                  <a:lnTo>
                    <a:pt x="2449618" y="481245"/>
                  </a:lnTo>
                  <a:lnTo>
                    <a:pt x="2449028" y="475970"/>
                  </a:lnTo>
                  <a:lnTo>
                    <a:pt x="2450054" y="471191"/>
                  </a:lnTo>
                  <a:lnTo>
                    <a:pt x="2452481" y="466056"/>
                  </a:lnTo>
                  <a:lnTo>
                    <a:pt x="2454315" y="461524"/>
                  </a:lnTo>
                  <a:lnTo>
                    <a:pt x="2455341" y="456745"/>
                  </a:lnTo>
                  <a:lnTo>
                    <a:pt x="2454643" y="451045"/>
                  </a:lnTo>
                  <a:lnTo>
                    <a:pt x="2451522" y="444604"/>
                  </a:lnTo>
                  <a:lnTo>
                    <a:pt x="2446893" y="438092"/>
                  </a:lnTo>
                  <a:lnTo>
                    <a:pt x="2446788" y="431790"/>
                  </a:lnTo>
                  <a:lnTo>
                    <a:pt x="2447491" y="425736"/>
                  </a:lnTo>
                  <a:lnTo>
                    <a:pt x="2450619" y="420425"/>
                  </a:lnTo>
                  <a:lnTo>
                    <a:pt x="2456170" y="415856"/>
                  </a:lnTo>
                  <a:lnTo>
                    <a:pt x="2464630" y="411002"/>
                  </a:lnTo>
                  <a:lnTo>
                    <a:pt x="2474813" y="407068"/>
                  </a:lnTo>
                  <a:lnTo>
                    <a:pt x="2486612" y="403630"/>
                  </a:lnTo>
                  <a:lnTo>
                    <a:pt x="2499112" y="400014"/>
                  </a:lnTo>
                  <a:lnTo>
                    <a:pt x="2512097" y="395371"/>
                  </a:lnTo>
                  <a:lnTo>
                    <a:pt x="2523359" y="389808"/>
                  </a:lnTo>
                  <a:lnTo>
                    <a:pt x="2533920" y="384423"/>
                  </a:lnTo>
                  <a:lnTo>
                    <a:pt x="2542650" y="377693"/>
                  </a:lnTo>
                  <a:lnTo>
                    <a:pt x="2549765" y="370468"/>
                  </a:lnTo>
                  <a:lnTo>
                    <a:pt x="2553648" y="362254"/>
                  </a:lnTo>
                  <a:lnTo>
                    <a:pt x="2554406" y="353474"/>
                  </a:lnTo>
                  <a:lnTo>
                    <a:pt x="2557374" y="344587"/>
                  </a:lnTo>
                  <a:lnTo>
                    <a:pt x="2564759" y="335486"/>
                  </a:lnTo>
                  <a:lnTo>
                    <a:pt x="2575160" y="326525"/>
                  </a:lnTo>
                  <a:lnTo>
                    <a:pt x="2587878" y="317882"/>
                  </a:lnTo>
                  <a:lnTo>
                    <a:pt x="2600110" y="310265"/>
                  </a:lnTo>
                  <a:lnTo>
                    <a:pt x="2611535" y="302402"/>
                  </a:lnTo>
                  <a:lnTo>
                    <a:pt x="2619565" y="295849"/>
                  </a:lnTo>
                  <a:lnTo>
                    <a:pt x="2624793" y="290006"/>
                  </a:lnTo>
                  <a:lnTo>
                    <a:pt x="2627813" y="284270"/>
                  </a:lnTo>
                  <a:lnTo>
                    <a:pt x="2635843" y="277717"/>
                  </a:lnTo>
                  <a:lnTo>
                    <a:pt x="2645488" y="271660"/>
                  </a:lnTo>
                  <a:lnTo>
                    <a:pt x="2656642" y="265672"/>
                  </a:lnTo>
                  <a:lnTo>
                    <a:pt x="2670113" y="260002"/>
                  </a:lnTo>
                  <a:lnTo>
                    <a:pt x="2683906" y="255607"/>
                  </a:lnTo>
                  <a:lnTo>
                    <a:pt x="2696728" y="253265"/>
                  </a:lnTo>
                  <a:lnTo>
                    <a:pt x="2709172" y="252375"/>
                  </a:lnTo>
                  <a:lnTo>
                    <a:pt x="2719516" y="252017"/>
                  </a:lnTo>
                  <a:lnTo>
                    <a:pt x="2727920" y="249890"/>
                  </a:lnTo>
                  <a:lnTo>
                    <a:pt x="2733901" y="247020"/>
                  </a:lnTo>
                  <a:lnTo>
                    <a:pt x="2738267" y="243655"/>
                  </a:lnTo>
                  <a:lnTo>
                    <a:pt x="2741501" y="238768"/>
                  </a:lnTo>
                  <a:lnTo>
                    <a:pt x="2743335" y="234236"/>
                  </a:lnTo>
                  <a:lnTo>
                    <a:pt x="2745762" y="229102"/>
                  </a:lnTo>
                  <a:lnTo>
                    <a:pt x="2747273" y="223295"/>
                  </a:lnTo>
                  <a:lnTo>
                    <a:pt x="2752502" y="217452"/>
                  </a:lnTo>
                  <a:lnTo>
                    <a:pt x="2762633" y="210368"/>
                  </a:lnTo>
                  <a:lnTo>
                    <a:pt x="2777181" y="203069"/>
                  </a:lnTo>
                  <a:lnTo>
                    <a:pt x="2793023" y="194991"/>
                  </a:lnTo>
                  <a:lnTo>
                    <a:pt x="2809888" y="188010"/>
                  </a:lnTo>
                  <a:lnTo>
                    <a:pt x="2828154" y="180675"/>
                  </a:lnTo>
                  <a:lnTo>
                    <a:pt x="2843618" y="174048"/>
                  </a:lnTo>
                  <a:lnTo>
                    <a:pt x="2855687" y="168733"/>
                  </a:lnTo>
                  <a:lnTo>
                    <a:pt x="2860375" y="166643"/>
                  </a:lnTo>
                  <a:lnTo>
                    <a:pt x="2865278" y="165402"/>
                  </a:lnTo>
                  <a:lnTo>
                    <a:pt x="2870181" y="164161"/>
                  </a:lnTo>
                  <a:lnTo>
                    <a:pt x="2874491" y="163522"/>
                  </a:lnTo>
                  <a:lnTo>
                    <a:pt x="2880416" y="163378"/>
                  </a:lnTo>
                  <a:lnTo>
                    <a:pt x="2885749" y="163836"/>
                  </a:lnTo>
                  <a:lnTo>
                    <a:pt x="2891190" y="164718"/>
                  </a:lnTo>
                  <a:lnTo>
                    <a:pt x="2897223" y="164999"/>
                  </a:lnTo>
                  <a:lnTo>
                    <a:pt x="2903364" y="165705"/>
                  </a:lnTo>
                  <a:lnTo>
                    <a:pt x="2910205" y="166233"/>
                  </a:lnTo>
                  <a:lnTo>
                    <a:pt x="2917531" y="165734"/>
                  </a:lnTo>
                  <a:lnTo>
                    <a:pt x="2926852" y="164279"/>
                  </a:lnTo>
                  <a:lnTo>
                    <a:pt x="2936494" y="164098"/>
                  </a:lnTo>
                  <a:lnTo>
                    <a:pt x="2939563" y="167389"/>
                  </a:lnTo>
                  <a:lnTo>
                    <a:pt x="2938052" y="173196"/>
                  </a:lnTo>
                  <a:lnTo>
                    <a:pt x="2933039" y="179889"/>
                  </a:lnTo>
                  <a:lnTo>
                    <a:pt x="2926732" y="187361"/>
                  </a:lnTo>
                  <a:lnTo>
                    <a:pt x="2921018" y="194231"/>
                  </a:lnTo>
                  <a:lnTo>
                    <a:pt x="2916168" y="198623"/>
                  </a:lnTo>
                  <a:lnTo>
                    <a:pt x="2913689" y="200607"/>
                  </a:lnTo>
                  <a:lnTo>
                    <a:pt x="2927804" y="197485"/>
                  </a:lnTo>
                  <a:lnTo>
                    <a:pt x="2936154" y="198084"/>
                  </a:lnTo>
                  <a:lnTo>
                    <a:pt x="2940623" y="201020"/>
                  </a:lnTo>
                  <a:lnTo>
                    <a:pt x="2942614" y="205940"/>
                  </a:lnTo>
                  <a:lnTo>
                    <a:pt x="2942181" y="210118"/>
                  </a:lnTo>
                  <a:lnTo>
                    <a:pt x="2940833" y="213623"/>
                  </a:lnTo>
                  <a:lnTo>
                    <a:pt x="2941048" y="214473"/>
                  </a:lnTo>
                  <a:lnTo>
                    <a:pt x="2943312" y="211640"/>
                  </a:lnTo>
                  <a:lnTo>
                    <a:pt x="2947247" y="206576"/>
                  </a:lnTo>
                  <a:lnTo>
                    <a:pt x="2951882" y="201335"/>
                  </a:lnTo>
                  <a:lnTo>
                    <a:pt x="2955925" y="196695"/>
                  </a:lnTo>
                  <a:lnTo>
                    <a:pt x="2960182" y="192906"/>
                  </a:lnTo>
                  <a:lnTo>
                    <a:pt x="2964763" y="190390"/>
                  </a:lnTo>
                  <a:lnTo>
                    <a:pt x="2968157" y="189079"/>
                  </a:lnTo>
                  <a:lnTo>
                    <a:pt x="2972089" y="189892"/>
                  </a:lnTo>
                  <a:lnTo>
                    <a:pt x="2975051" y="192758"/>
                  </a:lnTo>
                  <a:lnTo>
                    <a:pt x="2978335" y="196899"/>
                  </a:lnTo>
                  <a:lnTo>
                    <a:pt x="2981188" y="199340"/>
                  </a:lnTo>
                  <a:lnTo>
                    <a:pt x="2984312" y="199905"/>
                  </a:lnTo>
                  <a:lnTo>
                    <a:pt x="2986521" y="199798"/>
                  </a:lnTo>
                  <a:lnTo>
                    <a:pt x="2989916" y="198487"/>
                  </a:lnTo>
                  <a:lnTo>
                    <a:pt x="2993095" y="196326"/>
                  </a:lnTo>
                  <a:lnTo>
                    <a:pt x="2996545" y="192289"/>
                  </a:lnTo>
                  <a:lnTo>
                    <a:pt x="3000265" y="186376"/>
                  </a:lnTo>
                  <a:lnTo>
                    <a:pt x="3003500" y="181489"/>
                  </a:lnTo>
                  <a:lnTo>
                    <a:pt x="3006734" y="176602"/>
                  </a:lnTo>
                  <a:lnTo>
                    <a:pt x="3009054" y="171043"/>
                  </a:lnTo>
                  <a:lnTo>
                    <a:pt x="3012989" y="165979"/>
                  </a:lnTo>
                  <a:lnTo>
                    <a:pt x="3017732" y="161163"/>
                  </a:lnTo>
                  <a:lnTo>
                    <a:pt x="3022475" y="156346"/>
                  </a:lnTo>
                  <a:lnTo>
                    <a:pt x="3028833" y="152025"/>
                  </a:lnTo>
                  <a:lnTo>
                    <a:pt x="3034814" y="149155"/>
                  </a:lnTo>
                  <a:lnTo>
                    <a:pt x="3039017" y="148091"/>
                  </a:lnTo>
                  <a:lnTo>
                    <a:pt x="3043920" y="146850"/>
                  </a:lnTo>
                  <a:lnTo>
                    <a:pt x="3048230" y="146211"/>
                  </a:lnTo>
                  <a:close/>
                  <a:moveTo>
                    <a:pt x="1949844" y="0"/>
                  </a:moveTo>
                  <a:lnTo>
                    <a:pt x="1962733" y="0"/>
                  </a:lnTo>
                  <a:lnTo>
                    <a:pt x="1975623" y="0"/>
                  </a:lnTo>
                  <a:lnTo>
                    <a:pt x="1983142" y="1015"/>
                  </a:lnTo>
                  <a:lnTo>
                    <a:pt x="1989587" y="3045"/>
                  </a:lnTo>
                  <a:lnTo>
                    <a:pt x="1997105" y="7106"/>
                  </a:lnTo>
                  <a:lnTo>
                    <a:pt x="2005698" y="10152"/>
                  </a:lnTo>
                  <a:lnTo>
                    <a:pt x="2013217" y="14213"/>
                  </a:lnTo>
                  <a:lnTo>
                    <a:pt x="2020736" y="15228"/>
                  </a:lnTo>
                  <a:lnTo>
                    <a:pt x="2027181" y="15228"/>
                  </a:lnTo>
                  <a:lnTo>
                    <a:pt x="2034700" y="13197"/>
                  </a:lnTo>
                  <a:lnTo>
                    <a:pt x="2040071" y="13197"/>
                  </a:lnTo>
                  <a:lnTo>
                    <a:pt x="2046515" y="14213"/>
                  </a:lnTo>
                  <a:lnTo>
                    <a:pt x="2051886" y="19289"/>
                  </a:lnTo>
                  <a:lnTo>
                    <a:pt x="2056183" y="25380"/>
                  </a:lnTo>
                  <a:lnTo>
                    <a:pt x="2062627" y="30456"/>
                  </a:lnTo>
                  <a:lnTo>
                    <a:pt x="2063701" y="34517"/>
                  </a:lnTo>
                  <a:lnTo>
                    <a:pt x="2056183" y="40608"/>
                  </a:lnTo>
                  <a:lnTo>
                    <a:pt x="2044367" y="46699"/>
                  </a:lnTo>
                  <a:lnTo>
                    <a:pt x="2036848" y="49745"/>
                  </a:lnTo>
                  <a:lnTo>
                    <a:pt x="2032552" y="53806"/>
                  </a:lnTo>
                  <a:lnTo>
                    <a:pt x="2035774" y="56851"/>
                  </a:lnTo>
                  <a:lnTo>
                    <a:pt x="2041145" y="60912"/>
                  </a:lnTo>
                  <a:lnTo>
                    <a:pt x="2045441" y="63958"/>
                  </a:lnTo>
                  <a:lnTo>
                    <a:pt x="2046515" y="69034"/>
                  </a:lnTo>
                  <a:lnTo>
                    <a:pt x="2046515" y="76140"/>
                  </a:lnTo>
                  <a:lnTo>
                    <a:pt x="2044367" y="82231"/>
                  </a:lnTo>
                  <a:lnTo>
                    <a:pt x="2043293" y="85277"/>
                  </a:lnTo>
                  <a:lnTo>
                    <a:pt x="2043293" y="88323"/>
                  </a:lnTo>
                  <a:lnTo>
                    <a:pt x="2046515" y="93399"/>
                  </a:lnTo>
                  <a:lnTo>
                    <a:pt x="2052960" y="101520"/>
                  </a:lnTo>
                  <a:lnTo>
                    <a:pt x="2060479" y="111672"/>
                  </a:lnTo>
                  <a:lnTo>
                    <a:pt x="2062627" y="123855"/>
                  </a:lnTo>
                  <a:lnTo>
                    <a:pt x="2055108" y="134007"/>
                  </a:lnTo>
                  <a:lnTo>
                    <a:pt x="2041145" y="142128"/>
                  </a:lnTo>
                  <a:lnTo>
                    <a:pt x="2031478" y="148220"/>
                  </a:lnTo>
                  <a:lnTo>
                    <a:pt x="2028255" y="153296"/>
                  </a:lnTo>
                  <a:lnTo>
                    <a:pt x="2031478" y="159387"/>
                  </a:lnTo>
                  <a:lnTo>
                    <a:pt x="2041145" y="165478"/>
                  </a:lnTo>
                  <a:lnTo>
                    <a:pt x="2052960" y="172584"/>
                  </a:lnTo>
                  <a:lnTo>
                    <a:pt x="2060479" y="182736"/>
                  </a:lnTo>
                  <a:lnTo>
                    <a:pt x="2060479" y="191873"/>
                  </a:lnTo>
                  <a:lnTo>
                    <a:pt x="2057257" y="202025"/>
                  </a:lnTo>
                  <a:lnTo>
                    <a:pt x="2059405" y="213193"/>
                  </a:lnTo>
                  <a:lnTo>
                    <a:pt x="2060479" y="222329"/>
                  </a:lnTo>
                  <a:lnTo>
                    <a:pt x="2061553" y="232481"/>
                  </a:lnTo>
                  <a:lnTo>
                    <a:pt x="2062627" y="245679"/>
                  </a:lnTo>
                  <a:lnTo>
                    <a:pt x="2064776" y="257862"/>
                  </a:lnTo>
                  <a:lnTo>
                    <a:pt x="2066924" y="268014"/>
                  </a:lnTo>
                  <a:lnTo>
                    <a:pt x="2061553" y="271059"/>
                  </a:lnTo>
                  <a:lnTo>
                    <a:pt x="2054034" y="269029"/>
                  </a:lnTo>
                  <a:lnTo>
                    <a:pt x="2047590" y="269029"/>
                  </a:lnTo>
                  <a:lnTo>
                    <a:pt x="2047590" y="272074"/>
                  </a:lnTo>
                  <a:lnTo>
                    <a:pt x="2055108" y="283242"/>
                  </a:lnTo>
                  <a:lnTo>
                    <a:pt x="2062627" y="294409"/>
                  </a:lnTo>
                  <a:lnTo>
                    <a:pt x="2064776" y="305576"/>
                  </a:lnTo>
                  <a:lnTo>
                    <a:pt x="2063701" y="313698"/>
                  </a:lnTo>
                  <a:lnTo>
                    <a:pt x="2059405" y="317759"/>
                  </a:lnTo>
                  <a:lnTo>
                    <a:pt x="2057257" y="318774"/>
                  </a:lnTo>
                  <a:lnTo>
                    <a:pt x="2055108" y="318774"/>
                  </a:lnTo>
                  <a:lnTo>
                    <a:pt x="2054034" y="318774"/>
                  </a:lnTo>
                  <a:lnTo>
                    <a:pt x="2051886" y="318774"/>
                  </a:lnTo>
                  <a:lnTo>
                    <a:pt x="2043293" y="317759"/>
                  </a:lnTo>
                  <a:lnTo>
                    <a:pt x="2036848" y="320804"/>
                  </a:lnTo>
                  <a:lnTo>
                    <a:pt x="2031478" y="322835"/>
                  </a:lnTo>
                  <a:lnTo>
                    <a:pt x="2027181" y="323850"/>
                  </a:lnTo>
                  <a:lnTo>
                    <a:pt x="2026107" y="323850"/>
                  </a:lnTo>
                  <a:lnTo>
                    <a:pt x="2023959" y="323850"/>
                  </a:lnTo>
                  <a:lnTo>
                    <a:pt x="2022885" y="322835"/>
                  </a:lnTo>
                  <a:lnTo>
                    <a:pt x="2021810" y="321819"/>
                  </a:lnTo>
                  <a:lnTo>
                    <a:pt x="2018588" y="318774"/>
                  </a:lnTo>
                  <a:lnTo>
                    <a:pt x="2013217" y="317759"/>
                  </a:lnTo>
                  <a:lnTo>
                    <a:pt x="2006773" y="317759"/>
                  </a:lnTo>
                  <a:lnTo>
                    <a:pt x="2000328" y="316743"/>
                  </a:lnTo>
                  <a:lnTo>
                    <a:pt x="1996031" y="315728"/>
                  </a:lnTo>
                  <a:lnTo>
                    <a:pt x="1989587" y="314713"/>
                  </a:lnTo>
                  <a:lnTo>
                    <a:pt x="1986364" y="313698"/>
                  </a:lnTo>
                  <a:lnTo>
                    <a:pt x="1983142" y="309637"/>
                  </a:lnTo>
                  <a:lnTo>
                    <a:pt x="1980994" y="306591"/>
                  </a:lnTo>
                  <a:lnTo>
                    <a:pt x="1978845" y="305576"/>
                  </a:lnTo>
                  <a:lnTo>
                    <a:pt x="1974549" y="305576"/>
                  </a:lnTo>
                  <a:lnTo>
                    <a:pt x="1967030" y="303546"/>
                  </a:lnTo>
                  <a:lnTo>
                    <a:pt x="1958437" y="300500"/>
                  </a:lnTo>
                  <a:lnTo>
                    <a:pt x="1950918" y="297455"/>
                  </a:lnTo>
                  <a:lnTo>
                    <a:pt x="1944473" y="292378"/>
                  </a:lnTo>
                  <a:lnTo>
                    <a:pt x="1939102" y="284257"/>
                  </a:lnTo>
                  <a:lnTo>
                    <a:pt x="1936954" y="276135"/>
                  </a:lnTo>
                  <a:lnTo>
                    <a:pt x="1938028" y="269029"/>
                  </a:lnTo>
                  <a:lnTo>
                    <a:pt x="1938028" y="263953"/>
                  </a:lnTo>
                  <a:lnTo>
                    <a:pt x="1936954" y="262938"/>
                  </a:lnTo>
                  <a:lnTo>
                    <a:pt x="1930509" y="261922"/>
                  </a:lnTo>
                  <a:lnTo>
                    <a:pt x="1922991" y="260907"/>
                  </a:lnTo>
                  <a:lnTo>
                    <a:pt x="1915472" y="256846"/>
                  </a:lnTo>
                  <a:lnTo>
                    <a:pt x="1914398" y="252786"/>
                  </a:lnTo>
                  <a:lnTo>
                    <a:pt x="1912249" y="248725"/>
                  </a:lnTo>
                  <a:lnTo>
                    <a:pt x="1906879" y="245679"/>
                  </a:lnTo>
                  <a:lnTo>
                    <a:pt x="1900434" y="241618"/>
                  </a:lnTo>
                  <a:lnTo>
                    <a:pt x="1897211" y="238573"/>
                  </a:lnTo>
                  <a:lnTo>
                    <a:pt x="1893989" y="233497"/>
                  </a:lnTo>
                  <a:lnTo>
                    <a:pt x="1890767" y="229436"/>
                  </a:lnTo>
                  <a:lnTo>
                    <a:pt x="1888618" y="223345"/>
                  </a:lnTo>
                  <a:lnTo>
                    <a:pt x="1891841" y="215223"/>
                  </a:lnTo>
                  <a:lnTo>
                    <a:pt x="1898286" y="207101"/>
                  </a:lnTo>
                  <a:lnTo>
                    <a:pt x="1901508" y="199995"/>
                  </a:lnTo>
                  <a:lnTo>
                    <a:pt x="1903656" y="193904"/>
                  </a:lnTo>
                  <a:lnTo>
                    <a:pt x="1901508" y="189843"/>
                  </a:lnTo>
                  <a:lnTo>
                    <a:pt x="1899360" y="183752"/>
                  </a:lnTo>
                  <a:lnTo>
                    <a:pt x="1898286" y="178676"/>
                  </a:lnTo>
                  <a:lnTo>
                    <a:pt x="1897211" y="178676"/>
                  </a:lnTo>
                  <a:lnTo>
                    <a:pt x="1891841" y="185782"/>
                  </a:lnTo>
                  <a:lnTo>
                    <a:pt x="1887544" y="195934"/>
                  </a:lnTo>
                  <a:lnTo>
                    <a:pt x="1884322" y="204056"/>
                  </a:lnTo>
                  <a:lnTo>
                    <a:pt x="1881099" y="209132"/>
                  </a:lnTo>
                  <a:lnTo>
                    <a:pt x="1876803" y="208117"/>
                  </a:lnTo>
                  <a:lnTo>
                    <a:pt x="1873581" y="204056"/>
                  </a:lnTo>
                  <a:lnTo>
                    <a:pt x="1868210" y="198980"/>
                  </a:lnTo>
                  <a:lnTo>
                    <a:pt x="1863913" y="193904"/>
                  </a:lnTo>
                  <a:lnTo>
                    <a:pt x="1860691" y="189843"/>
                  </a:lnTo>
                  <a:lnTo>
                    <a:pt x="1858543" y="180706"/>
                  </a:lnTo>
                  <a:lnTo>
                    <a:pt x="1855320" y="168524"/>
                  </a:lnTo>
                  <a:lnTo>
                    <a:pt x="1851024" y="155326"/>
                  </a:lnTo>
                  <a:lnTo>
                    <a:pt x="1851024" y="145174"/>
                  </a:lnTo>
                  <a:lnTo>
                    <a:pt x="1852098" y="137052"/>
                  </a:lnTo>
                  <a:lnTo>
                    <a:pt x="1853172" y="130961"/>
                  </a:lnTo>
                  <a:lnTo>
                    <a:pt x="1857469" y="125885"/>
                  </a:lnTo>
                  <a:lnTo>
                    <a:pt x="1863913" y="122839"/>
                  </a:lnTo>
                  <a:lnTo>
                    <a:pt x="1871432" y="121824"/>
                  </a:lnTo>
                  <a:lnTo>
                    <a:pt x="1875729" y="120809"/>
                  </a:lnTo>
                  <a:lnTo>
                    <a:pt x="1880025" y="120809"/>
                  </a:lnTo>
                  <a:lnTo>
                    <a:pt x="1883248" y="121824"/>
                  </a:lnTo>
                  <a:lnTo>
                    <a:pt x="1884322" y="120809"/>
                  </a:lnTo>
                  <a:lnTo>
                    <a:pt x="1883248" y="115733"/>
                  </a:lnTo>
                  <a:lnTo>
                    <a:pt x="1881099" y="109642"/>
                  </a:lnTo>
                  <a:lnTo>
                    <a:pt x="1876803" y="105581"/>
                  </a:lnTo>
                  <a:lnTo>
                    <a:pt x="1875729" y="101520"/>
                  </a:lnTo>
                  <a:lnTo>
                    <a:pt x="1876803" y="96444"/>
                  </a:lnTo>
                  <a:lnTo>
                    <a:pt x="1881099" y="91368"/>
                  </a:lnTo>
                  <a:lnTo>
                    <a:pt x="1884322" y="86292"/>
                  </a:lnTo>
                  <a:lnTo>
                    <a:pt x="1889693" y="82231"/>
                  </a:lnTo>
                  <a:lnTo>
                    <a:pt x="1898286" y="75125"/>
                  </a:lnTo>
                  <a:lnTo>
                    <a:pt x="1909027" y="72079"/>
                  </a:lnTo>
                  <a:lnTo>
                    <a:pt x="1918694" y="76140"/>
                  </a:lnTo>
                  <a:lnTo>
                    <a:pt x="1926213" y="83247"/>
                  </a:lnTo>
                  <a:lnTo>
                    <a:pt x="1931584" y="88323"/>
                  </a:lnTo>
                  <a:lnTo>
                    <a:pt x="1933732" y="91368"/>
                  </a:lnTo>
                  <a:lnTo>
                    <a:pt x="1939102" y="90353"/>
                  </a:lnTo>
                  <a:lnTo>
                    <a:pt x="1945547" y="86292"/>
                  </a:lnTo>
                  <a:lnTo>
                    <a:pt x="1954140" y="80201"/>
                  </a:lnTo>
                  <a:lnTo>
                    <a:pt x="1962733" y="73094"/>
                  </a:lnTo>
                  <a:lnTo>
                    <a:pt x="1970252" y="63958"/>
                  </a:lnTo>
                  <a:lnTo>
                    <a:pt x="1972400" y="56851"/>
                  </a:lnTo>
                  <a:lnTo>
                    <a:pt x="1972400" y="55836"/>
                  </a:lnTo>
                  <a:lnTo>
                    <a:pt x="1969178" y="57866"/>
                  </a:lnTo>
                  <a:lnTo>
                    <a:pt x="1961659" y="63958"/>
                  </a:lnTo>
                  <a:lnTo>
                    <a:pt x="1950918" y="68018"/>
                  </a:lnTo>
                  <a:lnTo>
                    <a:pt x="1942325" y="68018"/>
                  </a:lnTo>
                  <a:lnTo>
                    <a:pt x="1939102" y="61927"/>
                  </a:lnTo>
                  <a:lnTo>
                    <a:pt x="1941251" y="52790"/>
                  </a:lnTo>
                  <a:lnTo>
                    <a:pt x="1945547" y="49745"/>
                  </a:lnTo>
                  <a:lnTo>
                    <a:pt x="1950918" y="42638"/>
                  </a:lnTo>
                  <a:lnTo>
                    <a:pt x="1955214" y="36547"/>
                  </a:lnTo>
                  <a:lnTo>
                    <a:pt x="1953066" y="29441"/>
                  </a:lnTo>
                  <a:lnTo>
                    <a:pt x="1945547" y="25380"/>
                  </a:lnTo>
                  <a:lnTo>
                    <a:pt x="1939102" y="23350"/>
                  </a:lnTo>
                  <a:lnTo>
                    <a:pt x="1934806" y="18273"/>
                  </a:lnTo>
                  <a:lnTo>
                    <a:pt x="1936954" y="11167"/>
                  </a:lnTo>
                  <a:lnTo>
                    <a:pt x="1939102" y="4061"/>
                  </a:lnTo>
                  <a:lnTo>
                    <a:pt x="1942325" y="101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  <a:scene3d>
              <a:camera prst="orthographicFront"/>
              <a:lightRig rig="contrasting" dir="t"/>
            </a:scene3d>
            <a:sp3d z="63500" prstMaterial="metal">
              <a:bevelB w="0" h="0"/>
            </a:sp3d>
          </p:spPr>
          <p:txBody>
            <a:bodyPr wrap="square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4897981" y="1816279"/>
              <a:ext cx="2345004" cy="1951223"/>
            </a:xfrm>
            <a:custGeom>
              <a:avLst/>
              <a:gdLst>
                <a:gd name="connsiteX0" fmla="*/ 1528763 w 1792288"/>
                <a:gd name="connsiteY0" fmla="*/ 1590675 h 1693862"/>
                <a:gd name="connsiteX1" fmla="*/ 1528763 w 1792288"/>
                <a:gd name="connsiteY1" fmla="*/ 1592263 h 1693862"/>
                <a:gd name="connsiteX2" fmla="*/ 1508126 w 1792288"/>
                <a:gd name="connsiteY2" fmla="*/ 1608138 h 1693862"/>
                <a:gd name="connsiteX3" fmla="*/ 1512888 w 1792288"/>
                <a:gd name="connsiteY3" fmla="*/ 1619250 h 1693862"/>
                <a:gd name="connsiteX4" fmla="*/ 1498601 w 1792288"/>
                <a:gd name="connsiteY4" fmla="*/ 1624013 h 1693862"/>
                <a:gd name="connsiteX5" fmla="*/ 1479551 w 1792288"/>
                <a:gd name="connsiteY5" fmla="*/ 1635125 h 1693862"/>
                <a:gd name="connsiteX6" fmla="*/ 1476376 w 1792288"/>
                <a:gd name="connsiteY6" fmla="*/ 1635125 h 1693862"/>
                <a:gd name="connsiteX7" fmla="*/ 1468438 w 1792288"/>
                <a:gd name="connsiteY7" fmla="*/ 1631950 h 1693862"/>
                <a:gd name="connsiteX8" fmla="*/ 1458913 w 1792288"/>
                <a:gd name="connsiteY8" fmla="*/ 1627188 h 1693862"/>
                <a:gd name="connsiteX9" fmla="*/ 1455738 w 1792288"/>
                <a:gd name="connsiteY9" fmla="*/ 1614488 h 1693862"/>
                <a:gd name="connsiteX10" fmla="*/ 1460501 w 1792288"/>
                <a:gd name="connsiteY10" fmla="*/ 1617663 h 1693862"/>
                <a:gd name="connsiteX11" fmla="*/ 1474788 w 1792288"/>
                <a:gd name="connsiteY11" fmla="*/ 1612900 h 1693862"/>
                <a:gd name="connsiteX12" fmla="*/ 1476376 w 1792288"/>
                <a:gd name="connsiteY12" fmla="*/ 1603375 h 1693862"/>
                <a:gd name="connsiteX13" fmla="*/ 1498601 w 1792288"/>
                <a:gd name="connsiteY13" fmla="*/ 1604963 h 1693862"/>
                <a:gd name="connsiteX14" fmla="*/ 1042035 w 1792288"/>
                <a:gd name="connsiteY14" fmla="*/ 1524000 h 1693862"/>
                <a:gd name="connsiteX15" fmla="*/ 1073150 w 1792288"/>
                <a:gd name="connsiteY15" fmla="*/ 1531673 h 1693862"/>
                <a:gd name="connsiteX16" fmla="*/ 1073150 w 1792288"/>
                <a:gd name="connsiteY16" fmla="*/ 1547019 h 1693862"/>
                <a:gd name="connsiteX17" fmla="*/ 1065372 w 1792288"/>
                <a:gd name="connsiteY17" fmla="*/ 1570037 h 1693862"/>
                <a:gd name="connsiteX18" fmla="*/ 1034257 w 1792288"/>
                <a:gd name="connsiteY18" fmla="*/ 1554691 h 1693862"/>
                <a:gd name="connsiteX19" fmla="*/ 995363 w 1792288"/>
                <a:gd name="connsiteY19" fmla="*/ 1539346 h 1693862"/>
                <a:gd name="connsiteX20" fmla="*/ 1333730 w 1792288"/>
                <a:gd name="connsiteY20" fmla="*/ 1444060 h 1693862"/>
                <a:gd name="connsiteX21" fmla="*/ 1291477 w 1792288"/>
                <a:gd name="connsiteY21" fmla="*/ 1458737 h 1693862"/>
                <a:gd name="connsiteX22" fmla="*/ 1313469 w 1792288"/>
                <a:gd name="connsiteY22" fmla="*/ 1479320 h 1693862"/>
                <a:gd name="connsiteX23" fmla="*/ 1316437 w 1792288"/>
                <a:gd name="connsiteY23" fmla="*/ 1495233 h 1693862"/>
                <a:gd name="connsiteX24" fmla="*/ 1340119 w 1792288"/>
                <a:gd name="connsiteY24" fmla="*/ 1509806 h 1693862"/>
                <a:gd name="connsiteX25" fmla="*/ 1332520 w 1792288"/>
                <a:gd name="connsiteY25" fmla="*/ 1501700 h 1693862"/>
                <a:gd name="connsiteX26" fmla="*/ 1300163 w 1792288"/>
                <a:gd name="connsiteY26" fmla="*/ 1459706 h 1693862"/>
                <a:gd name="connsiteX27" fmla="*/ 1309666 w 1792288"/>
                <a:gd name="connsiteY27" fmla="*/ 1454503 h 1693862"/>
                <a:gd name="connsiteX28" fmla="*/ 1323023 w 1792288"/>
                <a:gd name="connsiteY28" fmla="*/ 1449189 h 1693862"/>
                <a:gd name="connsiteX29" fmla="*/ 466321 w 1792288"/>
                <a:gd name="connsiteY29" fmla="*/ 1436961 h 1693862"/>
                <a:gd name="connsiteX30" fmla="*/ 465556 w 1792288"/>
                <a:gd name="connsiteY30" fmla="*/ 1439729 h 1693862"/>
                <a:gd name="connsiteX31" fmla="*/ 460770 w 1792288"/>
                <a:gd name="connsiteY31" fmla="*/ 1457047 h 1693862"/>
                <a:gd name="connsiteX32" fmla="*/ 460430 w 1792288"/>
                <a:gd name="connsiteY32" fmla="*/ 1464211 h 1693862"/>
                <a:gd name="connsiteX33" fmla="*/ 460453 w 1792288"/>
                <a:gd name="connsiteY33" fmla="*/ 1464172 h 1693862"/>
                <a:gd name="connsiteX34" fmla="*/ 462435 w 1792288"/>
                <a:gd name="connsiteY34" fmla="*/ 1454982 h 1693862"/>
                <a:gd name="connsiteX35" fmla="*/ 463452 w 1792288"/>
                <a:gd name="connsiteY35" fmla="*/ 1450609 h 1693862"/>
                <a:gd name="connsiteX36" fmla="*/ 464422 w 1792288"/>
                <a:gd name="connsiteY36" fmla="*/ 1445764 h 1693862"/>
                <a:gd name="connsiteX37" fmla="*/ 1280062 w 1792288"/>
                <a:gd name="connsiteY37" fmla="*/ 1435318 h 1693862"/>
                <a:gd name="connsiteX38" fmla="*/ 1276082 w 1792288"/>
                <a:gd name="connsiteY38" fmla="*/ 1437452 h 1693862"/>
                <a:gd name="connsiteX39" fmla="*/ 1278241 w 1792288"/>
                <a:gd name="connsiteY39" fmla="*/ 1436522 h 1693862"/>
                <a:gd name="connsiteX40" fmla="*/ 931862 w 1792288"/>
                <a:gd name="connsiteY40" fmla="*/ 1435100 h 1693862"/>
                <a:gd name="connsiteX41" fmla="*/ 939800 w 1792288"/>
                <a:gd name="connsiteY41" fmla="*/ 1466056 h 1693862"/>
                <a:gd name="connsiteX42" fmla="*/ 939800 w 1792288"/>
                <a:gd name="connsiteY42" fmla="*/ 1497012 h 1693862"/>
                <a:gd name="connsiteX43" fmla="*/ 908050 w 1792288"/>
                <a:gd name="connsiteY43" fmla="*/ 1497012 h 1693862"/>
                <a:gd name="connsiteX44" fmla="*/ 915987 w 1792288"/>
                <a:gd name="connsiteY44" fmla="*/ 1442839 h 1693862"/>
                <a:gd name="connsiteX45" fmla="*/ 1239876 w 1792288"/>
                <a:gd name="connsiteY45" fmla="*/ 1433970 h 1693862"/>
                <a:gd name="connsiteX46" fmla="*/ 1239876 w 1792288"/>
                <a:gd name="connsiteY46" fmla="*/ 1434378 h 1693862"/>
                <a:gd name="connsiteX47" fmla="*/ 1254125 w 1792288"/>
                <a:gd name="connsiteY47" fmla="*/ 1446501 h 1693862"/>
                <a:gd name="connsiteX48" fmla="*/ 1244194 w 1792288"/>
                <a:gd name="connsiteY48" fmla="*/ 1450398 h 1693862"/>
                <a:gd name="connsiteX49" fmla="*/ 1245046 w 1792288"/>
                <a:gd name="connsiteY49" fmla="*/ 1453388 h 1693862"/>
                <a:gd name="connsiteX50" fmla="*/ 1244603 w 1792288"/>
                <a:gd name="connsiteY50" fmla="*/ 1451012 h 1693862"/>
                <a:gd name="connsiteX51" fmla="*/ 1258962 w 1792288"/>
                <a:gd name="connsiteY51" fmla="*/ 1444826 h 1693862"/>
                <a:gd name="connsiteX52" fmla="*/ 1255134 w 1792288"/>
                <a:gd name="connsiteY52" fmla="*/ 1446212 h 1693862"/>
                <a:gd name="connsiteX53" fmla="*/ 1363053 w 1792288"/>
                <a:gd name="connsiteY53" fmla="*/ 1429086 h 1693862"/>
                <a:gd name="connsiteX54" fmla="*/ 1363473 w 1792288"/>
                <a:gd name="connsiteY54" fmla="*/ 1432004 h 1693862"/>
                <a:gd name="connsiteX55" fmla="*/ 1342656 w 1792288"/>
                <a:gd name="connsiteY55" fmla="*/ 1440959 h 1693862"/>
                <a:gd name="connsiteX56" fmla="*/ 1336772 w 1792288"/>
                <a:gd name="connsiteY56" fmla="*/ 1443003 h 1693862"/>
                <a:gd name="connsiteX57" fmla="*/ 1346491 w 1792288"/>
                <a:gd name="connsiteY57" fmla="*/ 1442608 h 1693862"/>
                <a:gd name="connsiteX58" fmla="*/ 1360149 w 1792288"/>
                <a:gd name="connsiteY58" fmla="*/ 1445390 h 1693862"/>
                <a:gd name="connsiteX59" fmla="*/ 1367646 w 1792288"/>
                <a:gd name="connsiteY59" fmla="*/ 1445390 h 1693862"/>
                <a:gd name="connsiteX60" fmla="*/ 1422081 w 1792288"/>
                <a:gd name="connsiteY60" fmla="*/ 1428864 h 1693862"/>
                <a:gd name="connsiteX61" fmla="*/ 1423009 w 1792288"/>
                <a:gd name="connsiteY61" fmla="*/ 1429784 h 1693862"/>
                <a:gd name="connsiteX62" fmla="*/ 1427636 w 1792288"/>
                <a:gd name="connsiteY62" fmla="*/ 1428864 h 1693862"/>
                <a:gd name="connsiteX63" fmla="*/ 1402409 w 1792288"/>
                <a:gd name="connsiteY63" fmla="*/ 1428864 h 1693862"/>
                <a:gd name="connsiteX64" fmla="*/ 1377602 w 1792288"/>
                <a:gd name="connsiteY64" fmla="*/ 1445390 h 1693862"/>
                <a:gd name="connsiteX65" fmla="*/ 1391579 w 1792288"/>
                <a:gd name="connsiteY65" fmla="*/ 1445390 h 1693862"/>
                <a:gd name="connsiteX66" fmla="*/ 1402673 w 1792288"/>
                <a:gd name="connsiteY66" fmla="*/ 1428864 h 1693862"/>
                <a:gd name="connsiteX67" fmla="*/ 1304769 w 1792288"/>
                <a:gd name="connsiteY67" fmla="*/ 1414714 h 1693862"/>
                <a:gd name="connsiteX68" fmla="*/ 1304925 w 1792288"/>
                <a:gd name="connsiteY68" fmla="*/ 1415393 h 1693862"/>
                <a:gd name="connsiteX69" fmla="*/ 1303158 w 1792288"/>
                <a:gd name="connsiteY69" fmla="*/ 1420045 h 1693862"/>
                <a:gd name="connsiteX70" fmla="*/ 1306093 w 1792288"/>
                <a:gd name="connsiteY70" fmla="*/ 1418104 h 1693862"/>
                <a:gd name="connsiteX71" fmla="*/ 1306878 w 1792288"/>
                <a:gd name="connsiteY71" fmla="*/ 1417874 h 1693862"/>
                <a:gd name="connsiteX72" fmla="*/ 1369287 w 1792288"/>
                <a:gd name="connsiteY72" fmla="*/ 1412466 h 1693862"/>
                <a:gd name="connsiteX73" fmla="*/ 1368645 w 1792288"/>
                <a:gd name="connsiteY73" fmla="*/ 1413691 h 1693862"/>
                <a:gd name="connsiteX74" fmla="*/ 1364970 w 1792288"/>
                <a:gd name="connsiteY74" fmla="*/ 1417138 h 1693862"/>
                <a:gd name="connsiteX75" fmla="*/ 1363731 w 1792288"/>
                <a:gd name="connsiteY75" fmla="*/ 1418986 h 1693862"/>
                <a:gd name="connsiteX76" fmla="*/ 1369219 w 1792288"/>
                <a:gd name="connsiteY76" fmla="*/ 1414113 h 1693862"/>
                <a:gd name="connsiteX77" fmla="*/ 1239838 w 1792288"/>
                <a:gd name="connsiteY77" fmla="*/ 1407383 h 1693862"/>
                <a:gd name="connsiteX78" fmla="*/ 1239298 w 1792288"/>
                <a:gd name="connsiteY78" fmla="*/ 1407747 h 1693862"/>
                <a:gd name="connsiteX79" fmla="*/ 1239838 w 1792288"/>
                <a:gd name="connsiteY79" fmla="*/ 1408763 h 1693862"/>
                <a:gd name="connsiteX80" fmla="*/ 482175 w 1792288"/>
                <a:gd name="connsiteY80" fmla="*/ 1404541 h 1693862"/>
                <a:gd name="connsiteX81" fmla="*/ 474728 w 1792288"/>
                <a:gd name="connsiteY81" fmla="*/ 1414963 h 1693862"/>
                <a:gd name="connsiteX82" fmla="*/ 472068 w 1792288"/>
                <a:gd name="connsiteY82" fmla="*/ 1421284 h 1693862"/>
                <a:gd name="connsiteX83" fmla="*/ 1352971 w 1792288"/>
                <a:gd name="connsiteY83" fmla="*/ 1404520 h 1693862"/>
                <a:gd name="connsiteX84" fmla="*/ 1352921 w 1792288"/>
                <a:gd name="connsiteY84" fmla="*/ 1404536 h 1693862"/>
                <a:gd name="connsiteX85" fmla="*/ 1360729 w 1792288"/>
                <a:gd name="connsiteY85" fmla="*/ 1411059 h 1693862"/>
                <a:gd name="connsiteX86" fmla="*/ 1368338 w 1792288"/>
                <a:gd name="connsiteY86" fmla="*/ 1409652 h 1693862"/>
                <a:gd name="connsiteX87" fmla="*/ 1359142 w 1792288"/>
                <a:gd name="connsiteY87" fmla="*/ 1409564 h 1693862"/>
                <a:gd name="connsiteX88" fmla="*/ 1259038 w 1792288"/>
                <a:gd name="connsiteY88" fmla="*/ 1394468 h 1693862"/>
                <a:gd name="connsiteX89" fmla="*/ 1254418 w 1792288"/>
                <a:gd name="connsiteY89" fmla="*/ 1397576 h 1693862"/>
                <a:gd name="connsiteX90" fmla="*/ 1258887 w 1792288"/>
                <a:gd name="connsiteY90" fmla="*/ 1394994 h 1693862"/>
                <a:gd name="connsiteX91" fmla="*/ 1261976 w 1792288"/>
                <a:gd name="connsiteY91" fmla="*/ 1381134 h 1693862"/>
                <a:gd name="connsiteX92" fmla="*/ 1261620 w 1792288"/>
                <a:gd name="connsiteY92" fmla="*/ 1385428 h 1693862"/>
                <a:gd name="connsiteX93" fmla="*/ 1262675 w 1792288"/>
                <a:gd name="connsiteY93" fmla="*/ 1381736 h 1693862"/>
                <a:gd name="connsiteX94" fmla="*/ 1225574 w 1792288"/>
                <a:gd name="connsiteY94" fmla="*/ 1372571 h 1693862"/>
                <a:gd name="connsiteX95" fmla="*/ 1224156 w 1792288"/>
                <a:gd name="connsiteY95" fmla="*/ 1374430 h 1693862"/>
                <a:gd name="connsiteX96" fmla="*/ 1225820 w 1792288"/>
                <a:gd name="connsiteY96" fmla="*/ 1372783 h 1693862"/>
                <a:gd name="connsiteX97" fmla="*/ 931862 w 1792288"/>
                <a:gd name="connsiteY97" fmla="*/ 1371600 h 1693862"/>
                <a:gd name="connsiteX98" fmla="*/ 939800 w 1792288"/>
                <a:gd name="connsiteY98" fmla="*/ 1402492 h 1693862"/>
                <a:gd name="connsiteX99" fmla="*/ 931862 w 1792288"/>
                <a:gd name="connsiteY99" fmla="*/ 1419225 h 1693862"/>
                <a:gd name="connsiteX100" fmla="*/ 900113 w 1792288"/>
                <a:gd name="connsiteY100" fmla="*/ 1387046 h 1693862"/>
                <a:gd name="connsiteX101" fmla="*/ 498727 w 1792288"/>
                <a:gd name="connsiteY101" fmla="*/ 1368090 h 1693862"/>
                <a:gd name="connsiteX102" fmla="*/ 497010 w 1792288"/>
                <a:gd name="connsiteY102" fmla="*/ 1370209 h 1693862"/>
                <a:gd name="connsiteX103" fmla="*/ 488630 w 1792288"/>
                <a:gd name="connsiteY103" fmla="*/ 1390203 h 1693862"/>
                <a:gd name="connsiteX104" fmla="*/ 488094 w 1792288"/>
                <a:gd name="connsiteY104" fmla="*/ 1392144 h 1693862"/>
                <a:gd name="connsiteX105" fmla="*/ 1205098 w 1792288"/>
                <a:gd name="connsiteY105" fmla="*/ 1345898 h 1693862"/>
                <a:gd name="connsiteX106" fmla="*/ 1200643 w 1792288"/>
                <a:gd name="connsiteY106" fmla="*/ 1348175 h 1693862"/>
                <a:gd name="connsiteX107" fmla="*/ 1201246 w 1792288"/>
                <a:gd name="connsiteY107" fmla="*/ 1348739 h 1693862"/>
                <a:gd name="connsiteX108" fmla="*/ 513735 w 1792288"/>
                <a:gd name="connsiteY108" fmla="*/ 1340404 h 1693862"/>
                <a:gd name="connsiteX109" fmla="*/ 512905 w 1792288"/>
                <a:gd name="connsiteY109" fmla="*/ 1341463 h 1693862"/>
                <a:gd name="connsiteX110" fmla="*/ 512610 w 1792288"/>
                <a:gd name="connsiteY110" fmla="*/ 1342277 h 1693862"/>
                <a:gd name="connsiteX111" fmla="*/ 740577 w 1792288"/>
                <a:gd name="connsiteY111" fmla="*/ 1334713 h 1693862"/>
                <a:gd name="connsiteX112" fmla="*/ 740934 w 1792288"/>
                <a:gd name="connsiteY112" fmla="*/ 1334844 h 1693862"/>
                <a:gd name="connsiteX113" fmla="*/ 748118 w 1792288"/>
                <a:gd name="connsiteY113" fmla="*/ 1338072 h 1693862"/>
                <a:gd name="connsiteX114" fmla="*/ 750784 w 1792288"/>
                <a:gd name="connsiteY114" fmla="*/ 1338447 h 1693862"/>
                <a:gd name="connsiteX115" fmla="*/ 743653 w 1792288"/>
                <a:gd name="connsiteY115" fmla="*/ 1335137 h 1693862"/>
                <a:gd name="connsiteX116" fmla="*/ 680022 w 1792288"/>
                <a:gd name="connsiteY116" fmla="*/ 1318842 h 1693862"/>
                <a:gd name="connsiteX117" fmla="*/ 680099 w 1792288"/>
                <a:gd name="connsiteY117" fmla="*/ 1318983 h 1693862"/>
                <a:gd name="connsiteX118" fmla="*/ 680651 w 1792288"/>
                <a:gd name="connsiteY118" fmla="*/ 1319102 h 1693862"/>
                <a:gd name="connsiteX119" fmla="*/ 684954 w 1792288"/>
                <a:gd name="connsiteY119" fmla="*/ 1320885 h 1693862"/>
                <a:gd name="connsiteX120" fmla="*/ 688278 w 1792288"/>
                <a:gd name="connsiteY120" fmla="*/ 1320747 h 1693862"/>
                <a:gd name="connsiteX121" fmla="*/ 689611 w 1792288"/>
                <a:gd name="connsiteY121" fmla="*/ 1321034 h 1693862"/>
                <a:gd name="connsiteX122" fmla="*/ 706657 w 1792288"/>
                <a:gd name="connsiteY122" fmla="*/ 1322999 h 1693862"/>
                <a:gd name="connsiteX123" fmla="*/ 706145 w 1792288"/>
                <a:gd name="connsiteY123" fmla="*/ 1322762 h 1693862"/>
                <a:gd name="connsiteX124" fmla="*/ 690781 w 1792288"/>
                <a:gd name="connsiteY124" fmla="*/ 1320643 h 1693862"/>
                <a:gd name="connsiteX125" fmla="*/ 688278 w 1792288"/>
                <a:gd name="connsiteY125" fmla="*/ 1320747 h 1693862"/>
                <a:gd name="connsiteX126" fmla="*/ 680651 w 1792288"/>
                <a:gd name="connsiteY126" fmla="*/ 1319102 h 1693862"/>
                <a:gd name="connsiteX127" fmla="*/ 1253936 w 1792288"/>
                <a:gd name="connsiteY127" fmla="*/ 1298501 h 1693862"/>
                <a:gd name="connsiteX128" fmla="*/ 1253999 w 1792288"/>
                <a:gd name="connsiteY128" fmla="*/ 1300103 h 1693862"/>
                <a:gd name="connsiteX129" fmla="*/ 1260088 w 1792288"/>
                <a:gd name="connsiteY129" fmla="*/ 1302100 h 1693862"/>
                <a:gd name="connsiteX130" fmla="*/ 1254250 w 1792288"/>
                <a:gd name="connsiteY130" fmla="*/ 1298952 h 1693862"/>
                <a:gd name="connsiteX131" fmla="*/ 879840 w 1792288"/>
                <a:gd name="connsiteY131" fmla="*/ 1297532 h 1693862"/>
                <a:gd name="connsiteX132" fmla="*/ 879606 w 1792288"/>
                <a:gd name="connsiteY132" fmla="*/ 1298117 h 1693862"/>
                <a:gd name="connsiteX133" fmla="*/ 880965 w 1792288"/>
                <a:gd name="connsiteY133" fmla="*/ 1301151 h 1693862"/>
                <a:gd name="connsiteX134" fmla="*/ 881947 w 1792288"/>
                <a:gd name="connsiteY134" fmla="*/ 1303950 h 1693862"/>
                <a:gd name="connsiteX135" fmla="*/ 1096220 w 1792288"/>
                <a:gd name="connsiteY135" fmla="*/ 1272360 h 1693862"/>
                <a:gd name="connsiteX136" fmla="*/ 1077178 w 1792288"/>
                <a:gd name="connsiteY136" fmla="*/ 1273780 h 1693862"/>
                <a:gd name="connsiteX137" fmla="*/ 1095281 w 1792288"/>
                <a:gd name="connsiteY137" fmla="*/ 1273395 h 1693862"/>
                <a:gd name="connsiteX138" fmla="*/ 899211 w 1792288"/>
                <a:gd name="connsiteY138" fmla="*/ 1259315 h 1693862"/>
                <a:gd name="connsiteX139" fmla="*/ 895632 w 1792288"/>
                <a:gd name="connsiteY139" fmla="*/ 1260475 h 1693862"/>
                <a:gd name="connsiteX140" fmla="*/ 895169 w 1792288"/>
                <a:gd name="connsiteY140" fmla="*/ 1259462 h 1693862"/>
                <a:gd name="connsiteX141" fmla="*/ 894881 w 1792288"/>
                <a:gd name="connsiteY141" fmla="*/ 1261547 h 1693862"/>
                <a:gd name="connsiteX142" fmla="*/ 895638 w 1792288"/>
                <a:gd name="connsiteY142" fmla="*/ 1261547 h 1693862"/>
                <a:gd name="connsiteX143" fmla="*/ 1140413 w 1792288"/>
                <a:gd name="connsiteY143" fmla="*/ 1250611 h 1693862"/>
                <a:gd name="connsiteX144" fmla="*/ 1148175 w 1792288"/>
                <a:gd name="connsiteY144" fmla="*/ 1260403 h 1693862"/>
                <a:gd name="connsiteX145" fmla="*/ 1159279 w 1792288"/>
                <a:gd name="connsiteY145" fmla="*/ 1262172 h 1693862"/>
                <a:gd name="connsiteX146" fmla="*/ 1160788 w 1792288"/>
                <a:gd name="connsiteY146" fmla="*/ 1262685 h 1693862"/>
                <a:gd name="connsiteX147" fmla="*/ 1163970 w 1792288"/>
                <a:gd name="connsiteY147" fmla="*/ 1262919 h 1693862"/>
                <a:gd name="connsiteX148" fmla="*/ 1175210 w 1792288"/>
                <a:gd name="connsiteY148" fmla="*/ 1264709 h 1693862"/>
                <a:gd name="connsiteX149" fmla="*/ 1182993 w 1792288"/>
                <a:gd name="connsiteY149" fmla="*/ 1259802 h 1693862"/>
                <a:gd name="connsiteX150" fmla="*/ 1182900 w 1792288"/>
                <a:gd name="connsiteY150" fmla="*/ 1259385 h 1693862"/>
                <a:gd name="connsiteX151" fmla="*/ 1179600 w 1792288"/>
                <a:gd name="connsiteY151" fmla="*/ 1261743 h 1693862"/>
                <a:gd name="connsiteX152" fmla="*/ 1173909 w 1792288"/>
                <a:gd name="connsiteY152" fmla="*/ 1263650 h 1693862"/>
                <a:gd name="connsiteX153" fmla="*/ 1163970 w 1792288"/>
                <a:gd name="connsiteY153" fmla="*/ 1262919 h 1693862"/>
                <a:gd name="connsiteX154" fmla="*/ 1159279 w 1792288"/>
                <a:gd name="connsiteY154" fmla="*/ 1262172 h 1693862"/>
                <a:gd name="connsiteX155" fmla="*/ 1146702 w 1792288"/>
                <a:gd name="connsiteY155" fmla="*/ 1257897 h 1693862"/>
                <a:gd name="connsiteX156" fmla="*/ 1207815 w 1792288"/>
                <a:gd name="connsiteY156" fmla="*/ 1249970 h 1693862"/>
                <a:gd name="connsiteX157" fmla="*/ 1207109 w 1792288"/>
                <a:gd name="connsiteY157" fmla="*/ 1249972 h 1693862"/>
                <a:gd name="connsiteX158" fmla="*/ 1196470 w 1792288"/>
                <a:gd name="connsiteY158" fmla="*/ 1253697 h 1693862"/>
                <a:gd name="connsiteX159" fmla="*/ 1193944 w 1792288"/>
                <a:gd name="connsiteY159" fmla="*/ 1254642 h 1693862"/>
                <a:gd name="connsiteX160" fmla="*/ 925738 w 1792288"/>
                <a:gd name="connsiteY160" fmla="*/ 1249028 h 1693862"/>
                <a:gd name="connsiteX161" fmla="*/ 929986 w 1792288"/>
                <a:gd name="connsiteY161" fmla="*/ 1253342 h 1693862"/>
                <a:gd name="connsiteX162" fmla="*/ 931425 w 1792288"/>
                <a:gd name="connsiteY162" fmla="*/ 1252855 h 1693862"/>
                <a:gd name="connsiteX163" fmla="*/ 1223220 w 1792288"/>
                <a:gd name="connsiteY163" fmla="*/ 1243553 h 1693862"/>
                <a:gd name="connsiteX164" fmla="*/ 1211555 w 1792288"/>
                <a:gd name="connsiteY164" fmla="*/ 1248710 h 1693862"/>
                <a:gd name="connsiteX165" fmla="*/ 1219045 w 1792288"/>
                <a:gd name="connsiteY165" fmla="*/ 1246187 h 1693862"/>
                <a:gd name="connsiteX166" fmla="*/ 1219161 w 1792288"/>
                <a:gd name="connsiteY166" fmla="*/ 1246325 h 1693862"/>
                <a:gd name="connsiteX167" fmla="*/ 1221110 w 1792288"/>
                <a:gd name="connsiteY167" fmla="*/ 1244966 h 1693862"/>
                <a:gd name="connsiteX168" fmla="*/ 1131119 w 1792288"/>
                <a:gd name="connsiteY168" fmla="*/ 1237547 h 1693862"/>
                <a:gd name="connsiteX169" fmla="*/ 1132399 w 1792288"/>
                <a:gd name="connsiteY169" fmla="*/ 1240501 h 1693862"/>
                <a:gd name="connsiteX170" fmla="*/ 1134799 w 1792288"/>
                <a:gd name="connsiteY170" fmla="*/ 1243529 h 1693862"/>
                <a:gd name="connsiteX171" fmla="*/ 1422215 w 1792288"/>
                <a:gd name="connsiteY171" fmla="*/ 1213400 h 1693862"/>
                <a:gd name="connsiteX172" fmla="*/ 1418079 w 1792288"/>
                <a:gd name="connsiteY172" fmla="*/ 1228378 h 1693862"/>
                <a:gd name="connsiteX173" fmla="*/ 1400939 w 1792288"/>
                <a:gd name="connsiteY173" fmla="*/ 1240325 h 1693862"/>
                <a:gd name="connsiteX174" fmla="*/ 1405148 w 1792288"/>
                <a:gd name="connsiteY174" fmla="*/ 1246696 h 1693862"/>
                <a:gd name="connsiteX175" fmla="*/ 1411051 w 1792288"/>
                <a:gd name="connsiteY175" fmla="*/ 1244122 h 1693862"/>
                <a:gd name="connsiteX176" fmla="*/ 1422790 w 1792288"/>
                <a:gd name="connsiteY176" fmla="*/ 1233444 h 1693862"/>
                <a:gd name="connsiteX177" fmla="*/ 1424869 w 1792288"/>
                <a:gd name="connsiteY177" fmla="*/ 1222038 h 1693862"/>
                <a:gd name="connsiteX178" fmla="*/ 1421243 w 1792288"/>
                <a:gd name="connsiteY178" fmla="*/ 1211281 h 1693862"/>
                <a:gd name="connsiteX179" fmla="*/ 1421963 w 1792288"/>
                <a:gd name="connsiteY179" fmla="*/ 1212580 h 1693862"/>
                <a:gd name="connsiteX180" fmla="*/ 1421812 w 1792288"/>
                <a:gd name="connsiteY180" fmla="*/ 1212088 h 1693862"/>
                <a:gd name="connsiteX181" fmla="*/ 925341 w 1792288"/>
                <a:gd name="connsiteY181" fmla="*/ 1203610 h 1693862"/>
                <a:gd name="connsiteX182" fmla="*/ 912817 w 1792288"/>
                <a:gd name="connsiteY182" fmla="*/ 1204658 h 1693862"/>
                <a:gd name="connsiteX183" fmla="*/ 912306 w 1792288"/>
                <a:gd name="connsiteY183" fmla="*/ 1204373 h 1693862"/>
                <a:gd name="connsiteX184" fmla="*/ 913154 w 1792288"/>
                <a:gd name="connsiteY184" fmla="*/ 1206445 h 1693862"/>
                <a:gd name="connsiteX185" fmla="*/ 940198 w 1792288"/>
                <a:gd name="connsiteY185" fmla="*/ 1202267 h 1693862"/>
                <a:gd name="connsiteX186" fmla="*/ 939968 w 1792288"/>
                <a:gd name="connsiteY186" fmla="*/ 1202288 h 1693862"/>
                <a:gd name="connsiteX187" fmla="*/ 941209 w 1792288"/>
                <a:gd name="connsiteY187" fmla="*/ 1202827 h 1693862"/>
                <a:gd name="connsiteX188" fmla="*/ 908425 w 1792288"/>
                <a:gd name="connsiteY188" fmla="*/ 1194953 h 1693862"/>
                <a:gd name="connsiteX189" fmla="*/ 903540 w 1792288"/>
                <a:gd name="connsiteY189" fmla="*/ 1198751 h 1693862"/>
                <a:gd name="connsiteX190" fmla="*/ 892477 w 1792288"/>
                <a:gd name="connsiteY190" fmla="*/ 1209270 h 1693862"/>
                <a:gd name="connsiteX191" fmla="*/ 887155 w 1792288"/>
                <a:gd name="connsiteY191" fmla="*/ 1214481 h 1693862"/>
                <a:gd name="connsiteX192" fmla="*/ 896032 w 1792288"/>
                <a:gd name="connsiteY192" fmla="*/ 1206048 h 1693862"/>
                <a:gd name="connsiteX193" fmla="*/ 908338 w 1792288"/>
                <a:gd name="connsiteY193" fmla="*/ 1195633 h 1693862"/>
                <a:gd name="connsiteX194" fmla="*/ 908337 w 1792288"/>
                <a:gd name="connsiteY194" fmla="*/ 1195445 h 1693862"/>
                <a:gd name="connsiteX195" fmla="*/ 1042397 w 1792288"/>
                <a:gd name="connsiteY195" fmla="*/ 1194390 h 1693862"/>
                <a:gd name="connsiteX196" fmla="*/ 1037871 w 1792288"/>
                <a:gd name="connsiteY196" fmla="*/ 1201480 h 1693862"/>
                <a:gd name="connsiteX197" fmla="*/ 1022597 w 1792288"/>
                <a:gd name="connsiteY197" fmla="*/ 1202267 h 1693862"/>
                <a:gd name="connsiteX198" fmla="*/ 995138 w 1792288"/>
                <a:gd name="connsiteY198" fmla="*/ 1209876 h 1693862"/>
                <a:gd name="connsiteX199" fmla="*/ 981398 w 1792288"/>
                <a:gd name="connsiteY199" fmla="*/ 1209876 h 1693862"/>
                <a:gd name="connsiteX200" fmla="*/ 974954 w 1792288"/>
                <a:gd name="connsiteY200" fmla="*/ 1210833 h 1693862"/>
                <a:gd name="connsiteX201" fmla="*/ 979495 w 1792288"/>
                <a:gd name="connsiteY201" fmla="*/ 1210833 h 1693862"/>
                <a:gd name="connsiteX202" fmla="*/ 995363 w 1792288"/>
                <a:gd name="connsiteY202" fmla="*/ 1210833 h 1693862"/>
                <a:gd name="connsiteX203" fmla="*/ 1027120 w 1792288"/>
                <a:gd name="connsiteY203" fmla="*/ 1203184 h 1693862"/>
                <a:gd name="connsiteX204" fmla="*/ 1035044 w 1792288"/>
                <a:gd name="connsiteY204" fmla="*/ 1203184 h 1693862"/>
                <a:gd name="connsiteX205" fmla="*/ 1042988 w 1792288"/>
                <a:gd name="connsiteY205" fmla="*/ 1195528 h 1693862"/>
                <a:gd name="connsiteX206" fmla="*/ 1144648 w 1792288"/>
                <a:gd name="connsiteY206" fmla="*/ 1192744 h 1693862"/>
                <a:gd name="connsiteX207" fmla="*/ 1145498 w 1792288"/>
                <a:gd name="connsiteY207" fmla="*/ 1193594 h 1693862"/>
                <a:gd name="connsiteX208" fmla="*/ 1147317 w 1792288"/>
                <a:gd name="connsiteY208" fmla="*/ 1194159 h 1693862"/>
                <a:gd name="connsiteX209" fmla="*/ 1321051 w 1792288"/>
                <a:gd name="connsiteY209" fmla="*/ 1171317 h 1693862"/>
                <a:gd name="connsiteX210" fmla="*/ 1291337 w 1792288"/>
                <a:gd name="connsiteY210" fmla="*/ 1174594 h 1693862"/>
                <a:gd name="connsiteX211" fmla="*/ 1267511 w 1792288"/>
                <a:gd name="connsiteY211" fmla="*/ 1177221 h 1693862"/>
                <a:gd name="connsiteX212" fmla="*/ 1269609 w 1792288"/>
                <a:gd name="connsiteY212" fmla="*/ 1179275 h 1693862"/>
                <a:gd name="connsiteX213" fmla="*/ 1331802 w 1792288"/>
                <a:gd name="connsiteY213" fmla="*/ 1172494 h 1693862"/>
                <a:gd name="connsiteX214" fmla="*/ 1335673 w 1792288"/>
                <a:gd name="connsiteY214" fmla="*/ 1171317 h 1693862"/>
                <a:gd name="connsiteX215" fmla="*/ 1130294 w 1792288"/>
                <a:gd name="connsiteY215" fmla="*/ 1168717 h 1693862"/>
                <a:gd name="connsiteX216" fmla="*/ 1130294 w 1792288"/>
                <a:gd name="connsiteY216" fmla="*/ 1172583 h 1693862"/>
                <a:gd name="connsiteX217" fmla="*/ 1138238 w 1792288"/>
                <a:gd name="connsiteY217" fmla="*/ 1187880 h 1693862"/>
                <a:gd name="connsiteX218" fmla="*/ 1130294 w 1792288"/>
                <a:gd name="connsiteY218" fmla="*/ 1203184 h 1693862"/>
                <a:gd name="connsiteX219" fmla="*/ 1123999 w 1792288"/>
                <a:gd name="connsiteY219" fmla="*/ 1221412 h 1693862"/>
                <a:gd name="connsiteX220" fmla="*/ 1125612 w 1792288"/>
                <a:gd name="connsiteY220" fmla="*/ 1220651 h 1693862"/>
                <a:gd name="connsiteX221" fmla="*/ 1128111 w 1792288"/>
                <a:gd name="connsiteY221" fmla="*/ 1213406 h 1693862"/>
                <a:gd name="connsiteX222" fmla="*/ 1131894 w 1792288"/>
                <a:gd name="connsiteY222" fmla="*/ 1202519 h 1693862"/>
                <a:gd name="connsiteX223" fmla="*/ 1138703 w 1792288"/>
                <a:gd name="connsiteY223" fmla="*/ 1189422 h 1693862"/>
                <a:gd name="connsiteX224" fmla="*/ 1140266 w 1792288"/>
                <a:gd name="connsiteY224" fmla="*/ 1188572 h 1693862"/>
                <a:gd name="connsiteX225" fmla="*/ 1136248 w 1792288"/>
                <a:gd name="connsiteY225" fmla="*/ 1181498 h 1693862"/>
                <a:gd name="connsiteX226" fmla="*/ 1223792 w 1792288"/>
                <a:gd name="connsiteY226" fmla="*/ 1168591 h 1693862"/>
                <a:gd name="connsiteX227" fmla="*/ 1221799 w 1792288"/>
                <a:gd name="connsiteY227" fmla="*/ 1171250 h 1693862"/>
                <a:gd name="connsiteX228" fmla="*/ 1225059 w 1792288"/>
                <a:gd name="connsiteY228" fmla="*/ 1168740 h 1693862"/>
                <a:gd name="connsiteX229" fmla="*/ 1056943 w 1792288"/>
                <a:gd name="connsiteY229" fmla="*/ 1166783 h 1693862"/>
                <a:gd name="connsiteX230" fmla="*/ 1054876 w 1792288"/>
                <a:gd name="connsiteY230" fmla="*/ 1167806 h 1693862"/>
                <a:gd name="connsiteX231" fmla="*/ 1046812 w 1792288"/>
                <a:gd name="connsiteY231" fmla="*/ 1173462 h 1693862"/>
                <a:gd name="connsiteX232" fmla="*/ 1038192 w 1792288"/>
                <a:gd name="connsiteY232" fmla="*/ 1178716 h 1693862"/>
                <a:gd name="connsiteX233" fmla="*/ 1050932 w 1792288"/>
                <a:gd name="connsiteY233" fmla="*/ 1172583 h 1693862"/>
                <a:gd name="connsiteX234" fmla="*/ 1083051 w 1792288"/>
                <a:gd name="connsiteY234" fmla="*/ 1164568 h 1693862"/>
                <a:gd name="connsiteX235" fmla="*/ 1079881 w 1792288"/>
                <a:gd name="connsiteY235" fmla="*/ 1164824 h 1693862"/>
                <a:gd name="connsiteX236" fmla="*/ 1074252 w 1792288"/>
                <a:gd name="connsiteY236" fmla="*/ 1164935 h 1693862"/>
                <a:gd name="connsiteX237" fmla="*/ 1082669 w 1792288"/>
                <a:gd name="connsiteY237" fmla="*/ 1164935 h 1693862"/>
                <a:gd name="connsiteX238" fmla="*/ 1094436 w 1792288"/>
                <a:gd name="connsiteY238" fmla="*/ 1157602 h 1693862"/>
                <a:gd name="connsiteX239" fmla="*/ 1093799 w 1792288"/>
                <a:gd name="connsiteY239" fmla="*/ 1158054 h 1693862"/>
                <a:gd name="connsiteX240" fmla="*/ 1122370 w 1792288"/>
                <a:gd name="connsiteY240" fmla="*/ 1164935 h 1693862"/>
                <a:gd name="connsiteX241" fmla="*/ 1129434 w 1792288"/>
                <a:gd name="connsiteY241" fmla="*/ 1164935 h 1693862"/>
                <a:gd name="connsiteX242" fmla="*/ 1134012 w 1792288"/>
                <a:gd name="connsiteY242" fmla="*/ 1162476 h 1693862"/>
                <a:gd name="connsiteX243" fmla="*/ 1127781 w 1792288"/>
                <a:gd name="connsiteY243" fmla="*/ 1164824 h 1693862"/>
                <a:gd name="connsiteX244" fmla="*/ 1112220 w 1792288"/>
                <a:gd name="connsiteY244" fmla="*/ 1161242 h 1693862"/>
                <a:gd name="connsiteX245" fmla="*/ 1108165 w 1792288"/>
                <a:gd name="connsiteY245" fmla="*/ 1159843 h 1693862"/>
                <a:gd name="connsiteX246" fmla="*/ 1107398 w 1792288"/>
                <a:gd name="connsiteY246" fmla="*/ 1159647 h 1693862"/>
                <a:gd name="connsiteX247" fmla="*/ 1094436 w 1792288"/>
                <a:gd name="connsiteY247" fmla="*/ 1157602 h 1693862"/>
                <a:gd name="connsiteX248" fmla="*/ 1042036 w 1792288"/>
                <a:gd name="connsiteY248" fmla="*/ 1146084 h 1693862"/>
                <a:gd name="connsiteX249" fmla="*/ 1048405 w 1792288"/>
                <a:gd name="connsiteY249" fmla="*/ 1155007 h 1693862"/>
                <a:gd name="connsiteX250" fmla="*/ 1058424 w 1792288"/>
                <a:gd name="connsiteY250" fmla="*/ 1165354 h 1693862"/>
                <a:gd name="connsiteX251" fmla="*/ 1058857 w 1792288"/>
                <a:gd name="connsiteY251" fmla="*/ 1164935 h 1693862"/>
                <a:gd name="connsiteX252" fmla="*/ 1059285 w 1792288"/>
                <a:gd name="connsiteY252" fmla="*/ 1164935 h 1693862"/>
                <a:gd name="connsiteX253" fmla="*/ 1056834 w 1792288"/>
                <a:gd name="connsiteY253" fmla="*/ 1162341 h 1693862"/>
                <a:gd name="connsiteX254" fmla="*/ 1052364 w 1792288"/>
                <a:gd name="connsiteY254" fmla="*/ 1157659 h 1693862"/>
                <a:gd name="connsiteX255" fmla="*/ 1045545 w 1792288"/>
                <a:gd name="connsiteY255" fmla="*/ 1150837 h 1693862"/>
                <a:gd name="connsiteX256" fmla="*/ 871825 w 1792288"/>
                <a:gd name="connsiteY256" fmla="*/ 1119129 h 1693862"/>
                <a:gd name="connsiteX257" fmla="*/ 874804 w 1792288"/>
                <a:gd name="connsiteY257" fmla="*/ 1122748 h 1693862"/>
                <a:gd name="connsiteX258" fmla="*/ 876226 w 1792288"/>
                <a:gd name="connsiteY258" fmla="*/ 1123407 h 1693862"/>
                <a:gd name="connsiteX259" fmla="*/ 876371 w 1792288"/>
                <a:gd name="connsiteY259" fmla="*/ 1123086 h 1693862"/>
                <a:gd name="connsiteX260" fmla="*/ 848970 w 1792288"/>
                <a:gd name="connsiteY260" fmla="*/ 1102428 h 1693862"/>
                <a:gd name="connsiteX261" fmla="*/ 853694 w 1792288"/>
                <a:gd name="connsiteY261" fmla="*/ 1105429 h 1693862"/>
                <a:gd name="connsiteX262" fmla="*/ 858066 w 1792288"/>
                <a:gd name="connsiteY262" fmla="*/ 1108216 h 1693862"/>
                <a:gd name="connsiteX263" fmla="*/ 851953 w 1792288"/>
                <a:gd name="connsiteY263" fmla="*/ 1103909 h 1693862"/>
                <a:gd name="connsiteX264" fmla="*/ 1111321 w 1792288"/>
                <a:gd name="connsiteY264" fmla="*/ 1101881 h 1693862"/>
                <a:gd name="connsiteX265" fmla="*/ 1127466 w 1792288"/>
                <a:gd name="connsiteY265" fmla="*/ 1109938 h 1693862"/>
                <a:gd name="connsiteX266" fmla="*/ 1169988 w 1792288"/>
                <a:gd name="connsiteY266" fmla="*/ 1131140 h 1693862"/>
                <a:gd name="connsiteX267" fmla="*/ 1169904 w 1792288"/>
                <a:gd name="connsiteY267" fmla="*/ 1132133 h 1693862"/>
                <a:gd name="connsiteX268" fmla="*/ 1176522 w 1792288"/>
                <a:gd name="connsiteY268" fmla="*/ 1130582 h 1693862"/>
                <a:gd name="connsiteX269" fmla="*/ 1175237 w 1792288"/>
                <a:gd name="connsiteY269" fmla="*/ 1129945 h 1693862"/>
                <a:gd name="connsiteX270" fmla="*/ 1147814 w 1792288"/>
                <a:gd name="connsiteY270" fmla="*/ 1116352 h 1693862"/>
                <a:gd name="connsiteX271" fmla="*/ 1131287 w 1792288"/>
                <a:gd name="connsiteY271" fmla="*/ 1109799 h 1693862"/>
                <a:gd name="connsiteX272" fmla="*/ 882563 w 1792288"/>
                <a:gd name="connsiteY272" fmla="*/ 1097331 h 1693862"/>
                <a:gd name="connsiteX273" fmla="*/ 884936 w 1792288"/>
                <a:gd name="connsiteY273" fmla="*/ 1104104 h 1693862"/>
                <a:gd name="connsiteX274" fmla="*/ 885278 w 1792288"/>
                <a:gd name="connsiteY274" fmla="*/ 1103345 h 1693862"/>
                <a:gd name="connsiteX275" fmla="*/ 1058520 w 1792288"/>
                <a:gd name="connsiteY275" fmla="*/ 1083345 h 1693862"/>
                <a:gd name="connsiteX276" fmla="*/ 1052467 w 1792288"/>
                <a:gd name="connsiteY276" fmla="*/ 1089322 h 1693862"/>
                <a:gd name="connsiteX277" fmla="*/ 1036337 w 1792288"/>
                <a:gd name="connsiteY277" fmla="*/ 1095736 h 1693862"/>
                <a:gd name="connsiteX278" fmla="*/ 1022597 w 1792288"/>
                <a:gd name="connsiteY278" fmla="*/ 1103345 h 1693862"/>
                <a:gd name="connsiteX279" fmla="*/ 1017640 w 1792288"/>
                <a:gd name="connsiteY279" fmla="*/ 1106826 h 1693862"/>
                <a:gd name="connsiteX280" fmla="*/ 1025057 w 1792288"/>
                <a:gd name="connsiteY280" fmla="*/ 1103124 h 1693862"/>
                <a:gd name="connsiteX281" fmla="*/ 1038710 w 1792288"/>
                <a:gd name="connsiteY281" fmla="*/ 1096311 h 1693862"/>
                <a:gd name="connsiteX282" fmla="*/ 1052364 w 1792288"/>
                <a:gd name="connsiteY282" fmla="*/ 1089489 h 1693862"/>
                <a:gd name="connsiteX283" fmla="*/ 1058524 w 1792288"/>
                <a:gd name="connsiteY283" fmla="*/ 1083347 h 1693862"/>
                <a:gd name="connsiteX284" fmla="*/ 1070667 w 1792288"/>
                <a:gd name="connsiteY284" fmla="*/ 1081996 h 1693862"/>
                <a:gd name="connsiteX285" fmla="*/ 1070667 w 1792288"/>
                <a:gd name="connsiteY285" fmla="*/ 1088127 h 1693862"/>
                <a:gd name="connsiteX286" fmla="*/ 1067860 w 1792288"/>
                <a:gd name="connsiteY286" fmla="*/ 1086998 h 1693862"/>
                <a:gd name="connsiteX287" fmla="*/ 1072852 w 1792288"/>
                <a:gd name="connsiteY287" fmla="*/ 1089489 h 1693862"/>
                <a:gd name="connsiteX288" fmla="*/ 1072852 w 1792288"/>
                <a:gd name="connsiteY288" fmla="*/ 1083079 h 1693862"/>
                <a:gd name="connsiteX289" fmla="*/ 864428 w 1792288"/>
                <a:gd name="connsiteY289" fmla="*/ 1062355 h 1693862"/>
                <a:gd name="connsiteX290" fmla="*/ 865678 w 1792288"/>
                <a:gd name="connsiteY290" fmla="*/ 1062976 h 1693862"/>
                <a:gd name="connsiteX291" fmla="*/ 875759 w 1792288"/>
                <a:gd name="connsiteY291" fmla="*/ 1067005 h 1693862"/>
                <a:gd name="connsiteX292" fmla="*/ 885019 w 1792288"/>
                <a:gd name="connsiteY292" fmla="*/ 1073279 h 1693862"/>
                <a:gd name="connsiteX293" fmla="*/ 880774 w 1792288"/>
                <a:gd name="connsiteY293" fmla="*/ 1069128 h 1693862"/>
                <a:gd name="connsiteX294" fmla="*/ 866920 w 1792288"/>
                <a:gd name="connsiteY294" fmla="*/ 1062355 h 1693862"/>
                <a:gd name="connsiteX295" fmla="*/ 1461135 w 1792288"/>
                <a:gd name="connsiteY295" fmla="*/ 1016706 h 1693862"/>
                <a:gd name="connsiteX296" fmla="*/ 1454572 w 1792288"/>
                <a:gd name="connsiteY296" fmla="*/ 1036500 h 1693862"/>
                <a:gd name="connsiteX297" fmla="*/ 1445946 w 1792288"/>
                <a:gd name="connsiteY297" fmla="*/ 1062515 h 1693862"/>
                <a:gd name="connsiteX298" fmla="*/ 1446269 w 1792288"/>
                <a:gd name="connsiteY298" fmla="*/ 1062595 h 1693862"/>
                <a:gd name="connsiteX299" fmla="*/ 1452872 w 1792288"/>
                <a:gd name="connsiteY299" fmla="*/ 1042938 h 1693862"/>
                <a:gd name="connsiteX300" fmla="*/ 1461684 w 1792288"/>
                <a:gd name="connsiteY300" fmla="*/ 1016706 h 1693862"/>
                <a:gd name="connsiteX301" fmla="*/ 1323784 w 1792288"/>
                <a:gd name="connsiteY301" fmla="*/ 925665 h 1693862"/>
                <a:gd name="connsiteX302" fmla="*/ 1323867 w 1792288"/>
                <a:gd name="connsiteY302" fmla="*/ 927452 h 1693862"/>
                <a:gd name="connsiteX303" fmla="*/ 1321720 w 1792288"/>
                <a:gd name="connsiteY303" fmla="*/ 936086 h 1693862"/>
                <a:gd name="connsiteX304" fmla="*/ 1320800 w 1792288"/>
                <a:gd name="connsiteY304" fmla="*/ 937079 h 1693862"/>
                <a:gd name="connsiteX305" fmla="*/ 1296988 w 1792288"/>
                <a:gd name="connsiteY305" fmla="*/ 937079 h 1693862"/>
                <a:gd name="connsiteX306" fmla="*/ 1281113 w 1792288"/>
                <a:gd name="connsiteY306" fmla="*/ 944789 h 1693862"/>
                <a:gd name="connsiteX307" fmla="*/ 1265238 w 1792288"/>
                <a:gd name="connsiteY307" fmla="*/ 952500 h 1693862"/>
                <a:gd name="connsiteX308" fmla="*/ 1249363 w 1792288"/>
                <a:gd name="connsiteY308" fmla="*/ 937079 h 1693862"/>
                <a:gd name="connsiteX309" fmla="*/ 1248371 w 1792288"/>
                <a:gd name="connsiteY309" fmla="*/ 937079 h 1693862"/>
                <a:gd name="connsiteX310" fmla="*/ 1242140 w 1792288"/>
                <a:gd name="connsiteY310" fmla="*/ 937079 h 1693862"/>
                <a:gd name="connsiteX311" fmla="*/ 1241834 w 1792288"/>
                <a:gd name="connsiteY311" fmla="*/ 937702 h 1693862"/>
                <a:gd name="connsiteX312" fmla="*/ 1241835 w 1792288"/>
                <a:gd name="connsiteY312" fmla="*/ 937702 h 1693862"/>
                <a:gd name="connsiteX313" fmla="*/ 1249670 w 1792288"/>
                <a:gd name="connsiteY313" fmla="*/ 937702 h 1693862"/>
                <a:gd name="connsiteX314" fmla="*/ 1265340 w 1792288"/>
                <a:gd name="connsiteY314" fmla="*/ 961004 h 1693862"/>
                <a:gd name="connsiteX315" fmla="*/ 1273175 w 1792288"/>
                <a:gd name="connsiteY315" fmla="*/ 992074 h 1693862"/>
                <a:gd name="connsiteX316" fmla="*/ 1257505 w 1792288"/>
                <a:gd name="connsiteY316" fmla="*/ 1007609 h 1693862"/>
                <a:gd name="connsiteX317" fmla="*/ 1265340 w 1792288"/>
                <a:gd name="connsiteY317" fmla="*/ 1030911 h 1693862"/>
                <a:gd name="connsiteX318" fmla="*/ 1265340 w 1792288"/>
                <a:gd name="connsiteY318" fmla="*/ 1046446 h 1693862"/>
                <a:gd name="connsiteX319" fmla="*/ 1273175 w 1792288"/>
                <a:gd name="connsiteY319" fmla="*/ 1077515 h 1693862"/>
                <a:gd name="connsiteX320" fmla="*/ 1257505 w 1792288"/>
                <a:gd name="connsiteY320" fmla="*/ 1093050 h 1693862"/>
                <a:gd name="connsiteX321" fmla="*/ 1241835 w 1792288"/>
                <a:gd name="connsiteY321" fmla="*/ 1131887 h 1693862"/>
                <a:gd name="connsiteX322" fmla="*/ 1226165 w 1792288"/>
                <a:gd name="connsiteY322" fmla="*/ 1131887 h 1693862"/>
                <a:gd name="connsiteX323" fmla="*/ 1210495 w 1792288"/>
                <a:gd name="connsiteY323" fmla="*/ 1131887 h 1693862"/>
                <a:gd name="connsiteX324" fmla="*/ 1206583 w 1792288"/>
                <a:gd name="connsiteY324" fmla="*/ 1131887 h 1693862"/>
                <a:gd name="connsiteX325" fmla="*/ 1211524 w 1792288"/>
                <a:gd name="connsiteY325" fmla="*/ 1132964 h 1693862"/>
                <a:gd name="connsiteX326" fmla="*/ 1227138 w 1792288"/>
                <a:gd name="connsiteY326" fmla="*/ 1132964 h 1693862"/>
                <a:gd name="connsiteX327" fmla="*/ 1227138 w 1792288"/>
                <a:gd name="connsiteY327" fmla="*/ 1132488 h 1693862"/>
                <a:gd name="connsiteX328" fmla="*/ 1242790 w 1792288"/>
                <a:gd name="connsiteY328" fmla="*/ 1132488 h 1693862"/>
                <a:gd name="connsiteX329" fmla="*/ 1258443 w 1792288"/>
                <a:gd name="connsiteY329" fmla="*/ 1093659 h 1693862"/>
                <a:gd name="connsiteX330" fmla="*/ 1274095 w 1792288"/>
                <a:gd name="connsiteY330" fmla="*/ 1078127 h 1693862"/>
                <a:gd name="connsiteX331" fmla="*/ 1266269 w 1792288"/>
                <a:gd name="connsiteY331" fmla="*/ 1047064 h 1693862"/>
                <a:gd name="connsiteX332" fmla="*/ 1266667 w 1792288"/>
                <a:gd name="connsiteY332" fmla="*/ 1046866 h 1693862"/>
                <a:gd name="connsiteX333" fmla="*/ 1266667 w 1792288"/>
                <a:gd name="connsiteY333" fmla="*/ 1046030 h 1693862"/>
                <a:gd name="connsiteX334" fmla="*/ 1266667 w 1792288"/>
                <a:gd name="connsiteY334" fmla="*/ 1032345 h 1693862"/>
                <a:gd name="connsiteX335" fmla="*/ 1258888 w 1792288"/>
                <a:gd name="connsiteY335" fmla="*/ 1008886 h 1693862"/>
                <a:gd name="connsiteX336" fmla="*/ 1274446 w 1792288"/>
                <a:gd name="connsiteY336" fmla="*/ 993246 h 1693862"/>
                <a:gd name="connsiteX337" fmla="*/ 1266667 w 1792288"/>
                <a:gd name="connsiteY337" fmla="*/ 961966 h 1693862"/>
                <a:gd name="connsiteX338" fmla="*/ 1266667 w 1792288"/>
                <a:gd name="connsiteY338" fmla="*/ 954146 h 1693862"/>
                <a:gd name="connsiteX339" fmla="*/ 1282224 w 1792288"/>
                <a:gd name="connsiteY339" fmla="*/ 946326 h 1693862"/>
                <a:gd name="connsiteX340" fmla="*/ 1297782 w 1792288"/>
                <a:gd name="connsiteY340" fmla="*/ 938506 h 1693862"/>
                <a:gd name="connsiteX341" fmla="*/ 1321118 w 1792288"/>
                <a:gd name="connsiteY341" fmla="*/ 938506 h 1693862"/>
                <a:gd name="connsiteX342" fmla="*/ 1321720 w 1792288"/>
                <a:gd name="connsiteY342" fmla="*/ 936086 h 1693862"/>
                <a:gd name="connsiteX343" fmla="*/ 1324149 w 1792288"/>
                <a:gd name="connsiteY343" fmla="*/ 933464 h 1693862"/>
                <a:gd name="connsiteX344" fmla="*/ 1323867 w 1792288"/>
                <a:gd name="connsiteY344" fmla="*/ 927452 h 1693862"/>
                <a:gd name="connsiteX345" fmla="*/ 1324035 w 1792288"/>
                <a:gd name="connsiteY345" fmla="*/ 926777 h 1693862"/>
                <a:gd name="connsiteX346" fmla="*/ 1322090 w 1792288"/>
                <a:gd name="connsiteY346" fmla="*/ 918304 h 1693862"/>
                <a:gd name="connsiteX347" fmla="*/ 1322966 w 1792288"/>
                <a:gd name="connsiteY347" fmla="*/ 922046 h 1693862"/>
                <a:gd name="connsiteX348" fmla="*/ 1322212 w 1792288"/>
                <a:gd name="connsiteY348" fmla="*/ 918712 h 1693862"/>
                <a:gd name="connsiteX349" fmla="*/ 1242428 w 1792288"/>
                <a:gd name="connsiteY349" fmla="*/ 908185 h 1693862"/>
                <a:gd name="connsiteX350" fmla="*/ 1249192 w 1792288"/>
                <a:gd name="connsiteY350" fmla="*/ 921988 h 1693862"/>
                <a:gd name="connsiteX351" fmla="*/ 1249363 w 1792288"/>
                <a:gd name="connsiteY351" fmla="*/ 921657 h 1693862"/>
                <a:gd name="connsiteX352" fmla="*/ 1248371 w 1792288"/>
                <a:gd name="connsiteY352" fmla="*/ 919730 h 1693862"/>
                <a:gd name="connsiteX353" fmla="*/ 1235499 w 1792288"/>
                <a:gd name="connsiteY353" fmla="*/ 903357 h 1693862"/>
                <a:gd name="connsiteX354" fmla="*/ 1241527 w 1792288"/>
                <a:gd name="connsiteY354" fmla="*/ 906433 h 1693862"/>
                <a:gd name="connsiteX355" fmla="*/ 1241425 w 1792288"/>
                <a:gd name="connsiteY355" fmla="*/ 906236 h 1693862"/>
                <a:gd name="connsiteX356" fmla="*/ 1239441 w 1792288"/>
                <a:gd name="connsiteY356" fmla="*/ 905272 h 1693862"/>
                <a:gd name="connsiteX357" fmla="*/ 503804 w 1792288"/>
                <a:gd name="connsiteY357" fmla="*/ 890587 h 1693862"/>
                <a:gd name="connsiteX358" fmla="*/ 511628 w 1792288"/>
                <a:gd name="connsiteY358" fmla="*/ 898373 h 1693862"/>
                <a:gd name="connsiteX359" fmla="*/ 527277 w 1792288"/>
                <a:gd name="connsiteY359" fmla="*/ 898373 h 1693862"/>
                <a:gd name="connsiteX360" fmla="*/ 535101 w 1792288"/>
                <a:gd name="connsiteY360" fmla="*/ 913946 h 1693862"/>
                <a:gd name="connsiteX361" fmla="*/ 542925 w 1792288"/>
                <a:gd name="connsiteY361" fmla="*/ 929519 h 1693862"/>
                <a:gd name="connsiteX362" fmla="*/ 527277 w 1792288"/>
                <a:gd name="connsiteY362" fmla="*/ 945091 h 1693862"/>
                <a:gd name="connsiteX363" fmla="*/ 535101 w 1792288"/>
                <a:gd name="connsiteY363" fmla="*/ 976237 h 1693862"/>
                <a:gd name="connsiteX364" fmla="*/ 527277 w 1792288"/>
                <a:gd name="connsiteY364" fmla="*/ 1015168 h 1693862"/>
                <a:gd name="connsiteX365" fmla="*/ 503804 w 1792288"/>
                <a:gd name="connsiteY365" fmla="*/ 1022955 h 1693862"/>
                <a:gd name="connsiteX366" fmla="*/ 456860 w 1792288"/>
                <a:gd name="connsiteY366" fmla="*/ 1054100 h 1693862"/>
                <a:gd name="connsiteX367" fmla="*/ 433388 w 1792288"/>
                <a:gd name="connsiteY367" fmla="*/ 1038527 h 1693862"/>
                <a:gd name="connsiteX368" fmla="*/ 433388 w 1792288"/>
                <a:gd name="connsiteY368" fmla="*/ 1022955 h 1693862"/>
                <a:gd name="connsiteX369" fmla="*/ 441212 w 1792288"/>
                <a:gd name="connsiteY369" fmla="*/ 1015168 h 1693862"/>
                <a:gd name="connsiteX370" fmla="*/ 449036 w 1792288"/>
                <a:gd name="connsiteY370" fmla="*/ 999596 h 1693862"/>
                <a:gd name="connsiteX371" fmla="*/ 449036 w 1792288"/>
                <a:gd name="connsiteY371" fmla="*/ 976237 h 1693862"/>
                <a:gd name="connsiteX372" fmla="*/ 441212 w 1792288"/>
                <a:gd name="connsiteY372" fmla="*/ 968450 h 1693862"/>
                <a:gd name="connsiteX373" fmla="*/ 449036 w 1792288"/>
                <a:gd name="connsiteY373" fmla="*/ 960664 h 1693862"/>
                <a:gd name="connsiteX374" fmla="*/ 441212 w 1792288"/>
                <a:gd name="connsiteY374" fmla="*/ 937305 h 1693862"/>
                <a:gd name="connsiteX375" fmla="*/ 472508 w 1792288"/>
                <a:gd name="connsiteY375" fmla="*/ 929519 h 1693862"/>
                <a:gd name="connsiteX376" fmla="*/ 472508 w 1792288"/>
                <a:gd name="connsiteY376" fmla="*/ 913946 h 1693862"/>
                <a:gd name="connsiteX377" fmla="*/ 1352170 w 1792288"/>
                <a:gd name="connsiteY377" fmla="*/ 875947 h 1693862"/>
                <a:gd name="connsiteX378" fmla="*/ 1350566 w 1792288"/>
                <a:gd name="connsiteY378" fmla="*/ 878284 h 1693862"/>
                <a:gd name="connsiteX379" fmla="*/ 1336675 w 1792288"/>
                <a:gd name="connsiteY379" fmla="*/ 898525 h 1693862"/>
                <a:gd name="connsiteX380" fmla="*/ 1320800 w 1792288"/>
                <a:gd name="connsiteY380" fmla="*/ 913947 h 1693862"/>
                <a:gd name="connsiteX381" fmla="*/ 1321135 w 1792288"/>
                <a:gd name="connsiteY381" fmla="*/ 915030 h 1693862"/>
                <a:gd name="connsiteX382" fmla="*/ 1323063 w 1792288"/>
                <a:gd name="connsiteY382" fmla="*/ 913092 h 1693862"/>
                <a:gd name="connsiteX383" fmla="*/ 1336676 w 1792288"/>
                <a:gd name="connsiteY383" fmla="*/ 899407 h 1693862"/>
                <a:gd name="connsiteX384" fmla="*/ 1352233 w 1792288"/>
                <a:gd name="connsiteY384" fmla="*/ 875947 h 1693862"/>
                <a:gd name="connsiteX385" fmla="*/ 1233488 w 1792288"/>
                <a:gd name="connsiteY385" fmla="*/ 844550 h 1693862"/>
                <a:gd name="connsiteX386" fmla="*/ 1265238 w 1792288"/>
                <a:gd name="connsiteY386" fmla="*/ 844550 h 1693862"/>
                <a:gd name="connsiteX387" fmla="*/ 1296988 w 1792288"/>
                <a:gd name="connsiteY387" fmla="*/ 852261 h 1693862"/>
                <a:gd name="connsiteX388" fmla="*/ 1312863 w 1792288"/>
                <a:gd name="connsiteY388" fmla="*/ 844550 h 1693862"/>
                <a:gd name="connsiteX389" fmla="*/ 1328738 w 1792288"/>
                <a:gd name="connsiteY389" fmla="*/ 859972 h 1693862"/>
                <a:gd name="connsiteX390" fmla="*/ 1344613 w 1792288"/>
                <a:gd name="connsiteY390" fmla="*/ 875393 h 1693862"/>
                <a:gd name="connsiteX391" fmla="*/ 1345605 w 1792288"/>
                <a:gd name="connsiteY391" fmla="*/ 875393 h 1693862"/>
                <a:gd name="connsiteX392" fmla="*/ 1346107 w 1792288"/>
                <a:gd name="connsiteY392" fmla="*/ 875393 h 1693862"/>
                <a:gd name="connsiteX393" fmla="*/ 1347371 w 1792288"/>
                <a:gd name="connsiteY393" fmla="*/ 874969 h 1693862"/>
                <a:gd name="connsiteX394" fmla="*/ 1367791 w 1792288"/>
                <a:gd name="connsiteY394" fmla="*/ 868127 h 1693862"/>
                <a:gd name="connsiteX395" fmla="*/ 1391127 w 1792288"/>
                <a:gd name="connsiteY395" fmla="*/ 852487 h 1693862"/>
                <a:gd name="connsiteX396" fmla="*/ 1414463 w 1792288"/>
                <a:gd name="connsiteY396" fmla="*/ 868127 h 1693862"/>
                <a:gd name="connsiteX397" fmla="*/ 1437799 w 1792288"/>
                <a:gd name="connsiteY397" fmla="*/ 875947 h 1693862"/>
                <a:gd name="connsiteX398" fmla="*/ 1468914 w 1792288"/>
                <a:gd name="connsiteY398" fmla="*/ 938506 h 1693862"/>
                <a:gd name="connsiteX399" fmla="*/ 1492250 w 1792288"/>
                <a:gd name="connsiteY399" fmla="*/ 961966 h 1693862"/>
                <a:gd name="connsiteX400" fmla="*/ 1484472 w 1792288"/>
                <a:gd name="connsiteY400" fmla="*/ 977606 h 1693862"/>
                <a:gd name="connsiteX401" fmla="*/ 1461135 w 1792288"/>
                <a:gd name="connsiteY401" fmla="*/ 985426 h 1693862"/>
                <a:gd name="connsiteX402" fmla="*/ 1464417 w 1792288"/>
                <a:gd name="connsiteY402" fmla="*/ 998622 h 1693862"/>
                <a:gd name="connsiteX403" fmla="*/ 1468739 w 1792288"/>
                <a:gd name="connsiteY403" fmla="*/ 1016000 h 1693862"/>
                <a:gd name="connsiteX404" fmla="*/ 1469747 w 1792288"/>
                <a:gd name="connsiteY404" fmla="*/ 1016000 h 1693862"/>
                <a:gd name="connsiteX405" fmla="*/ 1469747 w 1792288"/>
                <a:gd name="connsiteY405" fmla="*/ 1016654 h 1693862"/>
                <a:gd name="connsiteX406" fmla="*/ 1483971 w 1792288"/>
                <a:gd name="connsiteY406" fmla="*/ 1023766 h 1693862"/>
                <a:gd name="connsiteX407" fmla="*/ 1484867 w 1792288"/>
                <a:gd name="connsiteY407" fmla="*/ 1023766 h 1693862"/>
                <a:gd name="connsiteX408" fmla="*/ 1484313 w 1792288"/>
                <a:gd name="connsiteY408" fmla="*/ 1023541 h 1693862"/>
                <a:gd name="connsiteX409" fmla="*/ 1508126 w 1792288"/>
                <a:gd name="connsiteY409" fmla="*/ 1016000 h 1693862"/>
                <a:gd name="connsiteX410" fmla="*/ 1528178 w 1792288"/>
                <a:gd name="connsiteY410" fmla="*/ 1041400 h 1693862"/>
                <a:gd name="connsiteX411" fmla="*/ 1497357 w 1792288"/>
                <a:gd name="connsiteY411" fmla="*/ 1028851 h 1693862"/>
                <a:gd name="connsiteX412" fmla="*/ 1508511 w 1792288"/>
                <a:gd name="connsiteY412" fmla="*/ 1033595 h 1693862"/>
                <a:gd name="connsiteX413" fmla="*/ 1528842 w 1792288"/>
                <a:gd name="connsiteY413" fmla="*/ 1042241 h 1693862"/>
                <a:gd name="connsiteX414" fmla="*/ 1528178 w 1792288"/>
                <a:gd name="connsiteY414" fmla="*/ 1041400 h 1693862"/>
                <a:gd name="connsiteX415" fmla="*/ 1539875 w 1792288"/>
                <a:gd name="connsiteY415" fmla="*/ 1046162 h 1693862"/>
                <a:gd name="connsiteX416" fmla="*/ 1538062 w 1792288"/>
                <a:gd name="connsiteY416" fmla="*/ 1046162 h 1693862"/>
                <a:gd name="connsiteX417" fmla="*/ 1540182 w 1792288"/>
                <a:gd name="connsiteY417" fmla="*/ 1047064 h 1693862"/>
                <a:gd name="connsiteX418" fmla="*/ 1555834 w 1792288"/>
                <a:gd name="connsiteY418" fmla="*/ 1070361 h 1693862"/>
                <a:gd name="connsiteX419" fmla="*/ 1579312 w 1792288"/>
                <a:gd name="connsiteY419" fmla="*/ 1085893 h 1693862"/>
                <a:gd name="connsiteX420" fmla="*/ 1594964 w 1792288"/>
                <a:gd name="connsiteY420" fmla="*/ 1085893 h 1693862"/>
                <a:gd name="connsiteX421" fmla="*/ 1634095 w 1792288"/>
                <a:gd name="connsiteY421" fmla="*/ 1109191 h 1693862"/>
                <a:gd name="connsiteX422" fmla="*/ 1673225 w 1792288"/>
                <a:gd name="connsiteY422" fmla="*/ 1124722 h 1693862"/>
                <a:gd name="connsiteX423" fmla="*/ 1673225 w 1792288"/>
                <a:gd name="connsiteY423" fmla="*/ 1140254 h 1693862"/>
                <a:gd name="connsiteX424" fmla="*/ 1665399 w 1792288"/>
                <a:gd name="connsiteY424" fmla="*/ 1179083 h 1693862"/>
                <a:gd name="connsiteX425" fmla="*/ 1649747 w 1792288"/>
                <a:gd name="connsiteY425" fmla="*/ 1186849 h 1693862"/>
                <a:gd name="connsiteX426" fmla="*/ 1626269 w 1792288"/>
                <a:gd name="connsiteY426" fmla="*/ 1210147 h 1693862"/>
                <a:gd name="connsiteX427" fmla="*/ 1618443 w 1792288"/>
                <a:gd name="connsiteY427" fmla="*/ 1225678 h 1693862"/>
                <a:gd name="connsiteX428" fmla="*/ 1563660 w 1792288"/>
                <a:gd name="connsiteY428" fmla="*/ 1233444 h 1693862"/>
                <a:gd name="connsiteX429" fmla="*/ 1548008 w 1792288"/>
                <a:gd name="connsiteY429" fmla="*/ 1256742 h 1693862"/>
                <a:gd name="connsiteX430" fmla="*/ 1579312 w 1792288"/>
                <a:gd name="connsiteY430" fmla="*/ 1280040 h 1693862"/>
                <a:gd name="connsiteX431" fmla="*/ 1516703 w 1792288"/>
                <a:gd name="connsiteY431" fmla="*/ 1303337 h 1693862"/>
                <a:gd name="connsiteX432" fmla="*/ 1493225 w 1792288"/>
                <a:gd name="connsiteY432" fmla="*/ 1280040 h 1693862"/>
                <a:gd name="connsiteX433" fmla="*/ 1508877 w 1792288"/>
                <a:gd name="connsiteY433" fmla="*/ 1264508 h 1693862"/>
                <a:gd name="connsiteX434" fmla="*/ 1485399 w 1792288"/>
                <a:gd name="connsiteY434" fmla="*/ 1241210 h 1693862"/>
                <a:gd name="connsiteX435" fmla="*/ 1461921 w 1792288"/>
                <a:gd name="connsiteY435" fmla="*/ 1241210 h 1693862"/>
                <a:gd name="connsiteX436" fmla="*/ 1422790 w 1792288"/>
                <a:gd name="connsiteY436" fmla="*/ 1264508 h 1693862"/>
                <a:gd name="connsiteX437" fmla="*/ 1414964 w 1792288"/>
                <a:gd name="connsiteY437" fmla="*/ 1280040 h 1693862"/>
                <a:gd name="connsiteX438" fmla="*/ 1405059 w 1792288"/>
                <a:gd name="connsiteY438" fmla="*/ 1276763 h 1693862"/>
                <a:gd name="connsiteX439" fmla="*/ 1400938 w 1792288"/>
                <a:gd name="connsiteY439" fmla="*/ 1275400 h 1693862"/>
                <a:gd name="connsiteX440" fmla="*/ 1400928 w 1792288"/>
                <a:gd name="connsiteY440" fmla="*/ 1296268 h 1693862"/>
                <a:gd name="connsiteX441" fmla="*/ 1394970 w 1792288"/>
                <a:gd name="connsiteY441" fmla="*/ 1312397 h 1693862"/>
                <a:gd name="connsiteX442" fmla="*/ 1435599 w 1792288"/>
                <a:gd name="connsiteY442" fmla="*/ 1324423 h 1693862"/>
                <a:gd name="connsiteX443" fmla="*/ 1402409 w 1792288"/>
                <a:gd name="connsiteY443" fmla="*/ 1353910 h 1693862"/>
                <a:gd name="connsiteX444" fmla="*/ 1410716 w 1792288"/>
                <a:gd name="connsiteY444" fmla="*/ 1392002 h 1693862"/>
                <a:gd name="connsiteX445" fmla="*/ 1460500 w 1792288"/>
                <a:gd name="connsiteY445" fmla="*/ 1406752 h 1693862"/>
                <a:gd name="connsiteX446" fmla="*/ 1452194 w 1792288"/>
                <a:gd name="connsiteY446" fmla="*/ 1406752 h 1693862"/>
                <a:gd name="connsiteX447" fmla="*/ 1436995 w 1792288"/>
                <a:gd name="connsiteY447" fmla="*/ 1427004 h 1693862"/>
                <a:gd name="connsiteX448" fmla="*/ 1462273 w 1792288"/>
                <a:gd name="connsiteY448" fmla="*/ 1421980 h 1693862"/>
                <a:gd name="connsiteX449" fmla="*/ 1477988 w 1792288"/>
                <a:gd name="connsiteY449" fmla="*/ 1406392 h 1693862"/>
                <a:gd name="connsiteX450" fmla="*/ 1501584 w 1792288"/>
                <a:gd name="connsiteY450" fmla="*/ 1398588 h 1693862"/>
                <a:gd name="connsiteX451" fmla="*/ 1517299 w 1792288"/>
                <a:gd name="connsiteY451" fmla="*/ 1398588 h 1693862"/>
                <a:gd name="connsiteX452" fmla="*/ 1580159 w 1792288"/>
                <a:gd name="connsiteY452" fmla="*/ 1398588 h 1693862"/>
                <a:gd name="connsiteX453" fmla="*/ 1603708 w 1792288"/>
                <a:gd name="connsiteY453" fmla="*/ 1406392 h 1693862"/>
                <a:gd name="connsiteX454" fmla="*/ 1635138 w 1792288"/>
                <a:gd name="connsiteY454" fmla="*/ 1421980 h 1693862"/>
                <a:gd name="connsiteX455" fmla="*/ 1643019 w 1792288"/>
                <a:gd name="connsiteY455" fmla="*/ 1421980 h 1693862"/>
                <a:gd name="connsiteX456" fmla="*/ 1682283 w 1792288"/>
                <a:gd name="connsiteY456" fmla="*/ 1421980 h 1693862"/>
                <a:gd name="connsiteX457" fmla="*/ 1713713 w 1792288"/>
                <a:gd name="connsiteY457" fmla="*/ 1398588 h 1693862"/>
                <a:gd name="connsiteX458" fmla="*/ 1721594 w 1792288"/>
                <a:gd name="connsiteY458" fmla="*/ 1406392 h 1693862"/>
                <a:gd name="connsiteX459" fmla="*/ 1745143 w 1792288"/>
                <a:gd name="connsiteY459" fmla="*/ 1406392 h 1693862"/>
                <a:gd name="connsiteX460" fmla="*/ 1760858 w 1792288"/>
                <a:gd name="connsiteY460" fmla="*/ 1421980 h 1693862"/>
                <a:gd name="connsiteX461" fmla="*/ 1792288 w 1792288"/>
                <a:gd name="connsiteY461" fmla="*/ 1460979 h 1693862"/>
                <a:gd name="connsiteX462" fmla="*/ 1784454 w 1792288"/>
                <a:gd name="connsiteY462" fmla="*/ 1468783 h 1693862"/>
                <a:gd name="connsiteX463" fmla="*/ 1784454 w 1792288"/>
                <a:gd name="connsiteY463" fmla="*/ 1523388 h 1693862"/>
                <a:gd name="connsiteX464" fmla="*/ 1792288 w 1792288"/>
                <a:gd name="connsiteY464" fmla="*/ 1546781 h 1693862"/>
                <a:gd name="connsiteX465" fmla="*/ 1776573 w 1792288"/>
                <a:gd name="connsiteY465" fmla="*/ 1538977 h 1693862"/>
                <a:gd name="connsiteX466" fmla="*/ 1737309 w 1792288"/>
                <a:gd name="connsiteY466" fmla="*/ 1546781 h 1693862"/>
                <a:gd name="connsiteX467" fmla="*/ 1732112 w 1792288"/>
                <a:gd name="connsiteY467" fmla="*/ 1547812 h 1693862"/>
                <a:gd name="connsiteX468" fmla="*/ 1738313 w 1792288"/>
                <a:gd name="connsiteY468" fmla="*/ 1547812 h 1693862"/>
                <a:gd name="connsiteX469" fmla="*/ 1728788 w 1792288"/>
                <a:gd name="connsiteY469" fmla="*/ 1549717 h 1693862"/>
                <a:gd name="connsiteX470" fmla="*/ 1728788 w 1792288"/>
                <a:gd name="connsiteY470" fmla="*/ 1555499 h 1693862"/>
                <a:gd name="connsiteX471" fmla="*/ 1713165 w 1792288"/>
                <a:gd name="connsiteY471" fmla="*/ 1578559 h 1693862"/>
                <a:gd name="connsiteX472" fmla="*/ 1697541 w 1792288"/>
                <a:gd name="connsiteY472" fmla="*/ 1632367 h 1693862"/>
                <a:gd name="connsiteX473" fmla="*/ 1642858 w 1792288"/>
                <a:gd name="connsiteY473" fmla="*/ 1663115 h 1693862"/>
                <a:gd name="connsiteX474" fmla="*/ 1627234 w 1792288"/>
                <a:gd name="connsiteY474" fmla="*/ 1670802 h 1693862"/>
                <a:gd name="connsiteX475" fmla="*/ 1580363 w 1792288"/>
                <a:gd name="connsiteY475" fmla="*/ 1693862 h 1693862"/>
                <a:gd name="connsiteX476" fmla="*/ 1564739 w 1792288"/>
                <a:gd name="connsiteY476" fmla="*/ 1678488 h 1693862"/>
                <a:gd name="connsiteX477" fmla="*/ 1547813 w 1792288"/>
                <a:gd name="connsiteY477" fmla="*/ 1678488 h 1693862"/>
                <a:gd name="connsiteX478" fmla="*/ 1580363 w 1792288"/>
                <a:gd name="connsiteY478" fmla="*/ 1609307 h 1693862"/>
                <a:gd name="connsiteX479" fmla="*/ 1572551 w 1792288"/>
                <a:gd name="connsiteY479" fmla="*/ 1578559 h 1693862"/>
                <a:gd name="connsiteX480" fmla="*/ 1595986 w 1792288"/>
                <a:gd name="connsiteY480" fmla="*/ 1555499 h 1693862"/>
                <a:gd name="connsiteX481" fmla="*/ 1611610 w 1792288"/>
                <a:gd name="connsiteY481" fmla="*/ 1563186 h 1693862"/>
                <a:gd name="connsiteX482" fmla="*/ 1697541 w 1792288"/>
                <a:gd name="connsiteY482" fmla="*/ 1555499 h 1693862"/>
                <a:gd name="connsiteX483" fmla="*/ 1714898 w 1792288"/>
                <a:gd name="connsiteY483" fmla="*/ 1551229 h 1693862"/>
                <a:gd name="connsiteX484" fmla="*/ 1697998 w 1792288"/>
                <a:gd name="connsiteY484" fmla="*/ 1554584 h 1693862"/>
                <a:gd name="connsiteX485" fmla="*/ 1611589 w 1792288"/>
                <a:gd name="connsiteY485" fmla="*/ 1562369 h 1693862"/>
                <a:gd name="connsiteX486" fmla="*/ 1595874 w 1792288"/>
                <a:gd name="connsiteY486" fmla="*/ 1554584 h 1693862"/>
                <a:gd name="connsiteX487" fmla="*/ 1572278 w 1792288"/>
                <a:gd name="connsiteY487" fmla="*/ 1577976 h 1693862"/>
                <a:gd name="connsiteX488" fmla="*/ 1540848 w 1792288"/>
                <a:gd name="connsiteY488" fmla="*/ 1562369 h 1693862"/>
                <a:gd name="connsiteX489" fmla="*/ 1509418 w 1792288"/>
                <a:gd name="connsiteY489" fmla="*/ 1577976 h 1693862"/>
                <a:gd name="connsiteX490" fmla="*/ 1454439 w 1792288"/>
                <a:gd name="connsiteY490" fmla="*/ 1562369 h 1693862"/>
                <a:gd name="connsiteX491" fmla="*/ 1446558 w 1792288"/>
                <a:gd name="connsiteY491" fmla="*/ 1562369 h 1693862"/>
                <a:gd name="connsiteX492" fmla="*/ 1375864 w 1792288"/>
                <a:gd name="connsiteY492" fmla="*/ 1554584 h 1693862"/>
                <a:gd name="connsiteX493" fmla="*/ 1360149 w 1792288"/>
                <a:gd name="connsiteY493" fmla="*/ 1531174 h 1693862"/>
                <a:gd name="connsiteX494" fmla="*/ 1353047 w 1792288"/>
                <a:gd name="connsiteY494" fmla="*/ 1523598 h 1693862"/>
                <a:gd name="connsiteX495" fmla="*/ 1325337 w 1792288"/>
                <a:gd name="connsiteY495" fmla="*/ 1542957 h 1693862"/>
                <a:gd name="connsiteX496" fmla="*/ 1328301 w 1792288"/>
                <a:gd name="connsiteY496" fmla="*/ 1558855 h 1693862"/>
                <a:gd name="connsiteX497" fmla="*/ 1313725 w 1792288"/>
                <a:gd name="connsiteY497" fmla="*/ 1578040 h 1693862"/>
                <a:gd name="connsiteX498" fmla="*/ 1275623 w 1792288"/>
                <a:gd name="connsiteY498" fmla="*/ 1568678 h 1693862"/>
                <a:gd name="connsiteX499" fmla="*/ 1269691 w 1792288"/>
                <a:gd name="connsiteY499" fmla="*/ 1536868 h 1693862"/>
                <a:gd name="connsiteX500" fmla="*/ 1284285 w 1792288"/>
                <a:gd name="connsiteY500" fmla="*/ 1517696 h 1693862"/>
                <a:gd name="connsiteX501" fmla="*/ 1247683 w 1792288"/>
                <a:gd name="connsiteY501" fmla="*/ 1516288 h 1693862"/>
                <a:gd name="connsiteX502" fmla="*/ 1225672 w 1792288"/>
                <a:gd name="connsiteY502" fmla="*/ 1495693 h 1693862"/>
                <a:gd name="connsiteX503" fmla="*/ 1236426 w 1792288"/>
                <a:gd name="connsiteY503" fmla="*/ 1481566 h 1693862"/>
                <a:gd name="connsiteX504" fmla="*/ 1232103 w 1792288"/>
                <a:gd name="connsiteY504" fmla="*/ 1485900 h 1693862"/>
                <a:gd name="connsiteX505" fmla="*/ 1212241 w 1792288"/>
                <a:gd name="connsiteY505" fmla="*/ 1463386 h 1693862"/>
                <a:gd name="connsiteX506" fmla="*/ 1212241 w 1792288"/>
                <a:gd name="connsiteY506" fmla="*/ 1412730 h 1693862"/>
                <a:gd name="connsiteX507" fmla="*/ 1200430 w 1792288"/>
                <a:gd name="connsiteY507" fmla="*/ 1405541 h 1693862"/>
                <a:gd name="connsiteX508" fmla="*/ 1199825 w 1792288"/>
                <a:gd name="connsiteY508" fmla="*/ 1406335 h 1693862"/>
                <a:gd name="connsiteX509" fmla="*/ 1180484 w 1792288"/>
                <a:gd name="connsiteY509" fmla="*/ 1383612 h 1693862"/>
                <a:gd name="connsiteX510" fmla="*/ 1193152 w 1792288"/>
                <a:gd name="connsiteY510" fmla="*/ 1359861 h 1693862"/>
                <a:gd name="connsiteX511" fmla="*/ 1179059 w 1792288"/>
                <a:gd name="connsiteY511" fmla="*/ 1385887 h 1693862"/>
                <a:gd name="connsiteX512" fmla="*/ 1109663 w 1792288"/>
                <a:gd name="connsiteY512" fmla="*/ 1300503 h 1693862"/>
                <a:gd name="connsiteX513" fmla="*/ 1112239 w 1792288"/>
                <a:gd name="connsiteY513" fmla="*/ 1289584 h 1693862"/>
                <a:gd name="connsiteX514" fmla="*/ 1111429 w 1792288"/>
                <a:gd name="connsiteY514" fmla="*/ 1289004 h 1693862"/>
                <a:gd name="connsiteX515" fmla="*/ 1107995 w 1792288"/>
                <a:gd name="connsiteY515" fmla="*/ 1300876 h 1693862"/>
                <a:gd name="connsiteX516" fmla="*/ 1176757 w 1792288"/>
                <a:gd name="connsiteY516" fmla="*/ 1384300 h 1693862"/>
                <a:gd name="connsiteX517" fmla="*/ 1114221 w 1792288"/>
                <a:gd name="connsiteY517" fmla="*/ 1351560 h 1693862"/>
                <a:gd name="connsiteX518" fmla="*/ 1095065 w 1792288"/>
                <a:gd name="connsiteY518" fmla="*/ 1329867 h 1693862"/>
                <a:gd name="connsiteX519" fmla="*/ 1086249 w 1792288"/>
                <a:gd name="connsiteY519" fmla="*/ 1299101 h 1693862"/>
                <a:gd name="connsiteX520" fmla="*/ 1075917 w 1792288"/>
                <a:gd name="connsiteY520" fmla="*/ 1288766 h 1693862"/>
                <a:gd name="connsiteX521" fmla="*/ 1069597 w 1792288"/>
                <a:gd name="connsiteY521" fmla="*/ 1295163 h 1693862"/>
                <a:gd name="connsiteX522" fmla="*/ 1060753 w 1792288"/>
                <a:gd name="connsiteY522" fmla="*/ 1307651 h 1693862"/>
                <a:gd name="connsiteX523" fmla="*/ 1050925 w 1792288"/>
                <a:gd name="connsiteY523" fmla="*/ 1285832 h 1693862"/>
                <a:gd name="connsiteX524" fmla="*/ 1053024 w 1792288"/>
                <a:gd name="connsiteY524" fmla="*/ 1280010 h 1693862"/>
                <a:gd name="connsiteX525" fmla="*/ 1047173 w 1792288"/>
                <a:gd name="connsiteY525" fmla="*/ 1280010 h 1693862"/>
                <a:gd name="connsiteX526" fmla="*/ 1039091 w 1792288"/>
                <a:gd name="connsiteY526" fmla="*/ 1312832 h 1693862"/>
                <a:gd name="connsiteX527" fmla="*/ 1055255 w 1792288"/>
                <a:gd name="connsiteY527" fmla="*/ 1347705 h 1693862"/>
                <a:gd name="connsiteX528" fmla="*/ 1089603 w 1792288"/>
                <a:gd name="connsiteY528" fmla="*/ 1407195 h 1693862"/>
                <a:gd name="connsiteX529" fmla="*/ 1115868 w 1792288"/>
                <a:gd name="connsiteY529" fmla="*/ 1415400 h 1693862"/>
                <a:gd name="connsiteX530" fmla="*/ 1148196 w 1792288"/>
                <a:gd name="connsiteY530" fmla="*/ 1442068 h 1693862"/>
                <a:gd name="connsiteX531" fmla="*/ 1190625 w 1792288"/>
                <a:gd name="connsiteY531" fmla="*/ 1483096 h 1693862"/>
                <a:gd name="connsiteX532" fmla="*/ 1174462 w 1792288"/>
                <a:gd name="connsiteY532" fmla="*/ 1483096 h 1693862"/>
                <a:gd name="connsiteX533" fmla="*/ 1148196 w 1792288"/>
                <a:gd name="connsiteY533" fmla="*/ 1474890 h 1693862"/>
                <a:gd name="connsiteX534" fmla="*/ 1148196 w 1792288"/>
                <a:gd name="connsiteY534" fmla="*/ 1501558 h 1693862"/>
                <a:gd name="connsiteX535" fmla="*/ 1093643 w 1792288"/>
                <a:gd name="connsiteY535" fmla="*/ 1544637 h 1693862"/>
                <a:gd name="connsiteX536" fmla="*/ 1109807 w 1792288"/>
                <a:gd name="connsiteY536" fmla="*/ 1487199 h 1693862"/>
                <a:gd name="connsiteX537" fmla="*/ 1073439 w 1792288"/>
                <a:gd name="connsiteY537" fmla="*/ 1458479 h 1693862"/>
                <a:gd name="connsiteX538" fmla="*/ 1014846 w 1792288"/>
                <a:gd name="connsiteY538" fmla="*/ 1423606 h 1693862"/>
                <a:gd name="connsiteX539" fmla="*/ 988580 w 1792288"/>
                <a:gd name="connsiteY539" fmla="*/ 1388733 h 1693862"/>
                <a:gd name="connsiteX540" fmla="*/ 964334 w 1792288"/>
                <a:gd name="connsiteY540" fmla="*/ 1339499 h 1693862"/>
                <a:gd name="connsiteX541" fmla="*/ 921904 w 1792288"/>
                <a:gd name="connsiteY541" fmla="*/ 1321037 h 1693862"/>
                <a:gd name="connsiteX542" fmla="*/ 903720 w 1792288"/>
                <a:gd name="connsiteY542" fmla="*/ 1339499 h 1693862"/>
                <a:gd name="connsiteX543" fmla="*/ 895073 w 1792288"/>
                <a:gd name="connsiteY543" fmla="*/ 1329622 h 1693862"/>
                <a:gd name="connsiteX544" fmla="*/ 896927 w 1792288"/>
                <a:gd name="connsiteY544" fmla="*/ 1333147 h 1693862"/>
                <a:gd name="connsiteX545" fmla="*/ 863719 w 1792288"/>
                <a:gd name="connsiteY545" fmla="*/ 1352463 h 1693862"/>
                <a:gd name="connsiteX546" fmla="*/ 844770 w 1792288"/>
                <a:gd name="connsiteY546" fmla="*/ 1346352 h 1693862"/>
                <a:gd name="connsiteX547" fmla="*/ 811004 w 1792288"/>
                <a:gd name="connsiteY547" fmla="*/ 1335055 h 1693862"/>
                <a:gd name="connsiteX548" fmla="*/ 796103 w 1792288"/>
                <a:gd name="connsiteY548" fmla="*/ 1333357 h 1693862"/>
                <a:gd name="connsiteX549" fmla="*/ 781131 w 1792288"/>
                <a:gd name="connsiteY549" fmla="*/ 1347509 h 1693862"/>
                <a:gd name="connsiteX550" fmla="*/ 775918 w 1792288"/>
                <a:gd name="connsiteY550" fmla="*/ 1347477 h 1693862"/>
                <a:gd name="connsiteX551" fmla="*/ 776012 w 1792288"/>
                <a:gd name="connsiteY551" fmla="*/ 1351506 h 1693862"/>
                <a:gd name="connsiteX552" fmla="*/ 776048 w 1792288"/>
                <a:gd name="connsiteY552" fmla="*/ 1383138 h 1693862"/>
                <a:gd name="connsiteX553" fmla="*/ 752689 w 1792288"/>
                <a:gd name="connsiteY553" fmla="*/ 1396758 h 1693862"/>
                <a:gd name="connsiteX554" fmla="*/ 748677 w 1792288"/>
                <a:gd name="connsiteY554" fmla="*/ 1398781 h 1693862"/>
                <a:gd name="connsiteX555" fmla="*/ 743490 w 1792288"/>
                <a:gd name="connsiteY555" fmla="*/ 1400782 h 1693862"/>
                <a:gd name="connsiteX556" fmla="*/ 729330 w 1792288"/>
                <a:gd name="connsiteY556" fmla="*/ 1403707 h 1693862"/>
                <a:gd name="connsiteX557" fmla="*/ 692213 w 1792288"/>
                <a:gd name="connsiteY557" fmla="*/ 1446765 h 1693862"/>
                <a:gd name="connsiteX558" fmla="*/ 688250 w 1792288"/>
                <a:gd name="connsiteY558" fmla="*/ 1465146 h 1693862"/>
                <a:gd name="connsiteX559" fmla="*/ 651919 w 1792288"/>
                <a:gd name="connsiteY559" fmla="*/ 1495839 h 1693862"/>
                <a:gd name="connsiteX560" fmla="*/ 615523 w 1792288"/>
                <a:gd name="connsiteY560" fmla="*/ 1526490 h 1693862"/>
                <a:gd name="connsiteX561" fmla="*/ 556721 w 1792288"/>
                <a:gd name="connsiteY561" fmla="*/ 1523428 h 1693862"/>
                <a:gd name="connsiteX562" fmla="*/ 495932 w 1792288"/>
                <a:gd name="connsiteY562" fmla="*/ 1529584 h 1693862"/>
                <a:gd name="connsiteX563" fmla="*/ 463979 w 1792288"/>
                <a:gd name="connsiteY563" fmla="*/ 1493813 h 1693862"/>
                <a:gd name="connsiteX564" fmla="*/ 445027 w 1792288"/>
                <a:gd name="connsiteY564" fmla="*/ 1489727 h 1693862"/>
                <a:gd name="connsiteX565" fmla="*/ 459601 w 1792288"/>
                <a:gd name="connsiteY565" fmla="*/ 1465584 h 1693862"/>
                <a:gd name="connsiteX566" fmla="*/ 454843 w 1792288"/>
                <a:gd name="connsiteY566" fmla="*/ 1472737 h 1693862"/>
                <a:gd name="connsiteX567" fmla="*/ 449262 w 1792288"/>
                <a:gd name="connsiteY567" fmla="*/ 1481127 h 1693862"/>
                <a:gd name="connsiteX568" fmla="*/ 402803 w 1792288"/>
                <a:gd name="connsiteY568" fmla="*/ 1467499 h 1693862"/>
                <a:gd name="connsiteX569" fmla="*/ 424337 w 1792288"/>
                <a:gd name="connsiteY569" fmla="*/ 1419027 h 1693862"/>
                <a:gd name="connsiteX570" fmla="*/ 412153 w 1792288"/>
                <a:gd name="connsiteY570" fmla="*/ 1417258 h 1693862"/>
                <a:gd name="connsiteX571" fmla="*/ 409289 w 1792288"/>
                <a:gd name="connsiteY571" fmla="*/ 1405539 h 1693862"/>
                <a:gd name="connsiteX572" fmla="*/ 416144 w 1792288"/>
                <a:gd name="connsiteY572" fmla="*/ 1388516 h 1693862"/>
                <a:gd name="connsiteX573" fmla="*/ 438695 w 1792288"/>
                <a:gd name="connsiteY573" fmla="*/ 1367073 h 1693862"/>
                <a:gd name="connsiteX574" fmla="*/ 448267 w 1792288"/>
                <a:gd name="connsiteY574" fmla="*/ 1332437 h 1693862"/>
                <a:gd name="connsiteX575" fmla="*/ 449089 w 1792288"/>
                <a:gd name="connsiteY575" fmla="*/ 1304132 h 1693862"/>
                <a:gd name="connsiteX576" fmla="*/ 444844 w 1792288"/>
                <a:gd name="connsiteY576" fmla="*/ 1306784 h 1693862"/>
                <a:gd name="connsiteX577" fmla="*/ 435812 w 1792288"/>
                <a:gd name="connsiteY577" fmla="*/ 1256692 h 1693862"/>
                <a:gd name="connsiteX578" fmla="*/ 468173 w 1792288"/>
                <a:gd name="connsiteY578" fmla="*/ 1244407 h 1693862"/>
                <a:gd name="connsiteX579" fmla="*/ 489142 w 1792288"/>
                <a:gd name="connsiteY579" fmla="*/ 1239311 h 1693862"/>
                <a:gd name="connsiteX580" fmla="*/ 506077 w 1792288"/>
                <a:gd name="connsiteY580" fmla="*/ 1252580 h 1693862"/>
                <a:gd name="connsiteX581" fmla="*/ 564879 w 1792288"/>
                <a:gd name="connsiteY581" fmla="*/ 1255641 h 1693862"/>
                <a:gd name="connsiteX582" fmla="*/ 670578 w 1792288"/>
                <a:gd name="connsiteY582" fmla="*/ 1299371 h 1693862"/>
                <a:gd name="connsiteX583" fmla="*/ 673041 w 1792288"/>
                <a:gd name="connsiteY583" fmla="*/ 1305019 h 1693862"/>
                <a:gd name="connsiteX584" fmla="*/ 670559 w 1792288"/>
                <a:gd name="connsiteY584" fmla="*/ 1297992 h 1693862"/>
                <a:gd name="connsiteX585" fmla="*/ 673751 w 1792288"/>
                <a:gd name="connsiteY585" fmla="*/ 1290398 h 1693862"/>
                <a:gd name="connsiteX586" fmla="*/ 692828 w 1792288"/>
                <a:gd name="connsiteY586" fmla="*/ 1248914 h 1693862"/>
                <a:gd name="connsiteX587" fmla="*/ 695753 w 1792288"/>
                <a:gd name="connsiteY587" fmla="*/ 1227705 h 1693862"/>
                <a:gd name="connsiteX588" fmla="*/ 689027 w 1792288"/>
                <a:gd name="connsiteY588" fmla="*/ 1219603 h 1693862"/>
                <a:gd name="connsiteX589" fmla="*/ 684255 w 1792288"/>
                <a:gd name="connsiteY589" fmla="*/ 1197332 h 1693862"/>
                <a:gd name="connsiteX590" fmla="*/ 678507 w 1792288"/>
                <a:gd name="connsiteY590" fmla="*/ 1182132 h 1693862"/>
                <a:gd name="connsiteX591" fmla="*/ 679482 w 1792288"/>
                <a:gd name="connsiteY591" fmla="*/ 1175062 h 1693862"/>
                <a:gd name="connsiteX592" fmla="*/ 672790 w 1792288"/>
                <a:gd name="connsiteY592" fmla="*/ 1166935 h 1693862"/>
                <a:gd name="connsiteX593" fmla="*/ 649700 w 1792288"/>
                <a:gd name="connsiteY593" fmla="*/ 1163752 h 1693862"/>
                <a:gd name="connsiteX594" fmla="*/ 630433 w 1792288"/>
                <a:gd name="connsiteY594" fmla="*/ 1141736 h 1693862"/>
                <a:gd name="connsiteX595" fmla="*/ 631983 w 1792288"/>
                <a:gd name="connsiteY595" fmla="*/ 1128045 h 1693862"/>
                <a:gd name="connsiteX596" fmla="*/ 632191 w 1792288"/>
                <a:gd name="connsiteY596" fmla="*/ 1112984 h 1693862"/>
                <a:gd name="connsiteX597" fmla="*/ 652233 w 1792288"/>
                <a:gd name="connsiteY597" fmla="*/ 1112278 h 1693862"/>
                <a:gd name="connsiteX598" fmla="*/ 670936 w 1792288"/>
                <a:gd name="connsiteY598" fmla="*/ 1111062 h 1693862"/>
                <a:gd name="connsiteX599" fmla="*/ 678639 w 1792288"/>
                <a:gd name="connsiteY599" fmla="*/ 1124517 h 1693862"/>
                <a:gd name="connsiteX600" fmla="*/ 701699 w 1792288"/>
                <a:gd name="connsiteY600" fmla="*/ 1127696 h 1693862"/>
                <a:gd name="connsiteX601" fmla="*/ 703545 w 1792288"/>
                <a:gd name="connsiteY601" fmla="*/ 1108088 h 1693862"/>
                <a:gd name="connsiteX602" fmla="*/ 706288 w 1792288"/>
                <a:gd name="connsiteY602" fmla="*/ 1089966 h 1693862"/>
                <a:gd name="connsiteX603" fmla="*/ 718473 w 1792288"/>
                <a:gd name="connsiteY603" fmla="*/ 1092476 h 1693862"/>
                <a:gd name="connsiteX604" fmla="*/ 723603 w 1792288"/>
                <a:gd name="connsiteY604" fmla="*/ 1104598 h 1693862"/>
                <a:gd name="connsiteX605" fmla="*/ 750759 w 1792288"/>
                <a:gd name="connsiteY605" fmla="*/ 1110062 h 1693862"/>
                <a:gd name="connsiteX606" fmla="*/ 769091 w 1792288"/>
                <a:gd name="connsiteY606" fmla="*/ 1093763 h 1693862"/>
                <a:gd name="connsiteX607" fmla="*/ 777758 w 1792288"/>
                <a:gd name="connsiteY607" fmla="*/ 1087784 h 1693862"/>
                <a:gd name="connsiteX608" fmla="*/ 797021 w 1792288"/>
                <a:gd name="connsiteY608" fmla="*/ 1061623 h 1693862"/>
                <a:gd name="connsiteX609" fmla="*/ 813389 w 1792288"/>
                <a:gd name="connsiteY609" fmla="*/ 1056676 h 1693862"/>
                <a:gd name="connsiteX610" fmla="*/ 819136 w 1792288"/>
                <a:gd name="connsiteY610" fmla="*/ 1071877 h 1693862"/>
                <a:gd name="connsiteX611" fmla="*/ 819925 w 1792288"/>
                <a:gd name="connsiteY611" fmla="*/ 1072381 h 1693862"/>
                <a:gd name="connsiteX612" fmla="*/ 814388 w 1792288"/>
                <a:gd name="connsiteY612" fmla="*/ 1056582 h 1693862"/>
                <a:gd name="connsiteX613" fmla="*/ 817634 w 1792288"/>
                <a:gd name="connsiteY613" fmla="*/ 1056157 h 1693862"/>
                <a:gd name="connsiteX614" fmla="*/ 831359 w 1792288"/>
                <a:gd name="connsiteY614" fmla="*/ 1049337 h 1693862"/>
                <a:gd name="connsiteX615" fmla="*/ 838221 w 1792288"/>
                <a:gd name="connsiteY615" fmla="*/ 1056157 h 1693862"/>
                <a:gd name="connsiteX616" fmla="*/ 846726 w 1792288"/>
                <a:gd name="connsiteY616" fmla="*/ 1056157 h 1693862"/>
                <a:gd name="connsiteX617" fmla="*/ 846138 w 1792288"/>
                <a:gd name="connsiteY617" fmla="*/ 1055582 h 1693862"/>
                <a:gd name="connsiteX618" fmla="*/ 859992 w 1792288"/>
                <a:gd name="connsiteY618" fmla="*/ 1042035 h 1693862"/>
                <a:gd name="connsiteX619" fmla="*/ 873847 w 1792288"/>
                <a:gd name="connsiteY619" fmla="*/ 1001395 h 1693862"/>
                <a:gd name="connsiteX620" fmla="*/ 887701 w 1792288"/>
                <a:gd name="connsiteY620" fmla="*/ 1014942 h 1693862"/>
                <a:gd name="connsiteX621" fmla="*/ 887701 w 1792288"/>
                <a:gd name="connsiteY621" fmla="*/ 994622 h 1693862"/>
                <a:gd name="connsiteX622" fmla="*/ 905868 w 1792288"/>
                <a:gd name="connsiteY622" fmla="*/ 988701 h 1693862"/>
                <a:gd name="connsiteX623" fmla="*/ 905868 w 1792288"/>
                <a:gd name="connsiteY623" fmla="*/ 981625 h 1693862"/>
                <a:gd name="connsiteX624" fmla="*/ 905868 w 1792288"/>
                <a:gd name="connsiteY624" fmla="*/ 974016 h 1693862"/>
                <a:gd name="connsiteX625" fmla="*/ 919607 w 1792288"/>
                <a:gd name="connsiteY625" fmla="*/ 974016 h 1693862"/>
                <a:gd name="connsiteX626" fmla="*/ 933327 w 1792288"/>
                <a:gd name="connsiteY626" fmla="*/ 974016 h 1693862"/>
                <a:gd name="connsiteX627" fmla="*/ 940198 w 1792288"/>
                <a:gd name="connsiteY627" fmla="*/ 958797 h 1693862"/>
                <a:gd name="connsiteX628" fmla="*/ 944527 w 1792288"/>
                <a:gd name="connsiteY628" fmla="*/ 939615 h 1693862"/>
                <a:gd name="connsiteX629" fmla="*/ 944315 w 1792288"/>
                <a:gd name="connsiteY629" fmla="*/ 939664 h 1693862"/>
                <a:gd name="connsiteX630" fmla="*/ 944632 w 1792288"/>
                <a:gd name="connsiteY630" fmla="*/ 912283 h 1693862"/>
                <a:gd name="connsiteX631" fmla="*/ 938213 w 1792288"/>
                <a:gd name="connsiteY631" fmla="*/ 907979 h 1693862"/>
                <a:gd name="connsiteX632" fmla="*/ 951051 w 1792288"/>
                <a:gd name="connsiteY632" fmla="*/ 862789 h 1693862"/>
                <a:gd name="connsiteX633" fmla="*/ 968168 w 1792288"/>
                <a:gd name="connsiteY633" fmla="*/ 862789 h 1693862"/>
                <a:gd name="connsiteX634" fmla="*/ 983146 w 1792288"/>
                <a:gd name="connsiteY634" fmla="*/ 847725 h 1693862"/>
                <a:gd name="connsiteX635" fmla="*/ 985286 w 1792288"/>
                <a:gd name="connsiteY635" fmla="*/ 877852 h 1693862"/>
                <a:gd name="connsiteX636" fmla="*/ 987425 w 1792288"/>
                <a:gd name="connsiteY636" fmla="*/ 895068 h 1693862"/>
                <a:gd name="connsiteX637" fmla="*/ 963889 w 1792288"/>
                <a:gd name="connsiteY637" fmla="*/ 920891 h 1693862"/>
                <a:gd name="connsiteX638" fmla="*/ 963889 w 1792288"/>
                <a:gd name="connsiteY638" fmla="*/ 926261 h 1693862"/>
                <a:gd name="connsiteX639" fmla="*/ 967678 w 1792288"/>
                <a:gd name="connsiteY639" fmla="*/ 928359 h 1693862"/>
                <a:gd name="connsiteX640" fmla="*/ 988268 w 1792288"/>
                <a:gd name="connsiteY640" fmla="*/ 935969 h 1693862"/>
                <a:gd name="connsiteX641" fmla="*/ 988268 w 1792288"/>
                <a:gd name="connsiteY641" fmla="*/ 951188 h 1693862"/>
                <a:gd name="connsiteX642" fmla="*/ 1002008 w 1792288"/>
                <a:gd name="connsiteY642" fmla="*/ 958797 h 1693862"/>
                <a:gd name="connsiteX643" fmla="*/ 1029467 w 1792288"/>
                <a:gd name="connsiteY643" fmla="*/ 943578 h 1693862"/>
                <a:gd name="connsiteX644" fmla="*/ 1042754 w 1792288"/>
                <a:gd name="connsiteY644" fmla="*/ 950942 h 1693862"/>
                <a:gd name="connsiteX645" fmla="*/ 1051345 w 1792288"/>
                <a:gd name="connsiteY645" fmla="*/ 946683 h 1693862"/>
                <a:gd name="connsiteX646" fmla="*/ 1069464 w 1792288"/>
                <a:gd name="connsiteY646" fmla="*/ 937702 h 1693862"/>
                <a:gd name="connsiteX647" fmla="*/ 1132144 w 1792288"/>
                <a:gd name="connsiteY647" fmla="*/ 914400 h 1693862"/>
                <a:gd name="connsiteX648" fmla="*/ 1139979 w 1792288"/>
                <a:gd name="connsiteY648" fmla="*/ 914400 h 1693862"/>
                <a:gd name="connsiteX649" fmla="*/ 1147814 w 1792288"/>
                <a:gd name="connsiteY649" fmla="*/ 922168 h 1693862"/>
                <a:gd name="connsiteX650" fmla="*/ 1171319 w 1792288"/>
                <a:gd name="connsiteY650" fmla="*/ 922168 h 1693862"/>
                <a:gd name="connsiteX651" fmla="*/ 1171319 w 1792288"/>
                <a:gd name="connsiteY651" fmla="*/ 914400 h 1693862"/>
                <a:gd name="connsiteX652" fmla="*/ 1173278 w 1792288"/>
                <a:gd name="connsiteY652" fmla="*/ 916342 h 1693862"/>
                <a:gd name="connsiteX653" fmla="*/ 1180321 w 1792288"/>
                <a:gd name="connsiteY653" fmla="*/ 923324 h 1693862"/>
                <a:gd name="connsiteX654" fmla="*/ 1171575 w 1792288"/>
                <a:gd name="connsiteY654" fmla="*/ 914400 h 1693862"/>
                <a:gd name="connsiteX655" fmla="*/ 1179354 w 1792288"/>
                <a:gd name="connsiteY655" fmla="*/ 906462 h 1693862"/>
                <a:gd name="connsiteX656" fmla="*/ 1194689 w 1792288"/>
                <a:gd name="connsiteY656" fmla="*/ 890814 h 1693862"/>
                <a:gd name="connsiteX657" fmla="*/ 1193800 w 1792288"/>
                <a:gd name="connsiteY657" fmla="*/ 890814 h 1693862"/>
                <a:gd name="connsiteX658" fmla="*/ 1201738 w 1792288"/>
                <a:gd name="connsiteY658" fmla="*/ 883104 h 1693862"/>
                <a:gd name="connsiteX659" fmla="*/ 1201738 w 1792288"/>
                <a:gd name="connsiteY659" fmla="*/ 852261 h 1693862"/>
                <a:gd name="connsiteX660" fmla="*/ 1233488 w 1792288"/>
                <a:gd name="connsiteY660" fmla="*/ 844550 h 1693862"/>
                <a:gd name="connsiteX661" fmla="*/ 1335982 w 1792288"/>
                <a:gd name="connsiteY661" fmla="*/ 781734 h 1693862"/>
                <a:gd name="connsiteX662" fmla="*/ 1336676 w 1792288"/>
                <a:gd name="connsiteY662" fmla="*/ 782183 h 1693862"/>
                <a:gd name="connsiteX663" fmla="*/ 1350070 w 1792288"/>
                <a:gd name="connsiteY663" fmla="*/ 788689 h 1693862"/>
                <a:gd name="connsiteX664" fmla="*/ 1352999 w 1792288"/>
                <a:gd name="connsiteY664" fmla="*/ 790112 h 1693862"/>
                <a:gd name="connsiteX665" fmla="*/ 558884 w 1792288"/>
                <a:gd name="connsiteY665" fmla="*/ 741362 h 1693862"/>
                <a:gd name="connsiteX666" fmla="*/ 574599 w 1792288"/>
                <a:gd name="connsiteY666" fmla="*/ 741362 h 1693862"/>
                <a:gd name="connsiteX667" fmla="*/ 598173 w 1792288"/>
                <a:gd name="connsiteY667" fmla="*/ 741362 h 1693862"/>
                <a:gd name="connsiteX668" fmla="*/ 598173 w 1792288"/>
                <a:gd name="connsiteY668" fmla="*/ 749198 h 1693862"/>
                <a:gd name="connsiteX669" fmla="*/ 582457 w 1792288"/>
                <a:gd name="connsiteY669" fmla="*/ 780543 h 1693862"/>
                <a:gd name="connsiteX670" fmla="*/ 590315 w 1792288"/>
                <a:gd name="connsiteY670" fmla="*/ 788379 h 1693862"/>
                <a:gd name="connsiteX671" fmla="*/ 613889 w 1792288"/>
                <a:gd name="connsiteY671" fmla="*/ 780543 h 1693862"/>
                <a:gd name="connsiteX672" fmla="*/ 637463 w 1792288"/>
                <a:gd name="connsiteY672" fmla="*/ 788379 h 1693862"/>
                <a:gd name="connsiteX673" fmla="*/ 629605 w 1792288"/>
                <a:gd name="connsiteY673" fmla="*/ 804051 h 1693862"/>
                <a:gd name="connsiteX674" fmla="*/ 621747 w 1792288"/>
                <a:gd name="connsiteY674" fmla="*/ 827560 h 1693862"/>
                <a:gd name="connsiteX675" fmla="*/ 606031 w 1792288"/>
                <a:gd name="connsiteY675" fmla="*/ 851069 h 1693862"/>
                <a:gd name="connsiteX676" fmla="*/ 606031 w 1792288"/>
                <a:gd name="connsiteY676" fmla="*/ 858905 h 1693862"/>
                <a:gd name="connsiteX677" fmla="*/ 621747 w 1792288"/>
                <a:gd name="connsiteY677" fmla="*/ 866741 h 1693862"/>
                <a:gd name="connsiteX678" fmla="*/ 637463 w 1792288"/>
                <a:gd name="connsiteY678" fmla="*/ 874577 h 1693862"/>
                <a:gd name="connsiteX679" fmla="*/ 653179 w 1792288"/>
                <a:gd name="connsiteY679" fmla="*/ 913758 h 1693862"/>
                <a:gd name="connsiteX680" fmla="*/ 668894 w 1792288"/>
                <a:gd name="connsiteY680" fmla="*/ 929430 h 1693862"/>
                <a:gd name="connsiteX681" fmla="*/ 692468 w 1792288"/>
                <a:gd name="connsiteY681" fmla="*/ 960775 h 1693862"/>
                <a:gd name="connsiteX682" fmla="*/ 684610 w 1792288"/>
                <a:gd name="connsiteY682" fmla="*/ 968611 h 1693862"/>
                <a:gd name="connsiteX683" fmla="*/ 684610 w 1792288"/>
                <a:gd name="connsiteY683" fmla="*/ 976447 h 1693862"/>
                <a:gd name="connsiteX684" fmla="*/ 684610 w 1792288"/>
                <a:gd name="connsiteY684" fmla="*/ 992120 h 1693862"/>
                <a:gd name="connsiteX685" fmla="*/ 700326 w 1792288"/>
                <a:gd name="connsiteY685" fmla="*/ 992120 h 1693862"/>
                <a:gd name="connsiteX686" fmla="*/ 716042 w 1792288"/>
                <a:gd name="connsiteY686" fmla="*/ 992120 h 1693862"/>
                <a:gd name="connsiteX687" fmla="*/ 723900 w 1792288"/>
                <a:gd name="connsiteY687" fmla="*/ 1023464 h 1693862"/>
                <a:gd name="connsiteX688" fmla="*/ 708184 w 1792288"/>
                <a:gd name="connsiteY688" fmla="*/ 1046973 h 1693862"/>
                <a:gd name="connsiteX689" fmla="*/ 708184 w 1792288"/>
                <a:gd name="connsiteY689" fmla="*/ 1054809 h 1693862"/>
                <a:gd name="connsiteX690" fmla="*/ 723900 w 1792288"/>
                <a:gd name="connsiteY690" fmla="*/ 1054809 h 1693862"/>
                <a:gd name="connsiteX691" fmla="*/ 708184 w 1792288"/>
                <a:gd name="connsiteY691" fmla="*/ 1062645 h 1693862"/>
                <a:gd name="connsiteX692" fmla="*/ 668894 w 1792288"/>
                <a:gd name="connsiteY692" fmla="*/ 1078317 h 1693862"/>
                <a:gd name="connsiteX693" fmla="*/ 645321 w 1792288"/>
                <a:gd name="connsiteY693" fmla="*/ 1078317 h 1693862"/>
                <a:gd name="connsiteX694" fmla="*/ 621747 w 1792288"/>
                <a:gd name="connsiteY694" fmla="*/ 1086154 h 1693862"/>
                <a:gd name="connsiteX695" fmla="*/ 606031 w 1792288"/>
                <a:gd name="connsiteY695" fmla="*/ 1078317 h 1693862"/>
                <a:gd name="connsiteX696" fmla="*/ 598173 w 1792288"/>
                <a:gd name="connsiteY696" fmla="*/ 1093990 h 1693862"/>
                <a:gd name="connsiteX697" fmla="*/ 582457 w 1792288"/>
                <a:gd name="connsiteY697" fmla="*/ 1093990 h 1693862"/>
                <a:gd name="connsiteX698" fmla="*/ 566741 w 1792288"/>
                <a:gd name="connsiteY698" fmla="*/ 1093990 h 1693862"/>
                <a:gd name="connsiteX699" fmla="*/ 558884 w 1792288"/>
                <a:gd name="connsiteY699" fmla="*/ 1109662 h 1693862"/>
                <a:gd name="connsiteX700" fmla="*/ 543168 w 1792288"/>
                <a:gd name="connsiteY700" fmla="*/ 1101826 h 1693862"/>
                <a:gd name="connsiteX701" fmla="*/ 551026 w 1792288"/>
                <a:gd name="connsiteY701" fmla="*/ 1086154 h 1693862"/>
                <a:gd name="connsiteX702" fmla="*/ 574599 w 1792288"/>
                <a:gd name="connsiteY702" fmla="*/ 1070481 h 1693862"/>
                <a:gd name="connsiteX703" fmla="*/ 598173 w 1792288"/>
                <a:gd name="connsiteY703" fmla="*/ 1046973 h 1693862"/>
                <a:gd name="connsiteX704" fmla="*/ 582457 w 1792288"/>
                <a:gd name="connsiteY704" fmla="*/ 1039137 h 1693862"/>
                <a:gd name="connsiteX705" fmla="*/ 566741 w 1792288"/>
                <a:gd name="connsiteY705" fmla="*/ 1039137 h 1693862"/>
                <a:gd name="connsiteX706" fmla="*/ 558884 w 1792288"/>
                <a:gd name="connsiteY706" fmla="*/ 1031300 h 1693862"/>
                <a:gd name="connsiteX707" fmla="*/ 582457 w 1792288"/>
                <a:gd name="connsiteY707" fmla="*/ 1015628 h 1693862"/>
                <a:gd name="connsiteX708" fmla="*/ 582457 w 1792288"/>
                <a:gd name="connsiteY708" fmla="*/ 999956 h 1693862"/>
                <a:gd name="connsiteX709" fmla="*/ 566741 w 1792288"/>
                <a:gd name="connsiteY709" fmla="*/ 999956 h 1693862"/>
                <a:gd name="connsiteX710" fmla="*/ 582457 w 1792288"/>
                <a:gd name="connsiteY710" fmla="*/ 976447 h 1693862"/>
                <a:gd name="connsiteX711" fmla="*/ 613889 w 1792288"/>
                <a:gd name="connsiteY711" fmla="*/ 968611 h 1693862"/>
                <a:gd name="connsiteX712" fmla="*/ 606031 w 1792288"/>
                <a:gd name="connsiteY712" fmla="*/ 945103 h 1693862"/>
                <a:gd name="connsiteX713" fmla="*/ 606031 w 1792288"/>
                <a:gd name="connsiteY713" fmla="*/ 937266 h 1693862"/>
                <a:gd name="connsiteX714" fmla="*/ 598173 w 1792288"/>
                <a:gd name="connsiteY714" fmla="*/ 921594 h 1693862"/>
                <a:gd name="connsiteX715" fmla="*/ 598173 w 1792288"/>
                <a:gd name="connsiteY715" fmla="*/ 913758 h 1693862"/>
                <a:gd name="connsiteX716" fmla="*/ 574599 w 1792288"/>
                <a:gd name="connsiteY716" fmla="*/ 913758 h 1693862"/>
                <a:gd name="connsiteX717" fmla="*/ 558884 w 1792288"/>
                <a:gd name="connsiteY717" fmla="*/ 913758 h 1693862"/>
                <a:gd name="connsiteX718" fmla="*/ 558884 w 1792288"/>
                <a:gd name="connsiteY718" fmla="*/ 898086 h 1693862"/>
                <a:gd name="connsiteX719" fmla="*/ 566741 w 1792288"/>
                <a:gd name="connsiteY719" fmla="*/ 866741 h 1693862"/>
                <a:gd name="connsiteX720" fmla="*/ 551026 w 1792288"/>
                <a:gd name="connsiteY720" fmla="*/ 866741 h 1693862"/>
                <a:gd name="connsiteX721" fmla="*/ 543168 w 1792288"/>
                <a:gd name="connsiteY721" fmla="*/ 882413 h 1693862"/>
                <a:gd name="connsiteX722" fmla="*/ 535310 w 1792288"/>
                <a:gd name="connsiteY722" fmla="*/ 866741 h 1693862"/>
                <a:gd name="connsiteX723" fmla="*/ 535310 w 1792288"/>
                <a:gd name="connsiteY723" fmla="*/ 843232 h 1693862"/>
                <a:gd name="connsiteX724" fmla="*/ 535310 w 1792288"/>
                <a:gd name="connsiteY724" fmla="*/ 827560 h 1693862"/>
                <a:gd name="connsiteX725" fmla="*/ 535310 w 1792288"/>
                <a:gd name="connsiteY725" fmla="*/ 804051 h 1693862"/>
                <a:gd name="connsiteX726" fmla="*/ 535310 w 1792288"/>
                <a:gd name="connsiteY726" fmla="*/ 788379 h 1693862"/>
                <a:gd name="connsiteX727" fmla="*/ 543168 w 1792288"/>
                <a:gd name="connsiteY727" fmla="*/ 772707 h 1693862"/>
                <a:gd name="connsiteX728" fmla="*/ 558884 w 1792288"/>
                <a:gd name="connsiteY728" fmla="*/ 741362 h 1693862"/>
                <a:gd name="connsiteX729" fmla="*/ 1311275 w 1792288"/>
                <a:gd name="connsiteY729" fmla="*/ 695325 h 1693862"/>
                <a:gd name="connsiteX730" fmla="*/ 1358901 w 1792288"/>
                <a:gd name="connsiteY730" fmla="*/ 695325 h 1693862"/>
                <a:gd name="connsiteX731" fmla="*/ 1374776 w 1792288"/>
                <a:gd name="connsiteY731" fmla="*/ 695325 h 1693862"/>
                <a:gd name="connsiteX732" fmla="*/ 1382713 w 1792288"/>
                <a:gd name="connsiteY732" fmla="*/ 703140 h 1693862"/>
                <a:gd name="connsiteX733" fmla="*/ 1374776 w 1792288"/>
                <a:gd name="connsiteY733" fmla="*/ 734402 h 1693862"/>
                <a:gd name="connsiteX734" fmla="*/ 1374776 w 1792288"/>
                <a:gd name="connsiteY734" fmla="*/ 750033 h 1693862"/>
                <a:gd name="connsiteX735" fmla="*/ 1366853 w 1792288"/>
                <a:gd name="connsiteY735" fmla="*/ 796841 h 1693862"/>
                <a:gd name="connsiteX736" fmla="*/ 1368426 w 1792288"/>
                <a:gd name="connsiteY736" fmla="*/ 797605 h 1693862"/>
                <a:gd name="connsiteX737" fmla="*/ 1368426 w 1792288"/>
                <a:gd name="connsiteY737" fmla="*/ 805315 h 1693862"/>
                <a:gd name="connsiteX738" fmla="*/ 1384301 w 1792288"/>
                <a:gd name="connsiteY738" fmla="*/ 843869 h 1693862"/>
                <a:gd name="connsiteX739" fmla="*/ 1392238 w 1792288"/>
                <a:gd name="connsiteY739" fmla="*/ 851580 h 1693862"/>
                <a:gd name="connsiteX740" fmla="*/ 1368426 w 1792288"/>
                <a:gd name="connsiteY740" fmla="*/ 867001 h 1693862"/>
                <a:gd name="connsiteX741" fmla="*/ 1344613 w 1792288"/>
                <a:gd name="connsiteY741" fmla="*/ 874712 h 1693862"/>
                <a:gd name="connsiteX742" fmla="*/ 1328738 w 1792288"/>
                <a:gd name="connsiteY742" fmla="*/ 859291 h 1693862"/>
                <a:gd name="connsiteX743" fmla="*/ 1312863 w 1792288"/>
                <a:gd name="connsiteY743" fmla="*/ 843869 h 1693862"/>
                <a:gd name="connsiteX744" fmla="*/ 1296988 w 1792288"/>
                <a:gd name="connsiteY744" fmla="*/ 851580 h 1693862"/>
                <a:gd name="connsiteX745" fmla="*/ 1265238 w 1792288"/>
                <a:gd name="connsiteY745" fmla="*/ 843869 h 1693862"/>
                <a:gd name="connsiteX746" fmla="*/ 1233488 w 1792288"/>
                <a:gd name="connsiteY746" fmla="*/ 843869 h 1693862"/>
                <a:gd name="connsiteX747" fmla="*/ 1201738 w 1792288"/>
                <a:gd name="connsiteY747" fmla="*/ 851580 h 1693862"/>
                <a:gd name="connsiteX748" fmla="*/ 1209676 w 1792288"/>
                <a:gd name="connsiteY748" fmla="*/ 828448 h 1693862"/>
                <a:gd name="connsiteX749" fmla="*/ 1225551 w 1792288"/>
                <a:gd name="connsiteY749" fmla="*/ 789894 h 1693862"/>
                <a:gd name="connsiteX750" fmla="*/ 1241426 w 1792288"/>
                <a:gd name="connsiteY750" fmla="*/ 789894 h 1693862"/>
                <a:gd name="connsiteX751" fmla="*/ 1265238 w 1792288"/>
                <a:gd name="connsiteY751" fmla="*/ 813026 h 1693862"/>
                <a:gd name="connsiteX752" fmla="*/ 1273176 w 1792288"/>
                <a:gd name="connsiteY752" fmla="*/ 805315 h 1693862"/>
                <a:gd name="connsiteX753" fmla="*/ 1281113 w 1792288"/>
                <a:gd name="connsiteY753" fmla="*/ 774473 h 1693862"/>
                <a:gd name="connsiteX754" fmla="*/ 1312863 w 1792288"/>
                <a:gd name="connsiteY754" fmla="*/ 766762 h 1693862"/>
                <a:gd name="connsiteX755" fmla="*/ 1315840 w 1792288"/>
                <a:gd name="connsiteY755" fmla="*/ 768690 h 1693862"/>
                <a:gd name="connsiteX756" fmla="*/ 1319262 w 1792288"/>
                <a:gd name="connsiteY756" fmla="*/ 770906 h 1693862"/>
                <a:gd name="connsiteX757" fmla="*/ 1311275 w 1792288"/>
                <a:gd name="connsiteY757" fmla="*/ 765663 h 1693862"/>
                <a:gd name="connsiteX758" fmla="*/ 1279525 w 1792288"/>
                <a:gd name="connsiteY758" fmla="*/ 773479 h 1693862"/>
                <a:gd name="connsiteX759" fmla="*/ 1287463 w 1792288"/>
                <a:gd name="connsiteY759" fmla="*/ 765663 h 1693862"/>
                <a:gd name="connsiteX760" fmla="*/ 1279525 w 1792288"/>
                <a:gd name="connsiteY760" fmla="*/ 757848 h 1693862"/>
                <a:gd name="connsiteX761" fmla="*/ 1271588 w 1792288"/>
                <a:gd name="connsiteY761" fmla="*/ 750033 h 1693862"/>
                <a:gd name="connsiteX762" fmla="*/ 1263650 w 1792288"/>
                <a:gd name="connsiteY762" fmla="*/ 734402 h 1693862"/>
                <a:gd name="connsiteX763" fmla="*/ 1263650 w 1792288"/>
                <a:gd name="connsiteY763" fmla="*/ 718771 h 1693862"/>
                <a:gd name="connsiteX764" fmla="*/ 16181 w 1792288"/>
                <a:gd name="connsiteY764" fmla="*/ 352425 h 1693862"/>
                <a:gd name="connsiteX765" fmla="*/ 30051 w 1792288"/>
                <a:gd name="connsiteY765" fmla="*/ 365595 h 1693862"/>
                <a:gd name="connsiteX766" fmla="*/ 62414 w 1792288"/>
                <a:gd name="connsiteY766" fmla="*/ 356188 h 1693862"/>
                <a:gd name="connsiteX767" fmla="*/ 101712 w 1792288"/>
                <a:gd name="connsiteY767" fmla="*/ 352425 h 1693862"/>
                <a:gd name="connsiteX768" fmla="*/ 131763 w 1792288"/>
                <a:gd name="connsiteY768" fmla="*/ 369358 h 1693862"/>
                <a:gd name="connsiteX769" fmla="*/ 110958 w 1792288"/>
                <a:gd name="connsiteY769" fmla="*/ 388173 h 1693862"/>
                <a:gd name="connsiteX770" fmla="*/ 78595 w 1792288"/>
                <a:gd name="connsiteY770" fmla="*/ 403225 h 1693862"/>
                <a:gd name="connsiteX771" fmla="*/ 34674 w 1792288"/>
                <a:gd name="connsiteY771" fmla="*/ 391936 h 1693862"/>
                <a:gd name="connsiteX772" fmla="*/ 11558 w 1792288"/>
                <a:gd name="connsiteY772" fmla="*/ 393817 h 1693862"/>
                <a:gd name="connsiteX773" fmla="*/ 30051 w 1792288"/>
                <a:gd name="connsiteY773" fmla="*/ 386292 h 1693862"/>
                <a:gd name="connsiteX774" fmla="*/ 18493 w 1792288"/>
                <a:gd name="connsiteY774" fmla="*/ 373121 h 1693862"/>
                <a:gd name="connsiteX775" fmla="*/ 0 w 1792288"/>
                <a:gd name="connsiteY775" fmla="*/ 367477 h 1693862"/>
                <a:gd name="connsiteX776" fmla="*/ 1117658 w 1792288"/>
                <a:gd name="connsiteY776" fmla="*/ 219075 h 1693862"/>
                <a:gd name="connsiteX777" fmla="*/ 1117144 w 1792288"/>
                <a:gd name="connsiteY777" fmla="*/ 219417 h 1693862"/>
                <a:gd name="connsiteX778" fmla="*/ 1124574 w 1792288"/>
                <a:gd name="connsiteY778" fmla="*/ 219417 h 1693862"/>
                <a:gd name="connsiteX779" fmla="*/ 1124746 w 1792288"/>
                <a:gd name="connsiteY779" fmla="*/ 219075 h 1693862"/>
                <a:gd name="connsiteX780" fmla="*/ 1124503 w 1792288"/>
                <a:gd name="connsiteY780" fmla="*/ 219075 h 1693862"/>
                <a:gd name="connsiteX781" fmla="*/ 1117658 w 1792288"/>
                <a:gd name="connsiteY781" fmla="*/ 219075 h 1693862"/>
                <a:gd name="connsiteX782" fmla="*/ 1141126 w 1792288"/>
                <a:gd name="connsiteY782" fmla="*/ 187778 h 1693862"/>
                <a:gd name="connsiteX783" fmla="*/ 1140909 w 1792288"/>
                <a:gd name="connsiteY783" fmla="*/ 188212 h 1693862"/>
                <a:gd name="connsiteX784" fmla="*/ 1163665 w 1792288"/>
                <a:gd name="connsiteY784" fmla="*/ 188212 h 1693862"/>
                <a:gd name="connsiteX785" fmla="*/ 1179314 w 1792288"/>
                <a:gd name="connsiteY785" fmla="*/ 188212 h 1693862"/>
                <a:gd name="connsiteX786" fmla="*/ 1179314 w 1792288"/>
                <a:gd name="connsiteY786" fmla="*/ 187778 h 1693862"/>
                <a:gd name="connsiteX787" fmla="*/ 1178284 w 1792288"/>
                <a:gd name="connsiteY787" fmla="*/ 187778 h 1693862"/>
                <a:gd name="connsiteX788" fmla="*/ 1164594 w 1792288"/>
                <a:gd name="connsiteY788" fmla="*/ 187778 h 1693862"/>
                <a:gd name="connsiteX789" fmla="*/ 1141126 w 1792288"/>
                <a:gd name="connsiteY789" fmla="*/ 187778 h 1693862"/>
                <a:gd name="connsiteX790" fmla="*/ 1188063 w 1792288"/>
                <a:gd name="connsiteY790" fmla="*/ 148658 h 1693862"/>
                <a:gd name="connsiteX791" fmla="*/ 1187874 w 1792288"/>
                <a:gd name="connsiteY791" fmla="*/ 149225 h 1693862"/>
                <a:gd name="connsiteX792" fmla="*/ 1194963 w 1792288"/>
                <a:gd name="connsiteY792" fmla="*/ 149225 h 1693862"/>
                <a:gd name="connsiteX793" fmla="*/ 1195248 w 1792288"/>
                <a:gd name="connsiteY793" fmla="*/ 149796 h 1693862"/>
                <a:gd name="connsiteX794" fmla="*/ 1201644 w 1792288"/>
                <a:gd name="connsiteY794" fmla="*/ 149796 h 1693862"/>
                <a:gd name="connsiteX795" fmla="*/ 1202216 w 1792288"/>
                <a:gd name="connsiteY795" fmla="*/ 148658 h 1693862"/>
                <a:gd name="connsiteX796" fmla="*/ 1195885 w 1792288"/>
                <a:gd name="connsiteY796" fmla="*/ 148658 h 1693862"/>
                <a:gd name="connsiteX797" fmla="*/ 1188063 w 1792288"/>
                <a:gd name="connsiteY797" fmla="*/ 148658 h 1693862"/>
                <a:gd name="connsiteX798" fmla="*/ 1401117 w 1792288"/>
                <a:gd name="connsiteY798" fmla="*/ 146818 h 1693862"/>
                <a:gd name="connsiteX799" fmla="*/ 1400255 w 1792288"/>
                <a:gd name="connsiteY799" fmla="*/ 147680 h 1693862"/>
                <a:gd name="connsiteX800" fmla="*/ 1399277 w 1792288"/>
                <a:gd name="connsiteY800" fmla="*/ 148658 h 1693862"/>
                <a:gd name="connsiteX801" fmla="*/ 1402930 w 1792288"/>
                <a:gd name="connsiteY801" fmla="*/ 145004 h 1693862"/>
                <a:gd name="connsiteX802" fmla="*/ 1401117 w 1792288"/>
                <a:gd name="connsiteY802" fmla="*/ 146818 h 1693862"/>
                <a:gd name="connsiteX803" fmla="*/ 1401788 w 1792288"/>
                <a:gd name="connsiteY803" fmla="*/ 146146 h 1693862"/>
                <a:gd name="connsiteX804" fmla="*/ 1211531 w 1792288"/>
                <a:gd name="connsiteY804" fmla="*/ 133010 h 1693862"/>
                <a:gd name="connsiteX805" fmla="*/ 1210553 w 1792288"/>
                <a:gd name="connsiteY805" fmla="*/ 134966 h 1693862"/>
                <a:gd name="connsiteX806" fmla="*/ 1210220 w 1792288"/>
                <a:gd name="connsiteY806" fmla="*/ 135632 h 1693862"/>
                <a:gd name="connsiteX807" fmla="*/ 1210469 w 1792288"/>
                <a:gd name="connsiteY807" fmla="*/ 136128 h 1693862"/>
                <a:gd name="connsiteX808" fmla="*/ 1217333 w 1792288"/>
                <a:gd name="connsiteY808" fmla="*/ 149796 h 1693862"/>
                <a:gd name="connsiteX809" fmla="*/ 1233021 w 1792288"/>
                <a:gd name="connsiteY809" fmla="*/ 165417 h 1693862"/>
                <a:gd name="connsiteX810" fmla="*/ 1256553 w 1792288"/>
                <a:gd name="connsiteY810" fmla="*/ 173227 h 1693862"/>
                <a:gd name="connsiteX811" fmla="*/ 1280086 w 1792288"/>
                <a:gd name="connsiteY811" fmla="*/ 165417 h 1693862"/>
                <a:gd name="connsiteX812" fmla="*/ 1287930 w 1792288"/>
                <a:gd name="connsiteY812" fmla="*/ 173227 h 1693862"/>
                <a:gd name="connsiteX813" fmla="*/ 1289396 w 1792288"/>
                <a:gd name="connsiteY813" fmla="*/ 171768 h 1693862"/>
                <a:gd name="connsiteX814" fmla="*/ 1288780 w 1792288"/>
                <a:gd name="connsiteY814" fmla="*/ 171152 h 1693862"/>
                <a:gd name="connsiteX815" fmla="*/ 1281936 w 1792288"/>
                <a:gd name="connsiteY815" fmla="*/ 164306 h 1693862"/>
                <a:gd name="connsiteX816" fmla="*/ 1258467 w 1792288"/>
                <a:gd name="connsiteY816" fmla="*/ 172130 h 1693862"/>
                <a:gd name="connsiteX817" fmla="*/ 1234999 w 1792288"/>
                <a:gd name="connsiteY817" fmla="*/ 164306 h 1693862"/>
                <a:gd name="connsiteX818" fmla="*/ 1219354 w 1792288"/>
                <a:gd name="connsiteY818" fmla="*/ 148658 h 1693862"/>
                <a:gd name="connsiteX819" fmla="*/ 1211531 w 1792288"/>
                <a:gd name="connsiteY819" fmla="*/ 133010 h 1693862"/>
                <a:gd name="connsiteX820" fmla="*/ 1391454 w 1792288"/>
                <a:gd name="connsiteY820" fmla="*/ 0 h 1693862"/>
                <a:gd name="connsiteX821" fmla="*/ 1422745 w 1792288"/>
                <a:gd name="connsiteY821" fmla="*/ 31296 h 1693862"/>
                <a:gd name="connsiteX822" fmla="*/ 1446213 w 1792288"/>
                <a:gd name="connsiteY822" fmla="*/ 46944 h 1693862"/>
                <a:gd name="connsiteX823" fmla="*/ 1422745 w 1792288"/>
                <a:gd name="connsiteY823" fmla="*/ 70417 h 1693862"/>
                <a:gd name="connsiteX824" fmla="*/ 1430568 w 1792288"/>
                <a:gd name="connsiteY824" fmla="*/ 93889 h 1693862"/>
                <a:gd name="connsiteX825" fmla="*/ 1438390 w 1792288"/>
                <a:gd name="connsiteY825" fmla="*/ 101713 h 1693862"/>
                <a:gd name="connsiteX826" fmla="*/ 1430568 w 1792288"/>
                <a:gd name="connsiteY826" fmla="*/ 117361 h 1693862"/>
                <a:gd name="connsiteX827" fmla="*/ 1417367 w 1792288"/>
                <a:gd name="connsiteY827" fmla="*/ 130565 h 1693862"/>
                <a:gd name="connsiteX828" fmla="*/ 1402930 w 1792288"/>
                <a:gd name="connsiteY828" fmla="*/ 145004 h 1693862"/>
                <a:gd name="connsiteX829" fmla="*/ 1405501 w 1792288"/>
                <a:gd name="connsiteY829" fmla="*/ 142432 h 1693862"/>
                <a:gd name="connsiteX830" fmla="*/ 1407099 w 1792288"/>
                <a:gd name="connsiteY830" fmla="*/ 140834 h 1693862"/>
                <a:gd name="connsiteX831" fmla="*/ 1406121 w 1792288"/>
                <a:gd name="connsiteY831" fmla="*/ 141812 h 1693862"/>
                <a:gd name="connsiteX832" fmla="*/ 1405501 w 1792288"/>
                <a:gd name="connsiteY832" fmla="*/ 142432 h 1693862"/>
                <a:gd name="connsiteX833" fmla="*/ 1401788 w 1792288"/>
                <a:gd name="connsiteY833" fmla="*/ 146146 h 1693862"/>
                <a:gd name="connsiteX834" fmla="*/ 1399277 w 1792288"/>
                <a:gd name="connsiteY834" fmla="*/ 148658 h 1693862"/>
                <a:gd name="connsiteX835" fmla="*/ 1407099 w 1792288"/>
                <a:gd name="connsiteY835" fmla="*/ 133010 h 1693862"/>
                <a:gd name="connsiteX836" fmla="*/ 1407099 w 1792288"/>
                <a:gd name="connsiteY836" fmla="*/ 109537 h 1693862"/>
                <a:gd name="connsiteX837" fmla="*/ 1383631 w 1792288"/>
                <a:gd name="connsiteY837" fmla="*/ 86065 h 1693862"/>
                <a:gd name="connsiteX838" fmla="*/ 1344518 w 1792288"/>
                <a:gd name="connsiteY838" fmla="*/ 93889 h 1693862"/>
                <a:gd name="connsiteX839" fmla="*/ 1343396 w 1792288"/>
                <a:gd name="connsiteY839" fmla="*/ 95011 h 1693862"/>
                <a:gd name="connsiteX840" fmla="*/ 1347741 w 1792288"/>
                <a:gd name="connsiteY840" fmla="*/ 94146 h 1693862"/>
                <a:gd name="connsiteX841" fmla="*/ 1382059 w 1792288"/>
                <a:gd name="connsiteY841" fmla="*/ 87312 h 1693862"/>
                <a:gd name="connsiteX842" fmla="*/ 1405591 w 1792288"/>
                <a:gd name="connsiteY842" fmla="*/ 110743 h 1693862"/>
                <a:gd name="connsiteX843" fmla="*/ 1405591 w 1792288"/>
                <a:gd name="connsiteY843" fmla="*/ 134175 h 1693862"/>
                <a:gd name="connsiteX844" fmla="*/ 1397747 w 1792288"/>
                <a:gd name="connsiteY844" fmla="*/ 149796 h 1693862"/>
                <a:gd name="connsiteX845" fmla="*/ 1397747 w 1792288"/>
                <a:gd name="connsiteY845" fmla="*/ 157606 h 1693862"/>
                <a:gd name="connsiteX846" fmla="*/ 1389903 w 1792288"/>
                <a:gd name="connsiteY846" fmla="*/ 165417 h 1693862"/>
                <a:gd name="connsiteX847" fmla="*/ 1389903 w 1792288"/>
                <a:gd name="connsiteY847" fmla="*/ 196659 h 1693862"/>
                <a:gd name="connsiteX848" fmla="*/ 1389903 w 1792288"/>
                <a:gd name="connsiteY848" fmla="*/ 204469 h 1693862"/>
                <a:gd name="connsiteX849" fmla="*/ 1413436 w 1792288"/>
                <a:gd name="connsiteY849" fmla="*/ 220090 h 1693862"/>
                <a:gd name="connsiteX850" fmla="*/ 1429124 w 1792288"/>
                <a:gd name="connsiteY850" fmla="*/ 251333 h 1693862"/>
                <a:gd name="connsiteX851" fmla="*/ 1405591 w 1792288"/>
                <a:gd name="connsiteY851" fmla="*/ 298196 h 1693862"/>
                <a:gd name="connsiteX852" fmla="*/ 1429124 w 1792288"/>
                <a:gd name="connsiteY852" fmla="*/ 368490 h 1693862"/>
                <a:gd name="connsiteX853" fmla="*/ 1413436 w 1792288"/>
                <a:gd name="connsiteY853" fmla="*/ 384111 h 1693862"/>
                <a:gd name="connsiteX854" fmla="*/ 1421280 w 1792288"/>
                <a:gd name="connsiteY854" fmla="*/ 399732 h 1693862"/>
                <a:gd name="connsiteX855" fmla="*/ 1421280 w 1792288"/>
                <a:gd name="connsiteY855" fmla="*/ 415353 h 1693862"/>
                <a:gd name="connsiteX856" fmla="*/ 1429124 w 1792288"/>
                <a:gd name="connsiteY856" fmla="*/ 423164 h 1693862"/>
                <a:gd name="connsiteX857" fmla="*/ 1429124 w 1792288"/>
                <a:gd name="connsiteY857" fmla="*/ 438785 h 1693862"/>
                <a:gd name="connsiteX858" fmla="*/ 1436968 w 1792288"/>
                <a:gd name="connsiteY858" fmla="*/ 454406 h 1693862"/>
                <a:gd name="connsiteX859" fmla="*/ 1429124 w 1792288"/>
                <a:gd name="connsiteY859" fmla="*/ 493458 h 1693862"/>
                <a:gd name="connsiteX860" fmla="*/ 1444812 w 1792288"/>
                <a:gd name="connsiteY860" fmla="*/ 509079 h 1693862"/>
                <a:gd name="connsiteX861" fmla="*/ 1460500 w 1792288"/>
                <a:gd name="connsiteY861" fmla="*/ 516890 h 1693862"/>
                <a:gd name="connsiteX862" fmla="*/ 1460500 w 1792288"/>
                <a:gd name="connsiteY862" fmla="*/ 540321 h 1693862"/>
                <a:gd name="connsiteX863" fmla="*/ 1366371 w 1792288"/>
                <a:gd name="connsiteY863" fmla="*/ 649668 h 1693862"/>
                <a:gd name="connsiteX864" fmla="*/ 1350683 w 1792288"/>
                <a:gd name="connsiteY864" fmla="*/ 649668 h 1693862"/>
                <a:gd name="connsiteX865" fmla="*/ 1287930 w 1792288"/>
                <a:gd name="connsiteY865" fmla="*/ 673100 h 1693862"/>
                <a:gd name="connsiteX866" fmla="*/ 1248709 w 1792288"/>
                <a:gd name="connsiteY866" fmla="*/ 673100 h 1693862"/>
                <a:gd name="connsiteX867" fmla="*/ 1233021 w 1792288"/>
                <a:gd name="connsiteY867" fmla="*/ 657479 h 1693862"/>
                <a:gd name="connsiteX868" fmla="*/ 1217333 w 1792288"/>
                <a:gd name="connsiteY868" fmla="*/ 641858 h 1693862"/>
                <a:gd name="connsiteX869" fmla="*/ 1209488 w 1792288"/>
                <a:gd name="connsiteY869" fmla="*/ 602805 h 1693862"/>
                <a:gd name="connsiteX870" fmla="*/ 1201644 w 1792288"/>
                <a:gd name="connsiteY870" fmla="*/ 540321 h 1693862"/>
                <a:gd name="connsiteX871" fmla="*/ 1225177 w 1792288"/>
                <a:gd name="connsiteY871" fmla="*/ 501269 h 1693862"/>
                <a:gd name="connsiteX872" fmla="*/ 1264397 w 1792288"/>
                <a:gd name="connsiteY872" fmla="*/ 470027 h 1693862"/>
                <a:gd name="connsiteX873" fmla="*/ 1303618 w 1792288"/>
                <a:gd name="connsiteY873" fmla="*/ 399732 h 1693862"/>
                <a:gd name="connsiteX874" fmla="*/ 1287930 w 1792288"/>
                <a:gd name="connsiteY874" fmla="*/ 368490 h 1693862"/>
                <a:gd name="connsiteX875" fmla="*/ 1272241 w 1792288"/>
                <a:gd name="connsiteY875" fmla="*/ 368490 h 1693862"/>
                <a:gd name="connsiteX876" fmla="*/ 1272241 w 1792288"/>
                <a:gd name="connsiteY876" fmla="*/ 367514 h 1693862"/>
                <a:gd name="connsiteX877" fmla="*/ 1272241 w 1792288"/>
                <a:gd name="connsiteY877" fmla="*/ 367349 h 1693862"/>
                <a:gd name="connsiteX878" fmla="*/ 1249702 w 1792288"/>
                <a:gd name="connsiteY878" fmla="*/ 359876 h 1693862"/>
                <a:gd name="connsiteX879" fmla="*/ 1226260 w 1792288"/>
                <a:gd name="connsiteY879" fmla="*/ 391081 h 1693862"/>
                <a:gd name="connsiteX880" fmla="*/ 1210612 w 1792288"/>
                <a:gd name="connsiteY880" fmla="*/ 414503 h 1693862"/>
                <a:gd name="connsiteX881" fmla="*/ 1218436 w 1792288"/>
                <a:gd name="connsiteY881" fmla="*/ 437925 h 1693862"/>
                <a:gd name="connsiteX882" fmla="*/ 1210612 w 1792288"/>
                <a:gd name="connsiteY882" fmla="*/ 461347 h 1693862"/>
                <a:gd name="connsiteX883" fmla="*/ 1163665 w 1792288"/>
                <a:gd name="connsiteY883" fmla="*/ 492552 h 1693862"/>
                <a:gd name="connsiteX884" fmla="*/ 1140223 w 1792288"/>
                <a:gd name="connsiteY884" fmla="*/ 508118 h 1693862"/>
                <a:gd name="connsiteX885" fmla="*/ 1116750 w 1792288"/>
                <a:gd name="connsiteY885" fmla="*/ 547105 h 1693862"/>
                <a:gd name="connsiteX886" fmla="*/ 1116750 w 1792288"/>
                <a:gd name="connsiteY886" fmla="*/ 586167 h 1693862"/>
                <a:gd name="connsiteX887" fmla="*/ 1108926 w 1792288"/>
                <a:gd name="connsiteY887" fmla="*/ 640794 h 1693862"/>
                <a:gd name="connsiteX888" fmla="*/ 1132399 w 1792288"/>
                <a:gd name="connsiteY888" fmla="*/ 656359 h 1693862"/>
                <a:gd name="connsiteX889" fmla="*/ 1140223 w 1792288"/>
                <a:gd name="connsiteY889" fmla="*/ 679781 h 1693862"/>
                <a:gd name="connsiteX890" fmla="*/ 1140223 w 1792288"/>
                <a:gd name="connsiteY890" fmla="*/ 718769 h 1693862"/>
                <a:gd name="connsiteX891" fmla="*/ 1116750 w 1792288"/>
                <a:gd name="connsiteY891" fmla="*/ 726552 h 1693862"/>
                <a:gd name="connsiteX892" fmla="*/ 1101101 w 1792288"/>
                <a:gd name="connsiteY892" fmla="*/ 734408 h 1693862"/>
                <a:gd name="connsiteX893" fmla="*/ 1101101 w 1792288"/>
                <a:gd name="connsiteY893" fmla="*/ 765613 h 1693862"/>
                <a:gd name="connsiteX894" fmla="*/ 1093277 w 1792288"/>
                <a:gd name="connsiteY894" fmla="*/ 820240 h 1693862"/>
                <a:gd name="connsiteX895" fmla="*/ 1077628 w 1792288"/>
                <a:gd name="connsiteY895" fmla="*/ 851445 h 1693862"/>
                <a:gd name="connsiteX896" fmla="*/ 1054186 w 1792288"/>
                <a:gd name="connsiteY896" fmla="*/ 851445 h 1693862"/>
                <a:gd name="connsiteX897" fmla="*/ 1038537 w 1792288"/>
                <a:gd name="connsiteY897" fmla="*/ 867011 h 1693862"/>
                <a:gd name="connsiteX898" fmla="*/ 1030713 w 1792288"/>
                <a:gd name="connsiteY898" fmla="*/ 882650 h 1693862"/>
                <a:gd name="connsiteX899" fmla="*/ 1019137 w 1792288"/>
                <a:gd name="connsiteY899" fmla="*/ 871384 h 1693862"/>
                <a:gd name="connsiteX900" fmla="*/ 1013717 w 1792288"/>
                <a:gd name="connsiteY900" fmla="*/ 867678 h 1693862"/>
                <a:gd name="connsiteX901" fmla="*/ 1010671 w 1792288"/>
                <a:gd name="connsiteY901" fmla="*/ 846701 h 1693862"/>
                <a:gd name="connsiteX902" fmla="*/ 1008298 w 1792288"/>
                <a:gd name="connsiteY902" fmla="*/ 819128 h 1693862"/>
                <a:gd name="connsiteX903" fmla="*/ 983125 w 1792288"/>
                <a:gd name="connsiteY903" fmla="*/ 770653 h 1693862"/>
                <a:gd name="connsiteX904" fmla="*/ 968149 w 1792288"/>
                <a:gd name="connsiteY904" fmla="*/ 765613 h 1693862"/>
                <a:gd name="connsiteX905" fmla="*/ 952500 w 1792288"/>
                <a:gd name="connsiteY905" fmla="*/ 726552 h 1693862"/>
                <a:gd name="connsiteX906" fmla="*/ 953380 w 1792288"/>
                <a:gd name="connsiteY906" fmla="*/ 725676 h 1693862"/>
                <a:gd name="connsiteX907" fmla="*/ 953380 w 1792288"/>
                <a:gd name="connsiteY907" fmla="*/ 719817 h 1693862"/>
                <a:gd name="connsiteX908" fmla="*/ 945557 w 1792288"/>
                <a:gd name="connsiteY908" fmla="*/ 711993 h 1693862"/>
                <a:gd name="connsiteX909" fmla="*/ 922089 w 1792288"/>
                <a:gd name="connsiteY909" fmla="*/ 727641 h 1693862"/>
                <a:gd name="connsiteX910" fmla="*/ 882975 w 1792288"/>
                <a:gd name="connsiteY910" fmla="*/ 758938 h 1693862"/>
                <a:gd name="connsiteX911" fmla="*/ 851684 w 1792288"/>
                <a:gd name="connsiteY911" fmla="*/ 766762 h 1693862"/>
                <a:gd name="connsiteX912" fmla="*/ 820393 w 1792288"/>
                <a:gd name="connsiteY912" fmla="*/ 743290 h 1693862"/>
                <a:gd name="connsiteX913" fmla="*/ 820393 w 1792288"/>
                <a:gd name="connsiteY913" fmla="*/ 711993 h 1693862"/>
                <a:gd name="connsiteX914" fmla="*/ 812570 w 1792288"/>
                <a:gd name="connsiteY914" fmla="*/ 680697 h 1693862"/>
                <a:gd name="connsiteX915" fmla="*/ 804747 w 1792288"/>
                <a:gd name="connsiteY915" fmla="*/ 657224 h 1693862"/>
                <a:gd name="connsiteX916" fmla="*/ 796925 w 1792288"/>
                <a:gd name="connsiteY916" fmla="*/ 618104 h 1693862"/>
                <a:gd name="connsiteX917" fmla="*/ 812570 w 1792288"/>
                <a:gd name="connsiteY917" fmla="*/ 594632 h 1693862"/>
                <a:gd name="connsiteX918" fmla="*/ 820393 w 1792288"/>
                <a:gd name="connsiteY918" fmla="*/ 571159 h 1693862"/>
                <a:gd name="connsiteX919" fmla="*/ 828216 w 1792288"/>
                <a:gd name="connsiteY919" fmla="*/ 555511 h 1693862"/>
                <a:gd name="connsiteX920" fmla="*/ 843861 w 1792288"/>
                <a:gd name="connsiteY920" fmla="*/ 539863 h 1693862"/>
                <a:gd name="connsiteX921" fmla="*/ 859507 w 1792288"/>
                <a:gd name="connsiteY921" fmla="*/ 508566 h 1693862"/>
                <a:gd name="connsiteX922" fmla="*/ 898620 w 1792288"/>
                <a:gd name="connsiteY922" fmla="*/ 492918 h 1693862"/>
                <a:gd name="connsiteX923" fmla="*/ 929911 w 1792288"/>
                <a:gd name="connsiteY923" fmla="*/ 469446 h 1693862"/>
                <a:gd name="connsiteX924" fmla="*/ 976848 w 1792288"/>
                <a:gd name="connsiteY924" fmla="*/ 383381 h 1693862"/>
                <a:gd name="connsiteX925" fmla="*/ 992494 w 1792288"/>
                <a:gd name="connsiteY925" fmla="*/ 359909 h 1693862"/>
                <a:gd name="connsiteX926" fmla="*/ 1000317 w 1792288"/>
                <a:gd name="connsiteY926" fmla="*/ 320788 h 1693862"/>
                <a:gd name="connsiteX927" fmla="*/ 1015962 w 1792288"/>
                <a:gd name="connsiteY927" fmla="*/ 297316 h 1693862"/>
                <a:gd name="connsiteX928" fmla="*/ 1047253 w 1792288"/>
                <a:gd name="connsiteY928" fmla="*/ 242547 h 1693862"/>
                <a:gd name="connsiteX929" fmla="*/ 1047253 w 1792288"/>
                <a:gd name="connsiteY929" fmla="*/ 219075 h 1693862"/>
                <a:gd name="connsiteX930" fmla="*/ 1086367 w 1792288"/>
                <a:gd name="connsiteY930" fmla="*/ 172130 h 1693862"/>
                <a:gd name="connsiteX931" fmla="*/ 1109835 w 1792288"/>
                <a:gd name="connsiteY931" fmla="*/ 172130 h 1693862"/>
                <a:gd name="connsiteX932" fmla="*/ 1117658 w 1792288"/>
                <a:gd name="connsiteY932" fmla="*/ 148658 h 1693862"/>
                <a:gd name="connsiteX933" fmla="*/ 1133303 w 1792288"/>
                <a:gd name="connsiteY933" fmla="*/ 109537 h 1693862"/>
                <a:gd name="connsiteX934" fmla="*/ 1172417 w 1792288"/>
                <a:gd name="connsiteY934" fmla="*/ 101713 h 1693862"/>
                <a:gd name="connsiteX935" fmla="*/ 1188063 w 1792288"/>
                <a:gd name="connsiteY935" fmla="*/ 62593 h 1693862"/>
                <a:gd name="connsiteX936" fmla="*/ 1211531 w 1792288"/>
                <a:gd name="connsiteY936" fmla="*/ 62593 h 1693862"/>
                <a:gd name="connsiteX937" fmla="*/ 1227176 w 1792288"/>
                <a:gd name="connsiteY937" fmla="*/ 46944 h 1693862"/>
                <a:gd name="connsiteX938" fmla="*/ 1234999 w 1792288"/>
                <a:gd name="connsiteY938" fmla="*/ 46944 h 1693862"/>
                <a:gd name="connsiteX939" fmla="*/ 1258467 w 1792288"/>
                <a:gd name="connsiteY939" fmla="*/ 39120 h 1693862"/>
                <a:gd name="connsiteX940" fmla="*/ 1281936 w 1792288"/>
                <a:gd name="connsiteY940" fmla="*/ 7824 h 1693862"/>
                <a:gd name="connsiteX941" fmla="*/ 1313227 w 1792288"/>
                <a:gd name="connsiteY941" fmla="*/ 7824 h 1693862"/>
                <a:gd name="connsiteX942" fmla="*/ 1336695 w 1792288"/>
                <a:gd name="connsiteY942" fmla="*/ 7824 h 1693862"/>
                <a:gd name="connsiteX943" fmla="*/ 1336695 w 1792288"/>
                <a:gd name="connsiteY943" fmla="*/ 15648 h 1693862"/>
                <a:gd name="connsiteX944" fmla="*/ 1360163 w 1792288"/>
                <a:gd name="connsiteY944" fmla="*/ 31296 h 1693862"/>
                <a:gd name="connsiteX945" fmla="*/ 1391454 w 1792288"/>
                <a:gd name="connsiteY945" fmla="*/ 0 h 1693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</a:cxnLst>
              <a:rect l="l" t="t" r="r" b="b"/>
              <a:pathLst>
                <a:path w="1792288" h="1693862">
                  <a:moveTo>
                    <a:pt x="1528763" y="1590675"/>
                  </a:moveTo>
                  <a:lnTo>
                    <a:pt x="1528763" y="1592263"/>
                  </a:lnTo>
                  <a:lnTo>
                    <a:pt x="1508126" y="1608138"/>
                  </a:lnTo>
                  <a:lnTo>
                    <a:pt x="1512888" y="1619250"/>
                  </a:lnTo>
                  <a:lnTo>
                    <a:pt x="1498601" y="1624013"/>
                  </a:lnTo>
                  <a:lnTo>
                    <a:pt x="1479551" y="1635125"/>
                  </a:lnTo>
                  <a:lnTo>
                    <a:pt x="1476376" y="1635125"/>
                  </a:lnTo>
                  <a:lnTo>
                    <a:pt x="1468438" y="1631950"/>
                  </a:lnTo>
                  <a:lnTo>
                    <a:pt x="1458913" y="1627188"/>
                  </a:lnTo>
                  <a:lnTo>
                    <a:pt x="1455738" y="1614488"/>
                  </a:lnTo>
                  <a:lnTo>
                    <a:pt x="1460501" y="1617663"/>
                  </a:lnTo>
                  <a:lnTo>
                    <a:pt x="1474788" y="1612900"/>
                  </a:lnTo>
                  <a:lnTo>
                    <a:pt x="1476376" y="1603375"/>
                  </a:lnTo>
                  <a:lnTo>
                    <a:pt x="1498601" y="1604963"/>
                  </a:lnTo>
                  <a:close/>
                  <a:moveTo>
                    <a:pt x="1042035" y="1524000"/>
                  </a:moveTo>
                  <a:lnTo>
                    <a:pt x="1073150" y="1531673"/>
                  </a:lnTo>
                  <a:lnTo>
                    <a:pt x="1073150" y="1547019"/>
                  </a:lnTo>
                  <a:lnTo>
                    <a:pt x="1065372" y="1570037"/>
                  </a:lnTo>
                  <a:lnTo>
                    <a:pt x="1034257" y="1554691"/>
                  </a:lnTo>
                  <a:lnTo>
                    <a:pt x="995363" y="1539346"/>
                  </a:lnTo>
                  <a:close/>
                  <a:moveTo>
                    <a:pt x="1333730" y="1444060"/>
                  </a:moveTo>
                  <a:lnTo>
                    <a:pt x="1291477" y="1458737"/>
                  </a:lnTo>
                  <a:lnTo>
                    <a:pt x="1313469" y="1479320"/>
                  </a:lnTo>
                  <a:lnTo>
                    <a:pt x="1316437" y="1495233"/>
                  </a:lnTo>
                  <a:lnTo>
                    <a:pt x="1340119" y="1509806"/>
                  </a:lnTo>
                  <a:lnTo>
                    <a:pt x="1332520" y="1501700"/>
                  </a:lnTo>
                  <a:cubicBezTo>
                    <a:pt x="1322507" y="1489789"/>
                    <a:pt x="1305402" y="1464980"/>
                    <a:pt x="1300163" y="1459706"/>
                  </a:cubicBezTo>
                  <a:cubicBezTo>
                    <a:pt x="1300163" y="1457176"/>
                    <a:pt x="1303733" y="1457284"/>
                    <a:pt x="1309666" y="1454503"/>
                  </a:cubicBezTo>
                  <a:cubicBezTo>
                    <a:pt x="1312633" y="1453113"/>
                    <a:pt x="1317872" y="1451221"/>
                    <a:pt x="1323023" y="1449189"/>
                  </a:cubicBezTo>
                  <a:close/>
                  <a:moveTo>
                    <a:pt x="466321" y="1436961"/>
                  </a:moveTo>
                  <a:lnTo>
                    <a:pt x="465556" y="1439729"/>
                  </a:lnTo>
                  <a:lnTo>
                    <a:pt x="460770" y="1457047"/>
                  </a:lnTo>
                  <a:lnTo>
                    <a:pt x="460430" y="1464211"/>
                  </a:lnTo>
                  <a:lnTo>
                    <a:pt x="460453" y="1464172"/>
                  </a:lnTo>
                  <a:lnTo>
                    <a:pt x="462435" y="1454982"/>
                  </a:lnTo>
                  <a:cubicBezTo>
                    <a:pt x="462923" y="1452719"/>
                    <a:pt x="461633" y="1458188"/>
                    <a:pt x="463452" y="1450609"/>
                  </a:cubicBezTo>
                  <a:cubicBezTo>
                    <a:pt x="465270" y="1443030"/>
                    <a:pt x="463589" y="1449628"/>
                    <a:pt x="464422" y="1445764"/>
                  </a:cubicBezTo>
                  <a:close/>
                  <a:moveTo>
                    <a:pt x="1280062" y="1435318"/>
                  </a:moveTo>
                  <a:lnTo>
                    <a:pt x="1276082" y="1437452"/>
                  </a:lnTo>
                  <a:lnTo>
                    <a:pt x="1278241" y="1436522"/>
                  </a:lnTo>
                  <a:close/>
                  <a:moveTo>
                    <a:pt x="931862" y="1435100"/>
                  </a:moveTo>
                  <a:lnTo>
                    <a:pt x="939800" y="1466056"/>
                  </a:lnTo>
                  <a:lnTo>
                    <a:pt x="939800" y="1497012"/>
                  </a:lnTo>
                  <a:lnTo>
                    <a:pt x="908050" y="1497012"/>
                  </a:lnTo>
                  <a:lnTo>
                    <a:pt x="915987" y="1442839"/>
                  </a:lnTo>
                  <a:close/>
                  <a:moveTo>
                    <a:pt x="1239876" y="1433970"/>
                  </a:moveTo>
                  <a:lnTo>
                    <a:pt x="1239876" y="1434378"/>
                  </a:lnTo>
                  <a:lnTo>
                    <a:pt x="1254125" y="1446501"/>
                  </a:lnTo>
                  <a:lnTo>
                    <a:pt x="1244194" y="1450398"/>
                  </a:lnTo>
                  <a:lnTo>
                    <a:pt x="1245046" y="1453388"/>
                  </a:lnTo>
                  <a:lnTo>
                    <a:pt x="1244603" y="1451012"/>
                  </a:lnTo>
                  <a:lnTo>
                    <a:pt x="1258962" y="1444826"/>
                  </a:lnTo>
                  <a:lnTo>
                    <a:pt x="1255134" y="1446212"/>
                  </a:lnTo>
                  <a:close/>
                  <a:moveTo>
                    <a:pt x="1363053" y="1429086"/>
                  </a:moveTo>
                  <a:lnTo>
                    <a:pt x="1363473" y="1432004"/>
                  </a:lnTo>
                  <a:lnTo>
                    <a:pt x="1342656" y="1440959"/>
                  </a:lnTo>
                  <a:lnTo>
                    <a:pt x="1336772" y="1443003"/>
                  </a:lnTo>
                  <a:lnTo>
                    <a:pt x="1346491" y="1442608"/>
                  </a:lnTo>
                  <a:cubicBezTo>
                    <a:pt x="1350750" y="1443632"/>
                    <a:pt x="1355513" y="1445193"/>
                    <a:pt x="1360149" y="1445390"/>
                  </a:cubicBezTo>
                  <a:lnTo>
                    <a:pt x="1367646" y="1445390"/>
                  </a:lnTo>
                  <a:close/>
                  <a:moveTo>
                    <a:pt x="1422081" y="1428864"/>
                  </a:moveTo>
                  <a:lnTo>
                    <a:pt x="1423009" y="1429784"/>
                  </a:lnTo>
                  <a:lnTo>
                    <a:pt x="1427636" y="1428864"/>
                  </a:lnTo>
                  <a:close/>
                  <a:moveTo>
                    <a:pt x="1402409" y="1428864"/>
                  </a:moveTo>
                  <a:lnTo>
                    <a:pt x="1377602" y="1445390"/>
                  </a:lnTo>
                  <a:lnTo>
                    <a:pt x="1391579" y="1445390"/>
                  </a:lnTo>
                  <a:lnTo>
                    <a:pt x="1402673" y="1428864"/>
                  </a:lnTo>
                  <a:close/>
                  <a:moveTo>
                    <a:pt x="1304769" y="1414714"/>
                  </a:moveTo>
                  <a:lnTo>
                    <a:pt x="1304925" y="1415393"/>
                  </a:lnTo>
                  <a:lnTo>
                    <a:pt x="1303158" y="1420045"/>
                  </a:lnTo>
                  <a:lnTo>
                    <a:pt x="1306093" y="1418104"/>
                  </a:lnTo>
                  <a:lnTo>
                    <a:pt x="1306878" y="1417874"/>
                  </a:lnTo>
                  <a:close/>
                  <a:moveTo>
                    <a:pt x="1369287" y="1412466"/>
                  </a:moveTo>
                  <a:lnTo>
                    <a:pt x="1368645" y="1413691"/>
                  </a:lnTo>
                  <a:lnTo>
                    <a:pt x="1364970" y="1417138"/>
                  </a:lnTo>
                  <a:lnTo>
                    <a:pt x="1363731" y="1418986"/>
                  </a:lnTo>
                  <a:lnTo>
                    <a:pt x="1369219" y="1414113"/>
                  </a:lnTo>
                  <a:close/>
                  <a:moveTo>
                    <a:pt x="1239838" y="1407383"/>
                  </a:moveTo>
                  <a:lnTo>
                    <a:pt x="1239298" y="1407747"/>
                  </a:lnTo>
                  <a:lnTo>
                    <a:pt x="1239838" y="1408763"/>
                  </a:lnTo>
                  <a:close/>
                  <a:moveTo>
                    <a:pt x="482175" y="1404541"/>
                  </a:moveTo>
                  <a:lnTo>
                    <a:pt x="474728" y="1414963"/>
                  </a:lnTo>
                  <a:lnTo>
                    <a:pt x="472068" y="1421284"/>
                  </a:lnTo>
                  <a:close/>
                  <a:moveTo>
                    <a:pt x="1352971" y="1404520"/>
                  </a:moveTo>
                  <a:lnTo>
                    <a:pt x="1352921" y="1404536"/>
                  </a:lnTo>
                  <a:lnTo>
                    <a:pt x="1360729" y="1411059"/>
                  </a:lnTo>
                  <a:lnTo>
                    <a:pt x="1368338" y="1409652"/>
                  </a:lnTo>
                  <a:lnTo>
                    <a:pt x="1359142" y="1409564"/>
                  </a:lnTo>
                  <a:close/>
                  <a:moveTo>
                    <a:pt x="1259038" y="1394468"/>
                  </a:moveTo>
                  <a:lnTo>
                    <a:pt x="1254418" y="1397576"/>
                  </a:lnTo>
                  <a:lnTo>
                    <a:pt x="1258887" y="1394994"/>
                  </a:lnTo>
                  <a:close/>
                  <a:moveTo>
                    <a:pt x="1261976" y="1381134"/>
                  </a:moveTo>
                  <a:lnTo>
                    <a:pt x="1261620" y="1385428"/>
                  </a:lnTo>
                  <a:lnTo>
                    <a:pt x="1262675" y="1381736"/>
                  </a:lnTo>
                  <a:close/>
                  <a:moveTo>
                    <a:pt x="1225574" y="1372571"/>
                  </a:moveTo>
                  <a:lnTo>
                    <a:pt x="1224156" y="1374430"/>
                  </a:lnTo>
                  <a:lnTo>
                    <a:pt x="1225820" y="1372783"/>
                  </a:lnTo>
                  <a:close/>
                  <a:moveTo>
                    <a:pt x="931862" y="1371600"/>
                  </a:moveTo>
                  <a:lnTo>
                    <a:pt x="939800" y="1402492"/>
                  </a:lnTo>
                  <a:lnTo>
                    <a:pt x="931862" y="1419225"/>
                  </a:lnTo>
                  <a:lnTo>
                    <a:pt x="900113" y="1387046"/>
                  </a:lnTo>
                  <a:close/>
                  <a:moveTo>
                    <a:pt x="498727" y="1368090"/>
                  </a:moveTo>
                  <a:lnTo>
                    <a:pt x="497010" y="1370209"/>
                  </a:lnTo>
                  <a:cubicBezTo>
                    <a:pt x="494219" y="1376875"/>
                    <a:pt x="491421" y="1383538"/>
                    <a:pt x="488630" y="1390203"/>
                  </a:cubicBezTo>
                  <a:lnTo>
                    <a:pt x="488094" y="1392144"/>
                  </a:lnTo>
                  <a:close/>
                  <a:moveTo>
                    <a:pt x="1205098" y="1345898"/>
                  </a:moveTo>
                  <a:lnTo>
                    <a:pt x="1200643" y="1348175"/>
                  </a:lnTo>
                  <a:lnTo>
                    <a:pt x="1201246" y="1348739"/>
                  </a:lnTo>
                  <a:close/>
                  <a:moveTo>
                    <a:pt x="513735" y="1340404"/>
                  </a:moveTo>
                  <a:lnTo>
                    <a:pt x="512905" y="1341463"/>
                  </a:lnTo>
                  <a:lnTo>
                    <a:pt x="512610" y="1342277"/>
                  </a:lnTo>
                  <a:close/>
                  <a:moveTo>
                    <a:pt x="740577" y="1334713"/>
                  </a:moveTo>
                  <a:lnTo>
                    <a:pt x="740934" y="1334844"/>
                  </a:lnTo>
                  <a:cubicBezTo>
                    <a:pt x="744817" y="1336158"/>
                    <a:pt x="746549" y="1337312"/>
                    <a:pt x="748118" y="1338072"/>
                  </a:cubicBezTo>
                  <a:lnTo>
                    <a:pt x="750784" y="1338447"/>
                  </a:lnTo>
                  <a:lnTo>
                    <a:pt x="743653" y="1335137"/>
                  </a:lnTo>
                  <a:close/>
                  <a:moveTo>
                    <a:pt x="680022" y="1318842"/>
                  </a:moveTo>
                  <a:lnTo>
                    <a:pt x="680099" y="1318983"/>
                  </a:lnTo>
                  <a:lnTo>
                    <a:pt x="680651" y="1319102"/>
                  </a:lnTo>
                  <a:lnTo>
                    <a:pt x="684954" y="1320885"/>
                  </a:lnTo>
                  <a:lnTo>
                    <a:pt x="688278" y="1320747"/>
                  </a:lnTo>
                  <a:lnTo>
                    <a:pt x="689611" y="1321034"/>
                  </a:lnTo>
                  <a:lnTo>
                    <a:pt x="706657" y="1322999"/>
                  </a:lnTo>
                  <a:lnTo>
                    <a:pt x="706145" y="1322762"/>
                  </a:lnTo>
                  <a:cubicBezTo>
                    <a:pt x="701003" y="1322053"/>
                    <a:pt x="695133" y="1321303"/>
                    <a:pt x="690781" y="1320643"/>
                  </a:cubicBezTo>
                  <a:lnTo>
                    <a:pt x="688278" y="1320747"/>
                  </a:lnTo>
                  <a:lnTo>
                    <a:pt x="680651" y="1319102"/>
                  </a:lnTo>
                  <a:close/>
                  <a:moveTo>
                    <a:pt x="1253936" y="1298501"/>
                  </a:moveTo>
                  <a:lnTo>
                    <a:pt x="1253999" y="1300103"/>
                  </a:lnTo>
                  <a:lnTo>
                    <a:pt x="1260088" y="1302100"/>
                  </a:lnTo>
                  <a:lnTo>
                    <a:pt x="1254250" y="1298952"/>
                  </a:lnTo>
                  <a:close/>
                  <a:moveTo>
                    <a:pt x="879840" y="1297532"/>
                  </a:moveTo>
                  <a:lnTo>
                    <a:pt x="879606" y="1298117"/>
                  </a:lnTo>
                  <a:cubicBezTo>
                    <a:pt x="880010" y="1299967"/>
                    <a:pt x="880456" y="1300399"/>
                    <a:pt x="880965" y="1301151"/>
                  </a:cubicBezTo>
                  <a:lnTo>
                    <a:pt x="881947" y="1303950"/>
                  </a:lnTo>
                  <a:close/>
                  <a:moveTo>
                    <a:pt x="1096220" y="1272360"/>
                  </a:moveTo>
                  <a:lnTo>
                    <a:pt x="1077178" y="1273780"/>
                  </a:lnTo>
                  <a:lnTo>
                    <a:pt x="1095281" y="1273395"/>
                  </a:lnTo>
                  <a:close/>
                  <a:moveTo>
                    <a:pt x="899211" y="1259315"/>
                  </a:moveTo>
                  <a:lnTo>
                    <a:pt x="895632" y="1260475"/>
                  </a:lnTo>
                  <a:lnTo>
                    <a:pt x="895169" y="1259462"/>
                  </a:lnTo>
                  <a:lnTo>
                    <a:pt x="894881" y="1261547"/>
                  </a:lnTo>
                  <a:lnTo>
                    <a:pt x="895638" y="1261547"/>
                  </a:lnTo>
                  <a:close/>
                  <a:moveTo>
                    <a:pt x="1140413" y="1250611"/>
                  </a:moveTo>
                  <a:lnTo>
                    <a:pt x="1148175" y="1260403"/>
                  </a:lnTo>
                  <a:lnTo>
                    <a:pt x="1159279" y="1262172"/>
                  </a:lnTo>
                  <a:lnTo>
                    <a:pt x="1160788" y="1262685"/>
                  </a:lnTo>
                  <a:lnTo>
                    <a:pt x="1163970" y="1262919"/>
                  </a:lnTo>
                  <a:lnTo>
                    <a:pt x="1175210" y="1264709"/>
                  </a:lnTo>
                  <a:lnTo>
                    <a:pt x="1182993" y="1259802"/>
                  </a:lnTo>
                  <a:lnTo>
                    <a:pt x="1182900" y="1259385"/>
                  </a:lnTo>
                  <a:lnTo>
                    <a:pt x="1179600" y="1261743"/>
                  </a:lnTo>
                  <a:cubicBezTo>
                    <a:pt x="1178389" y="1262848"/>
                    <a:pt x="1177078" y="1263664"/>
                    <a:pt x="1173909" y="1263650"/>
                  </a:cubicBezTo>
                  <a:lnTo>
                    <a:pt x="1163970" y="1262919"/>
                  </a:lnTo>
                  <a:lnTo>
                    <a:pt x="1159279" y="1262172"/>
                  </a:lnTo>
                  <a:lnTo>
                    <a:pt x="1146702" y="1257897"/>
                  </a:lnTo>
                  <a:close/>
                  <a:moveTo>
                    <a:pt x="1207815" y="1249970"/>
                  </a:moveTo>
                  <a:lnTo>
                    <a:pt x="1207109" y="1249972"/>
                  </a:lnTo>
                  <a:cubicBezTo>
                    <a:pt x="1205109" y="1250653"/>
                    <a:pt x="1200885" y="1252118"/>
                    <a:pt x="1196470" y="1253697"/>
                  </a:cubicBezTo>
                  <a:lnTo>
                    <a:pt x="1193944" y="1254642"/>
                  </a:lnTo>
                  <a:close/>
                  <a:moveTo>
                    <a:pt x="925738" y="1249028"/>
                  </a:moveTo>
                  <a:lnTo>
                    <a:pt x="929986" y="1253342"/>
                  </a:lnTo>
                  <a:lnTo>
                    <a:pt x="931425" y="1252855"/>
                  </a:lnTo>
                  <a:close/>
                  <a:moveTo>
                    <a:pt x="1223220" y="1243553"/>
                  </a:moveTo>
                  <a:lnTo>
                    <a:pt x="1211555" y="1248710"/>
                  </a:lnTo>
                  <a:lnTo>
                    <a:pt x="1219045" y="1246187"/>
                  </a:lnTo>
                  <a:lnTo>
                    <a:pt x="1219161" y="1246325"/>
                  </a:lnTo>
                  <a:lnTo>
                    <a:pt x="1221110" y="1244966"/>
                  </a:lnTo>
                  <a:close/>
                  <a:moveTo>
                    <a:pt x="1131119" y="1237547"/>
                  </a:moveTo>
                  <a:lnTo>
                    <a:pt x="1132399" y="1240501"/>
                  </a:lnTo>
                  <a:lnTo>
                    <a:pt x="1134799" y="1243529"/>
                  </a:lnTo>
                  <a:close/>
                  <a:moveTo>
                    <a:pt x="1422215" y="1213400"/>
                  </a:moveTo>
                  <a:lnTo>
                    <a:pt x="1418079" y="1228378"/>
                  </a:lnTo>
                  <a:cubicBezTo>
                    <a:pt x="1418079" y="1235143"/>
                    <a:pt x="1400939" y="1240325"/>
                    <a:pt x="1400939" y="1240325"/>
                  </a:cubicBezTo>
                  <a:lnTo>
                    <a:pt x="1405148" y="1246696"/>
                  </a:lnTo>
                  <a:lnTo>
                    <a:pt x="1411051" y="1244122"/>
                  </a:lnTo>
                  <a:cubicBezTo>
                    <a:pt x="1416921" y="1241210"/>
                    <a:pt x="1422790" y="1237327"/>
                    <a:pt x="1422790" y="1233444"/>
                  </a:cubicBezTo>
                  <a:cubicBezTo>
                    <a:pt x="1424747" y="1229561"/>
                    <a:pt x="1425236" y="1225679"/>
                    <a:pt x="1424869" y="1222038"/>
                  </a:cubicBezTo>
                  <a:close/>
                  <a:moveTo>
                    <a:pt x="1421243" y="1211281"/>
                  </a:moveTo>
                  <a:lnTo>
                    <a:pt x="1421963" y="1212580"/>
                  </a:lnTo>
                  <a:lnTo>
                    <a:pt x="1421812" y="1212088"/>
                  </a:lnTo>
                  <a:close/>
                  <a:moveTo>
                    <a:pt x="925341" y="1203610"/>
                  </a:moveTo>
                  <a:lnTo>
                    <a:pt x="912817" y="1204658"/>
                  </a:lnTo>
                  <a:lnTo>
                    <a:pt x="912306" y="1204373"/>
                  </a:lnTo>
                  <a:lnTo>
                    <a:pt x="913154" y="1206445"/>
                  </a:lnTo>
                  <a:close/>
                  <a:moveTo>
                    <a:pt x="940198" y="1202267"/>
                  </a:moveTo>
                  <a:lnTo>
                    <a:pt x="939968" y="1202288"/>
                  </a:lnTo>
                  <a:lnTo>
                    <a:pt x="941209" y="1202827"/>
                  </a:lnTo>
                  <a:close/>
                  <a:moveTo>
                    <a:pt x="908425" y="1194953"/>
                  </a:moveTo>
                  <a:lnTo>
                    <a:pt x="903540" y="1198751"/>
                  </a:lnTo>
                  <a:cubicBezTo>
                    <a:pt x="900816" y="1201177"/>
                    <a:pt x="896805" y="1205042"/>
                    <a:pt x="892477" y="1209270"/>
                  </a:cubicBezTo>
                  <a:lnTo>
                    <a:pt x="887155" y="1214481"/>
                  </a:lnTo>
                  <a:lnTo>
                    <a:pt x="896032" y="1206048"/>
                  </a:lnTo>
                  <a:lnTo>
                    <a:pt x="908338" y="1195633"/>
                  </a:lnTo>
                  <a:lnTo>
                    <a:pt x="908337" y="1195445"/>
                  </a:lnTo>
                  <a:close/>
                  <a:moveTo>
                    <a:pt x="1042397" y="1194390"/>
                  </a:moveTo>
                  <a:lnTo>
                    <a:pt x="1037871" y="1201480"/>
                  </a:lnTo>
                  <a:cubicBezTo>
                    <a:pt x="1034525" y="1202879"/>
                    <a:pt x="1029726" y="1200868"/>
                    <a:pt x="1022597" y="1202267"/>
                  </a:cubicBezTo>
                  <a:cubicBezTo>
                    <a:pt x="1015469" y="1203666"/>
                    <a:pt x="1004297" y="1207340"/>
                    <a:pt x="995138" y="1209876"/>
                  </a:cubicBezTo>
                  <a:cubicBezTo>
                    <a:pt x="990558" y="1209876"/>
                    <a:pt x="986376" y="1209468"/>
                    <a:pt x="981398" y="1209876"/>
                  </a:cubicBezTo>
                  <a:lnTo>
                    <a:pt x="974954" y="1210833"/>
                  </a:lnTo>
                  <a:lnTo>
                    <a:pt x="979495" y="1210833"/>
                  </a:lnTo>
                  <a:lnTo>
                    <a:pt x="995363" y="1210833"/>
                  </a:lnTo>
                  <a:lnTo>
                    <a:pt x="1027120" y="1203184"/>
                  </a:lnTo>
                  <a:lnTo>
                    <a:pt x="1035044" y="1203184"/>
                  </a:lnTo>
                  <a:cubicBezTo>
                    <a:pt x="1042988" y="1203184"/>
                    <a:pt x="1042988" y="1195528"/>
                    <a:pt x="1042988" y="1195528"/>
                  </a:cubicBezTo>
                  <a:close/>
                  <a:moveTo>
                    <a:pt x="1144648" y="1192744"/>
                  </a:moveTo>
                  <a:lnTo>
                    <a:pt x="1145498" y="1193594"/>
                  </a:lnTo>
                  <a:lnTo>
                    <a:pt x="1147317" y="1194159"/>
                  </a:lnTo>
                  <a:close/>
                  <a:moveTo>
                    <a:pt x="1321051" y="1171317"/>
                  </a:moveTo>
                  <a:cubicBezTo>
                    <a:pt x="1321051" y="1171317"/>
                    <a:pt x="1321051" y="1171317"/>
                    <a:pt x="1291337" y="1174594"/>
                  </a:cubicBezTo>
                  <a:lnTo>
                    <a:pt x="1267511" y="1177221"/>
                  </a:lnTo>
                  <a:lnTo>
                    <a:pt x="1269609" y="1179275"/>
                  </a:lnTo>
                  <a:cubicBezTo>
                    <a:pt x="1290333" y="1177004"/>
                    <a:pt x="1315788" y="1175624"/>
                    <a:pt x="1331802" y="1172494"/>
                  </a:cubicBezTo>
                  <a:lnTo>
                    <a:pt x="1335673" y="1171317"/>
                  </a:lnTo>
                  <a:close/>
                  <a:moveTo>
                    <a:pt x="1130294" y="1168717"/>
                  </a:moveTo>
                  <a:lnTo>
                    <a:pt x="1130294" y="1172583"/>
                  </a:lnTo>
                  <a:lnTo>
                    <a:pt x="1138238" y="1187880"/>
                  </a:lnTo>
                  <a:lnTo>
                    <a:pt x="1130294" y="1203184"/>
                  </a:lnTo>
                  <a:lnTo>
                    <a:pt x="1123999" y="1221412"/>
                  </a:lnTo>
                  <a:lnTo>
                    <a:pt x="1125612" y="1220651"/>
                  </a:lnTo>
                  <a:lnTo>
                    <a:pt x="1128111" y="1213406"/>
                  </a:lnTo>
                  <a:cubicBezTo>
                    <a:pt x="1129368" y="1209777"/>
                    <a:pt x="1130752" y="1205795"/>
                    <a:pt x="1131894" y="1202519"/>
                  </a:cubicBezTo>
                  <a:cubicBezTo>
                    <a:pt x="1131894" y="1202519"/>
                    <a:pt x="1136433" y="1190908"/>
                    <a:pt x="1138703" y="1189422"/>
                  </a:cubicBezTo>
                  <a:lnTo>
                    <a:pt x="1140266" y="1188572"/>
                  </a:lnTo>
                  <a:lnTo>
                    <a:pt x="1136248" y="1181498"/>
                  </a:lnTo>
                  <a:close/>
                  <a:moveTo>
                    <a:pt x="1223792" y="1168591"/>
                  </a:moveTo>
                  <a:lnTo>
                    <a:pt x="1221799" y="1171250"/>
                  </a:lnTo>
                  <a:lnTo>
                    <a:pt x="1225059" y="1168740"/>
                  </a:lnTo>
                  <a:close/>
                  <a:moveTo>
                    <a:pt x="1056943" y="1166783"/>
                  </a:moveTo>
                  <a:lnTo>
                    <a:pt x="1054876" y="1167806"/>
                  </a:lnTo>
                  <a:cubicBezTo>
                    <a:pt x="1052865" y="1169089"/>
                    <a:pt x="1049779" y="1171538"/>
                    <a:pt x="1046812" y="1173462"/>
                  </a:cubicBezTo>
                  <a:lnTo>
                    <a:pt x="1038192" y="1178716"/>
                  </a:lnTo>
                  <a:lnTo>
                    <a:pt x="1050932" y="1172583"/>
                  </a:lnTo>
                  <a:close/>
                  <a:moveTo>
                    <a:pt x="1083051" y="1164568"/>
                  </a:moveTo>
                  <a:lnTo>
                    <a:pt x="1079881" y="1164824"/>
                  </a:lnTo>
                  <a:lnTo>
                    <a:pt x="1074252" y="1164935"/>
                  </a:lnTo>
                  <a:lnTo>
                    <a:pt x="1082669" y="1164935"/>
                  </a:lnTo>
                  <a:close/>
                  <a:moveTo>
                    <a:pt x="1094436" y="1157602"/>
                  </a:moveTo>
                  <a:lnTo>
                    <a:pt x="1093799" y="1158054"/>
                  </a:lnTo>
                  <a:lnTo>
                    <a:pt x="1122370" y="1164935"/>
                  </a:lnTo>
                  <a:lnTo>
                    <a:pt x="1129434" y="1164935"/>
                  </a:lnTo>
                  <a:lnTo>
                    <a:pt x="1134012" y="1162476"/>
                  </a:lnTo>
                  <a:lnTo>
                    <a:pt x="1127781" y="1164824"/>
                  </a:lnTo>
                  <a:cubicBezTo>
                    <a:pt x="1122704" y="1165168"/>
                    <a:pt x="1115494" y="1162076"/>
                    <a:pt x="1112220" y="1161242"/>
                  </a:cubicBezTo>
                  <a:cubicBezTo>
                    <a:pt x="1108946" y="1160415"/>
                    <a:pt x="1109306" y="1159843"/>
                    <a:pt x="1108165" y="1159843"/>
                  </a:cubicBezTo>
                  <a:cubicBezTo>
                    <a:pt x="1107023" y="1159843"/>
                    <a:pt x="1109682" y="1160023"/>
                    <a:pt x="1107398" y="1159647"/>
                  </a:cubicBezTo>
                  <a:cubicBezTo>
                    <a:pt x="1105115" y="1159270"/>
                    <a:pt x="1099152" y="1158420"/>
                    <a:pt x="1094436" y="1157602"/>
                  </a:cubicBezTo>
                  <a:close/>
                  <a:moveTo>
                    <a:pt x="1042036" y="1146084"/>
                  </a:moveTo>
                  <a:lnTo>
                    <a:pt x="1048405" y="1155007"/>
                  </a:lnTo>
                  <a:lnTo>
                    <a:pt x="1058424" y="1165354"/>
                  </a:lnTo>
                  <a:lnTo>
                    <a:pt x="1058857" y="1164935"/>
                  </a:lnTo>
                  <a:lnTo>
                    <a:pt x="1059285" y="1164935"/>
                  </a:lnTo>
                  <a:lnTo>
                    <a:pt x="1056834" y="1162341"/>
                  </a:lnTo>
                  <a:cubicBezTo>
                    <a:pt x="1055327" y="1160749"/>
                    <a:pt x="1053528" y="1158857"/>
                    <a:pt x="1052364" y="1157659"/>
                  </a:cubicBezTo>
                  <a:cubicBezTo>
                    <a:pt x="1050036" y="1155262"/>
                    <a:pt x="1049090" y="1155180"/>
                    <a:pt x="1045545" y="1150837"/>
                  </a:cubicBezTo>
                  <a:close/>
                  <a:moveTo>
                    <a:pt x="871825" y="1119129"/>
                  </a:moveTo>
                  <a:lnTo>
                    <a:pt x="874804" y="1122748"/>
                  </a:lnTo>
                  <a:lnTo>
                    <a:pt x="876226" y="1123407"/>
                  </a:lnTo>
                  <a:lnTo>
                    <a:pt x="876371" y="1123086"/>
                  </a:lnTo>
                  <a:close/>
                  <a:moveTo>
                    <a:pt x="848970" y="1102428"/>
                  </a:moveTo>
                  <a:lnTo>
                    <a:pt x="853694" y="1105429"/>
                  </a:lnTo>
                  <a:lnTo>
                    <a:pt x="858066" y="1108216"/>
                  </a:lnTo>
                  <a:lnTo>
                    <a:pt x="851953" y="1103909"/>
                  </a:lnTo>
                  <a:close/>
                  <a:moveTo>
                    <a:pt x="1111321" y="1101881"/>
                  </a:moveTo>
                  <a:lnTo>
                    <a:pt x="1127466" y="1109938"/>
                  </a:lnTo>
                  <a:cubicBezTo>
                    <a:pt x="1141645" y="1117006"/>
                    <a:pt x="1165182" y="1124204"/>
                    <a:pt x="1169988" y="1131140"/>
                  </a:cubicBezTo>
                  <a:lnTo>
                    <a:pt x="1169904" y="1132133"/>
                  </a:lnTo>
                  <a:lnTo>
                    <a:pt x="1176522" y="1130582"/>
                  </a:lnTo>
                  <a:lnTo>
                    <a:pt x="1175237" y="1129945"/>
                  </a:lnTo>
                  <a:cubicBezTo>
                    <a:pt x="1171319" y="1128003"/>
                    <a:pt x="1163484" y="1124120"/>
                    <a:pt x="1147814" y="1116352"/>
                  </a:cubicBezTo>
                  <a:cubicBezTo>
                    <a:pt x="1147814" y="1116352"/>
                    <a:pt x="1147814" y="1116352"/>
                    <a:pt x="1131287" y="1109799"/>
                  </a:cubicBezTo>
                  <a:close/>
                  <a:moveTo>
                    <a:pt x="882563" y="1097331"/>
                  </a:moveTo>
                  <a:lnTo>
                    <a:pt x="884936" y="1104104"/>
                  </a:lnTo>
                  <a:lnTo>
                    <a:pt x="885278" y="1103345"/>
                  </a:lnTo>
                  <a:close/>
                  <a:moveTo>
                    <a:pt x="1058520" y="1083345"/>
                  </a:moveTo>
                  <a:cubicBezTo>
                    <a:pt x="1055494" y="1083549"/>
                    <a:pt x="1056171" y="1087252"/>
                    <a:pt x="1052467" y="1089322"/>
                  </a:cubicBezTo>
                  <a:cubicBezTo>
                    <a:pt x="1048763" y="1091392"/>
                    <a:pt x="1041316" y="1093404"/>
                    <a:pt x="1036337" y="1095736"/>
                  </a:cubicBezTo>
                  <a:cubicBezTo>
                    <a:pt x="1031359" y="1098068"/>
                    <a:pt x="1026500" y="1100955"/>
                    <a:pt x="1022597" y="1103345"/>
                  </a:cubicBezTo>
                  <a:lnTo>
                    <a:pt x="1017640" y="1106826"/>
                  </a:lnTo>
                  <a:lnTo>
                    <a:pt x="1025057" y="1103124"/>
                  </a:lnTo>
                  <a:lnTo>
                    <a:pt x="1038710" y="1096311"/>
                  </a:lnTo>
                  <a:lnTo>
                    <a:pt x="1052364" y="1089489"/>
                  </a:lnTo>
                  <a:lnTo>
                    <a:pt x="1058524" y="1083347"/>
                  </a:lnTo>
                  <a:close/>
                  <a:moveTo>
                    <a:pt x="1070667" y="1081996"/>
                  </a:moveTo>
                  <a:lnTo>
                    <a:pt x="1070667" y="1088127"/>
                  </a:lnTo>
                  <a:lnTo>
                    <a:pt x="1067860" y="1086998"/>
                  </a:lnTo>
                  <a:lnTo>
                    <a:pt x="1072852" y="1089489"/>
                  </a:lnTo>
                  <a:lnTo>
                    <a:pt x="1072852" y="1083079"/>
                  </a:lnTo>
                  <a:close/>
                  <a:moveTo>
                    <a:pt x="864428" y="1062355"/>
                  </a:moveTo>
                  <a:lnTo>
                    <a:pt x="865678" y="1062976"/>
                  </a:lnTo>
                  <a:lnTo>
                    <a:pt x="875759" y="1067005"/>
                  </a:lnTo>
                  <a:lnTo>
                    <a:pt x="885019" y="1073279"/>
                  </a:lnTo>
                  <a:lnTo>
                    <a:pt x="880774" y="1069128"/>
                  </a:lnTo>
                  <a:lnTo>
                    <a:pt x="866920" y="1062355"/>
                  </a:lnTo>
                  <a:close/>
                  <a:moveTo>
                    <a:pt x="1461135" y="1016706"/>
                  </a:moveTo>
                  <a:cubicBezTo>
                    <a:pt x="1461135" y="1016706"/>
                    <a:pt x="1461135" y="1016706"/>
                    <a:pt x="1454572" y="1036500"/>
                  </a:cubicBezTo>
                  <a:lnTo>
                    <a:pt x="1445946" y="1062515"/>
                  </a:lnTo>
                  <a:lnTo>
                    <a:pt x="1446269" y="1062595"/>
                  </a:lnTo>
                  <a:cubicBezTo>
                    <a:pt x="1446269" y="1062595"/>
                    <a:pt x="1446269" y="1062595"/>
                    <a:pt x="1452872" y="1042938"/>
                  </a:cubicBezTo>
                  <a:lnTo>
                    <a:pt x="1461684" y="1016706"/>
                  </a:lnTo>
                  <a:close/>
                  <a:moveTo>
                    <a:pt x="1323784" y="925665"/>
                  </a:moveTo>
                  <a:lnTo>
                    <a:pt x="1323867" y="927452"/>
                  </a:lnTo>
                  <a:lnTo>
                    <a:pt x="1321720" y="936086"/>
                  </a:lnTo>
                  <a:lnTo>
                    <a:pt x="1320800" y="937079"/>
                  </a:lnTo>
                  <a:cubicBezTo>
                    <a:pt x="1312863" y="937079"/>
                    <a:pt x="1296988" y="937079"/>
                    <a:pt x="1296988" y="937079"/>
                  </a:cubicBezTo>
                  <a:cubicBezTo>
                    <a:pt x="1296988" y="937079"/>
                    <a:pt x="1296988" y="937079"/>
                    <a:pt x="1281113" y="944789"/>
                  </a:cubicBezTo>
                  <a:cubicBezTo>
                    <a:pt x="1281113" y="944789"/>
                    <a:pt x="1281113" y="944789"/>
                    <a:pt x="1265238" y="952500"/>
                  </a:cubicBezTo>
                  <a:cubicBezTo>
                    <a:pt x="1265238" y="952500"/>
                    <a:pt x="1265238" y="952500"/>
                    <a:pt x="1249363" y="937079"/>
                  </a:cubicBezTo>
                  <a:cubicBezTo>
                    <a:pt x="1249363" y="937079"/>
                    <a:pt x="1249363" y="937079"/>
                    <a:pt x="1248371" y="937079"/>
                  </a:cubicBezTo>
                  <a:lnTo>
                    <a:pt x="1242140" y="937079"/>
                  </a:lnTo>
                  <a:lnTo>
                    <a:pt x="1241834" y="937702"/>
                  </a:lnTo>
                  <a:lnTo>
                    <a:pt x="1241835" y="937702"/>
                  </a:lnTo>
                  <a:cubicBezTo>
                    <a:pt x="1241835" y="937702"/>
                    <a:pt x="1241835" y="937702"/>
                    <a:pt x="1249670" y="937702"/>
                  </a:cubicBezTo>
                  <a:cubicBezTo>
                    <a:pt x="1249670" y="937702"/>
                    <a:pt x="1249670" y="937702"/>
                    <a:pt x="1265340" y="961004"/>
                  </a:cubicBezTo>
                  <a:cubicBezTo>
                    <a:pt x="1265340" y="961004"/>
                    <a:pt x="1265340" y="961004"/>
                    <a:pt x="1273175" y="992074"/>
                  </a:cubicBezTo>
                  <a:cubicBezTo>
                    <a:pt x="1273175" y="992074"/>
                    <a:pt x="1273175" y="992074"/>
                    <a:pt x="1257505" y="1007609"/>
                  </a:cubicBezTo>
                  <a:cubicBezTo>
                    <a:pt x="1257505" y="1007609"/>
                    <a:pt x="1257505" y="1007609"/>
                    <a:pt x="1265340" y="1030911"/>
                  </a:cubicBezTo>
                  <a:cubicBezTo>
                    <a:pt x="1265340" y="1030911"/>
                    <a:pt x="1265340" y="1030911"/>
                    <a:pt x="1265340" y="1046446"/>
                  </a:cubicBezTo>
                  <a:cubicBezTo>
                    <a:pt x="1265340" y="1046446"/>
                    <a:pt x="1265340" y="1046446"/>
                    <a:pt x="1273175" y="1077515"/>
                  </a:cubicBezTo>
                  <a:cubicBezTo>
                    <a:pt x="1273175" y="1077515"/>
                    <a:pt x="1273175" y="1077515"/>
                    <a:pt x="1257505" y="1093050"/>
                  </a:cubicBezTo>
                  <a:cubicBezTo>
                    <a:pt x="1257505" y="1093050"/>
                    <a:pt x="1257505" y="1093050"/>
                    <a:pt x="1241835" y="1131887"/>
                  </a:cubicBezTo>
                  <a:cubicBezTo>
                    <a:pt x="1241835" y="1131887"/>
                    <a:pt x="1241835" y="1131887"/>
                    <a:pt x="1226165" y="1131887"/>
                  </a:cubicBezTo>
                  <a:cubicBezTo>
                    <a:pt x="1226165" y="1131887"/>
                    <a:pt x="1226165" y="1131887"/>
                    <a:pt x="1210495" y="1131887"/>
                  </a:cubicBezTo>
                  <a:lnTo>
                    <a:pt x="1206583" y="1131887"/>
                  </a:lnTo>
                  <a:lnTo>
                    <a:pt x="1211524" y="1132964"/>
                  </a:lnTo>
                  <a:lnTo>
                    <a:pt x="1227138" y="1132964"/>
                  </a:lnTo>
                  <a:lnTo>
                    <a:pt x="1227138" y="1132488"/>
                  </a:lnTo>
                  <a:cubicBezTo>
                    <a:pt x="1227138" y="1132488"/>
                    <a:pt x="1227138" y="1132488"/>
                    <a:pt x="1242790" y="1132488"/>
                  </a:cubicBezTo>
                  <a:cubicBezTo>
                    <a:pt x="1242790" y="1132488"/>
                    <a:pt x="1242790" y="1132488"/>
                    <a:pt x="1258443" y="1093659"/>
                  </a:cubicBezTo>
                  <a:cubicBezTo>
                    <a:pt x="1258443" y="1093659"/>
                    <a:pt x="1258443" y="1093659"/>
                    <a:pt x="1274095" y="1078127"/>
                  </a:cubicBezTo>
                  <a:cubicBezTo>
                    <a:pt x="1274095" y="1078127"/>
                    <a:pt x="1274095" y="1078127"/>
                    <a:pt x="1266269" y="1047064"/>
                  </a:cubicBezTo>
                  <a:lnTo>
                    <a:pt x="1266667" y="1046866"/>
                  </a:lnTo>
                  <a:lnTo>
                    <a:pt x="1266667" y="1046030"/>
                  </a:lnTo>
                  <a:cubicBezTo>
                    <a:pt x="1266667" y="1044075"/>
                    <a:pt x="1266667" y="1040165"/>
                    <a:pt x="1266667" y="1032345"/>
                  </a:cubicBezTo>
                  <a:cubicBezTo>
                    <a:pt x="1266667" y="1032345"/>
                    <a:pt x="1266667" y="1032345"/>
                    <a:pt x="1258888" y="1008886"/>
                  </a:cubicBezTo>
                  <a:cubicBezTo>
                    <a:pt x="1258888" y="1008886"/>
                    <a:pt x="1258888" y="1008886"/>
                    <a:pt x="1274446" y="993246"/>
                  </a:cubicBezTo>
                  <a:cubicBezTo>
                    <a:pt x="1274446" y="993246"/>
                    <a:pt x="1274446" y="993246"/>
                    <a:pt x="1266667" y="961966"/>
                  </a:cubicBezTo>
                  <a:cubicBezTo>
                    <a:pt x="1266667" y="961966"/>
                    <a:pt x="1266667" y="961966"/>
                    <a:pt x="1266667" y="954146"/>
                  </a:cubicBezTo>
                  <a:cubicBezTo>
                    <a:pt x="1266667" y="954146"/>
                    <a:pt x="1266667" y="954146"/>
                    <a:pt x="1282224" y="946326"/>
                  </a:cubicBezTo>
                  <a:cubicBezTo>
                    <a:pt x="1282224" y="946326"/>
                    <a:pt x="1282224" y="946326"/>
                    <a:pt x="1297782" y="938506"/>
                  </a:cubicBezTo>
                  <a:cubicBezTo>
                    <a:pt x="1297782" y="938506"/>
                    <a:pt x="1313339" y="938506"/>
                    <a:pt x="1321118" y="938506"/>
                  </a:cubicBezTo>
                  <a:lnTo>
                    <a:pt x="1321720" y="936086"/>
                  </a:lnTo>
                  <a:lnTo>
                    <a:pt x="1324149" y="933464"/>
                  </a:lnTo>
                  <a:lnTo>
                    <a:pt x="1323867" y="927452"/>
                  </a:lnTo>
                  <a:lnTo>
                    <a:pt x="1324035" y="926777"/>
                  </a:lnTo>
                  <a:close/>
                  <a:moveTo>
                    <a:pt x="1322090" y="918304"/>
                  </a:moveTo>
                  <a:lnTo>
                    <a:pt x="1322966" y="922046"/>
                  </a:lnTo>
                  <a:lnTo>
                    <a:pt x="1322212" y="918712"/>
                  </a:lnTo>
                  <a:close/>
                  <a:moveTo>
                    <a:pt x="1242428" y="908185"/>
                  </a:moveTo>
                  <a:lnTo>
                    <a:pt x="1249192" y="921988"/>
                  </a:lnTo>
                  <a:lnTo>
                    <a:pt x="1249363" y="921657"/>
                  </a:lnTo>
                  <a:cubicBezTo>
                    <a:pt x="1249363" y="921657"/>
                    <a:pt x="1249363" y="921657"/>
                    <a:pt x="1248371" y="919730"/>
                  </a:cubicBezTo>
                  <a:close/>
                  <a:moveTo>
                    <a:pt x="1235499" y="903357"/>
                  </a:moveTo>
                  <a:lnTo>
                    <a:pt x="1241527" y="906433"/>
                  </a:lnTo>
                  <a:lnTo>
                    <a:pt x="1241425" y="906236"/>
                  </a:lnTo>
                  <a:cubicBezTo>
                    <a:pt x="1241425" y="906236"/>
                    <a:pt x="1241425" y="906236"/>
                    <a:pt x="1239441" y="905272"/>
                  </a:cubicBezTo>
                  <a:close/>
                  <a:moveTo>
                    <a:pt x="503804" y="890587"/>
                  </a:moveTo>
                  <a:lnTo>
                    <a:pt x="511628" y="898373"/>
                  </a:lnTo>
                  <a:lnTo>
                    <a:pt x="527277" y="898373"/>
                  </a:lnTo>
                  <a:lnTo>
                    <a:pt x="535101" y="913946"/>
                  </a:lnTo>
                  <a:lnTo>
                    <a:pt x="542925" y="929519"/>
                  </a:lnTo>
                  <a:lnTo>
                    <a:pt x="527277" y="945091"/>
                  </a:lnTo>
                  <a:lnTo>
                    <a:pt x="535101" y="976237"/>
                  </a:lnTo>
                  <a:lnTo>
                    <a:pt x="527277" y="1015168"/>
                  </a:lnTo>
                  <a:lnTo>
                    <a:pt x="503804" y="1022955"/>
                  </a:lnTo>
                  <a:lnTo>
                    <a:pt x="456860" y="1054100"/>
                  </a:lnTo>
                  <a:lnTo>
                    <a:pt x="433388" y="1038527"/>
                  </a:lnTo>
                  <a:lnTo>
                    <a:pt x="433388" y="1022955"/>
                  </a:lnTo>
                  <a:lnTo>
                    <a:pt x="441212" y="1015168"/>
                  </a:lnTo>
                  <a:lnTo>
                    <a:pt x="449036" y="999596"/>
                  </a:lnTo>
                  <a:lnTo>
                    <a:pt x="449036" y="976237"/>
                  </a:lnTo>
                  <a:lnTo>
                    <a:pt x="441212" y="968450"/>
                  </a:lnTo>
                  <a:lnTo>
                    <a:pt x="449036" y="960664"/>
                  </a:lnTo>
                  <a:lnTo>
                    <a:pt x="441212" y="937305"/>
                  </a:lnTo>
                  <a:lnTo>
                    <a:pt x="472508" y="929519"/>
                  </a:lnTo>
                  <a:lnTo>
                    <a:pt x="472508" y="913946"/>
                  </a:lnTo>
                  <a:close/>
                  <a:moveTo>
                    <a:pt x="1352170" y="875947"/>
                  </a:moveTo>
                  <a:lnTo>
                    <a:pt x="1350566" y="878284"/>
                  </a:lnTo>
                  <a:cubicBezTo>
                    <a:pt x="1348581" y="881176"/>
                    <a:pt x="1344613" y="886959"/>
                    <a:pt x="1336675" y="898525"/>
                  </a:cubicBezTo>
                  <a:cubicBezTo>
                    <a:pt x="1336675" y="898525"/>
                    <a:pt x="1336675" y="898525"/>
                    <a:pt x="1320800" y="913947"/>
                  </a:cubicBezTo>
                  <a:lnTo>
                    <a:pt x="1321135" y="915030"/>
                  </a:lnTo>
                  <a:lnTo>
                    <a:pt x="1323063" y="913092"/>
                  </a:lnTo>
                  <a:cubicBezTo>
                    <a:pt x="1325008" y="911137"/>
                    <a:pt x="1328897" y="907227"/>
                    <a:pt x="1336676" y="899407"/>
                  </a:cubicBezTo>
                  <a:cubicBezTo>
                    <a:pt x="1336676" y="899407"/>
                    <a:pt x="1336676" y="899407"/>
                    <a:pt x="1352233" y="875947"/>
                  </a:cubicBezTo>
                  <a:close/>
                  <a:moveTo>
                    <a:pt x="1233488" y="844550"/>
                  </a:moveTo>
                  <a:cubicBezTo>
                    <a:pt x="1233488" y="844550"/>
                    <a:pt x="1233488" y="844550"/>
                    <a:pt x="1265238" y="844550"/>
                  </a:cubicBezTo>
                  <a:cubicBezTo>
                    <a:pt x="1265238" y="844550"/>
                    <a:pt x="1265238" y="844550"/>
                    <a:pt x="1296988" y="852261"/>
                  </a:cubicBezTo>
                  <a:cubicBezTo>
                    <a:pt x="1296988" y="852261"/>
                    <a:pt x="1296988" y="852261"/>
                    <a:pt x="1312863" y="844550"/>
                  </a:cubicBezTo>
                  <a:cubicBezTo>
                    <a:pt x="1312863" y="844550"/>
                    <a:pt x="1312863" y="844550"/>
                    <a:pt x="1328738" y="859972"/>
                  </a:cubicBezTo>
                  <a:cubicBezTo>
                    <a:pt x="1328738" y="859972"/>
                    <a:pt x="1328738" y="859972"/>
                    <a:pt x="1344613" y="875393"/>
                  </a:cubicBezTo>
                  <a:cubicBezTo>
                    <a:pt x="1344613" y="875393"/>
                    <a:pt x="1344613" y="875393"/>
                    <a:pt x="1345605" y="875393"/>
                  </a:cubicBezTo>
                  <a:lnTo>
                    <a:pt x="1346107" y="875393"/>
                  </a:lnTo>
                  <a:lnTo>
                    <a:pt x="1347371" y="874969"/>
                  </a:lnTo>
                  <a:cubicBezTo>
                    <a:pt x="1350288" y="873992"/>
                    <a:pt x="1356122" y="872037"/>
                    <a:pt x="1367791" y="868127"/>
                  </a:cubicBezTo>
                  <a:cubicBezTo>
                    <a:pt x="1367791" y="868127"/>
                    <a:pt x="1367791" y="868127"/>
                    <a:pt x="1391127" y="852487"/>
                  </a:cubicBezTo>
                  <a:cubicBezTo>
                    <a:pt x="1391127" y="852487"/>
                    <a:pt x="1391127" y="852487"/>
                    <a:pt x="1414463" y="868127"/>
                  </a:cubicBezTo>
                  <a:cubicBezTo>
                    <a:pt x="1414463" y="868127"/>
                    <a:pt x="1414463" y="868127"/>
                    <a:pt x="1437799" y="875947"/>
                  </a:cubicBezTo>
                  <a:cubicBezTo>
                    <a:pt x="1437799" y="875947"/>
                    <a:pt x="1437799" y="875947"/>
                    <a:pt x="1468914" y="938506"/>
                  </a:cubicBezTo>
                  <a:cubicBezTo>
                    <a:pt x="1468914" y="938506"/>
                    <a:pt x="1468914" y="938506"/>
                    <a:pt x="1492250" y="961966"/>
                  </a:cubicBezTo>
                  <a:lnTo>
                    <a:pt x="1484472" y="977606"/>
                  </a:lnTo>
                  <a:cubicBezTo>
                    <a:pt x="1484472" y="977606"/>
                    <a:pt x="1484472" y="977606"/>
                    <a:pt x="1461135" y="985426"/>
                  </a:cubicBezTo>
                  <a:cubicBezTo>
                    <a:pt x="1461135" y="985426"/>
                    <a:pt x="1461135" y="985426"/>
                    <a:pt x="1464417" y="998622"/>
                  </a:cubicBezTo>
                  <a:lnTo>
                    <a:pt x="1468739" y="1016000"/>
                  </a:lnTo>
                  <a:lnTo>
                    <a:pt x="1469747" y="1016000"/>
                  </a:lnTo>
                  <a:lnTo>
                    <a:pt x="1469747" y="1016654"/>
                  </a:lnTo>
                  <a:lnTo>
                    <a:pt x="1483971" y="1023766"/>
                  </a:lnTo>
                  <a:lnTo>
                    <a:pt x="1484867" y="1023766"/>
                  </a:lnTo>
                  <a:lnTo>
                    <a:pt x="1484313" y="1023541"/>
                  </a:lnTo>
                  <a:lnTo>
                    <a:pt x="1508126" y="1016000"/>
                  </a:lnTo>
                  <a:lnTo>
                    <a:pt x="1528178" y="1041400"/>
                  </a:lnTo>
                  <a:lnTo>
                    <a:pt x="1497357" y="1028851"/>
                  </a:lnTo>
                  <a:lnTo>
                    <a:pt x="1508511" y="1033595"/>
                  </a:lnTo>
                  <a:lnTo>
                    <a:pt x="1528842" y="1042241"/>
                  </a:lnTo>
                  <a:lnTo>
                    <a:pt x="1528178" y="1041400"/>
                  </a:lnTo>
                  <a:lnTo>
                    <a:pt x="1539875" y="1046162"/>
                  </a:lnTo>
                  <a:lnTo>
                    <a:pt x="1538062" y="1046162"/>
                  </a:lnTo>
                  <a:lnTo>
                    <a:pt x="1540182" y="1047064"/>
                  </a:lnTo>
                  <a:cubicBezTo>
                    <a:pt x="1540182" y="1047064"/>
                    <a:pt x="1540182" y="1047064"/>
                    <a:pt x="1555834" y="1070361"/>
                  </a:cubicBezTo>
                  <a:cubicBezTo>
                    <a:pt x="1555834" y="1070361"/>
                    <a:pt x="1555834" y="1070361"/>
                    <a:pt x="1579312" y="1085893"/>
                  </a:cubicBezTo>
                  <a:cubicBezTo>
                    <a:pt x="1579312" y="1085893"/>
                    <a:pt x="1579312" y="1085893"/>
                    <a:pt x="1594964" y="1085893"/>
                  </a:cubicBezTo>
                  <a:cubicBezTo>
                    <a:pt x="1594964" y="1085893"/>
                    <a:pt x="1594964" y="1085893"/>
                    <a:pt x="1634095" y="1109191"/>
                  </a:cubicBezTo>
                  <a:cubicBezTo>
                    <a:pt x="1634095" y="1109191"/>
                    <a:pt x="1634095" y="1109191"/>
                    <a:pt x="1673225" y="1124722"/>
                  </a:cubicBezTo>
                  <a:cubicBezTo>
                    <a:pt x="1673225" y="1124722"/>
                    <a:pt x="1673225" y="1124722"/>
                    <a:pt x="1673225" y="1140254"/>
                  </a:cubicBezTo>
                  <a:cubicBezTo>
                    <a:pt x="1673225" y="1140254"/>
                    <a:pt x="1673225" y="1140254"/>
                    <a:pt x="1665399" y="1179083"/>
                  </a:cubicBezTo>
                  <a:cubicBezTo>
                    <a:pt x="1665399" y="1179083"/>
                    <a:pt x="1665399" y="1179083"/>
                    <a:pt x="1649747" y="1186849"/>
                  </a:cubicBezTo>
                  <a:lnTo>
                    <a:pt x="1626269" y="1210147"/>
                  </a:lnTo>
                  <a:cubicBezTo>
                    <a:pt x="1626269" y="1210147"/>
                    <a:pt x="1626269" y="1210147"/>
                    <a:pt x="1618443" y="1225678"/>
                  </a:cubicBezTo>
                  <a:cubicBezTo>
                    <a:pt x="1618443" y="1225678"/>
                    <a:pt x="1618443" y="1225678"/>
                    <a:pt x="1563660" y="1233444"/>
                  </a:cubicBezTo>
                  <a:cubicBezTo>
                    <a:pt x="1563660" y="1233444"/>
                    <a:pt x="1563660" y="1233444"/>
                    <a:pt x="1548008" y="1256742"/>
                  </a:cubicBezTo>
                  <a:cubicBezTo>
                    <a:pt x="1548008" y="1256742"/>
                    <a:pt x="1548008" y="1256742"/>
                    <a:pt x="1579312" y="1280040"/>
                  </a:cubicBezTo>
                  <a:cubicBezTo>
                    <a:pt x="1579312" y="1280040"/>
                    <a:pt x="1579312" y="1280040"/>
                    <a:pt x="1516703" y="1303337"/>
                  </a:cubicBezTo>
                  <a:cubicBezTo>
                    <a:pt x="1516703" y="1303337"/>
                    <a:pt x="1516703" y="1303337"/>
                    <a:pt x="1493225" y="1280040"/>
                  </a:cubicBezTo>
                  <a:cubicBezTo>
                    <a:pt x="1493225" y="1280040"/>
                    <a:pt x="1493225" y="1280040"/>
                    <a:pt x="1508877" y="1264508"/>
                  </a:cubicBezTo>
                  <a:cubicBezTo>
                    <a:pt x="1508877" y="1264508"/>
                    <a:pt x="1508877" y="1264508"/>
                    <a:pt x="1485399" y="1241210"/>
                  </a:cubicBezTo>
                  <a:cubicBezTo>
                    <a:pt x="1485399" y="1241210"/>
                    <a:pt x="1485399" y="1241210"/>
                    <a:pt x="1461921" y="1241210"/>
                  </a:cubicBezTo>
                  <a:cubicBezTo>
                    <a:pt x="1461921" y="1241210"/>
                    <a:pt x="1461921" y="1241210"/>
                    <a:pt x="1422790" y="1264508"/>
                  </a:cubicBezTo>
                  <a:cubicBezTo>
                    <a:pt x="1422790" y="1264508"/>
                    <a:pt x="1422790" y="1264508"/>
                    <a:pt x="1414964" y="1280040"/>
                  </a:cubicBezTo>
                  <a:cubicBezTo>
                    <a:pt x="1414964" y="1280040"/>
                    <a:pt x="1414964" y="1280040"/>
                    <a:pt x="1405059" y="1276763"/>
                  </a:cubicBezTo>
                  <a:lnTo>
                    <a:pt x="1400938" y="1275400"/>
                  </a:lnTo>
                  <a:lnTo>
                    <a:pt x="1400928" y="1296268"/>
                  </a:lnTo>
                  <a:lnTo>
                    <a:pt x="1394970" y="1312397"/>
                  </a:lnTo>
                  <a:lnTo>
                    <a:pt x="1435599" y="1324423"/>
                  </a:lnTo>
                  <a:lnTo>
                    <a:pt x="1402409" y="1353910"/>
                  </a:lnTo>
                  <a:cubicBezTo>
                    <a:pt x="1405184" y="1366612"/>
                    <a:pt x="1407941" y="1379300"/>
                    <a:pt x="1410716" y="1392002"/>
                  </a:cubicBezTo>
                  <a:lnTo>
                    <a:pt x="1460500" y="1406752"/>
                  </a:lnTo>
                  <a:lnTo>
                    <a:pt x="1452194" y="1406752"/>
                  </a:lnTo>
                  <a:lnTo>
                    <a:pt x="1436995" y="1427004"/>
                  </a:lnTo>
                  <a:lnTo>
                    <a:pt x="1462273" y="1421980"/>
                  </a:lnTo>
                  <a:lnTo>
                    <a:pt x="1477988" y="1406392"/>
                  </a:lnTo>
                  <a:lnTo>
                    <a:pt x="1501584" y="1398588"/>
                  </a:lnTo>
                  <a:lnTo>
                    <a:pt x="1517299" y="1398588"/>
                  </a:lnTo>
                  <a:lnTo>
                    <a:pt x="1580159" y="1398588"/>
                  </a:lnTo>
                  <a:lnTo>
                    <a:pt x="1603708" y="1406392"/>
                  </a:lnTo>
                  <a:lnTo>
                    <a:pt x="1635138" y="1421980"/>
                  </a:lnTo>
                  <a:lnTo>
                    <a:pt x="1643019" y="1421980"/>
                  </a:lnTo>
                  <a:lnTo>
                    <a:pt x="1682283" y="1421980"/>
                  </a:lnTo>
                  <a:lnTo>
                    <a:pt x="1713713" y="1398588"/>
                  </a:lnTo>
                  <a:cubicBezTo>
                    <a:pt x="1716356" y="1401189"/>
                    <a:pt x="1718952" y="1403790"/>
                    <a:pt x="1721594" y="1406392"/>
                  </a:cubicBezTo>
                  <a:lnTo>
                    <a:pt x="1745143" y="1406392"/>
                  </a:lnTo>
                  <a:lnTo>
                    <a:pt x="1760858" y="1421980"/>
                  </a:lnTo>
                  <a:lnTo>
                    <a:pt x="1792288" y="1460979"/>
                  </a:lnTo>
                  <a:cubicBezTo>
                    <a:pt x="1789692" y="1463580"/>
                    <a:pt x="1787050" y="1466182"/>
                    <a:pt x="1784454" y="1468783"/>
                  </a:cubicBezTo>
                  <a:lnTo>
                    <a:pt x="1784454" y="1523388"/>
                  </a:lnTo>
                  <a:cubicBezTo>
                    <a:pt x="1787050" y="1531192"/>
                    <a:pt x="1789692" y="1538977"/>
                    <a:pt x="1792288" y="1546781"/>
                  </a:cubicBezTo>
                  <a:lnTo>
                    <a:pt x="1776573" y="1538977"/>
                  </a:lnTo>
                  <a:lnTo>
                    <a:pt x="1737309" y="1546781"/>
                  </a:lnTo>
                  <a:lnTo>
                    <a:pt x="1732112" y="1547812"/>
                  </a:lnTo>
                  <a:lnTo>
                    <a:pt x="1738313" y="1547812"/>
                  </a:lnTo>
                  <a:lnTo>
                    <a:pt x="1728788" y="1549717"/>
                  </a:lnTo>
                  <a:lnTo>
                    <a:pt x="1728788" y="1555499"/>
                  </a:lnTo>
                  <a:lnTo>
                    <a:pt x="1713165" y="1578559"/>
                  </a:lnTo>
                  <a:lnTo>
                    <a:pt x="1697541" y="1632367"/>
                  </a:lnTo>
                  <a:lnTo>
                    <a:pt x="1642858" y="1663115"/>
                  </a:lnTo>
                  <a:lnTo>
                    <a:pt x="1627234" y="1670802"/>
                  </a:lnTo>
                  <a:lnTo>
                    <a:pt x="1580363" y="1693862"/>
                  </a:lnTo>
                  <a:lnTo>
                    <a:pt x="1564739" y="1678488"/>
                  </a:lnTo>
                  <a:lnTo>
                    <a:pt x="1547813" y="1678488"/>
                  </a:lnTo>
                  <a:lnTo>
                    <a:pt x="1580363" y="1609307"/>
                  </a:lnTo>
                  <a:lnTo>
                    <a:pt x="1572551" y="1578559"/>
                  </a:lnTo>
                  <a:lnTo>
                    <a:pt x="1595986" y="1555499"/>
                  </a:lnTo>
                  <a:lnTo>
                    <a:pt x="1611610" y="1563186"/>
                  </a:lnTo>
                  <a:lnTo>
                    <a:pt x="1697541" y="1555499"/>
                  </a:lnTo>
                  <a:lnTo>
                    <a:pt x="1714898" y="1551229"/>
                  </a:lnTo>
                  <a:lnTo>
                    <a:pt x="1697998" y="1554584"/>
                  </a:lnTo>
                  <a:lnTo>
                    <a:pt x="1611589" y="1562369"/>
                  </a:lnTo>
                  <a:lnTo>
                    <a:pt x="1595874" y="1554584"/>
                  </a:lnTo>
                  <a:lnTo>
                    <a:pt x="1572278" y="1577976"/>
                  </a:lnTo>
                  <a:lnTo>
                    <a:pt x="1540848" y="1562369"/>
                  </a:lnTo>
                  <a:lnTo>
                    <a:pt x="1509418" y="1577976"/>
                  </a:lnTo>
                  <a:lnTo>
                    <a:pt x="1454439" y="1562369"/>
                  </a:lnTo>
                  <a:lnTo>
                    <a:pt x="1446558" y="1562369"/>
                  </a:lnTo>
                  <a:lnTo>
                    <a:pt x="1375864" y="1554584"/>
                  </a:lnTo>
                  <a:cubicBezTo>
                    <a:pt x="1370626" y="1546781"/>
                    <a:pt x="1367381" y="1539982"/>
                    <a:pt x="1360149" y="1531174"/>
                  </a:cubicBezTo>
                  <a:lnTo>
                    <a:pt x="1353047" y="1523598"/>
                  </a:lnTo>
                  <a:lnTo>
                    <a:pt x="1325337" y="1542957"/>
                  </a:lnTo>
                  <a:lnTo>
                    <a:pt x="1328301" y="1558855"/>
                  </a:lnTo>
                  <a:lnTo>
                    <a:pt x="1313725" y="1578040"/>
                  </a:lnTo>
                  <a:lnTo>
                    <a:pt x="1275623" y="1568678"/>
                  </a:lnTo>
                  <a:lnTo>
                    <a:pt x="1269691" y="1536868"/>
                  </a:lnTo>
                  <a:lnTo>
                    <a:pt x="1284285" y="1517696"/>
                  </a:lnTo>
                  <a:lnTo>
                    <a:pt x="1247683" y="1516288"/>
                  </a:lnTo>
                  <a:lnTo>
                    <a:pt x="1225672" y="1495693"/>
                  </a:lnTo>
                  <a:lnTo>
                    <a:pt x="1236426" y="1481566"/>
                  </a:lnTo>
                  <a:lnTo>
                    <a:pt x="1232103" y="1485900"/>
                  </a:lnTo>
                  <a:lnTo>
                    <a:pt x="1212241" y="1463386"/>
                  </a:lnTo>
                  <a:lnTo>
                    <a:pt x="1212241" y="1412730"/>
                  </a:lnTo>
                  <a:lnTo>
                    <a:pt x="1200430" y="1405541"/>
                  </a:lnTo>
                  <a:lnTo>
                    <a:pt x="1199825" y="1406335"/>
                  </a:lnTo>
                  <a:lnTo>
                    <a:pt x="1180484" y="1383612"/>
                  </a:lnTo>
                  <a:lnTo>
                    <a:pt x="1193152" y="1359861"/>
                  </a:lnTo>
                  <a:lnTo>
                    <a:pt x="1179059" y="1385887"/>
                  </a:lnTo>
                  <a:lnTo>
                    <a:pt x="1109663" y="1300503"/>
                  </a:lnTo>
                  <a:lnTo>
                    <a:pt x="1112239" y="1289584"/>
                  </a:lnTo>
                  <a:lnTo>
                    <a:pt x="1111429" y="1289004"/>
                  </a:lnTo>
                  <a:lnTo>
                    <a:pt x="1107995" y="1300876"/>
                  </a:lnTo>
                  <a:lnTo>
                    <a:pt x="1176757" y="1384300"/>
                  </a:lnTo>
                  <a:cubicBezTo>
                    <a:pt x="1155911" y="1373387"/>
                    <a:pt x="1135468" y="1356431"/>
                    <a:pt x="1114221" y="1351560"/>
                  </a:cubicBezTo>
                  <a:lnTo>
                    <a:pt x="1095065" y="1329867"/>
                  </a:lnTo>
                  <a:lnTo>
                    <a:pt x="1086249" y="1299101"/>
                  </a:lnTo>
                  <a:lnTo>
                    <a:pt x="1075917" y="1288766"/>
                  </a:lnTo>
                  <a:lnTo>
                    <a:pt x="1069597" y="1295163"/>
                  </a:lnTo>
                  <a:lnTo>
                    <a:pt x="1060753" y="1307651"/>
                  </a:lnTo>
                  <a:lnTo>
                    <a:pt x="1050925" y="1285832"/>
                  </a:lnTo>
                  <a:lnTo>
                    <a:pt x="1053024" y="1280010"/>
                  </a:lnTo>
                  <a:lnTo>
                    <a:pt x="1047173" y="1280010"/>
                  </a:lnTo>
                  <a:lnTo>
                    <a:pt x="1039091" y="1312832"/>
                  </a:lnTo>
                  <a:lnTo>
                    <a:pt x="1055255" y="1347705"/>
                  </a:lnTo>
                  <a:lnTo>
                    <a:pt x="1089603" y="1407195"/>
                  </a:lnTo>
                  <a:lnTo>
                    <a:pt x="1115868" y="1415400"/>
                  </a:lnTo>
                  <a:lnTo>
                    <a:pt x="1148196" y="1442068"/>
                  </a:lnTo>
                  <a:lnTo>
                    <a:pt x="1190625" y="1483096"/>
                  </a:lnTo>
                  <a:lnTo>
                    <a:pt x="1174462" y="1483096"/>
                  </a:lnTo>
                  <a:lnTo>
                    <a:pt x="1148196" y="1474890"/>
                  </a:lnTo>
                  <a:lnTo>
                    <a:pt x="1148196" y="1501558"/>
                  </a:lnTo>
                  <a:lnTo>
                    <a:pt x="1093643" y="1544637"/>
                  </a:lnTo>
                  <a:lnTo>
                    <a:pt x="1109807" y="1487199"/>
                  </a:lnTo>
                  <a:lnTo>
                    <a:pt x="1073439" y="1458479"/>
                  </a:lnTo>
                  <a:lnTo>
                    <a:pt x="1014846" y="1423606"/>
                  </a:lnTo>
                  <a:lnTo>
                    <a:pt x="988580" y="1388733"/>
                  </a:lnTo>
                  <a:lnTo>
                    <a:pt x="964334" y="1339499"/>
                  </a:lnTo>
                  <a:lnTo>
                    <a:pt x="921904" y="1321037"/>
                  </a:lnTo>
                  <a:lnTo>
                    <a:pt x="903720" y="1339499"/>
                  </a:lnTo>
                  <a:lnTo>
                    <a:pt x="895073" y="1329622"/>
                  </a:lnTo>
                  <a:lnTo>
                    <a:pt x="896927" y="1333147"/>
                  </a:lnTo>
                  <a:cubicBezTo>
                    <a:pt x="894371" y="1332794"/>
                    <a:pt x="872418" y="1350253"/>
                    <a:pt x="863719" y="1352463"/>
                  </a:cubicBezTo>
                  <a:cubicBezTo>
                    <a:pt x="854990" y="1354669"/>
                    <a:pt x="853561" y="1349254"/>
                    <a:pt x="844770" y="1346352"/>
                  </a:cubicBezTo>
                  <a:cubicBezTo>
                    <a:pt x="835975" y="1343479"/>
                    <a:pt x="819101" y="1337210"/>
                    <a:pt x="811004" y="1335055"/>
                  </a:cubicBezTo>
                  <a:cubicBezTo>
                    <a:pt x="802872" y="1332926"/>
                    <a:pt x="801102" y="1331319"/>
                    <a:pt x="796103" y="1333357"/>
                  </a:cubicBezTo>
                  <a:cubicBezTo>
                    <a:pt x="791130" y="1335428"/>
                    <a:pt x="786183" y="1345537"/>
                    <a:pt x="781131" y="1347509"/>
                  </a:cubicBezTo>
                  <a:lnTo>
                    <a:pt x="775918" y="1347477"/>
                  </a:lnTo>
                  <a:lnTo>
                    <a:pt x="776012" y="1351506"/>
                  </a:lnTo>
                  <a:cubicBezTo>
                    <a:pt x="783118" y="1358727"/>
                    <a:pt x="779923" y="1375598"/>
                    <a:pt x="776048" y="1383138"/>
                  </a:cubicBezTo>
                  <a:cubicBezTo>
                    <a:pt x="772174" y="1390678"/>
                    <a:pt x="757381" y="1395344"/>
                    <a:pt x="752689" y="1396758"/>
                  </a:cubicBezTo>
                  <a:cubicBezTo>
                    <a:pt x="747997" y="1398173"/>
                    <a:pt x="751494" y="1397685"/>
                    <a:pt x="748677" y="1398781"/>
                  </a:cubicBezTo>
                  <a:cubicBezTo>
                    <a:pt x="747622" y="1397861"/>
                    <a:pt x="746036" y="1399743"/>
                    <a:pt x="743490" y="1400782"/>
                  </a:cubicBezTo>
                  <a:cubicBezTo>
                    <a:pt x="740943" y="1401821"/>
                    <a:pt x="743498" y="1400062"/>
                    <a:pt x="729330" y="1403707"/>
                  </a:cubicBezTo>
                  <a:cubicBezTo>
                    <a:pt x="716879" y="1406914"/>
                    <a:pt x="699067" y="1436518"/>
                    <a:pt x="692213" y="1446765"/>
                  </a:cubicBezTo>
                  <a:cubicBezTo>
                    <a:pt x="685358" y="1457013"/>
                    <a:pt x="689571" y="1459019"/>
                    <a:pt x="688250" y="1465146"/>
                  </a:cubicBezTo>
                  <a:lnTo>
                    <a:pt x="651919" y="1495839"/>
                  </a:lnTo>
                  <a:lnTo>
                    <a:pt x="615523" y="1526490"/>
                  </a:lnTo>
                  <a:lnTo>
                    <a:pt x="556721" y="1523428"/>
                  </a:lnTo>
                  <a:lnTo>
                    <a:pt x="495932" y="1529584"/>
                  </a:lnTo>
                  <a:lnTo>
                    <a:pt x="463979" y="1493813"/>
                  </a:lnTo>
                  <a:lnTo>
                    <a:pt x="445027" y="1489727"/>
                  </a:lnTo>
                  <a:lnTo>
                    <a:pt x="459601" y="1465584"/>
                  </a:lnTo>
                  <a:lnTo>
                    <a:pt x="454843" y="1472737"/>
                  </a:lnTo>
                  <a:cubicBezTo>
                    <a:pt x="452983" y="1475034"/>
                    <a:pt x="451123" y="1477331"/>
                    <a:pt x="449262" y="1481127"/>
                  </a:cubicBezTo>
                  <a:lnTo>
                    <a:pt x="402803" y="1467499"/>
                  </a:lnTo>
                  <a:lnTo>
                    <a:pt x="424337" y="1419027"/>
                  </a:lnTo>
                  <a:lnTo>
                    <a:pt x="412153" y="1417258"/>
                  </a:lnTo>
                  <a:lnTo>
                    <a:pt x="409289" y="1405539"/>
                  </a:lnTo>
                  <a:cubicBezTo>
                    <a:pt x="411573" y="1399857"/>
                    <a:pt x="413860" y="1394197"/>
                    <a:pt x="416144" y="1388516"/>
                  </a:cubicBezTo>
                  <a:lnTo>
                    <a:pt x="438695" y="1367073"/>
                  </a:lnTo>
                  <a:lnTo>
                    <a:pt x="448267" y="1332437"/>
                  </a:lnTo>
                  <a:lnTo>
                    <a:pt x="449089" y="1304132"/>
                  </a:lnTo>
                  <a:lnTo>
                    <a:pt x="444844" y="1306784"/>
                  </a:lnTo>
                  <a:lnTo>
                    <a:pt x="435812" y="1256692"/>
                  </a:lnTo>
                  <a:cubicBezTo>
                    <a:pt x="445252" y="1258728"/>
                    <a:pt x="468173" y="1244407"/>
                    <a:pt x="468173" y="1244407"/>
                  </a:cubicBezTo>
                  <a:lnTo>
                    <a:pt x="489142" y="1239311"/>
                  </a:lnTo>
                  <a:lnTo>
                    <a:pt x="506077" y="1252580"/>
                  </a:lnTo>
                  <a:cubicBezTo>
                    <a:pt x="525690" y="1253603"/>
                    <a:pt x="537472" y="1247854"/>
                    <a:pt x="564879" y="1255641"/>
                  </a:cubicBezTo>
                  <a:cubicBezTo>
                    <a:pt x="592286" y="1263428"/>
                    <a:pt x="635347" y="1284785"/>
                    <a:pt x="670578" y="1299371"/>
                  </a:cubicBezTo>
                  <a:lnTo>
                    <a:pt x="673041" y="1305019"/>
                  </a:lnTo>
                  <a:lnTo>
                    <a:pt x="670559" y="1297992"/>
                  </a:lnTo>
                  <a:cubicBezTo>
                    <a:pt x="669558" y="1293259"/>
                    <a:pt x="670050" y="1298574"/>
                    <a:pt x="673751" y="1290398"/>
                  </a:cubicBezTo>
                  <a:cubicBezTo>
                    <a:pt x="677452" y="1282222"/>
                    <a:pt x="689153" y="1259347"/>
                    <a:pt x="692828" y="1248914"/>
                  </a:cubicBezTo>
                  <a:cubicBezTo>
                    <a:pt x="696477" y="1238448"/>
                    <a:pt x="694778" y="1234774"/>
                    <a:pt x="695753" y="1227705"/>
                  </a:cubicBezTo>
                  <a:lnTo>
                    <a:pt x="689027" y="1219603"/>
                  </a:lnTo>
                  <a:cubicBezTo>
                    <a:pt x="687446" y="1212181"/>
                    <a:pt x="685835" y="1204755"/>
                    <a:pt x="684255" y="1197332"/>
                  </a:cubicBezTo>
                  <a:lnTo>
                    <a:pt x="678507" y="1182132"/>
                  </a:lnTo>
                  <a:lnTo>
                    <a:pt x="679482" y="1175062"/>
                  </a:lnTo>
                  <a:lnTo>
                    <a:pt x="672790" y="1166935"/>
                  </a:lnTo>
                  <a:cubicBezTo>
                    <a:pt x="665094" y="1165874"/>
                    <a:pt x="656753" y="1167926"/>
                    <a:pt x="649700" y="1163752"/>
                  </a:cubicBezTo>
                  <a:cubicBezTo>
                    <a:pt x="642651" y="1159548"/>
                    <a:pt x="633380" y="1147686"/>
                    <a:pt x="630433" y="1141736"/>
                  </a:cubicBezTo>
                  <a:cubicBezTo>
                    <a:pt x="627515" y="1135789"/>
                    <a:pt x="631690" y="1132837"/>
                    <a:pt x="631983" y="1128045"/>
                  </a:cubicBezTo>
                  <a:cubicBezTo>
                    <a:pt x="632276" y="1123253"/>
                    <a:pt x="628827" y="1115603"/>
                    <a:pt x="632191" y="1112984"/>
                  </a:cubicBezTo>
                  <a:cubicBezTo>
                    <a:pt x="635555" y="1110364"/>
                    <a:pt x="645785" y="1112605"/>
                    <a:pt x="652233" y="1112278"/>
                  </a:cubicBezTo>
                  <a:cubicBezTo>
                    <a:pt x="658681" y="1111952"/>
                    <a:pt x="666528" y="1109032"/>
                    <a:pt x="670936" y="1111062"/>
                  </a:cubicBezTo>
                  <a:cubicBezTo>
                    <a:pt x="675343" y="1113093"/>
                    <a:pt x="673508" y="1121734"/>
                    <a:pt x="678639" y="1124517"/>
                  </a:cubicBezTo>
                  <a:cubicBezTo>
                    <a:pt x="683770" y="1127300"/>
                    <a:pt x="697552" y="1130445"/>
                    <a:pt x="701699" y="1127696"/>
                  </a:cubicBezTo>
                  <a:cubicBezTo>
                    <a:pt x="705846" y="1124948"/>
                    <a:pt x="702769" y="1114384"/>
                    <a:pt x="703545" y="1108088"/>
                  </a:cubicBezTo>
                  <a:cubicBezTo>
                    <a:pt x="704321" y="1101791"/>
                    <a:pt x="703817" y="1092561"/>
                    <a:pt x="706288" y="1089966"/>
                  </a:cubicBezTo>
                  <a:cubicBezTo>
                    <a:pt x="708790" y="1087376"/>
                    <a:pt x="715593" y="1090034"/>
                    <a:pt x="718473" y="1092476"/>
                  </a:cubicBezTo>
                  <a:cubicBezTo>
                    <a:pt x="721353" y="1094919"/>
                    <a:pt x="718217" y="1101661"/>
                    <a:pt x="723603" y="1104598"/>
                  </a:cubicBezTo>
                  <a:cubicBezTo>
                    <a:pt x="728988" y="1107534"/>
                    <a:pt x="743189" y="1111864"/>
                    <a:pt x="750759" y="1110062"/>
                  </a:cubicBezTo>
                  <a:cubicBezTo>
                    <a:pt x="758330" y="1108259"/>
                    <a:pt x="764597" y="1097472"/>
                    <a:pt x="769091" y="1093763"/>
                  </a:cubicBezTo>
                  <a:cubicBezTo>
                    <a:pt x="773585" y="1090055"/>
                    <a:pt x="774878" y="1089788"/>
                    <a:pt x="777758" y="1087784"/>
                  </a:cubicBezTo>
                  <a:lnTo>
                    <a:pt x="797021" y="1061623"/>
                  </a:lnTo>
                  <a:lnTo>
                    <a:pt x="813389" y="1056676"/>
                  </a:lnTo>
                  <a:lnTo>
                    <a:pt x="819136" y="1071877"/>
                  </a:lnTo>
                  <a:lnTo>
                    <a:pt x="819925" y="1072381"/>
                  </a:lnTo>
                  <a:lnTo>
                    <a:pt x="814388" y="1056582"/>
                  </a:lnTo>
                  <a:lnTo>
                    <a:pt x="817634" y="1056157"/>
                  </a:lnTo>
                  <a:lnTo>
                    <a:pt x="831359" y="1049337"/>
                  </a:lnTo>
                  <a:lnTo>
                    <a:pt x="838221" y="1056157"/>
                  </a:lnTo>
                  <a:lnTo>
                    <a:pt x="846726" y="1056157"/>
                  </a:lnTo>
                  <a:lnTo>
                    <a:pt x="846138" y="1055582"/>
                  </a:lnTo>
                  <a:lnTo>
                    <a:pt x="859992" y="1042035"/>
                  </a:lnTo>
                  <a:lnTo>
                    <a:pt x="873847" y="1001395"/>
                  </a:lnTo>
                  <a:lnTo>
                    <a:pt x="887701" y="1014942"/>
                  </a:lnTo>
                  <a:lnTo>
                    <a:pt x="887701" y="994622"/>
                  </a:lnTo>
                  <a:lnTo>
                    <a:pt x="905868" y="988701"/>
                  </a:lnTo>
                  <a:lnTo>
                    <a:pt x="905868" y="981625"/>
                  </a:lnTo>
                  <a:lnTo>
                    <a:pt x="905868" y="974016"/>
                  </a:lnTo>
                  <a:lnTo>
                    <a:pt x="919607" y="974016"/>
                  </a:lnTo>
                  <a:lnTo>
                    <a:pt x="933327" y="974016"/>
                  </a:lnTo>
                  <a:lnTo>
                    <a:pt x="940198" y="958797"/>
                  </a:lnTo>
                  <a:lnTo>
                    <a:pt x="944527" y="939615"/>
                  </a:lnTo>
                  <a:lnTo>
                    <a:pt x="944315" y="939664"/>
                  </a:lnTo>
                  <a:cubicBezTo>
                    <a:pt x="944420" y="930537"/>
                    <a:pt x="944526" y="921410"/>
                    <a:pt x="944632" y="912283"/>
                  </a:cubicBezTo>
                  <a:lnTo>
                    <a:pt x="938213" y="907979"/>
                  </a:lnTo>
                  <a:lnTo>
                    <a:pt x="951051" y="862789"/>
                  </a:lnTo>
                  <a:lnTo>
                    <a:pt x="968168" y="862789"/>
                  </a:lnTo>
                  <a:lnTo>
                    <a:pt x="983146" y="847725"/>
                  </a:lnTo>
                  <a:lnTo>
                    <a:pt x="985286" y="877852"/>
                  </a:lnTo>
                  <a:lnTo>
                    <a:pt x="987425" y="895068"/>
                  </a:lnTo>
                  <a:lnTo>
                    <a:pt x="963889" y="920891"/>
                  </a:lnTo>
                  <a:lnTo>
                    <a:pt x="963889" y="926261"/>
                  </a:lnTo>
                  <a:lnTo>
                    <a:pt x="967678" y="928359"/>
                  </a:lnTo>
                  <a:lnTo>
                    <a:pt x="988268" y="935969"/>
                  </a:lnTo>
                  <a:lnTo>
                    <a:pt x="988268" y="951188"/>
                  </a:lnTo>
                  <a:cubicBezTo>
                    <a:pt x="995138" y="958797"/>
                    <a:pt x="1002008" y="958797"/>
                    <a:pt x="1002008" y="958797"/>
                  </a:cubicBezTo>
                  <a:lnTo>
                    <a:pt x="1029467" y="943578"/>
                  </a:lnTo>
                  <a:lnTo>
                    <a:pt x="1042754" y="950942"/>
                  </a:lnTo>
                  <a:lnTo>
                    <a:pt x="1051345" y="946683"/>
                  </a:lnTo>
                  <a:cubicBezTo>
                    <a:pt x="1055752" y="944499"/>
                    <a:pt x="1061629" y="941586"/>
                    <a:pt x="1069464" y="937702"/>
                  </a:cubicBezTo>
                  <a:cubicBezTo>
                    <a:pt x="1069464" y="937702"/>
                    <a:pt x="1069464" y="937702"/>
                    <a:pt x="1132144" y="914400"/>
                  </a:cubicBezTo>
                  <a:cubicBezTo>
                    <a:pt x="1132144" y="914400"/>
                    <a:pt x="1132144" y="914400"/>
                    <a:pt x="1139979" y="914400"/>
                  </a:cubicBezTo>
                  <a:cubicBezTo>
                    <a:pt x="1139979" y="914400"/>
                    <a:pt x="1139979" y="922168"/>
                    <a:pt x="1147814" y="922168"/>
                  </a:cubicBezTo>
                  <a:cubicBezTo>
                    <a:pt x="1147814" y="922168"/>
                    <a:pt x="1171319" y="922168"/>
                    <a:pt x="1171319" y="922168"/>
                  </a:cubicBezTo>
                  <a:cubicBezTo>
                    <a:pt x="1171319" y="922168"/>
                    <a:pt x="1171319" y="922168"/>
                    <a:pt x="1171319" y="914400"/>
                  </a:cubicBezTo>
                  <a:cubicBezTo>
                    <a:pt x="1171319" y="914400"/>
                    <a:pt x="1171319" y="914400"/>
                    <a:pt x="1173278" y="916342"/>
                  </a:cubicBezTo>
                  <a:lnTo>
                    <a:pt x="1180321" y="923324"/>
                  </a:lnTo>
                  <a:lnTo>
                    <a:pt x="1171575" y="914400"/>
                  </a:lnTo>
                  <a:lnTo>
                    <a:pt x="1179354" y="906462"/>
                  </a:lnTo>
                  <a:lnTo>
                    <a:pt x="1194689" y="890814"/>
                  </a:lnTo>
                  <a:lnTo>
                    <a:pt x="1193800" y="890814"/>
                  </a:lnTo>
                  <a:cubicBezTo>
                    <a:pt x="1193800" y="890814"/>
                    <a:pt x="1193800" y="890814"/>
                    <a:pt x="1201738" y="883104"/>
                  </a:cubicBezTo>
                  <a:cubicBezTo>
                    <a:pt x="1201738" y="883104"/>
                    <a:pt x="1201738" y="867682"/>
                    <a:pt x="1201738" y="852261"/>
                  </a:cubicBezTo>
                  <a:cubicBezTo>
                    <a:pt x="1201738" y="852261"/>
                    <a:pt x="1201738" y="852261"/>
                    <a:pt x="1233488" y="844550"/>
                  </a:cubicBezTo>
                  <a:close/>
                  <a:moveTo>
                    <a:pt x="1335982" y="781734"/>
                  </a:moveTo>
                  <a:lnTo>
                    <a:pt x="1336676" y="782183"/>
                  </a:lnTo>
                  <a:cubicBezTo>
                    <a:pt x="1336676" y="782183"/>
                    <a:pt x="1336676" y="782183"/>
                    <a:pt x="1350070" y="788689"/>
                  </a:cubicBezTo>
                  <a:lnTo>
                    <a:pt x="1352999" y="790112"/>
                  </a:lnTo>
                  <a:close/>
                  <a:moveTo>
                    <a:pt x="558884" y="741362"/>
                  </a:moveTo>
                  <a:cubicBezTo>
                    <a:pt x="574599" y="741362"/>
                    <a:pt x="574599" y="741362"/>
                    <a:pt x="574599" y="741362"/>
                  </a:cubicBezTo>
                  <a:cubicBezTo>
                    <a:pt x="598173" y="741362"/>
                    <a:pt x="598173" y="741362"/>
                    <a:pt x="598173" y="741362"/>
                  </a:cubicBezTo>
                  <a:cubicBezTo>
                    <a:pt x="598173" y="749198"/>
                    <a:pt x="598173" y="749198"/>
                    <a:pt x="598173" y="749198"/>
                  </a:cubicBezTo>
                  <a:cubicBezTo>
                    <a:pt x="582457" y="780543"/>
                    <a:pt x="582457" y="780543"/>
                    <a:pt x="582457" y="780543"/>
                  </a:cubicBezTo>
                  <a:cubicBezTo>
                    <a:pt x="590315" y="788379"/>
                    <a:pt x="590315" y="788379"/>
                    <a:pt x="590315" y="788379"/>
                  </a:cubicBezTo>
                  <a:cubicBezTo>
                    <a:pt x="613889" y="780543"/>
                    <a:pt x="613889" y="780543"/>
                    <a:pt x="613889" y="780543"/>
                  </a:cubicBezTo>
                  <a:cubicBezTo>
                    <a:pt x="637463" y="788379"/>
                    <a:pt x="637463" y="788379"/>
                    <a:pt x="637463" y="788379"/>
                  </a:cubicBezTo>
                  <a:cubicBezTo>
                    <a:pt x="629605" y="804051"/>
                    <a:pt x="629605" y="804051"/>
                    <a:pt x="629605" y="804051"/>
                  </a:cubicBezTo>
                  <a:cubicBezTo>
                    <a:pt x="621747" y="827560"/>
                    <a:pt x="621747" y="827560"/>
                    <a:pt x="621747" y="827560"/>
                  </a:cubicBezTo>
                  <a:cubicBezTo>
                    <a:pt x="606031" y="851069"/>
                    <a:pt x="606031" y="851069"/>
                    <a:pt x="606031" y="851069"/>
                  </a:cubicBezTo>
                  <a:cubicBezTo>
                    <a:pt x="606031" y="858905"/>
                    <a:pt x="606031" y="858905"/>
                    <a:pt x="606031" y="858905"/>
                  </a:cubicBezTo>
                  <a:cubicBezTo>
                    <a:pt x="621747" y="866741"/>
                    <a:pt x="621747" y="866741"/>
                    <a:pt x="621747" y="866741"/>
                  </a:cubicBezTo>
                  <a:cubicBezTo>
                    <a:pt x="637463" y="874577"/>
                    <a:pt x="637463" y="874577"/>
                    <a:pt x="637463" y="874577"/>
                  </a:cubicBezTo>
                  <a:cubicBezTo>
                    <a:pt x="653179" y="913758"/>
                    <a:pt x="653179" y="913758"/>
                    <a:pt x="653179" y="913758"/>
                  </a:cubicBezTo>
                  <a:cubicBezTo>
                    <a:pt x="668894" y="929430"/>
                    <a:pt x="668894" y="929430"/>
                    <a:pt x="668894" y="929430"/>
                  </a:cubicBezTo>
                  <a:cubicBezTo>
                    <a:pt x="692468" y="960775"/>
                    <a:pt x="692468" y="960775"/>
                    <a:pt x="692468" y="960775"/>
                  </a:cubicBezTo>
                  <a:cubicBezTo>
                    <a:pt x="684610" y="968611"/>
                    <a:pt x="684610" y="968611"/>
                    <a:pt x="684610" y="968611"/>
                  </a:cubicBezTo>
                  <a:cubicBezTo>
                    <a:pt x="684610" y="976447"/>
                    <a:pt x="684610" y="976447"/>
                    <a:pt x="684610" y="976447"/>
                  </a:cubicBezTo>
                  <a:cubicBezTo>
                    <a:pt x="684610" y="992120"/>
                    <a:pt x="684610" y="992120"/>
                    <a:pt x="684610" y="992120"/>
                  </a:cubicBezTo>
                  <a:cubicBezTo>
                    <a:pt x="700326" y="992120"/>
                    <a:pt x="700326" y="992120"/>
                    <a:pt x="700326" y="992120"/>
                  </a:cubicBezTo>
                  <a:cubicBezTo>
                    <a:pt x="716042" y="992120"/>
                    <a:pt x="716042" y="992120"/>
                    <a:pt x="716042" y="992120"/>
                  </a:cubicBezTo>
                  <a:cubicBezTo>
                    <a:pt x="723900" y="1023464"/>
                    <a:pt x="723900" y="1023464"/>
                    <a:pt x="723900" y="1023464"/>
                  </a:cubicBezTo>
                  <a:cubicBezTo>
                    <a:pt x="708184" y="1046973"/>
                    <a:pt x="708184" y="1046973"/>
                    <a:pt x="708184" y="1046973"/>
                  </a:cubicBezTo>
                  <a:cubicBezTo>
                    <a:pt x="708184" y="1054809"/>
                    <a:pt x="708184" y="1054809"/>
                    <a:pt x="708184" y="1054809"/>
                  </a:cubicBezTo>
                  <a:cubicBezTo>
                    <a:pt x="723900" y="1054809"/>
                    <a:pt x="723900" y="1054809"/>
                    <a:pt x="723900" y="1054809"/>
                  </a:cubicBezTo>
                  <a:cubicBezTo>
                    <a:pt x="708184" y="1062645"/>
                    <a:pt x="708184" y="1062645"/>
                    <a:pt x="708184" y="1062645"/>
                  </a:cubicBezTo>
                  <a:cubicBezTo>
                    <a:pt x="668894" y="1078317"/>
                    <a:pt x="668894" y="1078317"/>
                    <a:pt x="668894" y="1078317"/>
                  </a:cubicBezTo>
                  <a:cubicBezTo>
                    <a:pt x="645321" y="1078317"/>
                    <a:pt x="645321" y="1078317"/>
                    <a:pt x="645321" y="1078317"/>
                  </a:cubicBezTo>
                  <a:cubicBezTo>
                    <a:pt x="621747" y="1086154"/>
                    <a:pt x="621747" y="1086154"/>
                    <a:pt x="621747" y="1086154"/>
                  </a:cubicBezTo>
                  <a:cubicBezTo>
                    <a:pt x="621747" y="1086154"/>
                    <a:pt x="613889" y="1078317"/>
                    <a:pt x="606031" y="1078317"/>
                  </a:cubicBezTo>
                  <a:cubicBezTo>
                    <a:pt x="606031" y="1078317"/>
                    <a:pt x="598173" y="1093990"/>
                    <a:pt x="598173" y="1093990"/>
                  </a:cubicBezTo>
                  <a:cubicBezTo>
                    <a:pt x="582457" y="1093990"/>
                    <a:pt x="582457" y="1093990"/>
                    <a:pt x="582457" y="1093990"/>
                  </a:cubicBezTo>
                  <a:cubicBezTo>
                    <a:pt x="566741" y="1093990"/>
                    <a:pt x="566741" y="1093990"/>
                    <a:pt x="566741" y="1093990"/>
                  </a:cubicBezTo>
                  <a:cubicBezTo>
                    <a:pt x="558884" y="1109662"/>
                    <a:pt x="558884" y="1109662"/>
                    <a:pt x="558884" y="1109662"/>
                  </a:cubicBezTo>
                  <a:cubicBezTo>
                    <a:pt x="543168" y="1101826"/>
                    <a:pt x="543168" y="1101826"/>
                    <a:pt x="543168" y="1101826"/>
                  </a:cubicBezTo>
                  <a:cubicBezTo>
                    <a:pt x="551026" y="1086154"/>
                    <a:pt x="551026" y="1086154"/>
                    <a:pt x="551026" y="1086154"/>
                  </a:cubicBezTo>
                  <a:cubicBezTo>
                    <a:pt x="574599" y="1070481"/>
                    <a:pt x="574599" y="1070481"/>
                    <a:pt x="574599" y="1070481"/>
                  </a:cubicBezTo>
                  <a:cubicBezTo>
                    <a:pt x="598173" y="1046973"/>
                    <a:pt x="598173" y="1046973"/>
                    <a:pt x="598173" y="1046973"/>
                  </a:cubicBezTo>
                  <a:cubicBezTo>
                    <a:pt x="582457" y="1039137"/>
                    <a:pt x="582457" y="1039137"/>
                    <a:pt x="582457" y="1039137"/>
                  </a:cubicBezTo>
                  <a:cubicBezTo>
                    <a:pt x="566741" y="1039137"/>
                    <a:pt x="566741" y="1039137"/>
                    <a:pt x="566741" y="1039137"/>
                  </a:cubicBezTo>
                  <a:lnTo>
                    <a:pt x="558884" y="1031300"/>
                  </a:lnTo>
                  <a:cubicBezTo>
                    <a:pt x="582457" y="1015628"/>
                    <a:pt x="582457" y="1015628"/>
                    <a:pt x="582457" y="1015628"/>
                  </a:cubicBezTo>
                  <a:cubicBezTo>
                    <a:pt x="582457" y="999956"/>
                    <a:pt x="582457" y="999956"/>
                    <a:pt x="582457" y="999956"/>
                  </a:cubicBezTo>
                  <a:cubicBezTo>
                    <a:pt x="566741" y="999956"/>
                    <a:pt x="566741" y="999956"/>
                    <a:pt x="566741" y="999956"/>
                  </a:cubicBezTo>
                  <a:cubicBezTo>
                    <a:pt x="582457" y="976447"/>
                    <a:pt x="582457" y="976447"/>
                    <a:pt x="582457" y="976447"/>
                  </a:cubicBezTo>
                  <a:cubicBezTo>
                    <a:pt x="613889" y="968611"/>
                    <a:pt x="613889" y="968611"/>
                    <a:pt x="613889" y="968611"/>
                  </a:cubicBezTo>
                  <a:cubicBezTo>
                    <a:pt x="606031" y="945103"/>
                    <a:pt x="606031" y="945103"/>
                    <a:pt x="606031" y="945103"/>
                  </a:cubicBezTo>
                  <a:cubicBezTo>
                    <a:pt x="606031" y="937266"/>
                    <a:pt x="606031" y="937266"/>
                    <a:pt x="606031" y="937266"/>
                  </a:cubicBezTo>
                  <a:cubicBezTo>
                    <a:pt x="598173" y="921594"/>
                    <a:pt x="598173" y="921594"/>
                    <a:pt x="598173" y="921594"/>
                  </a:cubicBezTo>
                  <a:cubicBezTo>
                    <a:pt x="598173" y="913758"/>
                    <a:pt x="598173" y="913758"/>
                    <a:pt x="598173" y="913758"/>
                  </a:cubicBezTo>
                  <a:cubicBezTo>
                    <a:pt x="574599" y="913758"/>
                    <a:pt x="574599" y="913758"/>
                    <a:pt x="574599" y="913758"/>
                  </a:cubicBezTo>
                  <a:cubicBezTo>
                    <a:pt x="558884" y="913758"/>
                    <a:pt x="558884" y="913758"/>
                    <a:pt x="558884" y="913758"/>
                  </a:cubicBezTo>
                  <a:cubicBezTo>
                    <a:pt x="558884" y="898086"/>
                    <a:pt x="558884" y="898086"/>
                    <a:pt x="558884" y="898086"/>
                  </a:cubicBezTo>
                  <a:cubicBezTo>
                    <a:pt x="566741" y="866741"/>
                    <a:pt x="566741" y="866741"/>
                    <a:pt x="566741" y="866741"/>
                  </a:cubicBezTo>
                  <a:cubicBezTo>
                    <a:pt x="551026" y="866741"/>
                    <a:pt x="551026" y="866741"/>
                    <a:pt x="551026" y="866741"/>
                  </a:cubicBezTo>
                  <a:cubicBezTo>
                    <a:pt x="543168" y="882413"/>
                    <a:pt x="543168" y="882413"/>
                    <a:pt x="543168" y="882413"/>
                  </a:cubicBezTo>
                  <a:cubicBezTo>
                    <a:pt x="543168" y="882413"/>
                    <a:pt x="535310" y="874577"/>
                    <a:pt x="535310" y="866741"/>
                  </a:cubicBezTo>
                  <a:cubicBezTo>
                    <a:pt x="535310" y="858905"/>
                    <a:pt x="535310" y="843232"/>
                    <a:pt x="535310" y="843232"/>
                  </a:cubicBezTo>
                  <a:cubicBezTo>
                    <a:pt x="535310" y="827560"/>
                    <a:pt x="535310" y="827560"/>
                    <a:pt x="535310" y="827560"/>
                  </a:cubicBezTo>
                  <a:cubicBezTo>
                    <a:pt x="535310" y="804051"/>
                    <a:pt x="535310" y="804051"/>
                    <a:pt x="535310" y="804051"/>
                  </a:cubicBezTo>
                  <a:cubicBezTo>
                    <a:pt x="535310" y="788379"/>
                    <a:pt x="535310" y="788379"/>
                    <a:pt x="535310" y="788379"/>
                  </a:cubicBezTo>
                  <a:cubicBezTo>
                    <a:pt x="543168" y="772707"/>
                    <a:pt x="543168" y="772707"/>
                    <a:pt x="543168" y="772707"/>
                  </a:cubicBezTo>
                  <a:cubicBezTo>
                    <a:pt x="558884" y="741362"/>
                    <a:pt x="558884" y="741362"/>
                    <a:pt x="558884" y="741362"/>
                  </a:cubicBezTo>
                  <a:close/>
                  <a:moveTo>
                    <a:pt x="1311275" y="695325"/>
                  </a:moveTo>
                  <a:lnTo>
                    <a:pt x="1358901" y="695325"/>
                  </a:lnTo>
                  <a:lnTo>
                    <a:pt x="1374776" y="695325"/>
                  </a:lnTo>
                  <a:lnTo>
                    <a:pt x="1382713" y="703140"/>
                  </a:lnTo>
                  <a:lnTo>
                    <a:pt x="1374776" y="734402"/>
                  </a:lnTo>
                  <a:lnTo>
                    <a:pt x="1374776" y="750033"/>
                  </a:lnTo>
                  <a:lnTo>
                    <a:pt x="1366853" y="796841"/>
                  </a:lnTo>
                  <a:lnTo>
                    <a:pt x="1368426" y="797605"/>
                  </a:lnTo>
                  <a:cubicBezTo>
                    <a:pt x="1368426" y="797605"/>
                    <a:pt x="1368426" y="797605"/>
                    <a:pt x="1368426" y="805315"/>
                  </a:cubicBezTo>
                  <a:cubicBezTo>
                    <a:pt x="1368426" y="805315"/>
                    <a:pt x="1368426" y="805315"/>
                    <a:pt x="1384301" y="843869"/>
                  </a:cubicBezTo>
                  <a:cubicBezTo>
                    <a:pt x="1384301" y="843869"/>
                    <a:pt x="1384301" y="843869"/>
                    <a:pt x="1392238" y="851580"/>
                  </a:cubicBezTo>
                  <a:cubicBezTo>
                    <a:pt x="1392238" y="851580"/>
                    <a:pt x="1392238" y="851580"/>
                    <a:pt x="1368426" y="867001"/>
                  </a:cubicBezTo>
                  <a:cubicBezTo>
                    <a:pt x="1368426" y="867001"/>
                    <a:pt x="1368426" y="867001"/>
                    <a:pt x="1344613" y="874712"/>
                  </a:cubicBezTo>
                  <a:cubicBezTo>
                    <a:pt x="1344613" y="874712"/>
                    <a:pt x="1344613" y="874712"/>
                    <a:pt x="1328738" y="859291"/>
                  </a:cubicBezTo>
                  <a:cubicBezTo>
                    <a:pt x="1328738" y="859291"/>
                    <a:pt x="1328738" y="859291"/>
                    <a:pt x="1312863" y="843869"/>
                  </a:cubicBezTo>
                  <a:cubicBezTo>
                    <a:pt x="1312863" y="843869"/>
                    <a:pt x="1312863" y="843869"/>
                    <a:pt x="1296988" y="851580"/>
                  </a:cubicBezTo>
                  <a:cubicBezTo>
                    <a:pt x="1296988" y="851580"/>
                    <a:pt x="1296988" y="851580"/>
                    <a:pt x="1265238" y="843869"/>
                  </a:cubicBezTo>
                  <a:lnTo>
                    <a:pt x="1233488" y="843869"/>
                  </a:lnTo>
                  <a:cubicBezTo>
                    <a:pt x="1233488" y="843869"/>
                    <a:pt x="1233488" y="843869"/>
                    <a:pt x="1201738" y="851580"/>
                  </a:cubicBezTo>
                  <a:cubicBezTo>
                    <a:pt x="1201738" y="843869"/>
                    <a:pt x="1209676" y="828448"/>
                    <a:pt x="1209676" y="828448"/>
                  </a:cubicBezTo>
                  <a:cubicBezTo>
                    <a:pt x="1209676" y="820737"/>
                    <a:pt x="1225551" y="789894"/>
                    <a:pt x="1225551" y="789894"/>
                  </a:cubicBezTo>
                  <a:cubicBezTo>
                    <a:pt x="1225551" y="789894"/>
                    <a:pt x="1225551" y="789894"/>
                    <a:pt x="1241426" y="789894"/>
                  </a:cubicBezTo>
                  <a:cubicBezTo>
                    <a:pt x="1241426" y="789894"/>
                    <a:pt x="1241426" y="789894"/>
                    <a:pt x="1265238" y="813026"/>
                  </a:cubicBezTo>
                  <a:cubicBezTo>
                    <a:pt x="1265238" y="813026"/>
                    <a:pt x="1265238" y="813026"/>
                    <a:pt x="1273176" y="805315"/>
                  </a:cubicBezTo>
                  <a:cubicBezTo>
                    <a:pt x="1273176" y="805315"/>
                    <a:pt x="1273176" y="805315"/>
                    <a:pt x="1281113" y="774473"/>
                  </a:cubicBezTo>
                  <a:cubicBezTo>
                    <a:pt x="1281113" y="774473"/>
                    <a:pt x="1281113" y="774473"/>
                    <a:pt x="1312863" y="766762"/>
                  </a:cubicBezTo>
                  <a:cubicBezTo>
                    <a:pt x="1312863" y="766762"/>
                    <a:pt x="1312863" y="766762"/>
                    <a:pt x="1315840" y="768690"/>
                  </a:cubicBezTo>
                  <a:lnTo>
                    <a:pt x="1319262" y="770906"/>
                  </a:lnTo>
                  <a:lnTo>
                    <a:pt x="1311275" y="765663"/>
                  </a:lnTo>
                  <a:lnTo>
                    <a:pt x="1279525" y="773479"/>
                  </a:lnTo>
                  <a:lnTo>
                    <a:pt x="1287463" y="765663"/>
                  </a:lnTo>
                  <a:lnTo>
                    <a:pt x="1279525" y="757848"/>
                  </a:lnTo>
                  <a:lnTo>
                    <a:pt x="1271588" y="750033"/>
                  </a:lnTo>
                  <a:lnTo>
                    <a:pt x="1263650" y="734402"/>
                  </a:lnTo>
                  <a:lnTo>
                    <a:pt x="1263650" y="718771"/>
                  </a:lnTo>
                  <a:close/>
                  <a:moveTo>
                    <a:pt x="16181" y="352425"/>
                  </a:moveTo>
                  <a:lnTo>
                    <a:pt x="30051" y="365595"/>
                  </a:lnTo>
                  <a:lnTo>
                    <a:pt x="62414" y="356188"/>
                  </a:lnTo>
                  <a:lnTo>
                    <a:pt x="101712" y="352425"/>
                  </a:lnTo>
                  <a:lnTo>
                    <a:pt x="131763" y="369358"/>
                  </a:lnTo>
                  <a:lnTo>
                    <a:pt x="110958" y="388173"/>
                  </a:lnTo>
                  <a:lnTo>
                    <a:pt x="78595" y="403225"/>
                  </a:lnTo>
                  <a:lnTo>
                    <a:pt x="34674" y="391936"/>
                  </a:lnTo>
                  <a:lnTo>
                    <a:pt x="11558" y="393817"/>
                  </a:lnTo>
                  <a:lnTo>
                    <a:pt x="30051" y="386292"/>
                  </a:lnTo>
                  <a:lnTo>
                    <a:pt x="18493" y="373121"/>
                  </a:lnTo>
                  <a:lnTo>
                    <a:pt x="0" y="367477"/>
                  </a:lnTo>
                  <a:close/>
                  <a:moveTo>
                    <a:pt x="1117658" y="219075"/>
                  </a:moveTo>
                  <a:lnTo>
                    <a:pt x="1117144" y="219417"/>
                  </a:lnTo>
                  <a:lnTo>
                    <a:pt x="1124574" y="219417"/>
                  </a:lnTo>
                  <a:lnTo>
                    <a:pt x="1124746" y="219075"/>
                  </a:lnTo>
                  <a:lnTo>
                    <a:pt x="1124503" y="219075"/>
                  </a:lnTo>
                  <a:cubicBezTo>
                    <a:pt x="1123525" y="219075"/>
                    <a:pt x="1121569" y="219075"/>
                    <a:pt x="1117658" y="219075"/>
                  </a:cubicBezTo>
                  <a:close/>
                  <a:moveTo>
                    <a:pt x="1141126" y="187778"/>
                  </a:moveTo>
                  <a:lnTo>
                    <a:pt x="1140909" y="188212"/>
                  </a:lnTo>
                  <a:lnTo>
                    <a:pt x="1163665" y="188212"/>
                  </a:lnTo>
                  <a:lnTo>
                    <a:pt x="1179314" y="188212"/>
                  </a:lnTo>
                  <a:lnTo>
                    <a:pt x="1179314" y="187778"/>
                  </a:lnTo>
                  <a:lnTo>
                    <a:pt x="1178284" y="187778"/>
                  </a:lnTo>
                  <a:cubicBezTo>
                    <a:pt x="1176328" y="187778"/>
                    <a:pt x="1172417" y="187778"/>
                    <a:pt x="1164594" y="187778"/>
                  </a:cubicBezTo>
                  <a:cubicBezTo>
                    <a:pt x="1164594" y="187778"/>
                    <a:pt x="1164594" y="187778"/>
                    <a:pt x="1141126" y="187778"/>
                  </a:cubicBezTo>
                  <a:close/>
                  <a:moveTo>
                    <a:pt x="1188063" y="148658"/>
                  </a:moveTo>
                  <a:lnTo>
                    <a:pt x="1187874" y="149225"/>
                  </a:lnTo>
                  <a:lnTo>
                    <a:pt x="1194963" y="149225"/>
                  </a:lnTo>
                  <a:lnTo>
                    <a:pt x="1195248" y="149796"/>
                  </a:lnTo>
                  <a:lnTo>
                    <a:pt x="1201644" y="149796"/>
                  </a:lnTo>
                  <a:lnTo>
                    <a:pt x="1202216" y="148658"/>
                  </a:lnTo>
                  <a:lnTo>
                    <a:pt x="1195885" y="148658"/>
                  </a:lnTo>
                  <a:cubicBezTo>
                    <a:pt x="1195885" y="148658"/>
                    <a:pt x="1195885" y="148658"/>
                    <a:pt x="1188063" y="148658"/>
                  </a:cubicBezTo>
                  <a:close/>
                  <a:moveTo>
                    <a:pt x="1401117" y="146818"/>
                  </a:moveTo>
                  <a:lnTo>
                    <a:pt x="1400255" y="147680"/>
                  </a:lnTo>
                  <a:cubicBezTo>
                    <a:pt x="1399277" y="148658"/>
                    <a:pt x="1399277" y="148658"/>
                    <a:pt x="1399277" y="148658"/>
                  </a:cubicBezTo>
                  <a:close/>
                  <a:moveTo>
                    <a:pt x="1402930" y="145004"/>
                  </a:moveTo>
                  <a:lnTo>
                    <a:pt x="1401117" y="146818"/>
                  </a:lnTo>
                  <a:lnTo>
                    <a:pt x="1401788" y="146146"/>
                  </a:lnTo>
                  <a:close/>
                  <a:moveTo>
                    <a:pt x="1211531" y="133010"/>
                  </a:moveTo>
                  <a:cubicBezTo>
                    <a:pt x="1211531" y="133010"/>
                    <a:pt x="1211531" y="133010"/>
                    <a:pt x="1210553" y="134966"/>
                  </a:cubicBezTo>
                  <a:lnTo>
                    <a:pt x="1210220" y="135632"/>
                  </a:lnTo>
                  <a:lnTo>
                    <a:pt x="1210469" y="136128"/>
                  </a:lnTo>
                  <a:cubicBezTo>
                    <a:pt x="1211449" y="138080"/>
                    <a:pt x="1213411" y="141985"/>
                    <a:pt x="1217333" y="149796"/>
                  </a:cubicBezTo>
                  <a:cubicBezTo>
                    <a:pt x="1217333" y="149796"/>
                    <a:pt x="1217333" y="149796"/>
                    <a:pt x="1233021" y="165417"/>
                  </a:cubicBezTo>
                  <a:cubicBezTo>
                    <a:pt x="1233021" y="165417"/>
                    <a:pt x="1233021" y="165417"/>
                    <a:pt x="1256553" y="173227"/>
                  </a:cubicBezTo>
                  <a:cubicBezTo>
                    <a:pt x="1256553" y="173227"/>
                    <a:pt x="1256553" y="173227"/>
                    <a:pt x="1280086" y="165417"/>
                  </a:cubicBezTo>
                  <a:cubicBezTo>
                    <a:pt x="1280086" y="165417"/>
                    <a:pt x="1280086" y="165417"/>
                    <a:pt x="1287930" y="173227"/>
                  </a:cubicBezTo>
                  <a:lnTo>
                    <a:pt x="1289396" y="171768"/>
                  </a:lnTo>
                  <a:lnTo>
                    <a:pt x="1288780" y="171152"/>
                  </a:lnTo>
                  <a:cubicBezTo>
                    <a:pt x="1287803" y="170174"/>
                    <a:pt x="1285847" y="168218"/>
                    <a:pt x="1281936" y="164306"/>
                  </a:cubicBezTo>
                  <a:cubicBezTo>
                    <a:pt x="1281936" y="164306"/>
                    <a:pt x="1281936" y="164306"/>
                    <a:pt x="1258467" y="172130"/>
                  </a:cubicBezTo>
                  <a:cubicBezTo>
                    <a:pt x="1258467" y="172130"/>
                    <a:pt x="1258467" y="172130"/>
                    <a:pt x="1234999" y="164306"/>
                  </a:cubicBezTo>
                  <a:cubicBezTo>
                    <a:pt x="1234999" y="164306"/>
                    <a:pt x="1234999" y="164306"/>
                    <a:pt x="1219354" y="148658"/>
                  </a:cubicBezTo>
                  <a:cubicBezTo>
                    <a:pt x="1219354" y="148658"/>
                    <a:pt x="1219354" y="148658"/>
                    <a:pt x="1211531" y="133010"/>
                  </a:cubicBezTo>
                  <a:close/>
                  <a:moveTo>
                    <a:pt x="1391454" y="0"/>
                  </a:moveTo>
                  <a:cubicBezTo>
                    <a:pt x="1391454" y="0"/>
                    <a:pt x="1391454" y="0"/>
                    <a:pt x="1422745" y="31296"/>
                  </a:cubicBezTo>
                  <a:cubicBezTo>
                    <a:pt x="1422745" y="31296"/>
                    <a:pt x="1422745" y="31296"/>
                    <a:pt x="1446213" y="46944"/>
                  </a:cubicBezTo>
                  <a:cubicBezTo>
                    <a:pt x="1446213" y="46944"/>
                    <a:pt x="1446213" y="46944"/>
                    <a:pt x="1422745" y="70417"/>
                  </a:cubicBezTo>
                  <a:cubicBezTo>
                    <a:pt x="1422745" y="70417"/>
                    <a:pt x="1422745" y="70417"/>
                    <a:pt x="1430568" y="93889"/>
                  </a:cubicBezTo>
                  <a:cubicBezTo>
                    <a:pt x="1430568" y="93889"/>
                    <a:pt x="1430568" y="93889"/>
                    <a:pt x="1438390" y="101713"/>
                  </a:cubicBezTo>
                  <a:cubicBezTo>
                    <a:pt x="1438390" y="101713"/>
                    <a:pt x="1438390" y="101713"/>
                    <a:pt x="1430568" y="117361"/>
                  </a:cubicBezTo>
                  <a:cubicBezTo>
                    <a:pt x="1430568" y="117361"/>
                    <a:pt x="1430568" y="117361"/>
                    <a:pt x="1417367" y="130565"/>
                  </a:cubicBezTo>
                  <a:lnTo>
                    <a:pt x="1402930" y="145004"/>
                  </a:lnTo>
                  <a:lnTo>
                    <a:pt x="1405501" y="142432"/>
                  </a:lnTo>
                  <a:lnTo>
                    <a:pt x="1407099" y="140834"/>
                  </a:lnTo>
                  <a:cubicBezTo>
                    <a:pt x="1407099" y="140834"/>
                    <a:pt x="1407099" y="140834"/>
                    <a:pt x="1406121" y="141812"/>
                  </a:cubicBezTo>
                  <a:lnTo>
                    <a:pt x="1405501" y="142432"/>
                  </a:lnTo>
                  <a:lnTo>
                    <a:pt x="1401788" y="146146"/>
                  </a:lnTo>
                  <a:lnTo>
                    <a:pt x="1399277" y="148658"/>
                  </a:lnTo>
                  <a:cubicBezTo>
                    <a:pt x="1399277" y="148658"/>
                    <a:pt x="1399277" y="148658"/>
                    <a:pt x="1407099" y="133010"/>
                  </a:cubicBezTo>
                  <a:cubicBezTo>
                    <a:pt x="1407099" y="133010"/>
                    <a:pt x="1407099" y="133010"/>
                    <a:pt x="1407099" y="109537"/>
                  </a:cubicBezTo>
                  <a:cubicBezTo>
                    <a:pt x="1407099" y="109537"/>
                    <a:pt x="1407099" y="109537"/>
                    <a:pt x="1383631" y="86065"/>
                  </a:cubicBezTo>
                  <a:cubicBezTo>
                    <a:pt x="1383631" y="86065"/>
                    <a:pt x="1383631" y="86065"/>
                    <a:pt x="1344518" y="93889"/>
                  </a:cubicBezTo>
                  <a:lnTo>
                    <a:pt x="1343396" y="95011"/>
                  </a:lnTo>
                  <a:lnTo>
                    <a:pt x="1347741" y="94146"/>
                  </a:lnTo>
                  <a:cubicBezTo>
                    <a:pt x="1352644" y="93170"/>
                    <a:pt x="1362449" y="91217"/>
                    <a:pt x="1382059" y="87312"/>
                  </a:cubicBezTo>
                  <a:cubicBezTo>
                    <a:pt x="1382059" y="87312"/>
                    <a:pt x="1382059" y="87312"/>
                    <a:pt x="1405591" y="110743"/>
                  </a:cubicBezTo>
                  <a:cubicBezTo>
                    <a:pt x="1405591" y="110743"/>
                    <a:pt x="1405591" y="110743"/>
                    <a:pt x="1405591" y="134175"/>
                  </a:cubicBezTo>
                  <a:cubicBezTo>
                    <a:pt x="1405591" y="134175"/>
                    <a:pt x="1405591" y="134175"/>
                    <a:pt x="1397747" y="149796"/>
                  </a:cubicBezTo>
                  <a:cubicBezTo>
                    <a:pt x="1397747" y="149796"/>
                    <a:pt x="1397747" y="149796"/>
                    <a:pt x="1397747" y="157606"/>
                  </a:cubicBezTo>
                  <a:cubicBezTo>
                    <a:pt x="1397747" y="157606"/>
                    <a:pt x="1397747" y="157606"/>
                    <a:pt x="1389903" y="165417"/>
                  </a:cubicBezTo>
                  <a:cubicBezTo>
                    <a:pt x="1389903" y="165417"/>
                    <a:pt x="1389903" y="165417"/>
                    <a:pt x="1389903" y="196659"/>
                  </a:cubicBezTo>
                  <a:cubicBezTo>
                    <a:pt x="1389903" y="196659"/>
                    <a:pt x="1389903" y="196659"/>
                    <a:pt x="1389903" y="204469"/>
                  </a:cubicBezTo>
                  <a:cubicBezTo>
                    <a:pt x="1389903" y="204469"/>
                    <a:pt x="1389903" y="204469"/>
                    <a:pt x="1413436" y="220090"/>
                  </a:cubicBezTo>
                  <a:cubicBezTo>
                    <a:pt x="1413436" y="220090"/>
                    <a:pt x="1413436" y="220090"/>
                    <a:pt x="1429124" y="251333"/>
                  </a:cubicBezTo>
                  <a:cubicBezTo>
                    <a:pt x="1429124" y="251333"/>
                    <a:pt x="1429124" y="251333"/>
                    <a:pt x="1405591" y="298196"/>
                  </a:cubicBezTo>
                  <a:cubicBezTo>
                    <a:pt x="1405591" y="298196"/>
                    <a:pt x="1405591" y="298196"/>
                    <a:pt x="1429124" y="368490"/>
                  </a:cubicBezTo>
                  <a:cubicBezTo>
                    <a:pt x="1429124" y="368490"/>
                    <a:pt x="1429124" y="368490"/>
                    <a:pt x="1413436" y="384111"/>
                  </a:cubicBezTo>
                  <a:cubicBezTo>
                    <a:pt x="1413436" y="384111"/>
                    <a:pt x="1413436" y="384111"/>
                    <a:pt x="1421280" y="399732"/>
                  </a:cubicBezTo>
                  <a:cubicBezTo>
                    <a:pt x="1421280" y="399732"/>
                    <a:pt x="1421280" y="399732"/>
                    <a:pt x="1421280" y="415353"/>
                  </a:cubicBezTo>
                  <a:cubicBezTo>
                    <a:pt x="1421280" y="415353"/>
                    <a:pt x="1421280" y="415353"/>
                    <a:pt x="1429124" y="423164"/>
                  </a:cubicBezTo>
                  <a:cubicBezTo>
                    <a:pt x="1429124" y="423164"/>
                    <a:pt x="1421280" y="438785"/>
                    <a:pt x="1429124" y="438785"/>
                  </a:cubicBezTo>
                  <a:cubicBezTo>
                    <a:pt x="1429124" y="446595"/>
                    <a:pt x="1436968" y="454406"/>
                    <a:pt x="1436968" y="454406"/>
                  </a:cubicBezTo>
                  <a:cubicBezTo>
                    <a:pt x="1436968" y="454406"/>
                    <a:pt x="1436968" y="454406"/>
                    <a:pt x="1429124" y="493458"/>
                  </a:cubicBezTo>
                  <a:cubicBezTo>
                    <a:pt x="1429124" y="493458"/>
                    <a:pt x="1429124" y="493458"/>
                    <a:pt x="1444812" y="509079"/>
                  </a:cubicBezTo>
                  <a:cubicBezTo>
                    <a:pt x="1444812" y="509079"/>
                    <a:pt x="1444812" y="509079"/>
                    <a:pt x="1460500" y="516890"/>
                  </a:cubicBezTo>
                  <a:lnTo>
                    <a:pt x="1460500" y="540321"/>
                  </a:lnTo>
                  <a:cubicBezTo>
                    <a:pt x="1460500" y="540321"/>
                    <a:pt x="1460500" y="540321"/>
                    <a:pt x="1366371" y="649668"/>
                  </a:cubicBezTo>
                  <a:cubicBezTo>
                    <a:pt x="1366371" y="649668"/>
                    <a:pt x="1366371" y="649668"/>
                    <a:pt x="1350683" y="649668"/>
                  </a:cubicBezTo>
                  <a:cubicBezTo>
                    <a:pt x="1350683" y="649668"/>
                    <a:pt x="1350683" y="649668"/>
                    <a:pt x="1287930" y="673100"/>
                  </a:cubicBezTo>
                  <a:cubicBezTo>
                    <a:pt x="1287930" y="673100"/>
                    <a:pt x="1287930" y="673100"/>
                    <a:pt x="1248709" y="673100"/>
                  </a:cubicBezTo>
                  <a:cubicBezTo>
                    <a:pt x="1248709" y="673100"/>
                    <a:pt x="1248709" y="673100"/>
                    <a:pt x="1233021" y="657479"/>
                  </a:cubicBezTo>
                  <a:cubicBezTo>
                    <a:pt x="1233021" y="657479"/>
                    <a:pt x="1233021" y="657479"/>
                    <a:pt x="1217333" y="641858"/>
                  </a:cubicBezTo>
                  <a:cubicBezTo>
                    <a:pt x="1217333" y="641858"/>
                    <a:pt x="1217333" y="641858"/>
                    <a:pt x="1209488" y="602805"/>
                  </a:cubicBezTo>
                  <a:cubicBezTo>
                    <a:pt x="1209488" y="602805"/>
                    <a:pt x="1209488" y="602805"/>
                    <a:pt x="1201644" y="540321"/>
                  </a:cubicBezTo>
                  <a:cubicBezTo>
                    <a:pt x="1201644" y="540321"/>
                    <a:pt x="1201644" y="540321"/>
                    <a:pt x="1225177" y="501269"/>
                  </a:cubicBezTo>
                  <a:cubicBezTo>
                    <a:pt x="1225177" y="501269"/>
                    <a:pt x="1225177" y="501269"/>
                    <a:pt x="1264397" y="470027"/>
                  </a:cubicBezTo>
                  <a:cubicBezTo>
                    <a:pt x="1264397" y="470027"/>
                    <a:pt x="1264397" y="470027"/>
                    <a:pt x="1303618" y="399732"/>
                  </a:cubicBezTo>
                  <a:cubicBezTo>
                    <a:pt x="1303618" y="399732"/>
                    <a:pt x="1303618" y="399732"/>
                    <a:pt x="1287930" y="368490"/>
                  </a:cubicBezTo>
                  <a:cubicBezTo>
                    <a:pt x="1287930" y="368490"/>
                    <a:pt x="1287930" y="368490"/>
                    <a:pt x="1272241" y="368490"/>
                  </a:cubicBezTo>
                  <a:cubicBezTo>
                    <a:pt x="1272241" y="368490"/>
                    <a:pt x="1272241" y="368490"/>
                    <a:pt x="1272241" y="367514"/>
                  </a:cubicBezTo>
                  <a:lnTo>
                    <a:pt x="1272241" y="367349"/>
                  </a:lnTo>
                  <a:lnTo>
                    <a:pt x="1249702" y="359876"/>
                  </a:lnTo>
                  <a:lnTo>
                    <a:pt x="1226260" y="391081"/>
                  </a:lnTo>
                  <a:lnTo>
                    <a:pt x="1210612" y="414503"/>
                  </a:lnTo>
                  <a:lnTo>
                    <a:pt x="1218436" y="437925"/>
                  </a:lnTo>
                  <a:lnTo>
                    <a:pt x="1210612" y="461347"/>
                  </a:lnTo>
                  <a:lnTo>
                    <a:pt x="1163665" y="492552"/>
                  </a:lnTo>
                  <a:lnTo>
                    <a:pt x="1140223" y="508118"/>
                  </a:lnTo>
                  <a:lnTo>
                    <a:pt x="1116750" y="547105"/>
                  </a:lnTo>
                  <a:lnTo>
                    <a:pt x="1116750" y="586167"/>
                  </a:lnTo>
                  <a:cubicBezTo>
                    <a:pt x="1114153" y="604400"/>
                    <a:pt x="1111523" y="622560"/>
                    <a:pt x="1108926" y="640794"/>
                  </a:cubicBezTo>
                  <a:lnTo>
                    <a:pt x="1132399" y="656359"/>
                  </a:lnTo>
                  <a:lnTo>
                    <a:pt x="1140223" y="679781"/>
                  </a:lnTo>
                  <a:lnTo>
                    <a:pt x="1140223" y="718769"/>
                  </a:lnTo>
                  <a:lnTo>
                    <a:pt x="1116750" y="726552"/>
                  </a:lnTo>
                  <a:lnTo>
                    <a:pt x="1101101" y="734408"/>
                  </a:lnTo>
                  <a:lnTo>
                    <a:pt x="1101101" y="765613"/>
                  </a:lnTo>
                  <a:cubicBezTo>
                    <a:pt x="1098504" y="783847"/>
                    <a:pt x="1095874" y="802006"/>
                    <a:pt x="1093277" y="820240"/>
                  </a:cubicBezTo>
                  <a:lnTo>
                    <a:pt x="1077628" y="851445"/>
                  </a:lnTo>
                  <a:lnTo>
                    <a:pt x="1054186" y="851445"/>
                  </a:lnTo>
                  <a:lnTo>
                    <a:pt x="1038537" y="867011"/>
                  </a:lnTo>
                  <a:cubicBezTo>
                    <a:pt x="1035940" y="872199"/>
                    <a:pt x="1033952" y="881909"/>
                    <a:pt x="1030713" y="882650"/>
                  </a:cubicBezTo>
                  <a:cubicBezTo>
                    <a:pt x="1027474" y="883391"/>
                    <a:pt x="1021958" y="873904"/>
                    <a:pt x="1019137" y="871384"/>
                  </a:cubicBezTo>
                  <a:cubicBezTo>
                    <a:pt x="1016315" y="868864"/>
                    <a:pt x="1015128" y="871829"/>
                    <a:pt x="1013717" y="867678"/>
                  </a:cubicBezTo>
                  <a:cubicBezTo>
                    <a:pt x="1012306" y="863527"/>
                    <a:pt x="1011569" y="854781"/>
                    <a:pt x="1010671" y="846701"/>
                  </a:cubicBezTo>
                  <a:cubicBezTo>
                    <a:pt x="1009773" y="838622"/>
                    <a:pt x="1012883" y="831803"/>
                    <a:pt x="1008298" y="819128"/>
                  </a:cubicBezTo>
                  <a:cubicBezTo>
                    <a:pt x="1003712" y="806454"/>
                    <a:pt x="989827" y="779548"/>
                    <a:pt x="983125" y="770653"/>
                  </a:cubicBezTo>
                  <a:cubicBezTo>
                    <a:pt x="976423" y="761759"/>
                    <a:pt x="973248" y="772951"/>
                    <a:pt x="968149" y="765613"/>
                  </a:cubicBezTo>
                  <a:cubicBezTo>
                    <a:pt x="963050" y="758275"/>
                    <a:pt x="968149" y="765613"/>
                    <a:pt x="952500" y="726552"/>
                  </a:cubicBezTo>
                  <a:lnTo>
                    <a:pt x="953380" y="725676"/>
                  </a:lnTo>
                  <a:lnTo>
                    <a:pt x="953380" y="719817"/>
                  </a:lnTo>
                  <a:cubicBezTo>
                    <a:pt x="953380" y="719817"/>
                    <a:pt x="953380" y="719817"/>
                    <a:pt x="945557" y="711993"/>
                  </a:cubicBezTo>
                  <a:cubicBezTo>
                    <a:pt x="945557" y="711993"/>
                    <a:pt x="945557" y="711993"/>
                    <a:pt x="922089" y="727641"/>
                  </a:cubicBezTo>
                  <a:cubicBezTo>
                    <a:pt x="922089" y="727641"/>
                    <a:pt x="922089" y="727641"/>
                    <a:pt x="882975" y="758938"/>
                  </a:cubicBezTo>
                  <a:cubicBezTo>
                    <a:pt x="882975" y="758938"/>
                    <a:pt x="882975" y="758938"/>
                    <a:pt x="851684" y="766762"/>
                  </a:cubicBezTo>
                  <a:cubicBezTo>
                    <a:pt x="851684" y="766762"/>
                    <a:pt x="851684" y="766762"/>
                    <a:pt x="820393" y="743290"/>
                  </a:cubicBezTo>
                  <a:cubicBezTo>
                    <a:pt x="820393" y="743290"/>
                    <a:pt x="820393" y="743290"/>
                    <a:pt x="820393" y="711993"/>
                  </a:cubicBezTo>
                  <a:cubicBezTo>
                    <a:pt x="820393" y="711993"/>
                    <a:pt x="820393" y="711993"/>
                    <a:pt x="812570" y="680697"/>
                  </a:cubicBezTo>
                  <a:cubicBezTo>
                    <a:pt x="812570" y="680697"/>
                    <a:pt x="812570" y="680697"/>
                    <a:pt x="804747" y="657224"/>
                  </a:cubicBezTo>
                  <a:cubicBezTo>
                    <a:pt x="804747" y="657224"/>
                    <a:pt x="804747" y="657224"/>
                    <a:pt x="796925" y="618104"/>
                  </a:cubicBezTo>
                  <a:cubicBezTo>
                    <a:pt x="796925" y="618104"/>
                    <a:pt x="796925" y="618104"/>
                    <a:pt x="812570" y="594632"/>
                  </a:cubicBezTo>
                  <a:cubicBezTo>
                    <a:pt x="812570" y="594632"/>
                    <a:pt x="812570" y="594632"/>
                    <a:pt x="820393" y="571159"/>
                  </a:cubicBezTo>
                  <a:cubicBezTo>
                    <a:pt x="820393" y="571159"/>
                    <a:pt x="820393" y="571159"/>
                    <a:pt x="828216" y="555511"/>
                  </a:cubicBezTo>
                  <a:cubicBezTo>
                    <a:pt x="828216" y="555511"/>
                    <a:pt x="828216" y="555511"/>
                    <a:pt x="843861" y="539863"/>
                  </a:cubicBezTo>
                  <a:cubicBezTo>
                    <a:pt x="843861" y="539863"/>
                    <a:pt x="843861" y="539863"/>
                    <a:pt x="859507" y="508566"/>
                  </a:cubicBezTo>
                  <a:cubicBezTo>
                    <a:pt x="859507" y="508566"/>
                    <a:pt x="859507" y="508566"/>
                    <a:pt x="898620" y="492918"/>
                  </a:cubicBezTo>
                  <a:cubicBezTo>
                    <a:pt x="898620" y="492918"/>
                    <a:pt x="898620" y="492918"/>
                    <a:pt x="929911" y="469446"/>
                  </a:cubicBezTo>
                  <a:cubicBezTo>
                    <a:pt x="929911" y="469446"/>
                    <a:pt x="929911" y="469446"/>
                    <a:pt x="976848" y="383381"/>
                  </a:cubicBezTo>
                  <a:cubicBezTo>
                    <a:pt x="976848" y="383381"/>
                    <a:pt x="976848" y="383381"/>
                    <a:pt x="992494" y="359909"/>
                  </a:cubicBezTo>
                  <a:cubicBezTo>
                    <a:pt x="992494" y="359909"/>
                    <a:pt x="992494" y="359909"/>
                    <a:pt x="1000317" y="320788"/>
                  </a:cubicBezTo>
                  <a:cubicBezTo>
                    <a:pt x="1000317" y="320788"/>
                    <a:pt x="1000317" y="320788"/>
                    <a:pt x="1015962" y="297316"/>
                  </a:cubicBezTo>
                  <a:cubicBezTo>
                    <a:pt x="1015962" y="297316"/>
                    <a:pt x="1015962" y="297316"/>
                    <a:pt x="1047253" y="242547"/>
                  </a:cubicBezTo>
                  <a:cubicBezTo>
                    <a:pt x="1047253" y="242547"/>
                    <a:pt x="1047253" y="242547"/>
                    <a:pt x="1047253" y="219075"/>
                  </a:cubicBezTo>
                  <a:cubicBezTo>
                    <a:pt x="1047253" y="219075"/>
                    <a:pt x="1047253" y="219075"/>
                    <a:pt x="1086367" y="172130"/>
                  </a:cubicBezTo>
                  <a:cubicBezTo>
                    <a:pt x="1086367" y="172130"/>
                    <a:pt x="1086367" y="172130"/>
                    <a:pt x="1109835" y="172130"/>
                  </a:cubicBezTo>
                  <a:cubicBezTo>
                    <a:pt x="1109835" y="172130"/>
                    <a:pt x="1109835" y="172130"/>
                    <a:pt x="1117658" y="148658"/>
                  </a:cubicBezTo>
                  <a:cubicBezTo>
                    <a:pt x="1117658" y="148658"/>
                    <a:pt x="1117658" y="148658"/>
                    <a:pt x="1133303" y="109537"/>
                  </a:cubicBezTo>
                  <a:cubicBezTo>
                    <a:pt x="1133303" y="109537"/>
                    <a:pt x="1133303" y="109537"/>
                    <a:pt x="1172417" y="101713"/>
                  </a:cubicBezTo>
                  <a:cubicBezTo>
                    <a:pt x="1172417" y="101713"/>
                    <a:pt x="1172417" y="101713"/>
                    <a:pt x="1188063" y="62593"/>
                  </a:cubicBezTo>
                  <a:cubicBezTo>
                    <a:pt x="1188063" y="62593"/>
                    <a:pt x="1188063" y="62593"/>
                    <a:pt x="1211531" y="62593"/>
                  </a:cubicBezTo>
                  <a:cubicBezTo>
                    <a:pt x="1211531" y="62593"/>
                    <a:pt x="1211531" y="62593"/>
                    <a:pt x="1227176" y="46944"/>
                  </a:cubicBezTo>
                  <a:cubicBezTo>
                    <a:pt x="1227176" y="46944"/>
                    <a:pt x="1227176" y="46944"/>
                    <a:pt x="1234999" y="46944"/>
                  </a:cubicBezTo>
                  <a:cubicBezTo>
                    <a:pt x="1234999" y="46944"/>
                    <a:pt x="1234999" y="46944"/>
                    <a:pt x="1258467" y="39120"/>
                  </a:cubicBezTo>
                  <a:cubicBezTo>
                    <a:pt x="1258467" y="39120"/>
                    <a:pt x="1258467" y="39120"/>
                    <a:pt x="1281936" y="7824"/>
                  </a:cubicBezTo>
                  <a:cubicBezTo>
                    <a:pt x="1281936" y="7824"/>
                    <a:pt x="1281936" y="7824"/>
                    <a:pt x="1313227" y="7824"/>
                  </a:cubicBezTo>
                  <a:cubicBezTo>
                    <a:pt x="1313227" y="7824"/>
                    <a:pt x="1313227" y="7824"/>
                    <a:pt x="1336695" y="7824"/>
                  </a:cubicBezTo>
                  <a:cubicBezTo>
                    <a:pt x="1336695" y="7824"/>
                    <a:pt x="1336695" y="7824"/>
                    <a:pt x="1336695" y="15648"/>
                  </a:cubicBezTo>
                  <a:cubicBezTo>
                    <a:pt x="1336695" y="15648"/>
                    <a:pt x="1336695" y="15648"/>
                    <a:pt x="1360163" y="31296"/>
                  </a:cubicBezTo>
                  <a:cubicBezTo>
                    <a:pt x="1360163" y="31296"/>
                    <a:pt x="1360163" y="31296"/>
                    <a:pt x="1391454" y="0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  <a:scene3d>
              <a:camera prst="orthographicFront"/>
              <a:lightRig rig="contrasting" dir="t"/>
            </a:scene3d>
            <a:sp3d z="63500" prstMaterial="metal">
              <a:bevelB w="0" h="0"/>
            </a:sp3d>
          </p:spPr>
          <p:txBody>
            <a:bodyPr wrap="square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5230312" y="3599262"/>
              <a:ext cx="2207918" cy="2187126"/>
            </a:xfrm>
            <a:custGeom>
              <a:avLst/>
              <a:gdLst>
                <a:gd name="connsiteX0" fmla="*/ 941295 w 1687513"/>
                <a:gd name="connsiteY0" fmla="*/ 1538258 h 1898650"/>
                <a:gd name="connsiteX1" fmla="*/ 925668 w 1687513"/>
                <a:gd name="connsiteY1" fmla="*/ 1545999 h 1898650"/>
                <a:gd name="connsiteX2" fmla="*/ 925668 w 1687513"/>
                <a:gd name="connsiteY2" fmla="*/ 1546148 h 1898650"/>
                <a:gd name="connsiteX3" fmla="*/ 941282 w 1687513"/>
                <a:gd name="connsiteY3" fmla="*/ 1538394 h 1898650"/>
                <a:gd name="connsiteX4" fmla="*/ 1122511 w 1687513"/>
                <a:gd name="connsiteY4" fmla="*/ 1530101 h 1898650"/>
                <a:gd name="connsiteX5" fmla="*/ 1122627 w 1687513"/>
                <a:gd name="connsiteY5" fmla="*/ 1530562 h 1898650"/>
                <a:gd name="connsiteX6" fmla="*/ 1159386 w 1687513"/>
                <a:gd name="connsiteY6" fmla="*/ 1545167 h 1898650"/>
                <a:gd name="connsiteX7" fmla="*/ 1159856 w 1687513"/>
                <a:gd name="connsiteY7" fmla="*/ 1544828 h 1898650"/>
                <a:gd name="connsiteX8" fmla="*/ 1159537 w 1687513"/>
                <a:gd name="connsiteY8" fmla="*/ 1544776 h 1898650"/>
                <a:gd name="connsiteX9" fmla="*/ 1142933 w 1687513"/>
                <a:gd name="connsiteY9" fmla="*/ 1538195 h 1898650"/>
                <a:gd name="connsiteX10" fmla="*/ 1098025 w 1687513"/>
                <a:gd name="connsiteY10" fmla="*/ 1497979 h 1898650"/>
                <a:gd name="connsiteX11" fmla="*/ 1098974 w 1687513"/>
                <a:gd name="connsiteY11" fmla="*/ 1499235 h 1898650"/>
                <a:gd name="connsiteX12" fmla="*/ 1112626 w 1687513"/>
                <a:gd name="connsiteY12" fmla="*/ 1499235 h 1898650"/>
                <a:gd name="connsiteX13" fmla="*/ 1112309 w 1687513"/>
                <a:gd name="connsiteY13" fmla="*/ 1497979 h 1898650"/>
                <a:gd name="connsiteX14" fmla="*/ 1110341 w 1687513"/>
                <a:gd name="connsiteY14" fmla="*/ 1497979 h 1898650"/>
                <a:gd name="connsiteX15" fmla="*/ 1049657 w 1687513"/>
                <a:gd name="connsiteY15" fmla="*/ 1435584 h 1898650"/>
                <a:gd name="connsiteX16" fmla="*/ 1051666 w 1687513"/>
                <a:gd name="connsiteY16" fmla="*/ 1436582 h 1898650"/>
                <a:gd name="connsiteX17" fmla="*/ 1057713 w 1687513"/>
                <a:gd name="connsiteY17" fmla="*/ 1436582 h 1898650"/>
                <a:gd name="connsiteX18" fmla="*/ 1057210 w 1687513"/>
                <a:gd name="connsiteY18" fmla="*/ 1435584 h 1898650"/>
                <a:gd name="connsiteX19" fmla="*/ 1056226 w 1687513"/>
                <a:gd name="connsiteY19" fmla="*/ 1435584 h 1898650"/>
                <a:gd name="connsiteX20" fmla="*/ 1065988 w 1687513"/>
                <a:gd name="connsiteY20" fmla="*/ 1427321 h 1898650"/>
                <a:gd name="connsiteX21" fmla="*/ 1050261 w 1687513"/>
                <a:gd name="connsiteY21" fmla="*/ 1435100 h 1898650"/>
                <a:gd name="connsiteX22" fmla="*/ 1048295 w 1687513"/>
                <a:gd name="connsiteY22" fmla="*/ 1434128 h 1898650"/>
                <a:gd name="connsiteX23" fmla="*/ 1039486 w 1687513"/>
                <a:gd name="connsiteY23" fmla="*/ 1429771 h 1898650"/>
                <a:gd name="connsiteX24" fmla="*/ 1037952 w 1687513"/>
                <a:gd name="connsiteY24" fmla="*/ 1429771 h 1898650"/>
                <a:gd name="connsiteX25" fmla="*/ 1049498 w 1687513"/>
                <a:gd name="connsiteY25" fmla="*/ 1435505 h 1898650"/>
                <a:gd name="connsiteX26" fmla="*/ 1051306 w 1687513"/>
                <a:gd name="connsiteY26" fmla="*/ 1434609 h 1898650"/>
                <a:gd name="connsiteX27" fmla="*/ 1065081 w 1687513"/>
                <a:gd name="connsiteY27" fmla="*/ 1427784 h 1898650"/>
                <a:gd name="connsiteX28" fmla="*/ 1096566 w 1687513"/>
                <a:gd name="connsiteY28" fmla="*/ 1435584 h 1898650"/>
                <a:gd name="connsiteX29" fmla="*/ 1097122 w 1687513"/>
                <a:gd name="connsiteY29" fmla="*/ 1435033 h 1898650"/>
                <a:gd name="connsiteX30" fmla="*/ 1078767 w 1687513"/>
                <a:gd name="connsiteY30" fmla="*/ 1431211 h 1898650"/>
                <a:gd name="connsiteX31" fmla="*/ 1065988 w 1687513"/>
                <a:gd name="connsiteY31" fmla="*/ 1427321 h 1898650"/>
                <a:gd name="connsiteX32" fmla="*/ 979990 w 1687513"/>
                <a:gd name="connsiteY32" fmla="*/ 1389420 h 1898650"/>
                <a:gd name="connsiteX33" fmla="*/ 979990 w 1687513"/>
                <a:gd name="connsiteY33" fmla="*/ 1389481 h 1898650"/>
                <a:gd name="connsiteX34" fmla="*/ 995697 w 1687513"/>
                <a:gd name="connsiteY34" fmla="*/ 1420896 h 1898650"/>
                <a:gd name="connsiteX35" fmla="*/ 948574 w 1687513"/>
                <a:gd name="connsiteY35" fmla="*/ 1428750 h 1898650"/>
                <a:gd name="connsiteX36" fmla="*/ 885742 w 1687513"/>
                <a:gd name="connsiteY36" fmla="*/ 1428750 h 1898650"/>
                <a:gd name="connsiteX37" fmla="*/ 870034 w 1687513"/>
                <a:gd name="connsiteY37" fmla="*/ 1420896 h 1898650"/>
                <a:gd name="connsiteX38" fmla="*/ 796373 w 1687513"/>
                <a:gd name="connsiteY38" fmla="*/ 1420896 h 1898650"/>
                <a:gd name="connsiteX39" fmla="*/ 760283 w 1687513"/>
                <a:gd name="connsiteY39" fmla="*/ 1420896 h 1898650"/>
                <a:gd name="connsiteX40" fmla="*/ 761420 w 1687513"/>
                <a:gd name="connsiteY40" fmla="*/ 1422022 h 1898650"/>
                <a:gd name="connsiteX41" fmla="*/ 870919 w 1687513"/>
                <a:gd name="connsiteY41" fmla="*/ 1422022 h 1898650"/>
                <a:gd name="connsiteX42" fmla="*/ 886561 w 1687513"/>
                <a:gd name="connsiteY42" fmla="*/ 1429771 h 1898650"/>
                <a:gd name="connsiteX43" fmla="*/ 949132 w 1687513"/>
                <a:gd name="connsiteY43" fmla="*/ 1429771 h 1898650"/>
                <a:gd name="connsiteX44" fmla="*/ 996060 w 1687513"/>
                <a:gd name="connsiteY44" fmla="*/ 1422022 h 1898650"/>
                <a:gd name="connsiteX45" fmla="*/ 1027346 w 1687513"/>
                <a:gd name="connsiteY45" fmla="*/ 1422022 h 1898650"/>
                <a:gd name="connsiteX46" fmla="*/ 1038043 w 1687513"/>
                <a:gd name="connsiteY46" fmla="*/ 1427321 h 1898650"/>
                <a:gd name="connsiteX47" fmla="*/ 1042397 w 1687513"/>
                <a:gd name="connsiteY47" fmla="*/ 1427321 h 1898650"/>
                <a:gd name="connsiteX48" fmla="*/ 1026670 w 1687513"/>
                <a:gd name="connsiteY48" fmla="*/ 1419543 h 1898650"/>
                <a:gd name="connsiteX49" fmla="*/ 995216 w 1687513"/>
                <a:gd name="connsiteY49" fmla="*/ 1419543 h 1898650"/>
                <a:gd name="connsiteX50" fmla="*/ 988581 w 1687513"/>
                <a:gd name="connsiteY50" fmla="*/ 1406416 h 1898650"/>
                <a:gd name="connsiteX51" fmla="*/ 1184182 w 1687513"/>
                <a:gd name="connsiteY51" fmla="*/ 1365074 h 1898650"/>
                <a:gd name="connsiteX52" fmla="*/ 1183195 w 1687513"/>
                <a:gd name="connsiteY52" fmla="*/ 1366051 h 1898650"/>
                <a:gd name="connsiteX53" fmla="*/ 1182476 w 1687513"/>
                <a:gd name="connsiteY53" fmla="*/ 1366764 h 1898650"/>
                <a:gd name="connsiteX54" fmla="*/ 1176291 w 1687513"/>
                <a:gd name="connsiteY54" fmla="*/ 1372894 h 1898650"/>
                <a:gd name="connsiteX55" fmla="*/ 1176008 w 1687513"/>
                <a:gd name="connsiteY55" fmla="*/ 1372894 h 1898650"/>
                <a:gd name="connsiteX56" fmla="*/ 1173131 w 1687513"/>
                <a:gd name="connsiteY56" fmla="*/ 1373843 h 1898650"/>
                <a:gd name="connsiteX57" fmla="*/ 1152489 w 1687513"/>
                <a:gd name="connsiteY57" fmla="*/ 1380649 h 1898650"/>
                <a:gd name="connsiteX58" fmla="*/ 1152388 w 1687513"/>
                <a:gd name="connsiteY58" fmla="*/ 1380749 h 1898650"/>
                <a:gd name="connsiteX59" fmla="*/ 1154617 w 1687513"/>
                <a:gd name="connsiteY59" fmla="*/ 1380013 h 1898650"/>
                <a:gd name="connsiteX60" fmla="*/ 1175280 w 1687513"/>
                <a:gd name="connsiteY60" fmla="*/ 1373188 h 1898650"/>
                <a:gd name="connsiteX61" fmla="*/ 1238250 w 1687513"/>
                <a:gd name="connsiteY61" fmla="*/ 1396587 h 1898650"/>
                <a:gd name="connsiteX62" fmla="*/ 1238250 w 1687513"/>
                <a:gd name="connsiteY62" fmla="*/ 1427784 h 1898650"/>
                <a:gd name="connsiteX63" fmla="*/ 1238250 w 1687513"/>
                <a:gd name="connsiteY63" fmla="*/ 1466781 h 1898650"/>
                <a:gd name="connsiteX64" fmla="*/ 1222508 w 1687513"/>
                <a:gd name="connsiteY64" fmla="*/ 1529177 h 1898650"/>
                <a:gd name="connsiteX65" fmla="*/ 1215866 w 1687513"/>
                <a:gd name="connsiteY65" fmla="*/ 1539048 h 1898650"/>
                <a:gd name="connsiteX66" fmla="*/ 1206831 w 1687513"/>
                <a:gd name="connsiteY66" fmla="*/ 1552477 h 1898650"/>
                <a:gd name="connsiteX67" fmla="*/ 1206998 w 1687513"/>
                <a:gd name="connsiteY67" fmla="*/ 1552505 h 1898650"/>
                <a:gd name="connsiteX68" fmla="*/ 1199185 w 1687513"/>
                <a:gd name="connsiteY68" fmla="*/ 1560372 h 1898650"/>
                <a:gd name="connsiteX69" fmla="*/ 1206998 w 1687513"/>
                <a:gd name="connsiteY69" fmla="*/ 1552505 h 1898650"/>
                <a:gd name="connsiteX70" fmla="*/ 1207975 w 1687513"/>
                <a:gd name="connsiteY70" fmla="*/ 1552505 h 1898650"/>
                <a:gd name="connsiteX71" fmla="*/ 1208020 w 1687513"/>
                <a:gd name="connsiteY71" fmla="*/ 1552505 h 1898650"/>
                <a:gd name="connsiteX72" fmla="*/ 1209827 w 1687513"/>
                <a:gd name="connsiteY72" fmla="*/ 1549819 h 1898650"/>
                <a:gd name="connsiteX73" fmla="*/ 1223636 w 1687513"/>
                <a:gd name="connsiteY73" fmla="*/ 1529292 h 1898650"/>
                <a:gd name="connsiteX74" fmla="*/ 1239418 w 1687513"/>
                <a:gd name="connsiteY74" fmla="*/ 1466733 h 1898650"/>
                <a:gd name="connsiteX75" fmla="*/ 1239418 w 1687513"/>
                <a:gd name="connsiteY75" fmla="*/ 1427633 h 1898650"/>
                <a:gd name="connsiteX76" fmla="*/ 1239418 w 1687513"/>
                <a:gd name="connsiteY76" fmla="*/ 1396353 h 1898650"/>
                <a:gd name="connsiteX77" fmla="*/ 1176291 w 1687513"/>
                <a:gd name="connsiteY77" fmla="*/ 1372894 h 1898650"/>
                <a:gd name="connsiteX78" fmla="*/ 1177278 w 1687513"/>
                <a:gd name="connsiteY78" fmla="*/ 1371916 h 1898650"/>
                <a:gd name="connsiteX79" fmla="*/ 1182476 w 1687513"/>
                <a:gd name="connsiteY79" fmla="*/ 1366764 h 1898650"/>
                <a:gd name="connsiteX80" fmla="*/ 1238989 w 1687513"/>
                <a:gd name="connsiteY80" fmla="*/ 1333977 h 1898650"/>
                <a:gd name="connsiteX81" fmla="*/ 1168216 w 1687513"/>
                <a:gd name="connsiteY81" fmla="*/ 1365092 h 1898650"/>
                <a:gd name="connsiteX82" fmla="*/ 1168216 w 1687513"/>
                <a:gd name="connsiteY82" fmla="*/ 1372870 h 1898650"/>
                <a:gd name="connsiteX83" fmla="*/ 1168400 w 1687513"/>
                <a:gd name="connsiteY83" fmla="*/ 1372870 h 1898650"/>
                <a:gd name="connsiteX84" fmla="*/ 1168400 w 1687513"/>
                <a:gd name="connsiteY84" fmla="*/ 1371916 h 1898650"/>
                <a:gd name="connsiteX85" fmla="*/ 1168400 w 1687513"/>
                <a:gd name="connsiteY85" fmla="*/ 1365074 h 1898650"/>
                <a:gd name="connsiteX86" fmla="*/ 1198361 w 1687513"/>
                <a:gd name="connsiteY86" fmla="*/ 1351878 h 1898650"/>
                <a:gd name="connsiteX87" fmla="*/ 1238996 w 1687513"/>
                <a:gd name="connsiteY87" fmla="*/ 1333980 h 1898650"/>
                <a:gd name="connsiteX88" fmla="*/ 1641476 w 1687513"/>
                <a:gd name="connsiteY88" fmla="*/ 1285875 h 1898650"/>
                <a:gd name="connsiteX89" fmla="*/ 1665288 w 1687513"/>
                <a:gd name="connsiteY89" fmla="*/ 1317218 h 1898650"/>
                <a:gd name="connsiteX90" fmla="*/ 1665288 w 1687513"/>
                <a:gd name="connsiteY90" fmla="*/ 1372068 h 1898650"/>
                <a:gd name="connsiteX91" fmla="*/ 1665288 w 1687513"/>
                <a:gd name="connsiteY91" fmla="*/ 1404716 h 1898650"/>
                <a:gd name="connsiteX92" fmla="*/ 1601788 w 1687513"/>
                <a:gd name="connsiteY92" fmla="*/ 1616279 h 1898650"/>
                <a:gd name="connsiteX93" fmla="*/ 1570038 w 1687513"/>
                <a:gd name="connsiteY93" fmla="*/ 1624115 h 1898650"/>
                <a:gd name="connsiteX94" fmla="*/ 1538288 w 1687513"/>
                <a:gd name="connsiteY94" fmla="*/ 1631950 h 1898650"/>
                <a:gd name="connsiteX95" fmla="*/ 1506538 w 1687513"/>
                <a:gd name="connsiteY95" fmla="*/ 1608443 h 1898650"/>
                <a:gd name="connsiteX96" fmla="*/ 1506538 w 1687513"/>
                <a:gd name="connsiteY96" fmla="*/ 1569265 h 1898650"/>
                <a:gd name="connsiteX97" fmla="*/ 1498600 w 1687513"/>
                <a:gd name="connsiteY97" fmla="*/ 1537922 h 1898650"/>
                <a:gd name="connsiteX98" fmla="*/ 1514475 w 1687513"/>
                <a:gd name="connsiteY98" fmla="*/ 1506580 h 1898650"/>
                <a:gd name="connsiteX99" fmla="*/ 1530350 w 1687513"/>
                <a:gd name="connsiteY99" fmla="*/ 1467401 h 1898650"/>
                <a:gd name="connsiteX100" fmla="*/ 1514475 w 1687513"/>
                <a:gd name="connsiteY100" fmla="*/ 1404716 h 1898650"/>
                <a:gd name="connsiteX101" fmla="*/ 1538288 w 1687513"/>
                <a:gd name="connsiteY101" fmla="*/ 1387739 h 1898650"/>
                <a:gd name="connsiteX102" fmla="*/ 1570038 w 1687513"/>
                <a:gd name="connsiteY102" fmla="*/ 1364232 h 1898650"/>
                <a:gd name="connsiteX103" fmla="*/ 1601788 w 1687513"/>
                <a:gd name="connsiteY103" fmla="*/ 1317218 h 1898650"/>
                <a:gd name="connsiteX104" fmla="*/ 1294034 w 1687513"/>
                <a:gd name="connsiteY104" fmla="*/ 1271747 h 1898650"/>
                <a:gd name="connsiteX105" fmla="*/ 1294034 w 1687513"/>
                <a:gd name="connsiteY105" fmla="*/ 1310640 h 1898650"/>
                <a:gd name="connsiteX106" fmla="*/ 1317625 w 1687513"/>
                <a:gd name="connsiteY106" fmla="*/ 1349534 h 1898650"/>
                <a:gd name="connsiteX107" fmla="*/ 1317625 w 1687513"/>
                <a:gd name="connsiteY107" fmla="*/ 1372870 h 1898650"/>
                <a:gd name="connsiteX108" fmla="*/ 1307673 w 1687513"/>
                <a:gd name="connsiteY108" fmla="*/ 1379434 h 1898650"/>
                <a:gd name="connsiteX109" fmla="*/ 1294459 w 1687513"/>
                <a:gd name="connsiteY109" fmla="*/ 1388148 h 1898650"/>
                <a:gd name="connsiteX110" fmla="*/ 1294653 w 1687513"/>
                <a:gd name="connsiteY110" fmla="*/ 1388534 h 1898650"/>
                <a:gd name="connsiteX111" fmla="*/ 1318326 w 1687513"/>
                <a:gd name="connsiteY111" fmla="*/ 1372894 h 1898650"/>
                <a:gd name="connsiteX112" fmla="*/ 1318326 w 1687513"/>
                <a:gd name="connsiteY112" fmla="*/ 1349434 h 1898650"/>
                <a:gd name="connsiteX113" fmla="*/ 1294653 w 1687513"/>
                <a:gd name="connsiteY113" fmla="*/ 1310335 h 1898650"/>
                <a:gd name="connsiteX114" fmla="*/ 1294653 w 1687513"/>
                <a:gd name="connsiteY114" fmla="*/ 1293839 h 1898650"/>
                <a:gd name="connsiteX115" fmla="*/ 1294653 w 1687513"/>
                <a:gd name="connsiteY115" fmla="*/ 1271747 h 1898650"/>
                <a:gd name="connsiteX116" fmla="*/ 1175716 w 1687513"/>
                <a:gd name="connsiteY116" fmla="*/ 1185100 h 1898650"/>
                <a:gd name="connsiteX117" fmla="*/ 1173553 w 1687513"/>
                <a:gd name="connsiteY117" fmla="*/ 1185816 h 1898650"/>
                <a:gd name="connsiteX118" fmla="*/ 1152929 w 1687513"/>
                <a:gd name="connsiteY118" fmla="*/ 1192644 h 1898650"/>
                <a:gd name="connsiteX119" fmla="*/ 1152806 w 1687513"/>
                <a:gd name="connsiteY119" fmla="*/ 1193375 h 1898650"/>
                <a:gd name="connsiteX120" fmla="*/ 1152721 w 1687513"/>
                <a:gd name="connsiteY120" fmla="*/ 1193883 h 1898650"/>
                <a:gd name="connsiteX121" fmla="*/ 1155438 w 1687513"/>
                <a:gd name="connsiteY121" fmla="*/ 1192987 h 1898650"/>
                <a:gd name="connsiteX122" fmla="*/ 1176080 w 1687513"/>
                <a:gd name="connsiteY122" fmla="*/ 1186180 h 1898650"/>
                <a:gd name="connsiteX123" fmla="*/ 1175834 w 1687513"/>
                <a:gd name="connsiteY123" fmla="*/ 1185451 h 1898650"/>
                <a:gd name="connsiteX124" fmla="*/ 1168458 w 1687513"/>
                <a:gd name="connsiteY124" fmla="*/ 1092476 h 1898650"/>
                <a:gd name="connsiteX125" fmla="*/ 1168216 w 1687513"/>
                <a:gd name="connsiteY125" fmla="*/ 1092836 h 1898650"/>
                <a:gd name="connsiteX126" fmla="*/ 1183943 w 1687513"/>
                <a:gd name="connsiteY126" fmla="*/ 1155065 h 1898650"/>
                <a:gd name="connsiteX127" fmla="*/ 1199670 w 1687513"/>
                <a:gd name="connsiteY127" fmla="*/ 1193959 h 1898650"/>
                <a:gd name="connsiteX128" fmla="*/ 1238989 w 1687513"/>
                <a:gd name="connsiteY128" fmla="*/ 1209517 h 1898650"/>
                <a:gd name="connsiteX129" fmla="*/ 1278307 w 1687513"/>
                <a:gd name="connsiteY129" fmla="*/ 1217295 h 1898650"/>
                <a:gd name="connsiteX130" fmla="*/ 1286171 w 1687513"/>
                <a:gd name="connsiteY130" fmla="*/ 1232853 h 1898650"/>
                <a:gd name="connsiteX131" fmla="*/ 1292806 w 1687513"/>
                <a:gd name="connsiteY131" fmla="*/ 1249261 h 1898650"/>
                <a:gd name="connsiteX132" fmla="*/ 1301691 w 1687513"/>
                <a:gd name="connsiteY132" fmla="*/ 1271235 h 1898650"/>
                <a:gd name="connsiteX133" fmla="*/ 1302377 w 1687513"/>
                <a:gd name="connsiteY133" fmla="*/ 1271235 h 1898650"/>
                <a:gd name="connsiteX134" fmla="*/ 1300547 w 1687513"/>
                <a:gd name="connsiteY134" fmla="*/ 1266715 h 1898650"/>
                <a:gd name="connsiteX135" fmla="*/ 1286741 w 1687513"/>
                <a:gd name="connsiteY135" fmla="*/ 1232601 h 1898650"/>
                <a:gd name="connsiteX136" fmla="*/ 1278852 w 1687513"/>
                <a:gd name="connsiteY136" fmla="*/ 1217006 h 1898650"/>
                <a:gd name="connsiteX137" fmla="*/ 1239405 w 1687513"/>
                <a:gd name="connsiteY137" fmla="*/ 1209209 h 1898650"/>
                <a:gd name="connsiteX138" fmla="*/ 1199958 w 1687513"/>
                <a:gd name="connsiteY138" fmla="*/ 1193614 h 1898650"/>
                <a:gd name="connsiteX139" fmla="*/ 1184179 w 1687513"/>
                <a:gd name="connsiteY139" fmla="*/ 1154627 h 1898650"/>
                <a:gd name="connsiteX140" fmla="*/ 1177522 w 1687513"/>
                <a:gd name="connsiteY140" fmla="*/ 1128310 h 1898650"/>
                <a:gd name="connsiteX141" fmla="*/ 1176080 w 1687513"/>
                <a:gd name="connsiteY141" fmla="*/ 1015048 h 1898650"/>
                <a:gd name="connsiteX142" fmla="*/ 1179397 w 1687513"/>
                <a:gd name="connsiteY142" fmla="*/ 1038020 h 1898650"/>
                <a:gd name="connsiteX143" fmla="*/ 1183908 w 1687513"/>
                <a:gd name="connsiteY143" fmla="*/ 1069257 h 1898650"/>
                <a:gd name="connsiteX144" fmla="*/ 1184179 w 1687513"/>
                <a:gd name="connsiteY144" fmla="*/ 1068855 h 1898650"/>
                <a:gd name="connsiteX145" fmla="*/ 1180851 w 1687513"/>
                <a:gd name="connsiteY145" fmla="*/ 1045828 h 1898650"/>
                <a:gd name="connsiteX146" fmla="*/ 1176402 w 1687513"/>
                <a:gd name="connsiteY146" fmla="*/ 1015048 h 1898650"/>
                <a:gd name="connsiteX147" fmla="*/ 1270443 w 1687513"/>
                <a:gd name="connsiteY147" fmla="*/ 1007269 h 1898650"/>
                <a:gd name="connsiteX148" fmla="*/ 1262580 w 1687513"/>
                <a:gd name="connsiteY148" fmla="*/ 1022827 h 1898650"/>
                <a:gd name="connsiteX149" fmla="*/ 1262580 w 1687513"/>
                <a:gd name="connsiteY149" fmla="*/ 1032672 h 1898650"/>
                <a:gd name="connsiteX150" fmla="*/ 1262580 w 1687513"/>
                <a:gd name="connsiteY150" fmla="*/ 1045462 h 1898650"/>
                <a:gd name="connsiteX151" fmla="*/ 1263073 w 1687513"/>
                <a:gd name="connsiteY151" fmla="*/ 1045462 h 1898650"/>
                <a:gd name="connsiteX152" fmla="*/ 1263073 w 1687513"/>
                <a:gd name="connsiteY152" fmla="*/ 1022070 h 1898650"/>
                <a:gd name="connsiteX153" fmla="*/ 1264059 w 1687513"/>
                <a:gd name="connsiteY153" fmla="*/ 1020121 h 1898650"/>
                <a:gd name="connsiteX154" fmla="*/ 1270521 w 1687513"/>
                <a:gd name="connsiteY154" fmla="*/ 1007347 h 1898650"/>
                <a:gd name="connsiteX155" fmla="*/ 1191807 w 1687513"/>
                <a:gd name="connsiteY155" fmla="*/ 935852 h 1898650"/>
                <a:gd name="connsiteX156" fmla="*/ 1191722 w 1687513"/>
                <a:gd name="connsiteY156" fmla="*/ 935999 h 1898650"/>
                <a:gd name="connsiteX157" fmla="*/ 1160786 w 1687513"/>
                <a:gd name="connsiteY157" fmla="*/ 989767 h 1898650"/>
                <a:gd name="connsiteX158" fmla="*/ 1145073 w 1687513"/>
                <a:gd name="connsiteY158" fmla="*/ 1044387 h 1898650"/>
                <a:gd name="connsiteX159" fmla="*/ 1145097 w 1687513"/>
                <a:gd name="connsiteY159" fmla="*/ 1044530 h 1898650"/>
                <a:gd name="connsiteX160" fmla="*/ 1146591 w 1687513"/>
                <a:gd name="connsiteY160" fmla="*/ 1039357 h 1898650"/>
                <a:gd name="connsiteX161" fmla="*/ 1160352 w 1687513"/>
                <a:gd name="connsiteY161" fmla="*/ 991712 h 1898650"/>
                <a:gd name="connsiteX162" fmla="*/ 1191807 w 1687513"/>
                <a:gd name="connsiteY162" fmla="*/ 937261 h 1898650"/>
                <a:gd name="connsiteX163" fmla="*/ 778842 w 1687513"/>
                <a:gd name="connsiteY163" fmla="*/ 927254 h 1898650"/>
                <a:gd name="connsiteX164" fmla="*/ 765049 w 1687513"/>
                <a:gd name="connsiteY164" fmla="*/ 935173 h 1898650"/>
                <a:gd name="connsiteX165" fmla="*/ 764204 w 1687513"/>
                <a:gd name="connsiteY165" fmla="*/ 935657 h 1898650"/>
                <a:gd name="connsiteX166" fmla="*/ 776605 w 1687513"/>
                <a:gd name="connsiteY166" fmla="*/ 929482 h 1898650"/>
                <a:gd name="connsiteX167" fmla="*/ 1291630 w 1687513"/>
                <a:gd name="connsiteY167" fmla="*/ 874345 h 1898650"/>
                <a:gd name="connsiteX168" fmla="*/ 1288685 w 1687513"/>
                <a:gd name="connsiteY168" fmla="*/ 875519 h 1898650"/>
                <a:gd name="connsiteX169" fmla="*/ 1254492 w 1687513"/>
                <a:gd name="connsiteY169" fmla="*/ 889150 h 1898650"/>
                <a:gd name="connsiteX170" fmla="*/ 1199784 w 1687513"/>
                <a:gd name="connsiteY170" fmla="*/ 896938 h 1898650"/>
                <a:gd name="connsiteX171" fmla="*/ 1195877 w 1687513"/>
                <a:gd name="connsiteY171" fmla="*/ 894018 h 1898650"/>
                <a:gd name="connsiteX172" fmla="*/ 1193409 w 1687513"/>
                <a:gd name="connsiteY172" fmla="*/ 892173 h 1898650"/>
                <a:gd name="connsiteX173" fmla="*/ 1199670 w 1687513"/>
                <a:gd name="connsiteY173" fmla="*/ 898367 h 1898650"/>
                <a:gd name="connsiteX174" fmla="*/ 1254716 w 1687513"/>
                <a:gd name="connsiteY174" fmla="*/ 890588 h 1898650"/>
                <a:gd name="connsiteX175" fmla="*/ 1270443 w 1687513"/>
                <a:gd name="connsiteY175" fmla="*/ 890588 h 1898650"/>
                <a:gd name="connsiteX176" fmla="*/ 1272409 w 1687513"/>
                <a:gd name="connsiteY176" fmla="*/ 892533 h 1898650"/>
                <a:gd name="connsiteX177" fmla="*/ 1285753 w 1687513"/>
                <a:gd name="connsiteY177" fmla="*/ 905733 h 1898650"/>
                <a:gd name="connsiteX178" fmla="*/ 1285753 w 1687513"/>
                <a:gd name="connsiteY178" fmla="*/ 904347 h 1898650"/>
                <a:gd name="connsiteX179" fmla="*/ 1270000 w 1687513"/>
                <a:gd name="connsiteY179" fmla="*/ 888683 h 1898650"/>
                <a:gd name="connsiteX180" fmla="*/ 1279969 w 1687513"/>
                <a:gd name="connsiteY180" fmla="*/ 882075 h 1898650"/>
                <a:gd name="connsiteX181" fmla="*/ 1317015 w 1687513"/>
                <a:gd name="connsiteY181" fmla="*/ 859118 h 1898650"/>
                <a:gd name="connsiteX182" fmla="*/ 1317015 w 1687513"/>
                <a:gd name="connsiteY182" fmla="*/ 859942 h 1898650"/>
                <a:gd name="connsiteX183" fmla="*/ 1317015 w 1687513"/>
                <a:gd name="connsiteY183" fmla="*/ 873020 h 1898650"/>
                <a:gd name="connsiteX184" fmla="*/ 1317259 w 1687513"/>
                <a:gd name="connsiteY184" fmla="*/ 873020 h 1898650"/>
                <a:gd name="connsiteX185" fmla="*/ 1317259 w 1687513"/>
                <a:gd name="connsiteY185" fmla="*/ 872041 h 1898650"/>
                <a:gd name="connsiteX186" fmla="*/ 1317259 w 1687513"/>
                <a:gd name="connsiteY186" fmla="*/ 867068 h 1898650"/>
                <a:gd name="connsiteX187" fmla="*/ 1317018 w 1687513"/>
                <a:gd name="connsiteY187" fmla="*/ 866987 h 1898650"/>
                <a:gd name="connsiteX188" fmla="*/ 1317018 w 1687513"/>
                <a:gd name="connsiteY188" fmla="*/ 859120 h 1898650"/>
                <a:gd name="connsiteX189" fmla="*/ 659481 w 1687513"/>
                <a:gd name="connsiteY189" fmla="*/ 812398 h 1898650"/>
                <a:gd name="connsiteX190" fmla="*/ 658999 w 1687513"/>
                <a:gd name="connsiteY190" fmla="*/ 813040 h 1898650"/>
                <a:gd name="connsiteX191" fmla="*/ 697310 w 1687513"/>
                <a:gd name="connsiteY191" fmla="*/ 828435 h 1898650"/>
                <a:gd name="connsiteX192" fmla="*/ 697819 w 1687513"/>
                <a:gd name="connsiteY192" fmla="*/ 827720 h 1898650"/>
                <a:gd name="connsiteX193" fmla="*/ 1612119 w 1687513"/>
                <a:gd name="connsiteY193" fmla="*/ 787753 h 1898650"/>
                <a:gd name="connsiteX194" fmla="*/ 1616075 w 1687513"/>
                <a:gd name="connsiteY194" fmla="*/ 788318 h 1898650"/>
                <a:gd name="connsiteX195" fmla="*/ 1589514 w 1687513"/>
                <a:gd name="connsiteY195" fmla="*/ 818188 h 1898650"/>
                <a:gd name="connsiteX196" fmla="*/ 1553856 w 1687513"/>
                <a:gd name="connsiteY196" fmla="*/ 858288 h 1898650"/>
                <a:gd name="connsiteX197" fmla="*/ 1554375 w 1687513"/>
                <a:gd name="connsiteY197" fmla="*/ 858141 h 1898650"/>
                <a:gd name="connsiteX198" fmla="*/ 1617028 w 1687513"/>
                <a:gd name="connsiteY198" fmla="*/ 788446 h 1898650"/>
                <a:gd name="connsiteX199" fmla="*/ 1254492 w 1687513"/>
                <a:gd name="connsiteY199" fmla="*/ 772319 h 1898650"/>
                <a:gd name="connsiteX200" fmla="*/ 1254404 w 1687513"/>
                <a:gd name="connsiteY200" fmla="*/ 772584 h 1898650"/>
                <a:gd name="connsiteX201" fmla="*/ 1256026 w 1687513"/>
                <a:gd name="connsiteY201" fmla="*/ 772584 h 1898650"/>
                <a:gd name="connsiteX202" fmla="*/ 1269798 w 1687513"/>
                <a:gd name="connsiteY202" fmla="*/ 772584 h 1898650"/>
                <a:gd name="connsiteX203" fmla="*/ 1269842 w 1687513"/>
                <a:gd name="connsiteY203" fmla="*/ 772319 h 1898650"/>
                <a:gd name="connsiteX204" fmla="*/ 1268169 w 1687513"/>
                <a:gd name="connsiteY204" fmla="*/ 772319 h 1898650"/>
                <a:gd name="connsiteX205" fmla="*/ 1254492 w 1687513"/>
                <a:gd name="connsiteY205" fmla="*/ 772319 h 1898650"/>
                <a:gd name="connsiteX206" fmla="*/ 776288 w 1687513"/>
                <a:gd name="connsiteY206" fmla="*/ 741948 h 1898650"/>
                <a:gd name="connsiteX207" fmla="*/ 775362 w 1687513"/>
                <a:gd name="connsiteY207" fmla="*/ 742181 h 1898650"/>
                <a:gd name="connsiteX208" fmla="*/ 775362 w 1687513"/>
                <a:gd name="connsiteY208" fmla="*/ 765705 h 1898650"/>
                <a:gd name="connsiteX209" fmla="*/ 798778 w 1687513"/>
                <a:gd name="connsiteY209" fmla="*/ 804911 h 1898650"/>
                <a:gd name="connsiteX210" fmla="*/ 806583 w 1687513"/>
                <a:gd name="connsiteY210" fmla="*/ 804911 h 1898650"/>
                <a:gd name="connsiteX211" fmla="*/ 790973 w 1687513"/>
                <a:gd name="connsiteY211" fmla="*/ 851959 h 1898650"/>
                <a:gd name="connsiteX212" fmla="*/ 806583 w 1687513"/>
                <a:gd name="connsiteY212" fmla="*/ 891165 h 1898650"/>
                <a:gd name="connsiteX213" fmla="*/ 814268 w 1687513"/>
                <a:gd name="connsiteY213" fmla="*/ 906607 h 1898650"/>
                <a:gd name="connsiteX214" fmla="*/ 815658 w 1687513"/>
                <a:gd name="connsiteY214" fmla="*/ 906146 h 1898650"/>
                <a:gd name="connsiteX215" fmla="*/ 846900 w 1687513"/>
                <a:gd name="connsiteY215" fmla="*/ 890588 h 1898650"/>
                <a:gd name="connsiteX216" fmla="*/ 878142 w 1687513"/>
                <a:gd name="connsiteY216" fmla="*/ 890588 h 1898650"/>
                <a:gd name="connsiteX217" fmla="*/ 893168 w 1687513"/>
                <a:gd name="connsiteY217" fmla="*/ 898070 h 1898650"/>
                <a:gd name="connsiteX218" fmla="*/ 893466 w 1687513"/>
                <a:gd name="connsiteY218" fmla="*/ 896883 h 1898650"/>
                <a:gd name="connsiteX219" fmla="*/ 878198 w 1687513"/>
                <a:gd name="connsiteY219" fmla="*/ 889265 h 1898650"/>
                <a:gd name="connsiteX220" fmla="*/ 846913 w 1687513"/>
                <a:gd name="connsiteY220" fmla="*/ 889265 h 1898650"/>
                <a:gd name="connsiteX221" fmla="*/ 815627 w 1687513"/>
                <a:gd name="connsiteY221" fmla="*/ 904875 h 1898650"/>
                <a:gd name="connsiteX222" fmla="*/ 807806 w 1687513"/>
                <a:gd name="connsiteY222" fmla="*/ 889265 h 1898650"/>
                <a:gd name="connsiteX223" fmla="*/ 792163 w 1687513"/>
                <a:gd name="connsiteY223" fmla="*/ 850239 h 1898650"/>
                <a:gd name="connsiteX224" fmla="*/ 807806 w 1687513"/>
                <a:gd name="connsiteY224" fmla="*/ 803408 h 1898650"/>
                <a:gd name="connsiteX225" fmla="*/ 839091 w 1687513"/>
                <a:gd name="connsiteY225" fmla="*/ 795602 h 1898650"/>
                <a:gd name="connsiteX226" fmla="*/ 886019 w 1687513"/>
                <a:gd name="connsiteY226" fmla="*/ 779992 h 1898650"/>
                <a:gd name="connsiteX227" fmla="*/ 893802 w 1687513"/>
                <a:gd name="connsiteY227" fmla="*/ 764458 h 1898650"/>
                <a:gd name="connsiteX228" fmla="*/ 893715 w 1687513"/>
                <a:gd name="connsiteY228" fmla="*/ 764475 h 1898650"/>
                <a:gd name="connsiteX229" fmla="*/ 885874 w 1687513"/>
                <a:gd name="connsiteY229" fmla="*/ 779995 h 1898650"/>
                <a:gd name="connsiteX230" fmla="*/ 838826 w 1687513"/>
                <a:gd name="connsiteY230" fmla="*/ 795515 h 1898650"/>
                <a:gd name="connsiteX231" fmla="*/ 808021 w 1687513"/>
                <a:gd name="connsiteY231" fmla="*/ 803137 h 1898650"/>
                <a:gd name="connsiteX232" fmla="*/ 808038 w 1687513"/>
                <a:gd name="connsiteY232" fmla="*/ 803275 h 1898650"/>
                <a:gd name="connsiteX233" fmla="*/ 807461 w 1687513"/>
                <a:gd name="connsiteY233" fmla="*/ 803275 h 1898650"/>
                <a:gd name="connsiteX234" fmla="*/ 800101 w 1687513"/>
                <a:gd name="connsiteY234" fmla="*/ 803275 h 1898650"/>
                <a:gd name="connsiteX235" fmla="*/ 776288 w 1687513"/>
                <a:gd name="connsiteY235" fmla="*/ 764580 h 1898650"/>
                <a:gd name="connsiteX236" fmla="*/ 353219 w 1687513"/>
                <a:gd name="connsiteY236" fmla="*/ 741523 h 1898650"/>
                <a:gd name="connsiteX237" fmla="*/ 352876 w 1687513"/>
                <a:gd name="connsiteY237" fmla="*/ 741591 h 1898650"/>
                <a:gd name="connsiteX238" fmla="*/ 353219 w 1687513"/>
                <a:gd name="connsiteY238" fmla="*/ 742269 h 1898650"/>
                <a:gd name="connsiteX239" fmla="*/ 266393 w 1687513"/>
                <a:gd name="connsiteY239" fmla="*/ 725585 h 1898650"/>
                <a:gd name="connsiteX240" fmla="*/ 268162 w 1687513"/>
                <a:gd name="connsiteY240" fmla="*/ 726460 h 1898650"/>
                <a:gd name="connsiteX241" fmla="*/ 281906 w 1687513"/>
                <a:gd name="connsiteY241" fmla="*/ 733259 h 1898650"/>
                <a:gd name="connsiteX242" fmla="*/ 281998 w 1687513"/>
                <a:gd name="connsiteY242" fmla="*/ 733259 h 1898650"/>
                <a:gd name="connsiteX243" fmla="*/ 280369 w 1687513"/>
                <a:gd name="connsiteY243" fmla="*/ 732445 h 1898650"/>
                <a:gd name="connsiteX244" fmla="*/ 266639 w 1687513"/>
                <a:gd name="connsiteY244" fmla="*/ 725585 h 1898650"/>
                <a:gd name="connsiteX245" fmla="*/ 454025 w 1687513"/>
                <a:gd name="connsiteY245" fmla="*/ 710634 h 1898650"/>
                <a:gd name="connsiteX246" fmla="*/ 445372 w 1687513"/>
                <a:gd name="connsiteY246" fmla="*/ 713508 h 1898650"/>
                <a:gd name="connsiteX247" fmla="*/ 454025 w 1687513"/>
                <a:gd name="connsiteY247" fmla="*/ 711200 h 1898650"/>
                <a:gd name="connsiteX248" fmla="*/ 438150 w 1687513"/>
                <a:gd name="connsiteY248" fmla="*/ 717550 h 1898650"/>
                <a:gd name="connsiteX249" fmla="*/ 433201 w 1687513"/>
                <a:gd name="connsiteY249" fmla="*/ 717550 h 1898650"/>
                <a:gd name="connsiteX250" fmla="*/ 431271 w 1687513"/>
                <a:gd name="connsiteY250" fmla="*/ 718191 h 1898650"/>
                <a:gd name="connsiteX251" fmla="*/ 430579 w 1687513"/>
                <a:gd name="connsiteY251" fmla="*/ 718191 h 1898650"/>
                <a:gd name="connsiteX252" fmla="*/ 430579 w 1687513"/>
                <a:gd name="connsiteY252" fmla="*/ 718939 h 1898650"/>
                <a:gd name="connsiteX253" fmla="*/ 438150 w 1687513"/>
                <a:gd name="connsiteY253" fmla="*/ 718939 h 1898650"/>
                <a:gd name="connsiteX254" fmla="*/ 454025 w 1687513"/>
                <a:gd name="connsiteY254" fmla="*/ 711201 h 1898650"/>
                <a:gd name="connsiteX255" fmla="*/ 454025 w 1687513"/>
                <a:gd name="connsiteY255" fmla="*/ 711200 h 1898650"/>
                <a:gd name="connsiteX256" fmla="*/ 210399 w 1687513"/>
                <a:gd name="connsiteY256" fmla="*/ 685997 h 1898650"/>
                <a:gd name="connsiteX257" fmla="*/ 211336 w 1687513"/>
                <a:gd name="connsiteY257" fmla="*/ 693473 h 1898650"/>
                <a:gd name="connsiteX258" fmla="*/ 227078 w 1687513"/>
                <a:gd name="connsiteY258" fmla="*/ 732720 h 1898650"/>
                <a:gd name="connsiteX259" fmla="*/ 227127 w 1687513"/>
                <a:gd name="connsiteY259" fmla="*/ 732720 h 1898650"/>
                <a:gd name="connsiteX260" fmla="*/ 225448 w 1687513"/>
                <a:gd name="connsiteY260" fmla="*/ 728525 h 1898650"/>
                <a:gd name="connsiteX261" fmla="*/ 211718 w 1687513"/>
                <a:gd name="connsiteY261" fmla="*/ 694224 h 1898650"/>
                <a:gd name="connsiteX262" fmla="*/ 210737 w 1687513"/>
                <a:gd name="connsiteY262" fmla="*/ 686384 h 1898650"/>
                <a:gd name="connsiteX263" fmla="*/ 791869 w 1687513"/>
                <a:gd name="connsiteY263" fmla="*/ 679838 h 1898650"/>
                <a:gd name="connsiteX264" fmla="*/ 791151 w 1687513"/>
                <a:gd name="connsiteY264" fmla="*/ 680077 h 1898650"/>
                <a:gd name="connsiteX265" fmla="*/ 792498 w 1687513"/>
                <a:gd name="connsiteY265" fmla="*/ 684812 h 1898650"/>
                <a:gd name="connsiteX266" fmla="*/ 140494 w 1687513"/>
                <a:gd name="connsiteY266" fmla="*/ 679450 h 1898650"/>
                <a:gd name="connsiteX267" fmla="*/ 140494 w 1687513"/>
                <a:gd name="connsiteY267" fmla="*/ 685624 h 1898650"/>
                <a:gd name="connsiteX268" fmla="*/ 141105 w 1687513"/>
                <a:gd name="connsiteY268" fmla="*/ 685624 h 1898650"/>
                <a:gd name="connsiteX269" fmla="*/ 141105 w 1687513"/>
                <a:gd name="connsiteY269" fmla="*/ 685403 h 1898650"/>
                <a:gd name="connsiteX270" fmla="*/ 141105 w 1687513"/>
                <a:gd name="connsiteY270" fmla="*/ 679450 h 1898650"/>
                <a:gd name="connsiteX271" fmla="*/ 776483 w 1687513"/>
                <a:gd name="connsiteY271" fmla="*/ 648203 h 1898650"/>
                <a:gd name="connsiteX272" fmla="*/ 776664 w 1687513"/>
                <a:gd name="connsiteY272" fmla="*/ 648475 h 1898650"/>
                <a:gd name="connsiteX273" fmla="*/ 799534 w 1687513"/>
                <a:gd name="connsiteY273" fmla="*/ 656092 h 1898650"/>
                <a:gd name="connsiteX274" fmla="*/ 799620 w 1687513"/>
                <a:gd name="connsiteY274" fmla="*/ 655836 h 1898650"/>
                <a:gd name="connsiteX275" fmla="*/ 767276 w 1687513"/>
                <a:gd name="connsiteY275" fmla="*/ 616873 h 1898650"/>
                <a:gd name="connsiteX276" fmla="*/ 729425 w 1687513"/>
                <a:gd name="connsiteY276" fmla="*/ 648184 h 1898650"/>
                <a:gd name="connsiteX277" fmla="*/ 690055 w 1687513"/>
                <a:gd name="connsiteY277" fmla="*/ 656001 h 1898650"/>
                <a:gd name="connsiteX278" fmla="*/ 642811 w 1687513"/>
                <a:gd name="connsiteY278" fmla="*/ 656001 h 1898650"/>
                <a:gd name="connsiteX279" fmla="*/ 611523 w 1687513"/>
                <a:gd name="connsiteY279" fmla="*/ 671531 h 1898650"/>
                <a:gd name="connsiteX280" fmla="*/ 612608 w 1687513"/>
                <a:gd name="connsiteY280" fmla="*/ 671892 h 1898650"/>
                <a:gd name="connsiteX281" fmla="*/ 643857 w 1687513"/>
                <a:gd name="connsiteY281" fmla="*/ 656280 h 1898650"/>
                <a:gd name="connsiteX282" fmla="*/ 690730 w 1687513"/>
                <a:gd name="connsiteY282" fmla="*/ 656280 h 1898650"/>
                <a:gd name="connsiteX283" fmla="*/ 729791 w 1687513"/>
                <a:gd name="connsiteY283" fmla="*/ 648475 h 1898650"/>
                <a:gd name="connsiteX284" fmla="*/ 766066 w 1687513"/>
                <a:gd name="connsiteY284" fmla="*/ 618270 h 1898650"/>
                <a:gd name="connsiteX285" fmla="*/ 422982 w 1687513"/>
                <a:gd name="connsiteY285" fmla="*/ 608268 h 1898650"/>
                <a:gd name="connsiteX286" fmla="*/ 422822 w 1687513"/>
                <a:gd name="connsiteY286" fmla="*/ 608348 h 1898650"/>
                <a:gd name="connsiteX287" fmla="*/ 376482 w 1687513"/>
                <a:gd name="connsiteY287" fmla="*/ 631501 h 1898650"/>
                <a:gd name="connsiteX288" fmla="*/ 337252 w 1687513"/>
                <a:gd name="connsiteY288" fmla="*/ 662862 h 1898650"/>
                <a:gd name="connsiteX289" fmla="*/ 313714 w 1687513"/>
                <a:gd name="connsiteY289" fmla="*/ 694224 h 1898650"/>
                <a:gd name="connsiteX290" fmla="*/ 305869 w 1687513"/>
                <a:gd name="connsiteY290" fmla="*/ 717745 h 1898650"/>
                <a:gd name="connsiteX291" fmla="*/ 305869 w 1687513"/>
                <a:gd name="connsiteY291" fmla="*/ 733425 h 1898650"/>
                <a:gd name="connsiteX292" fmla="*/ 298023 w 1687513"/>
                <a:gd name="connsiteY292" fmla="*/ 733425 h 1898650"/>
                <a:gd name="connsiteX293" fmla="*/ 297783 w 1687513"/>
                <a:gd name="connsiteY293" fmla="*/ 733425 h 1898650"/>
                <a:gd name="connsiteX294" fmla="*/ 299578 w 1687513"/>
                <a:gd name="connsiteY294" fmla="*/ 735201 h 1898650"/>
                <a:gd name="connsiteX295" fmla="*/ 313322 w 1687513"/>
                <a:gd name="connsiteY295" fmla="*/ 748799 h 1898650"/>
                <a:gd name="connsiteX296" fmla="*/ 313885 w 1687513"/>
                <a:gd name="connsiteY296" fmla="*/ 748688 h 1898650"/>
                <a:gd name="connsiteX297" fmla="*/ 306388 w 1687513"/>
                <a:gd name="connsiteY297" fmla="*/ 733746 h 1898650"/>
                <a:gd name="connsiteX298" fmla="*/ 306388 w 1687513"/>
                <a:gd name="connsiteY298" fmla="*/ 718191 h 1898650"/>
                <a:gd name="connsiteX299" fmla="*/ 314193 w 1687513"/>
                <a:gd name="connsiteY299" fmla="*/ 694859 h 1898650"/>
                <a:gd name="connsiteX300" fmla="*/ 337609 w 1687513"/>
                <a:gd name="connsiteY300" fmla="*/ 663750 h 1898650"/>
                <a:gd name="connsiteX301" fmla="*/ 376635 w 1687513"/>
                <a:gd name="connsiteY301" fmla="*/ 632641 h 1898650"/>
                <a:gd name="connsiteX302" fmla="*/ 423557 w 1687513"/>
                <a:gd name="connsiteY302" fmla="*/ 607980 h 1898650"/>
                <a:gd name="connsiteX303" fmla="*/ 423491 w 1687513"/>
                <a:gd name="connsiteY303" fmla="*/ 608013 h 1898650"/>
                <a:gd name="connsiteX304" fmla="*/ 430316 w 1687513"/>
                <a:gd name="connsiteY304" fmla="*/ 608013 h 1898650"/>
                <a:gd name="connsiteX305" fmla="*/ 430300 w 1687513"/>
                <a:gd name="connsiteY305" fmla="*/ 607980 h 1898650"/>
                <a:gd name="connsiteX306" fmla="*/ 521378 w 1687513"/>
                <a:gd name="connsiteY306" fmla="*/ 593206 h 1898650"/>
                <a:gd name="connsiteX307" fmla="*/ 520502 w 1687513"/>
                <a:gd name="connsiteY307" fmla="*/ 593378 h 1898650"/>
                <a:gd name="connsiteX308" fmla="*/ 519926 w 1687513"/>
                <a:gd name="connsiteY308" fmla="*/ 593491 h 1898650"/>
                <a:gd name="connsiteX309" fmla="*/ 518682 w 1687513"/>
                <a:gd name="connsiteY309" fmla="*/ 597221 h 1898650"/>
                <a:gd name="connsiteX310" fmla="*/ 149309 w 1687513"/>
                <a:gd name="connsiteY310" fmla="*/ 592602 h 1898650"/>
                <a:gd name="connsiteX311" fmla="*/ 149281 w 1687513"/>
                <a:gd name="connsiteY311" fmla="*/ 592630 h 1898650"/>
                <a:gd name="connsiteX312" fmla="*/ 150912 w 1687513"/>
                <a:gd name="connsiteY312" fmla="*/ 594260 h 1898650"/>
                <a:gd name="connsiteX313" fmla="*/ 164642 w 1687513"/>
                <a:gd name="connsiteY313" fmla="*/ 607980 h 1898650"/>
                <a:gd name="connsiteX314" fmla="*/ 164735 w 1687513"/>
                <a:gd name="connsiteY314" fmla="*/ 607888 h 1898650"/>
                <a:gd name="connsiteX315" fmla="*/ 163053 w 1687513"/>
                <a:gd name="connsiteY315" fmla="*/ 606222 h 1898650"/>
                <a:gd name="connsiteX316" fmla="*/ 149309 w 1687513"/>
                <a:gd name="connsiteY316" fmla="*/ 592602 h 1898650"/>
                <a:gd name="connsiteX317" fmla="*/ 93482 w 1687513"/>
                <a:gd name="connsiteY317" fmla="*/ 592097 h 1898650"/>
                <a:gd name="connsiteX318" fmla="*/ 108786 w 1687513"/>
                <a:gd name="connsiteY318" fmla="*/ 607546 h 1898650"/>
                <a:gd name="connsiteX319" fmla="*/ 124326 w 1687513"/>
                <a:gd name="connsiteY319" fmla="*/ 615390 h 1898650"/>
                <a:gd name="connsiteX320" fmla="*/ 124326 w 1687513"/>
                <a:gd name="connsiteY320" fmla="*/ 624541 h 1898650"/>
                <a:gd name="connsiteX321" fmla="*/ 132097 w 1687513"/>
                <a:gd name="connsiteY321" fmla="*/ 648074 h 1898650"/>
                <a:gd name="connsiteX322" fmla="*/ 147189 w 1687513"/>
                <a:gd name="connsiteY322" fmla="*/ 678543 h 1898650"/>
                <a:gd name="connsiteX323" fmla="*/ 148950 w 1687513"/>
                <a:gd name="connsiteY323" fmla="*/ 678543 h 1898650"/>
                <a:gd name="connsiteX324" fmla="*/ 133259 w 1687513"/>
                <a:gd name="connsiteY324" fmla="*/ 647182 h 1898650"/>
                <a:gd name="connsiteX325" fmla="*/ 125413 w 1687513"/>
                <a:gd name="connsiteY325" fmla="*/ 623661 h 1898650"/>
                <a:gd name="connsiteX326" fmla="*/ 125413 w 1687513"/>
                <a:gd name="connsiteY326" fmla="*/ 615821 h 1898650"/>
                <a:gd name="connsiteX327" fmla="*/ 125437 w 1687513"/>
                <a:gd name="connsiteY327" fmla="*/ 615797 h 1898650"/>
                <a:gd name="connsiteX328" fmla="*/ 123783 w 1687513"/>
                <a:gd name="connsiteY328" fmla="*/ 614977 h 1898650"/>
                <a:gd name="connsiteX329" fmla="*/ 110039 w 1687513"/>
                <a:gd name="connsiteY329" fmla="*/ 608168 h 1898650"/>
                <a:gd name="connsiteX330" fmla="*/ 94331 w 1687513"/>
                <a:gd name="connsiteY330" fmla="*/ 592602 h 1898650"/>
                <a:gd name="connsiteX331" fmla="*/ 290661 w 1687513"/>
                <a:gd name="connsiteY331" fmla="*/ 576861 h 1898650"/>
                <a:gd name="connsiteX332" fmla="*/ 290680 w 1687513"/>
                <a:gd name="connsiteY332" fmla="*/ 577037 h 1898650"/>
                <a:gd name="connsiteX333" fmla="*/ 292643 w 1687513"/>
                <a:gd name="connsiteY333" fmla="*/ 578010 h 1898650"/>
                <a:gd name="connsiteX334" fmla="*/ 305780 w 1687513"/>
                <a:gd name="connsiteY334" fmla="*/ 584519 h 1898650"/>
                <a:gd name="connsiteX335" fmla="*/ 305869 w 1687513"/>
                <a:gd name="connsiteY335" fmla="*/ 584459 h 1898650"/>
                <a:gd name="connsiteX336" fmla="*/ 303907 w 1687513"/>
                <a:gd name="connsiteY336" fmla="*/ 583479 h 1898650"/>
                <a:gd name="connsiteX337" fmla="*/ 1339775 w 1687513"/>
                <a:gd name="connsiteY337" fmla="*/ 569549 h 1898650"/>
                <a:gd name="connsiteX338" fmla="*/ 1339484 w 1687513"/>
                <a:gd name="connsiteY338" fmla="*/ 572735 h 1898650"/>
                <a:gd name="connsiteX339" fmla="*/ 1337164 w 1687513"/>
                <a:gd name="connsiteY339" fmla="*/ 598170 h 1898650"/>
                <a:gd name="connsiteX340" fmla="*/ 1332731 w 1687513"/>
                <a:gd name="connsiteY340" fmla="*/ 646766 h 1898650"/>
                <a:gd name="connsiteX341" fmla="*/ 1332758 w 1687513"/>
                <a:gd name="connsiteY341" fmla="*/ 646713 h 1898650"/>
                <a:gd name="connsiteX342" fmla="*/ 1336078 w 1687513"/>
                <a:gd name="connsiteY342" fmla="*/ 610205 h 1898650"/>
                <a:gd name="connsiteX343" fmla="*/ 532575 w 1687513"/>
                <a:gd name="connsiteY343" fmla="*/ 513475 h 1898650"/>
                <a:gd name="connsiteX344" fmla="*/ 532420 w 1687513"/>
                <a:gd name="connsiteY344" fmla="*/ 514877 h 1898650"/>
                <a:gd name="connsiteX345" fmla="*/ 532339 w 1687513"/>
                <a:gd name="connsiteY345" fmla="*/ 515603 h 1898650"/>
                <a:gd name="connsiteX346" fmla="*/ 532575 w 1687513"/>
                <a:gd name="connsiteY346" fmla="*/ 515324 h 1898650"/>
                <a:gd name="connsiteX347" fmla="*/ 722210 w 1687513"/>
                <a:gd name="connsiteY347" fmla="*/ 388395 h 1898650"/>
                <a:gd name="connsiteX348" fmla="*/ 580317 w 1687513"/>
                <a:gd name="connsiteY348" fmla="*/ 481525 h 1898650"/>
                <a:gd name="connsiteX349" fmla="*/ 532985 w 1687513"/>
                <a:gd name="connsiteY349" fmla="*/ 504825 h 1898650"/>
                <a:gd name="connsiteX350" fmla="*/ 509319 w 1687513"/>
                <a:gd name="connsiteY350" fmla="*/ 504825 h 1898650"/>
                <a:gd name="connsiteX351" fmla="*/ 493542 w 1687513"/>
                <a:gd name="connsiteY351" fmla="*/ 489292 h 1898650"/>
                <a:gd name="connsiteX352" fmla="*/ 430095 w 1687513"/>
                <a:gd name="connsiteY352" fmla="*/ 446047 h 1898650"/>
                <a:gd name="connsiteX353" fmla="*/ 494171 w 1687513"/>
                <a:gd name="connsiteY353" fmla="*/ 490375 h 1898650"/>
                <a:gd name="connsiteX354" fmla="*/ 509863 w 1687513"/>
                <a:gd name="connsiteY354" fmla="*/ 506056 h 1898650"/>
                <a:gd name="connsiteX355" fmla="*/ 519793 w 1687513"/>
                <a:gd name="connsiteY355" fmla="*/ 506056 h 1898650"/>
                <a:gd name="connsiteX356" fmla="*/ 532835 w 1687513"/>
                <a:gd name="connsiteY356" fmla="*/ 506056 h 1898650"/>
                <a:gd name="connsiteX357" fmla="*/ 579819 w 1687513"/>
                <a:gd name="connsiteY357" fmla="*/ 482735 h 1898650"/>
                <a:gd name="connsiteX358" fmla="*/ 721551 w 1687513"/>
                <a:gd name="connsiteY358" fmla="*/ 388938 h 1898650"/>
                <a:gd name="connsiteX359" fmla="*/ 783957 w 1687513"/>
                <a:gd name="connsiteY359" fmla="*/ 396682 h 1898650"/>
                <a:gd name="connsiteX360" fmla="*/ 783188 w 1687513"/>
                <a:gd name="connsiteY360" fmla="*/ 395922 h 1898650"/>
                <a:gd name="connsiteX361" fmla="*/ 756605 w 1687513"/>
                <a:gd name="connsiteY361" fmla="*/ 392641 h 1898650"/>
                <a:gd name="connsiteX362" fmla="*/ 712314 w 1687513"/>
                <a:gd name="connsiteY362" fmla="*/ 385556 h 1898650"/>
                <a:gd name="connsiteX363" fmla="*/ 714425 w 1687513"/>
                <a:gd name="connsiteY363" fmla="*/ 388327 h 1898650"/>
                <a:gd name="connsiteX364" fmla="*/ 721659 w 1687513"/>
                <a:gd name="connsiteY364" fmla="*/ 388327 h 1898650"/>
                <a:gd name="connsiteX365" fmla="*/ 720176 w 1687513"/>
                <a:gd name="connsiteY365" fmla="*/ 388144 h 1898650"/>
                <a:gd name="connsiteX366" fmla="*/ 717223 w 1687513"/>
                <a:gd name="connsiteY366" fmla="*/ 387172 h 1898650"/>
                <a:gd name="connsiteX367" fmla="*/ 264777 w 1687513"/>
                <a:gd name="connsiteY367" fmla="*/ 331378 h 1898650"/>
                <a:gd name="connsiteX368" fmla="*/ 287966 w 1687513"/>
                <a:gd name="connsiteY368" fmla="*/ 349250 h 1898650"/>
                <a:gd name="connsiteX369" fmla="*/ 288117 w 1687513"/>
                <a:gd name="connsiteY369" fmla="*/ 349250 h 1898650"/>
                <a:gd name="connsiteX370" fmla="*/ 212964 w 1687513"/>
                <a:gd name="connsiteY370" fmla="*/ 271829 h 1898650"/>
                <a:gd name="connsiteX371" fmla="*/ 212558 w 1687513"/>
                <a:gd name="connsiteY371" fmla="*/ 273050 h 1898650"/>
                <a:gd name="connsiteX372" fmla="*/ 217438 w 1687513"/>
                <a:gd name="connsiteY372" fmla="*/ 273050 h 1898650"/>
                <a:gd name="connsiteX373" fmla="*/ 217438 w 1687513"/>
                <a:gd name="connsiteY373" fmla="*/ 271829 h 1898650"/>
                <a:gd name="connsiteX374" fmla="*/ 641350 w 1687513"/>
                <a:gd name="connsiteY374" fmla="*/ 0 h 1898650"/>
                <a:gd name="connsiteX375" fmla="*/ 643427 w 1687513"/>
                <a:gd name="connsiteY375" fmla="*/ 0 h 1898650"/>
                <a:gd name="connsiteX376" fmla="*/ 657225 w 1687513"/>
                <a:gd name="connsiteY376" fmla="*/ 0 h 1898650"/>
                <a:gd name="connsiteX377" fmla="*/ 688976 w 1687513"/>
                <a:gd name="connsiteY377" fmla="*/ 15494 h 1898650"/>
                <a:gd name="connsiteX378" fmla="*/ 696913 w 1687513"/>
                <a:gd name="connsiteY378" fmla="*/ 46482 h 1898650"/>
                <a:gd name="connsiteX379" fmla="*/ 665163 w 1687513"/>
                <a:gd name="connsiteY379" fmla="*/ 92964 h 1898650"/>
                <a:gd name="connsiteX380" fmla="*/ 688976 w 1687513"/>
                <a:gd name="connsiteY380" fmla="*/ 108458 h 1898650"/>
                <a:gd name="connsiteX381" fmla="*/ 712300 w 1687513"/>
                <a:gd name="connsiteY381" fmla="*/ 116046 h 1898650"/>
                <a:gd name="connsiteX382" fmla="*/ 712300 w 1687513"/>
                <a:gd name="connsiteY382" fmla="*/ 115888 h 1898650"/>
                <a:gd name="connsiteX383" fmla="*/ 751682 w 1687513"/>
                <a:gd name="connsiteY383" fmla="*/ 131445 h 1898650"/>
                <a:gd name="connsiteX384" fmla="*/ 806817 w 1687513"/>
                <a:gd name="connsiteY384" fmla="*/ 139224 h 1898650"/>
                <a:gd name="connsiteX385" fmla="*/ 822570 w 1687513"/>
                <a:gd name="connsiteY385" fmla="*/ 154782 h 1898650"/>
                <a:gd name="connsiteX386" fmla="*/ 846199 w 1687513"/>
                <a:gd name="connsiteY386" fmla="*/ 170339 h 1898650"/>
                <a:gd name="connsiteX387" fmla="*/ 877705 w 1687513"/>
                <a:gd name="connsiteY387" fmla="*/ 193675 h 1898650"/>
                <a:gd name="connsiteX388" fmla="*/ 924964 w 1687513"/>
                <a:gd name="connsiteY388" fmla="*/ 178118 h 1898650"/>
                <a:gd name="connsiteX389" fmla="*/ 924964 w 1687513"/>
                <a:gd name="connsiteY389" fmla="*/ 147003 h 1898650"/>
                <a:gd name="connsiteX390" fmla="*/ 972222 w 1687513"/>
                <a:gd name="connsiteY390" fmla="*/ 131445 h 1898650"/>
                <a:gd name="connsiteX391" fmla="*/ 1003728 w 1687513"/>
                <a:gd name="connsiteY391" fmla="*/ 139224 h 1898650"/>
                <a:gd name="connsiteX392" fmla="*/ 1027357 w 1687513"/>
                <a:gd name="connsiteY392" fmla="*/ 154782 h 1898650"/>
                <a:gd name="connsiteX393" fmla="*/ 1050987 w 1687513"/>
                <a:gd name="connsiteY393" fmla="*/ 162560 h 1898650"/>
                <a:gd name="connsiteX394" fmla="*/ 1043110 w 1687513"/>
                <a:gd name="connsiteY394" fmla="*/ 178118 h 1898650"/>
                <a:gd name="connsiteX395" fmla="*/ 1035234 w 1687513"/>
                <a:gd name="connsiteY395" fmla="*/ 201454 h 1898650"/>
                <a:gd name="connsiteX396" fmla="*/ 1035333 w 1687513"/>
                <a:gd name="connsiteY396" fmla="*/ 201676 h 1898650"/>
                <a:gd name="connsiteX397" fmla="*/ 1042900 w 1687513"/>
                <a:gd name="connsiteY397" fmla="*/ 179116 h 1898650"/>
                <a:gd name="connsiteX398" fmla="*/ 1050749 w 1687513"/>
                <a:gd name="connsiteY398" fmla="*/ 163513 h 1898650"/>
                <a:gd name="connsiteX399" fmla="*/ 1082146 w 1687513"/>
                <a:gd name="connsiteY399" fmla="*/ 163513 h 1898650"/>
                <a:gd name="connsiteX400" fmla="*/ 1129242 w 1687513"/>
                <a:gd name="connsiteY400" fmla="*/ 186917 h 1898650"/>
                <a:gd name="connsiteX401" fmla="*/ 1184187 w 1687513"/>
                <a:gd name="connsiteY401" fmla="*/ 171314 h 1898650"/>
                <a:gd name="connsiteX402" fmla="*/ 1207735 w 1687513"/>
                <a:gd name="connsiteY402" fmla="*/ 179116 h 1898650"/>
                <a:gd name="connsiteX403" fmla="*/ 1254831 w 1687513"/>
                <a:gd name="connsiteY403" fmla="*/ 186917 h 1898650"/>
                <a:gd name="connsiteX404" fmla="*/ 1270529 w 1687513"/>
                <a:gd name="connsiteY404" fmla="*/ 171314 h 1898650"/>
                <a:gd name="connsiteX405" fmla="*/ 1294077 w 1687513"/>
                <a:gd name="connsiteY405" fmla="*/ 233726 h 1898650"/>
                <a:gd name="connsiteX406" fmla="*/ 1301927 w 1687513"/>
                <a:gd name="connsiteY406" fmla="*/ 233726 h 1898650"/>
                <a:gd name="connsiteX407" fmla="*/ 1278379 w 1687513"/>
                <a:gd name="connsiteY407" fmla="*/ 257130 h 1898650"/>
                <a:gd name="connsiteX408" fmla="*/ 1223434 w 1687513"/>
                <a:gd name="connsiteY408" fmla="*/ 225924 h 1898650"/>
                <a:gd name="connsiteX409" fmla="*/ 1262680 w 1687513"/>
                <a:gd name="connsiteY409" fmla="*/ 280534 h 1898650"/>
                <a:gd name="connsiteX410" fmla="*/ 1294077 w 1687513"/>
                <a:gd name="connsiteY410" fmla="*/ 342946 h 1898650"/>
                <a:gd name="connsiteX411" fmla="*/ 1317625 w 1687513"/>
                <a:gd name="connsiteY411" fmla="*/ 397556 h 1898650"/>
                <a:gd name="connsiteX412" fmla="*/ 1301927 w 1687513"/>
                <a:gd name="connsiteY412" fmla="*/ 413159 h 1898650"/>
                <a:gd name="connsiteX413" fmla="*/ 1262680 w 1687513"/>
                <a:gd name="connsiteY413" fmla="*/ 436563 h 1898650"/>
                <a:gd name="connsiteX414" fmla="*/ 1058598 w 1687513"/>
                <a:gd name="connsiteY414" fmla="*/ 436563 h 1898650"/>
                <a:gd name="connsiteX415" fmla="*/ 1058568 w 1687513"/>
                <a:gd name="connsiteY415" fmla="*/ 436563 h 1898650"/>
                <a:gd name="connsiteX416" fmla="*/ 1057879 w 1687513"/>
                <a:gd name="connsiteY416" fmla="*/ 440650 h 1898650"/>
                <a:gd name="connsiteX417" fmla="*/ 1050987 w 1687513"/>
                <a:gd name="connsiteY417" fmla="*/ 481489 h 1898650"/>
                <a:gd name="connsiteX418" fmla="*/ 1027357 w 1687513"/>
                <a:gd name="connsiteY418" fmla="*/ 481489 h 1898650"/>
                <a:gd name="connsiteX419" fmla="*/ 1027357 w 1687513"/>
                <a:gd name="connsiteY419" fmla="*/ 504825 h 1898650"/>
                <a:gd name="connsiteX420" fmla="*/ 1019481 w 1687513"/>
                <a:gd name="connsiteY420" fmla="*/ 497046 h 1898650"/>
                <a:gd name="connsiteX421" fmla="*/ 830446 w 1687513"/>
                <a:gd name="connsiteY421" fmla="*/ 395922 h 1898650"/>
                <a:gd name="connsiteX422" fmla="*/ 817155 w 1687513"/>
                <a:gd name="connsiteY422" fmla="*/ 402486 h 1898650"/>
                <a:gd name="connsiteX423" fmla="*/ 799232 w 1687513"/>
                <a:gd name="connsiteY423" fmla="*/ 411336 h 1898650"/>
                <a:gd name="connsiteX424" fmla="*/ 800291 w 1687513"/>
                <a:gd name="connsiteY424" fmla="*/ 412387 h 1898650"/>
                <a:gd name="connsiteX425" fmla="*/ 800291 w 1687513"/>
                <a:gd name="connsiteY425" fmla="*/ 413651 h 1898650"/>
                <a:gd name="connsiteX426" fmla="*/ 830985 w 1687513"/>
                <a:gd name="connsiteY426" fmla="*/ 398463 h 1898650"/>
                <a:gd name="connsiteX427" fmla="*/ 1019175 w 1687513"/>
                <a:gd name="connsiteY427" fmla="*/ 499343 h 1898650"/>
                <a:gd name="connsiteX428" fmla="*/ 1011334 w 1687513"/>
                <a:gd name="connsiteY428" fmla="*/ 592463 h 1898650"/>
                <a:gd name="connsiteX429" fmla="*/ 987810 w 1687513"/>
                <a:gd name="connsiteY429" fmla="*/ 607983 h 1898650"/>
                <a:gd name="connsiteX430" fmla="*/ 979969 w 1687513"/>
                <a:gd name="connsiteY430" fmla="*/ 648076 h 1898650"/>
                <a:gd name="connsiteX431" fmla="*/ 972128 w 1687513"/>
                <a:gd name="connsiteY431" fmla="*/ 671356 h 1898650"/>
                <a:gd name="connsiteX432" fmla="*/ 995479 w 1687513"/>
                <a:gd name="connsiteY432" fmla="*/ 717575 h 1898650"/>
                <a:gd name="connsiteX433" fmla="*/ 995518 w 1687513"/>
                <a:gd name="connsiteY433" fmla="*/ 717550 h 1898650"/>
                <a:gd name="connsiteX434" fmla="*/ 1011161 w 1687513"/>
                <a:gd name="connsiteY434" fmla="*/ 748771 h 1898650"/>
                <a:gd name="connsiteX435" fmla="*/ 1034625 w 1687513"/>
                <a:gd name="connsiteY435" fmla="*/ 787797 h 1898650"/>
                <a:gd name="connsiteX436" fmla="*/ 1065910 w 1687513"/>
                <a:gd name="connsiteY436" fmla="*/ 803408 h 1898650"/>
                <a:gd name="connsiteX437" fmla="*/ 1112103 w 1687513"/>
                <a:gd name="connsiteY437" fmla="*/ 849505 h 1898650"/>
                <a:gd name="connsiteX438" fmla="*/ 1113000 w 1687513"/>
                <a:gd name="connsiteY438" fmla="*/ 849393 h 1898650"/>
                <a:gd name="connsiteX439" fmla="*/ 1107954 w 1687513"/>
                <a:gd name="connsiteY439" fmla="*/ 844365 h 1898650"/>
                <a:gd name="connsiteX440" fmla="*/ 1066923 w 1687513"/>
                <a:gd name="connsiteY440" fmla="*/ 803474 h 1898650"/>
                <a:gd name="connsiteX441" fmla="*/ 1035661 w 1687513"/>
                <a:gd name="connsiteY441" fmla="*/ 787897 h 1898650"/>
                <a:gd name="connsiteX442" fmla="*/ 1012215 w 1687513"/>
                <a:gd name="connsiteY442" fmla="*/ 748953 h 1898650"/>
                <a:gd name="connsiteX443" fmla="*/ 996584 w 1687513"/>
                <a:gd name="connsiteY443" fmla="*/ 717799 h 1898650"/>
                <a:gd name="connsiteX444" fmla="*/ 973138 w 1687513"/>
                <a:gd name="connsiteY444" fmla="*/ 671067 h 1898650"/>
                <a:gd name="connsiteX445" fmla="*/ 980954 w 1687513"/>
                <a:gd name="connsiteY445" fmla="*/ 647701 h 1898650"/>
                <a:gd name="connsiteX446" fmla="*/ 988769 w 1687513"/>
                <a:gd name="connsiteY446" fmla="*/ 608757 h 1898650"/>
                <a:gd name="connsiteX447" fmla="*/ 1012215 w 1687513"/>
                <a:gd name="connsiteY447" fmla="*/ 593180 h 1898650"/>
                <a:gd name="connsiteX448" fmla="*/ 1020031 w 1687513"/>
                <a:gd name="connsiteY448" fmla="*/ 499716 h 1898650"/>
                <a:gd name="connsiteX449" fmla="*/ 1027846 w 1687513"/>
                <a:gd name="connsiteY449" fmla="*/ 507504 h 1898650"/>
                <a:gd name="connsiteX450" fmla="*/ 1027846 w 1687513"/>
                <a:gd name="connsiteY450" fmla="*/ 484138 h 1898650"/>
                <a:gd name="connsiteX451" fmla="*/ 1051292 w 1687513"/>
                <a:gd name="connsiteY451" fmla="*/ 484138 h 1898650"/>
                <a:gd name="connsiteX452" fmla="*/ 1059107 w 1687513"/>
                <a:gd name="connsiteY452" fmla="*/ 437406 h 1898650"/>
                <a:gd name="connsiteX453" fmla="*/ 1262307 w 1687513"/>
                <a:gd name="connsiteY453" fmla="*/ 437406 h 1898650"/>
                <a:gd name="connsiteX454" fmla="*/ 1301384 w 1687513"/>
                <a:gd name="connsiteY454" fmla="*/ 414040 h 1898650"/>
                <a:gd name="connsiteX455" fmla="*/ 1317015 w 1687513"/>
                <a:gd name="connsiteY455" fmla="*/ 398463 h 1898650"/>
                <a:gd name="connsiteX456" fmla="*/ 1340461 w 1687513"/>
                <a:gd name="connsiteY456" fmla="*/ 429618 h 1898650"/>
                <a:gd name="connsiteX457" fmla="*/ 1363907 w 1687513"/>
                <a:gd name="connsiteY457" fmla="*/ 499716 h 1898650"/>
                <a:gd name="connsiteX458" fmla="*/ 1370502 w 1687513"/>
                <a:gd name="connsiteY458" fmla="*/ 516145 h 1898650"/>
                <a:gd name="connsiteX459" fmla="*/ 1378915 w 1687513"/>
                <a:gd name="connsiteY459" fmla="*/ 537106 h 1898650"/>
                <a:gd name="connsiteX460" fmla="*/ 1379977 w 1687513"/>
                <a:gd name="connsiteY460" fmla="*/ 536575 h 1898650"/>
                <a:gd name="connsiteX461" fmla="*/ 1403587 w 1687513"/>
                <a:gd name="connsiteY461" fmla="*/ 583777 h 1898650"/>
                <a:gd name="connsiteX462" fmla="*/ 1442937 w 1687513"/>
                <a:gd name="connsiteY462" fmla="*/ 599511 h 1898650"/>
                <a:gd name="connsiteX463" fmla="*/ 1505896 w 1687513"/>
                <a:gd name="connsiteY463" fmla="*/ 693914 h 1898650"/>
                <a:gd name="connsiteX464" fmla="*/ 1513766 w 1687513"/>
                <a:gd name="connsiteY464" fmla="*/ 709648 h 1898650"/>
                <a:gd name="connsiteX465" fmla="*/ 1490156 w 1687513"/>
                <a:gd name="connsiteY465" fmla="*/ 725382 h 1898650"/>
                <a:gd name="connsiteX466" fmla="*/ 1505896 w 1687513"/>
                <a:gd name="connsiteY466" fmla="*/ 748983 h 1898650"/>
                <a:gd name="connsiteX467" fmla="*/ 1560986 w 1687513"/>
                <a:gd name="connsiteY467" fmla="*/ 780451 h 1898650"/>
                <a:gd name="connsiteX468" fmla="*/ 1561847 w 1687513"/>
                <a:gd name="connsiteY468" fmla="*/ 780574 h 1898650"/>
                <a:gd name="connsiteX469" fmla="*/ 1562024 w 1687513"/>
                <a:gd name="connsiteY469" fmla="*/ 780599 h 1898650"/>
                <a:gd name="connsiteX470" fmla="*/ 1507385 w 1687513"/>
                <a:gd name="connsiteY470" fmla="*/ 749727 h 1898650"/>
                <a:gd name="connsiteX471" fmla="*/ 1491722 w 1687513"/>
                <a:gd name="connsiteY471" fmla="*/ 726495 h 1898650"/>
                <a:gd name="connsiteX472" fmla="*/ 1515217 w 1687513"/>
                <a:gd name="connsiteY472" fmla="*/ 711007 h 1898650"/>
                <a:gd name="connsiteX473" fmla="*/ 1515217 w 1687513"/>
                <a:gd name="connsiteY473" fmla="*/ 718751 h 1898650"/>
                <a:gd name="connsiteX474" fmla="*/ 1546543 w 1687513"/>
                <a:gd name="connsiteY474" fmla="*/ 726495 h 1898650"/>
                <a:gd name="connsiteX475" fmla="*/ 1687513 w 1687513"/>
                <a:gd name="connsiteY475" fmla="*/ 703263 h 1898650"/>
                <a:gd name="connsiteX476" fmla="*/ 1671850 w 1687513"/>
                <a:gd name="connsiteY476" fmla="*/ 765214 h 1898650"/>
                <a:gd name="connsiteX477" fmla="*/ 1624860 w 1687513"/>
                <a:gd name="connsiteY477" fmla="*/ 873629 h 1898650"/>
                <a:gd name="connsiteX478" fmla="*/ 1570038 w 1687513"/>
                <a:gd name="connsiteY478" fmla="*/ 935580 h 1898650"/>
                <a:gd name="connsiteX479" fmla="*/ 1507385 w 1687513"/>
                <a:gd name="connsiteY479" fmla="*/ 966556 h 1898650"/>
                <a:gd name="connsiteX480" fmla="*/ 1468227 w 1687513"/>
                <a:gd name="connsiteY480" fmla="*/ 1020763 h 1898650"/>
                <a:gd name="connsiteX481" fmla="*/ 1452563 w 1687513"/>
                <a:gd name="connsiteY481" fmla="*/ 997532 h 1898650"/>
                <a:gd name="connsiteX482" fmla="*/ 1452563 w 1687513"/>
                <a:gd name="connsiteY482" fmla="*/ 920093 h 1898650"/>
                <a:gd name="connsiteX483" fmla="*/ 1476058 w 1687513"/>
                <a:gd name="connsiteY483" fmla="*/ 896861 h 1898650"/>
                <a:gd name="connsiteX484" fmla="*/ 1476058 w 1687513"/>
                <a:gd name="connsiteY484" fmla="*/ 889494 h 1898650"/>
                <a:gd name="connsiteX485" fmla="*/ 1474788 w 1687513"/>
                <a:gd name="connsiteY485" fmla="*/ 890340 h 1898650"/>
                <a:gd name="connsiteX486" fmla="*/ 1474788 w 1687513"/>
                <a:gd name="connsiteY486" fmla="*/ 896515 h 1898650"/>
                <a:gd name="connsiteX487" fmla="*/ 1451159 w 1687513"/>
                <a:gd name="connsiteY487" fmla="*/ 920010 h 1898650"/>
                <a:gd name="connsiteX488" fmla="*/ 1451159 w 1687513"/>
                <a:gd name="connsiteY488" fmla="*/ 998327 h 1898650"/>
                <a:gd name="connsiteX489" fmla="*/ 1466912 w 1687513"/>
                <a:gd name="connsiteY489" fmla="*/ 1021822 h 1898650"/>
                <a:gd name="connsiteX490" fmla="*/ 1443282 w 1687513"/>
                <a:gd name="connsiteY490" fmla="*/ 1045317 h 1898650"/>
                <a:gd name="connsiteX491" fmla="*/ 1411777 w 1687513"/>
                <a:gd name="connsiteY491" fmla="*/ 1092307 h 1898650"/>
                <a:gd name="connsiteX492" fmla="*/ 1407839 w 1687513"/>
                <a:gd name="connsiteY492" fmla="*/ 1093286 h 1898650"/>
                <a:gd name="connsiteX493" fmla="*/ 1404241 w 1687513"/>
                <a:gd name="connsiteY493" fmla="*/ 1099546 h 1898650"/>
                <a:gd name="connsiteX494" fmla="*/ 1405082 w 1687513"/>
                <a:gd name="connsiteY494" fmla="*/ 1100045 h 1898650"/>
                <a:gd name="connsiteX495" fmla="*/ 1389303 w 1687513"/>
                <a:gd name="connsiteY495" fmla="*/ 1115639 h 1898650"/>
                <a:gd name="connsiteX496" fmla="*/ 1405082 w 1687513"/>
                <a:gd name="connsiteY496" fmla="*/ 1154627 h 1898650"/>
                <a:gd name="connsiteX497" fmla="*/ 1412971 w 1687513"/>
                <a:gd name="connsiteY497" fmla="*/ 1224804 h 1898650"/>
                <a:gd name="connsiteX498" fmla="*/ 1419628 w 1687513"/>
                <a:gd name="connsiteY498" fmla="*/ 1234672 h 1898650"/>
                <a:gd name="connsiteX499" fmla="*/ 1428527 w 1687513"/>
                <a:gd name="connsiteY499" fmla="*/ 1247865 h 1898650"/>
                <a:gd name="connsiteX500" fmla="*/ 1428797 w 1687513"/>
                <a:gd name="connsiteY500" fmla="*/ 1247775 h 1898650"/>
                <a:gd name="connsiteX501" fmla="*/ 1428797 w 1687513"/>
                <a:gd name="connsiteY501" fmla="*/ 1279055 h 1898650"/>
                <a:gd name="connsiteX502" fmla="*/ 1436688 w 1687513"/>
                <a:gd name="connsiteY502" fmla="*/ 1333794 h 1898650"/>
                <a:gd name="connsiteX503" fmla="*/ 1428797 w 1687513"/>
                <a:gd name="connsiteY503" fmla="*/ 1372894 h 1898650"/>
                <a:gd name="connsiteX504" fmla="*/ 1405125 w 1687513"/>
                <a:gd name="connsiteY504" fmla="*/ 1404173 h 1898650"/>
                <a:gd name="connsiteX505" fmla="*/ 1334108 w 1687513"/>
                <a:gd name="connsiteY505" fmla="*/ 1443273 h 1898650"/>
                <a:gd name="connsiteX506" fmla="*/ 1294653 w 1687513"/>
                <a:gd name="connsiteY506" fmla="*/ 1490192 h 1898650"/>
                <a:gd name="connsiteX507" fmla="*/ 1310435 w 1687513"/>
                <a:gd name="connsiteY507" fmla="*/ 1560572 h 1898650"/>
                <a:gd name="connsiteX508" fmla="*/ 1294653 w 1687513"/>
                <a:gd name="connsiteY508" fmla="*/ 1599671 h 1898650"/>
                <a:gd name="connsiteX509" fmla="*/ 1239418 w 1687513"/>
                <a:gd name="connsiteY509" fmla="*/ 1646591 h 1898650"/>
                <a:gd name="connsiteX510" fmla="*/ 1239418 w 1687513"/>
                <a:gd name="connsiteY510" fmla="*/ 1670050 h 1898650"/>
                <a:gd name="connsiteX511" fmla="*/ 1223636 w 1687513"/>
                <a:gd name="connsiteY511" fmla="*/ 1670050 h 1898650"/>
                <a:gd name="connsiteX512" fmla="*/ 1215745 w 1687513"/>
                <a:gd name="connsiteY512" fmla="*/ 1552752 h 1898650"/>
                <a:gd name="connsiteX513" fmla="*/ 1214828 w 1687513"/>
                <a:gd name="connsiteY513" fmla="*/ 1552752 h 1898650"/>
                <a:gd name="connsiteX514" fmla="*/ 1222624 w 1687513"/>
                <a:gd name="connsiteY514" fmla="*/ 1670509 h 1898650"/>
                <a:gd name="connsiteX515" fmla="*/ 1238250 w 1687513"/>
                <a:gd name="connsiteY515" fmla="*/ 1670509 h 1898650"/>
                <a:gd name="connsiteX516" fmla="*/ 1206998 w 1687513"/>
                <a:gd name="connsiteY516" fmla="*/ 1741312 h 1898650"/>
                <a:gd name="connsiteX517" fmla="*/ 1089804 w 1687513"/>
                <a:gd name="connsiteY517" fmla="*/ 1867183 h 1898650"/>
                <a:gd name="connsiteX518" fmla="*/ 1035113 w 1687513"/>
                <a:gd name="connsiteY518" fmla="*/ 1875049 h 1898650"/>
                <a:gd name="connsiteX519" fmla="*/ 972609 w 1687513"/>
                <a:gd name="connsiteY519" fmla="*/ 1882916 h 1898650"/>
                <a:gd name="connsiteX520" fmla="*/ 910105 w 1687513"/>
                <a:gd name="connsiteY520" fmla="*/ 1898650 h 1898650"/>
                <a:gd name="connsiteX521" fmla="*/ 878853 w 1687513"/>
                <a:gd name="connsiteY521" fmla="*/ 1851449 h 1898650"/>
                <a:gd name="connsiteX522" fmla="*/ 878853 w 1687513"/>
                <a:gd name="connsiteY522" fmla="*/ 1819981 h 1898650"/>
                <a:gd name="connsiteX523" fmla="*/ 855414 w 1687513"/>
                <a:gd name="connsiteY523" fmla="*/ 1757045 h 1898650"/>
                <a:gd name="connsiteX524" fmla="*/ 839788 w 1687513"/>
                <a:gd name="connsiteY524" fmla="*/ 1733445 h 1898650"/>
                <a:gd name="connsiteX525" fmla="*/ 847601 w 1687513"/>
                <a:gd name="connsiteY525" fmla="*/ 1717711 h 1898650"/>
                <a:gd name="connsiteX526" fmla="*/ 886666 w 1687513"/>
                <a:gd name="connsiteY526" fmla="*/ 1733445 h 1898650"/>
                <a:gd name="connsiteX527" fmla="*/ 910105 w 1687513"/>
                <a:gd name="connsiteY527" fmla="*/ 1725578 h 1898650"/>
                <a:gd name="connsiteX528" fmla="*/ 920573 w 1687513"/>
                <a:gd name="connsiteY528" fmla="*/ 1651795 h 1898650"/>
                <a:gd name="connsiteX529" fmla="*/ 925543 w 1687513"/>
                <a:gd name="connsiteY529" fmla="*/ 1616769 h 1898650"/>
                <a:gd name="connsiteX530" fmla="*/ 925524 w 1687513"/>
                <a:gd name="connsiteY530" fmla="*/ 1616732 h 1898650"/>
                <a:gd name="connsiteX531" fmla="*/ 910025 w 1687513"/>
                <a:gd name="connsiteY531" fmla="*/ 1724215 h 1898650"/>
                <a:gd name="connsiteX532" fmla="*/ 886561 w 1687513"/>
                <a:gd name="connsiteY532" fmla="*/ 1731963 h 1898650"/>
                <a:gd name="connsiteX533" fmla="*/ 847455 w 1687513"/>
                <a:gd name="connsiteY533" fmla="*/ 1716466 h 1898650"/>
                <a:gd name="connsiteX534" fmla="*/ 839633 w 1687513"/>
                <a:gd name="connsiteY534" fmla="*/ 1731963 h 1898650"/>
                <a:gd name="connsiteX535" fmla="*/ 800527 w 1687513"/>
                <a:gd name="connsiteY535" fmla="*/ 1693221 h 1898650"/>
                <a:gd name="connsiteX536" fmla="*/ 784884 w 1687513"/>
                <a:gd name="connsiteY536" fmla="*/ 1592490 h 1898650"/>
                <a:gd name="connsiteX537" fmla="*/ 777063 w 1687513"/>
                <a:gd name="connsiteY537" fmla="*/ 1569244 h 1898650"/>
                <a:gd name="connsiteX538" fmla="*/ 722313 w 1687513"/>
                <a:gd name="connsiteY538" fmla="*/ 1460765 h 1898650"/>
                <a:gd name="connsiteX539" fmla="*/ 730135 w 1687513"/>
                <a:gd name="connsiteY539" fmla="*/ 1414274 h 1898650"/>
                <a:gd name="connsiteX540" fmla="*/ 745731 w 1687513"/>
                <a:gd name="connsiteY540" fmla="*/ 1406548 h 1898650"/>
                <a:gd name="connsiteX541" fmla="*/ 744371 w 1687513"/>
                <a:gd name="connsiteY541" fmla="*/ 1405188 h 1898650"/>
                <a:gd name="connsiteX542" fmla="*/ 728663 w 1687513"/>
                <a:gd name="connsiteY542" fmla="*/ 1413042 h 1898650"/>
                <a:gd name="connsiteX543" fmla="*/ 728663 w 1687513"/>
                <a:gd name="connsiteY543" fmla="*/ 1350211 h 1898650"/>
                <a:gd name="connsiteX544" fmla="*/ 760079 w 1687513"/>
                <a:gd name="connsiteY544" fmla="*/ 1295233 h 1898650"/>
                <a:gd name="connsiteX545" fmla="*/ 752225 w 1687513"/>
                <a:gd name="connsiteY545" fmla="*/ 1248109 h 1898650"/>
                <a:gd name="connsiteX546" fmla="*/ 736517 w 1687513"/>
                <a:gd name="connsiteY546" fmla="*/ 1146008 h 1898650"/>
                <a:gd name="connsiteX547" fmla="*/ 760079 w 1687513"/>
                <a:gd name="connsiteY547" fmla="*/ 1130300 h 1898650"/>
                <a:gd name="connsiteX548" fmla="*/ 822911 w 1687513"/>
                <a:gd name="connsiteY548" fmla="*/ 1130300 h 1898650"/>
                <a:gd name="connsiteX549" fmla="*/ 870034 w 1687513"/>
                <a:gd name="connsiteY549" fmla="*/ 1177424 h 1898650"/>
                <a:gd name="connsiteX550" fmla="*/ 893596 w 1687513"/>
                <a:gd name="connsiteY550" fmla="*/ 1177424 h 1898650"/>
                <a:gd name="connsiteX551" fmla="*/ 917158 w 1687513"/>
                <a:gd name="connsiteY551" fmla="*/ 1161716 h 1898650"/>
                <a:gd name="connsiteX552" fmla="*/ 964282 w 1687513"/>
                <a:gd name="connsiteY552" fmla="*/ 1161716 h 1898650"/>
                <a:gd name="connsiteX553" fmla="*/ 979990 w 1687513"/>
                <a:gd name="connsiteY553" fmla="*/ 1255963 h 1898650"/>
                <a:gd name="connsiteX554" fmla="*/ 1027113 w 1687513"/>
                <a:gd name="connsiteY554" fmla="*/ 1263817 h 1898650"/>
                <a:gd name="connsiteX555" fmla="*/ 1027113 w 1687513"/>
                <a:gd name="connsiteY555" fmla="*/ 1263968 h 1898650"/>
                <a:gd name="connsiteX556" fmla="*/ 1031585 w 1687513"/>
                <a:gd name="connsiteY556" fmla="*/ 1263968 h 1898650"/>
                <a:gd name="connsiteX557" fmla="*/ 1065988 w 1687513"/>
                <a:gd name="connsiteY557" fmla="*/ 1263968 h 1898650"/>
                <a:gd name="connsiteX558" fmla="*/ 1113170 w 1687513"/>
                <a:gd name="connsiteY558" fmla="*/ 1287304 h 1898650"/>
                <a:gd name="connsiteX559" fmla="*/ 1160352 w 1687513"/>
                <a:gd name="connsiteY559" fmla="*/ 1310640 h 1898650"/>
                <a:gd name="connsiteX560" fmla="*/ 1160352 w 1687513"/>
                <a:gd name="connsiteY560" fmla="*/ 1309473 h 1898650"/>
                <a:gd name="connsiteX561" fmla="*/ 1160050 w 1687513"/>
                <a:gd name="connsiteY561" fmla="*/ 1309322 h 1898650"/>
                <a:gd name="connsiteX562" fmla="*/ 1113645 w 1687513"/>
                <a:gd name="connsiteY562" fmla="*/ 1286279 h 1898650"/>
                <a:gd name="connsiteX563" fmla="*/ 1066505 w 1687513"/>
                <a:gd name="connsiteY563" fmla="*/ 1262870 h 1898650"/>
                <a:gd name="connsiteX564" fmla="*/ 1027221 w 1687513"/>
                <a:gd name="connsiteY564" fmla="*/ 1262870 h 1898650"/>
                <a:gd name="connsiteX565" fmla="*/ 980080 w 1687513"/>
                <a:gd name="connsiteY565" fmla="*/ 1255067 h 1898650"/>
                <a:gd name="connsiteX566" fmla="*/ 964367 w 1687513"/>
                <a:gd name="connsiteY566" fmla="*/ 1161432 h 1898650"/>
                <a:gd name="connsiteX567" fmla="*/ 917226 w 1687513"/>
                <a:gd name="connsiteY567" fmla="*/ 1161432 h 1898650"/>
                <a:gd name="connsiteX568" fmla="*/ 893656 w 1687513"/>
                <a:gd name="connsiteY568" fmla="*/ 1177038 h 1898650"/>
                <a:gd name="connsiteX569" fmla="*/ 870085 w 1687513"/>
                <a:gd name="connsiteY569" fmla="*/ 1177038 h 1898650"/>
                <a:gd name="connsiteX570" fmla="*/ 822945 w 1687513"/>
                <a:gd name="connsiteY570" fmla="*/ 1130220 h 1898650"/>
                <a:gd name="connsiteX571" fmla="*/ 760090 w 1687513"/>
                <a:gd name="connsiteY571" fmla="*/ 1130220 h 1898650"/>
                <a:gd name="connsiteX572" fmla="*/ 736520 w 1687513"/>
                <a:gd name="connsiteY572" fmla="*/ 1145826 h 1898650"/>
                <a:gd name="connsiteX573" fmla="*/ 728663 w 1687513"/>
                <a:gd name="connsiteY573" fmla="*/ 1122417 h 1898650"/>
                <a:gd name="connsiteX574" fmla="*/ 729219 w 1687513"/>
                <a:gd name="connsiteY574" fmla="*/ 1121865 h 1898650"/>
                <a:gd name="connsiteX575" fmla="*/ 721932 w 1687513"/>
                <a:gd name="connsiteY575" fmla="*/ 1092835 h 1898650"/>
                <a:gd name="connsiteX576" fmla="*/ 698500 w 1687513"/>
                <a:gd name="connsiteY576" fmla="*/ 1069499 h 1898650"/>
                <a:gd name="connsiteX577" fmla="*/ 714121 w 1687513"/>
                <a:gd name="connsiteY577" fmla="*/ 1053942 h 1898650"/>
                <a:gd name="connsiteX578" fmla="*/ 737553 w 1687513"/>
                <a:gd name="connsiteY578" fmla="*/ 1038384 h 1898650"/>
                <a:gd name="connsiteX579" fmla="*/ 760984 w 1687513"/>
                <a:gd name="connsiteY579" fmla="*/ 1038384 h 1898650"/>
                <a:gd name="connsiteX580" fmla="*/ 768795 w 1687513"/>
                <a:gd name="connsiteY580" fmla="*/ 999491 h 1898650"/>
                <a:gd name="connsiteX581" fmla="*/ 776605 w 1687513"/>
                <a:gd name="connsiteY581" fmla="*/ 960597 h 1898650"/>
                <a:gd name="connsiteX582" fmla="*/ 760984 w 1687513"/>
                <a:gd name="connsiteY582" fmla="*/ 952818 h 1898650"/>
                <a:gd name="connsiteX583" fmla="*/ 760984 w 1687513"/>
                <a:gd name="connsiteY583" fmla="*/ 937506 h 1898650"/>
                <a:gd name="connsiteX584" fmla="*/ 759752 w 1687513"/>
                <a:gd name="connsiteY584" fmla="*/ 938213 h 1898650"/>
                <a:gd name="connsiteX585" fmla="*/ 760625 w 1687513"/>
                <a:gd name="connsiteY585" fmla="*/ 938213 h 1898650"/>
                <a:gd name="connsiteX586" fmla="*/ 760625 w 1687513"/>
                <a:gd name="connsiteY586" fmla="*/ 953528 h 1898650"/>
                <a:gd name="connsiteX587" fmla="*/ 776288 w 1687513"/>
                <a:gd name="connsiteY587" fmla="*/ 961185 h 1898650"/>
                <a:gd name="connsiteX588" fmla="*/ 768457 w 1687513"/>
                <a:gd name="connsiteY588" fmla="*/ 999472 h 1898650"/>
                <a:gd name="connsiteX589" fmla="*/ 760625 w 1687513"/>
                <a:gd name="connsiteY589" fmla="*/ 1037759 h 1898650"/>
                <a:gd name="connsiteX590" fmla="*/ 737130 w 1687513"/>
                <a:gd name="connsiteY590" fmla="*/ 1037759 h 1898650"/>
                <a:gd name="connsiteX591" fmla="*/ 713635 w 1687513"/>
                <a:gd name="connsiteY591" fmla="*/ 1053074 h 1898650"/>
                <a:gd name="connsiteX592" fmla="*/ 697972 w 1687513"/>
                <a:gd name="connsiteY592" fmla="*/ 1068388 h 1898650"/>
                <a:gd name="connsiteX593" fmla="*/ 658813 w 1687513"/>
                <a:gd name="connsiteY593" fmla="*/ 1007129 h 1898650"/>
                <a:gd name="connsiteX594" fmla="*/ 658813 w 1687513"/>
                <a:gd name="connsiteY594" fmla="*/ 961185 h 1898650"/>
                <a:gd name="connsiteX595" fmla="*/ 658813 w 1687513"/>
                <a:gd name="connsiteY595" fmla="*/ 938213 h 1898650"/>
                <a:gd name="connsiteX596" fmla="*/ 658284 w 1687513"/>
                <a:gd name="connsiteY596" fmla="*/ 938213 h 1898650"/>
                <a:gd name="connsiteX597" fmla="*/ 650479 w 1687513"/>
                <a:gd name="connsiteY597" fmla="*/ 883324 h 1898650"/>
                <a:gd name="connsiteX598" fmla="*/ 627063 w 1687513"/>
                <a:gd name="connsiteY598" fmla="*/ 883324 h 1898650"/>
                <a:gd name="connsiteX599" fmla="*/ 627246 w 1687513"/>
                <a:gd name="connsiteY599" fmla="*/ 882404 h 1898650"/>
                <a:gd name="connsiteX600" fmla="*/ 596984 w 1687513"/>
                <a:gd name="connsiteY600" fmla="*/ 874844 h 1898650"/>
                <a:gd name="connsiteX601" fmla="*/ 565736 w 1687513"/>
                <a:gd name="connsiteY601" fmla="*/ 867039 h 1898650"/>
                <a:gd name="connsiteX602" fmla="*/ 534487 w 1687513"/>
                <a:gd name="connsiteY602" fmla="*/ 828009 h 1898650"/>
                <a:gd name="connsiteX603" fmla="*/ 503238 w 1687513"/>
                <a:gd name="connsiteY603" fmla="*/ 828009 h 1898650"/>
                <a:gd name="connsiteX604" fmla="*/ 503238 w 1687513"/>
                <a:gd name="connsiteY604" fmla="*/ 788980 h 1898650"/>
                <a:gd name="connsiteX605" fmla="*/ 518863 w 1687513"/>
                <a:gd name="connsiteY605" fmla="*/ 734339 h 1898650"/>
                <a:gd name="connsiteX606" fmla="*/ 518863 w 1687513"/>
                <a:gd name="connsiteY606" fmla="*/ 703116 h 1898650"/>
                <a:gd name="connsiteX607" fmla="*/ 518863 w 1687513"/>
                <a:gd name="connsiteY607" fmla="*/ 679698 h 1898650"/>
                <a:gd name="connsiteX608" fmla="*/ 534487 w 1687513"/>
                <a:gd name="connsiteY608" fmla="*/ 656280 h 1898650"/>
                <a:gd name="connsiteX609" fmla="*/ 564916 w 1687513"/>
                <a:gd name="connsiteY609" fmla="*/ 656280 h 1898650"/>
                <a:gd name="connsiteX610" fmla="*/ 564071 w 1687513"/>
                <a:gd name="connsiteY610" fmla="*/ 656001 h 1898650"/>
                <a:gd name="connsiteX611" fmla="*/ 532575 w 1687513"/>
                <a:gd name="connsiteY611" fmla="*/ 656001 h 1898650"/>
                <a:gd name="connsiteX612" fmla="*/ 517525 w 1687513"/>
                <a:gd name="connsiteY612" fmla="*/ 678411 h 1898650"/>
                <a:gd name="connsiteX613" fmla="*/ 517525 w 1687513"/>
                <a:gd name="connsiteY613" fmla="*/ 701358 h 1898650"/>
                <a:gd name="connsiteX614" fmla="*/ 517525 w 1687513"/>
                <a:gd name="connsiteY614" fmla="*/ 732790 h 1898650"/>
                <a:gd name="connsiteX615" fmla="*/ 501650 w 1687513"/>
                <a:gd name="connsiteY615" fmla="*/ 787797 h 1898650"/>
                <a:gd name="connsiteX616" fmla="*/ 501650 w 1687513"/>
                <a:gd name="connsiteY616" fmla="*/ 827088 h 1898650"/>
                <a:gd name="connsiteX617" fmla="*/ 485775 w 1687513"/>
                <a:gd name="connsiteY617" fmla="*/ 827088 h 1898650"/>
                <a:gd name="connsiteX618" fmla="*/ 461963 w 1687513"/>
                <a:gd name="connsiteY618" fmla="*/ 787797 h 1898650"/>
                <a:gd name="connsiteX619" fmla="*/ 454026 w 1687513"/>
                <a:gd name="connsiteY619" fmla="*/ 732794 h 1898650"/>
                <a:gd name="connsiteX620" fmla="*/ 454026 w 1687513"/>
                <a:gd name="connsiteY620" fmla="*/ 734417 h 1898650"/>
                <a:gd name="connsiteX621" fmla="*/ 461963 w 1687513"/>
                <a:gd name="connsiteY621" fmla="*/ 788591 h 1898650"/>
                <a:gd name="connsiteX622" fmla="*/ 485775 w 1687513"/>
                <a:gd name="connsiteY622" fmla="*/ 827286 h 1898650"/>
                <a:gd name="connsiteX623" fmla="*/ 454026 w 1687513"/>
                <a:gd name="connsiteY623" fmla="*/ 835025 h 1898650"/>
                <a:gd name="connsiteX624" fmla="*/ 453647 w 1687513"/>
                <a:gd name="connsiteY624" fmla="*/ 833919 h 1898650"/>
                <a:gd name="connsiteX625" fmla="*/ 399317 w 1687513"/>
                <a:gd name="connsiteY625" fmla="*/ 849313 h 1898650"/>
                <a:gd name="connsiteX626" fmla="*/ 360277 w 1687513"/>
                <a:gd name="connsiteY626" fmla="*/ 849313 h 1898650"/>
                <a:gd name="connsiteX627" fmla="*/ 360446 w 1687513"/>
                <a:gd name="connsiteY627" fmla="*/ 849814 h 1898650"/>
                <a:gd name="connsiteX628" fmla="*/ 336884 w 1687513"/>
                <a:gd name="connsiteY628" fmla="*/ 849814 h 1898650"/>
                <a:gd name="connsiteX629" fmla="*/ 281906 w 1687513"/>
                <a:gd name="connsiteY629" fmla="*/ 873125 h 1898650"/>
                <a:gd name="connsiteX630" fmla="*/ 250491 w 1687513"/>
                <a:gd name="connsiteY630" fmla="*/ 873125 h 1898650"/>
                <a:gd name="connsiteX631" fmla="*/ 250491 w 1687513"/>
                <a:gd name="connsiteY631" fmla="*/ 849814 h 1898650"/>
                <a:gd name="connsiteX632" fmla="*/ 226929 w 1687513"/>
                <a:gd name="connsiteY632" fmla="*/ 834273 h 1898650"/>
                <a:gd name="connsiteX633" fmla="*/ 226929 w 1687513"/>
                <a:gd name="connsiteY633" fmla="*/ 810962 h 1898650"/>
                <a:gd name="connsiteX634" fmla="*/ 225947 w 1687513"/>
                <a:gd name="connsiteY634" fmla="*/ 809991 h 1898650"/>
                <a:gd name="connsiteX635" fmla="*/ 219238 w 1687513"/>
                <a:gd name="connsiteY635" fmla="*/ 803353 h 1898650"/>
                <a:gd name="connsiteX636" fmla="*/ 219207 w 1687513"/>
                <a:gd name="connsiteY636" fmla="*/ 803364 h 1898650"/>
                <a:gd name="connsiteX637" fmla="*/ 203464 w 1687513"/>
                <a:gd name="connsiteY637" fmla="*/ 811213 h 1898650"/>
                <a:gd name="connsiteX638" fmla="*/ 197708 w 1687513"/>
                <a:gd name="connsiteY638" fmla="*/ 807549 h 1898650"/>
                <a:gd name="connsiteX639" fmla="*/ 198074 w 1687513"/>
                <a:gd name="connsiteY639" fmla="*/ 808145 h 1898650"/>
                <a:gd name="connsiteX640" fmla="*/ 203654 w 1687513"/>
                <a:gd name="connsiteY640" fmla="*/ 811742 h 1898650"/>
                <a:gd name="connsiteX641" fmla="*/ 218848 w 1687513"/>
                <a:gd name="connsiteY641" fmla="*/ 804069 h 1898650"/>
                <a:gd name="connsiteX642" fmla="*/ 226446 w 1687513"/>
                <a:gd name="connsiteY642" fmla="*/ 811742 h 1898650"/>
                <a:gd name="connsiteX643" fmla="*/ 226446 w 1687513"/>
                <a:gd name="connsiteY643" fmla="*/ 834761 h 1898650"/>
                <a:gd name="connsiteX644" fmla="*/ 249238 w 1687513"/>
                <a:gd name="connsiteY644" fmla="*/ 850106 h 1898650"/>
                <a:gd name="connsiteX645" fmla="*/ 249238 w 1687513"/>
                <a:gd name="connsiteY645" fmla="*/ 873125 h 1898650"/>
                <a:gd name="connsiteX646" fmla="*/ 218848 w 1687513"/>
                <a:gd name="connsiteY646" fmla="*/ 873125 h 1898650"/>
                <a:gd name="connsiteX647" fmla="*/ 150472 w 1687513"/>
                <a:gd name="connsiteY647" fmla="*/ 827088 h 1898650"/>
                <a:gd name="connsiteX648" fmla="*/ 142875 w 1687513"/>
                <a:gd name="connsiteY648" fmla="*/ 819415 h 1898650"/>
                <a:gd name="connsiteX649" fmla="*/ 150472 w 1687513"/>
                <a:gd name="connsiteY649" fmla="*/ 804069 h 1898650"/>
                <a:gd name="connsiteX650" fmla="*/ 165667 w 1687513"/>
                <a:gd name="connsiteY650" fmla="*/ 796396 h 1898650"/>
                <a:gd name="connsiteX651" fmla="*/ 173264 w 1687513"/>
                <a:gd name="connsiteY651" fmla="*/ 781050 h 1898650"/>
                <a:gd name="connsiteX652" fmla="*/ 175164 w 1687513"/>
                <a:gd name="connsiteY652" fmla="*/ 782009 h 1898650"/>
                <a:gd name="connsiteX653" fmla="*/ 188031 w 1687513"/>
                <a:gd name="connsiteY653" fmla="*/ 788507 h 1898650"/>
                <a:gd name="connsiteX654" fmla="*/ 187722 w 1687513"/>
                <a:gd name="connsiteY654" fmla="*/ 787665 h 1898650"/>
                <a:gd name="connsiteX655" fmla="*/ 185754 w 1687513"/>
                <a:gd name="connsiteY655" fmla="*/ 786684 h 1898650"/>
                <a:gd name="connsiteX656" fmla="*/ 173035 w 1687513"/>
                <a:gd name="connsiteY656" fmla="*/ 780342 h 1898650"/>
                <a:gd name="connsiteX657" fmla="*/ 173038 w 1687513"/>
                <a:gd name="connsiteY657" fmla="*/ 780345 h 1898650"/>
                <a:gd name="connsiteX658" fmla="*/ 165100 w 1687513"/>
                <a:gd name="connsiteY658" fmla="*/ 795867 h 1898650"/>
                <a:gd name="connsiteX659" fmla="*/ 149225 w 1687513"/>
                <a:gd name="connsiteY659" fmla="*/ 803628 h 1898650"/>
                <a:gd name="connsiteX660" fmla="*/ 141288 w 1687513"/>
                <a:gd name="connsiteY660" fmla="*/ 819150 h 1898650"/>
                <a:gd name="connsiteX661" fmla="*/ 109538 w 1687513"/>
                <a:gd name="connsiteY661" fmla="*/ 788106 h 1898650"/>
                <a:gd name="connsiteX662" fmla="*/ 93663 w 1687513"/>
                <a:gd name="connsiteY662" fmla="*/ 772584 h 1898650"/>
                <a:gd name="connsiteX663" fmla="*/ 109538 w 1687513"/>
                <a:gd name="connsiteY663" fmla="*/ 764822 h 1898650"/>
                <a:gd name="connsiteX664" fmla="*/ 117475 w 1687513"/>
                <a:gd name="connsiteY664" fmla="*/ 749300 h 1898650"/>
                <a:gd name="connsiteX665" fmla="*/ 148955 w 1687513"/>
                <a:gd name="connsiteY665" fmla="*/ 749300 h 1898650"/>
                <a:gd name="connsiteX666" fmla="*/ 148365 w 1687513"/>
                <a:gd name="connsiteY666" fmla="*/ 748419 h 1898650"/>
                <a:gd name="connsiteX667" fmla="*/ 116880 w 1687513"/>
                <a:gd name="connsiteY667" fmla="*/ 748419 h 1898650"/>
                <a:gd name="connsiteX668" fmla="*/ 109009 w 1687513"/>
                <a:gd name="connsiteY668" fmla="*/ 764117 h 1898650"/>
                <a:gd name="connsiteX669" fmla="*/ 93266 w 1687513"/>
                <a:gd name="connsiteY669" fmla="*/ 771967 h 1898650"/>
                <a:gd name="connsiteX670" fmla="*/ 53909 w 1687513"/>
                <a:gd name="connsiteY670" fmla="*/ 717021 h 1898650"/>
                <a:gd name="connsiteX671" fmla="*/ 52925 w 1687513"/>
                <a:gd name="connsiteY671" fmla="*/ 717021 h 1898650"/>
                <a:gd name="connsiteX672" fmla="*/ 47804 w 1687513"/>
                <a:gd name="connsiteY672" fmla="*/ 717021 h 1898650"/>
                <a:gd name="connsiteX673" fmla="*/ 47030 w 1687513"/>
                <a:gd name="connsiteY673" fmla="*/ 717550 h 1898650"/>
                <a:gd name="connsiteX674" fmla="*/ 46720 w 1687513"/>
                <a:gd name="connsiteY674" fmla="*/ 717021 h 1898650"/>
                <a:gd name="connsiteX675" fmla="*/ 46038 w 1687513"/>
                <a:gd name="connsiteY675" fmla="*/ 717021 h 1898650"/>
                <a:gd name="connsiteX676" fmla="*/ 46529 w 1687513"/>
                <a:gd name="connsiteY676" fmla="*/ 716695 h 1898650"/>
                <a:gd name="connsiteX677" fmla="*/ 24742 w 1687513"/>
                <a:gd name="connsiteY677" fmla="*/ 679450 h 1898650"/>
                <a:gd name="connsiteX678" fmla="*/ 23311 w 1687513"/>
                <a:gd name="connsiteY678" fmla="*/ 679450 h 1898650"/>
                <a:gd name="connsiteX679" fmla="*/ 15541 w 1687513"/>
                <a:gd name="connsiteY679" fmla="*/ 679450 h 1898650"/>
                <a:gd name="connsiteX680" fmla="*/ 0 w 1687513"/>
                <a:gd name="connsiteY680" fmla="*/ 624541 h 1898650"/>
                <a:gd name="connsiteX681" fmla="*/ 15541 w 1687513"/>
                <a:gd name="connsiteY681" fmla="*/ 576169 h 1898650"/>
                <a:gd name="connsiteX682" fmla="*/ 16376 w 1687513"/>
                <a:gd name="connsiteY682" fmla="*/ 576169 h 1898650"/>
                <a:gd name="connsiteX683" fmla="*/ 17755 w 1687513"/>
                <a:gd name="connsiteY683" fmla="*/ 574119 h 1898650"/>
                <a:gd name="connsiteX684" fmla="*/ 31500 w 1687513"/>
                <a:gd name="connsiteY684" fmla="*/ 553689 h 1898650"/>
                <a:gd name="connsiteX685" fmla="*/ 31500 w 1687513"/>
                <a:gd name="connsiteY685" fmla="*/ 499211 h 1898650"/>
                <a:gd name="connsiteX686" fmla="*/ 7938 w 1687513"/>
                <a:gd name="connsiteY686" fmla="*/ 452515 h 1898650"/>
                <a:gd name="connsiteX687" fmla="*/ 15792 w 1687513"/>
                <a:gd name="connsiteY687" fmla="*/ 444732 h 1898650"/>
                <a:gd name="connsiteX688" fmla="*/ 110039 w 1687513"/>
                <a:gd name="connsiteY688" fmla="*/ 452515 h 1898650"/>
                <a:gd name="connsiteX689" fmla="*/ 117893 w 1687513"/>
                <a:gd name="connsiteY689" fmla="*/ 398037 h 1898650"/>
                <a:gd name="connsiteX690" fmla="*/ 133601 w 1687513"/>
                <a:gd name="connsiteY690" fmla="*/ 382472 h 1898650"/>
                <a:gd name="connsiteX691" fmla="*/ 141455 w 1687513"/>
                <a:gd name="connsiteY691" fmla="*/ 320211 h 1898650"/>
                <a:gd name="connsiteX692" fmla="*/ 219994 w 1687513"/>
                <a:gd name="connsiteY692" fmla="*/ 320211 h 1898650"/>
                <a:gd name="connsiteX693" fmla="*/ 219994 w 1687513"/>
                <a:gd name="connsiteY693" fmla="*/ 310361 h 1898650"/>
                <a:gd name="connsiteX694" fmla="*/ 219994 w 1687513"/>
                <a:gd name="connsiteY694" fmla="*/ 297086 h 1898650"/>
                <a:gd name="connsiteX695" fmla="*/ 219075 w 1687513"/>
                <a:gd name="connsiteY695" fmla="*/ 296382 h 1898650"/>
                <a:gd name="connsiteX696" fmla="*/ 219075 w 1687513"/>
                <a:gd name="connsiteY696" fmla="*/ 296863 h 1898650"/>
                <a:gd name="connsiteX697" fmla="*/ 219075 w 1687513"/>
                <a:gd name="connsiteY697" fmla="*/ 299140 h 1898650"/>
                <a:gd name="connsiteX698" fmla="*/ 219075 w 1687513"/>
                <a:gd name="connsiteY698" fmla="*/ 319432 h 1898650"/>
                <a:gd name="connsiteX699" fmla="*/ 140311 w 1687513"/>
                <a:gd name="connsiteY699" fmla="*/ 319432 h 1898650"/>
                <a:gd name="connsiteX700" fmla="*/ 132434 w 1687513"/>
                <a:gd name="connsiteY700" fmla="*/ 381276 h 1898650"/>
                <a:gd name="connsiteX701" fmla="*/ 116681 w 1687513"/>
                <a:gd name="connsiteY701" fmla="*/ 396737 h 1898650"/>
                <a:gd name="connsiteX702" fmla="*/ 108805 w 1687513"/>
                <a:gd name="connsiteY702" fmla="*/ 450850 h 1898650"/>
                <a:gd name="connsiteX703" fmla="*/ 14288 w 1687513"/>
                <a:gd name="connsiteY703" fmla="*/ 443119 h 1898650"/>
                <a:gd name="connsiteX704" fmla="*/ 45794 w 1687513"/>
                <a:gd name="connsiteY704" fmla="*/ 373546 h 1898650"/>
                <a:gd name="connsiteX705" fmla="*/ 85176 w 1687513"/>
                <a:gd name="connsiteY705" fmla="*/ 288511 h 1898650"/>
                <a:gd name="connsiteX706" fmla="*/ 100929 w 1687513"/>
                <a:gd name="connsiteY706" fmla="*/ 273050 h 1898650"/>
                <a:gd name="connsiteX707" fmla="*/ 102652 w 1687513"/>
                <a:gd name="connsiteY707" fmla="*/ 273050 h 1898650"/>
                <a:gd name="connsiteX708" fmla="*/ 103188 w 1687513"/>
                <a:gd name="connsiteY708" fmla="*/ 273050 h 1898650"/>
                <a:gd name="connsiteX709" fmla="*/ 118812 w 1687513"/>
                <a:gd name="connsiteY709" fmla="*/ 257394 h 1898650"/>
                <a:gd name="connsiteX710" fmla="*/ 189121 w 1687513"/>
                <a:gd name="connsiteY710" fmla="*/ 226082 h 1898650"/>
                <a:gd name="connsiteX711" fmla="*/ 196934 w 1687513"/>
                <a:gd name="connsiteY711" fmla="*/ 163458 h 1898650"/>
                <a:gd name="connsiteX712" fmla="*/ 228182 w 1687513"/>
                <a:gd name="connsiteY712" fmla="*/ 124318 h 1898650"/>
                <a:gd name="connsiteX713" fmla="*/ 259431 w 1687513"/>
                <a:gd name="connsiteY713" fmla="*/ 93006 h 1898650"/>
                <a:gd name="connsiteX714" fmla="*/ 290680 w 1687513"/>
                <a:gd name="connsiteY714" fmla="*/ 46038 h 1898650"/>
                <a:gd name="connsiteX715" fmla="*/ 321928 w 1687513"/>
                <a:gd name="connsiteY715" fmla="*/ 61694 h 1898650"/>
                <a:gd name="connsiteX716" fmla="*/ 345365 w 1687513"/>
                <a:gd name="connsiteY716" fmla="*/ 61694 h 1898650"/>
                <a:gd name="connsiteX717" fmla="*/ 376613 w 1687513"/>
                <a:gd name="connsiteY717" fmla="*/ 61694 h 1898650"/>
                <a:gd name="connsiteX718" fmla="*/ 383842 w 1687513"/>
                <a:gd name="connsiteY718" fmla="*/ 61694 h 1898650"/>
                <a:gd name="connsiteX719" fmla="*/ 422544 w 1687513"/>
                <a:gd name="connsiteY719" fmla="*/ 38833 h 1898650"/>
                <a:gd name="connsiteX720" fmla="*/ 501431 w 1687513"/>
                <a:gd name="connsiteY720" fmla="*/ 15533 h 1898650"/>
                <a:gd name="connsiteX721" fmla="*/ 588206 w 1687513"/>
                <a:gd name="connsiteY721" fmla="*/ 15533 h 1898650"/>
                <a:gd name="connsiteX722" fmla="*/ 627649 w 1687513"/>
                <a:gd name="connsiteY722" fmla="*/ 7766 h 1898650"/>
                <a:gd name="connsiteX723" fmla="*/ 641350 w 1687513"/>
                <a:gd name="connsiteY723" fmla="*/ 1022 h 1898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</a:cxnLst>
              <a:rect l="l" t="t" r="r" b="b"/>
              <a:pathLst>
                <a:path w="1687513" h="1898650">
                  <a:moveTo>
                    <a:pt x="941295" y="1538258"/>
                  </a:moveTo>
                  <a:lnTo>
                    <a:pt x="925668" y="1545999"/>
                  </a:lnTo>
                  <a:lnTo>
                    <a:pt x="925668" y="1546148"/>
                  </a:lnTo>
                  <a:lnTo>
                    <a:pt x="941282" y="1538394"/>
                  </a:lnTo>
                  <a:close/>
                  <a:moveTo>
                    <a:pt x="1122511" y="1530101"/>
                  </a:moveTo>
                  <a:lnTo>
                    <a:pt x="1122627" y="1530562"/>
                  </a:lnTo>
                  <a:lnTo>
                    <a:pt x="1159386" y="1545167"/>
                  </a:lnTo>
                  <a:lnTo>
                    <a:pt x="1159856" y="1544828"/>
                  </a:lnTo>
                  <a:lnTo>
                    <a:pt x="1159537" y="1544776"/>
                  </a:lnTo>
                  <a:cubicBezTo>
                    <a:pt x="1159537" y="1544776"/>
                    <a:pt x="1159537" y="1544776"/>
                    <a:pt x="1142933" y="1538195"/>
                  </a:cubicBezTo>
                  <a:close/>
                  <a:moveTo>
                    <a:pt x="1098025" y="1497979"/>
                  </a:moveTo>
                  <a:lnTo>
                    <a:pt x="1098974" y="1499235"/>
                  </a:lnTo>
                  <a:lnTo>
                    <a:pt x="1112626" y="1499235"/>
                  </a:lnTo>
                  <a:lnTo>
                    <a:pt x="1112309" y="1497979"/>
                  </a:lnTo>
                  <a:cubicBezTo>
                    <a:pt x="1112309" y="1497979"/>
                    <a:pt x="1112309" y="1497979"/>
                    <a:pt x="1110341" y="1497979"/>
                  </a:cubicBezTo>
                  <a:close/>
                  <a:moveTo>
                    <a:pt x="1049657" y="1435584"/>
                  </a:moveTo>
                  <a:lnTo>
                    <a:pt x="1051666" y="1436582"/>
                  </a:lnTo>
                  <a:lnTo>
                    <a:pt x="1057713" y="1436582"/>
                  </a:lnTo>
                  <a:lnTo>
                    <a:pt x="1057210" y="1435584"/>
                  </a:lnTo>
                  <a:cubicBezTo>
                    <a:pt x="1057210" y="1435584"/>
                    <a:pt x="1057210" y="1435584"/>
                    <a:pt x="1056226" y="1435584"/>
                  </a:cubicBezTo>
                  <a:close/>
                  <a:moveTo>
                    <a:pt x="1065988" y="1427321"/>
                  </a:moveTo>
                  <a:cubicBezTo>
                    <a:pt x="1065988" y="1427321"/>
                    <a:pt x="1065988" y="1427321"/>
                    <a:pt x="1050261" y="1435100"/>
                  </a:cubicBezTo>
                  <a:cubicBezTo>
                    <a:pt x="1050261" y="1435100"/>
                    <a:pt x="1050261" y="1435100"/>
                    <a:pt x="1048295" y="1434128"/>
                  </a:cubicBezTo>
                  <a:lnTo>
                    <a:pt x="1039486" y="1429771"/>
                  </a:lnTo>
                  <a:lnTo>
                    <a:pt x="1037952" y="1429771"/>
                  </a:lnTo>
                  <a:lnTo>
                    <a:pt x="1049498" y="1435505"/>
                  </a:lnTo>
                  <a:lnTo>
                    <a:pt x="1051306" y="1434609"/>
                  </a:lnTo>
                  <a:cubicBezTo>
                    <a:pt x="1053274" y="1433634"/>
                    <a:pt x="1057209" y="1431684"/>
                    <a:pt x="1065081" y="1427784"/>
                  </a:cubicBezTo>
                  <a:cubicBezTo>
                    <a:pt x="1065081" y="1427784"/>
                    <a:pt x="1088695" y="1435584"/>
                    <a:pt x="1096566" y="1435584"/>
                  </a:cubicBezTo>
                  <a:lnTo>
                    <a:pt x="1097122" y="1435033"/>
                  </a:lnTo>
                  <a:lnTo>
                    <a:pt x="1078767" y="1431211"/>
                  </a:lnTo>
                  <a:cubicBezTo>
                    <a:pt x="1071886" y="1429266"/>
                    <a:pt x="1065988" y="1427321"/>
                    <a:pt x="1065988" y="1427321"/>
                  </a:cubicBezTo>
                  <a:close/>
                  <a:moveTo>
                    <a:pt x="979990" y="1389420"/>
                  </a:moveTo>
                  <a:lnTo>
                    <a:pt x="979990" y="1389481"/>
                  </a:lnTo>
                  <a:cubicBezTo>
                    <a:pt x="979990" y="1389481"/>
                    <a:pt x="979990" y="1389481"/>
                    <a:pt x="995697" y="1420896"/>
                  </a:cubicBezTo>
                  <a:cubicBezTo>
                    <a:pt x="995697" y="1420896"/>
                    <a:pt x="995697" y="1420896"/>
                    <a:pt x="948574" y="1428750"/>
                  </a:cubicBezTo>
                  <a:cubicBezTo>
                    <a:pt x="948574" y="1428750"/>
                    <a:pt x="948574" y="1428750"/>
                    <a:pt x="885742" y="1428750"/>
                  </a:cubicBezTo>
                  <a:cubicBezTo>
                    <a:pt x="885742" y="1428750"/>
                    <a:pt x="885742" y="1428750"/>
                    <a:pt x="870034" y="1420896"/>
                  </a:cubicBezTo>
                  <a:cubicBezTo>
                    <a:pt x="870034" y="1420896"/>
                    <a:pt x="870034" y="1420896"/>
                    <a:pt x="796373" y="1420896"/>
                  </a:cubicBezTo>
                  <a:lnTo>
                    <a:pt x="760283" y="1420896"/>
                  </a:lnTo>
                  <a:lnTo>
                    <a:pt x="761420" y="1422022"/>
                  </a:lnTo>
                  <a:lnTo>
                    <a:pt x="870919" y="1422022"/>
                  </a:lnTo>
                  <a:lnTo>
                    <a:pt x="886561" y="1429771"/>
                  </a:lnTo>
                  <a:lnTo>
                    <a:pt x="949132" y="1429771"/>
                  </a:lnTo>
                  <a:lnTo>
                    <a:pt x="996060" y="1422022"/>
                  </a:lnTo>
                  <a:lnTo>
                    <a:pt x="1027346" y="1422022"/>
                  </a:lnTo>
                  <a:lnTo>
                    <a:pt x="1038043" y="1427321"/>
                  </a:lnTo>
                  <a:lnTo>
                    <a:pt x="1042397" y="1427321"/>
                  </a:lnTo>
                  <a:cubicBezTo>
                    <a:pt x="1042397" y="1427321"/>
                    <a:pt x="1042397" y="1427321"/>
                    <a:pt x="1026670" y="1419543"/>
                  </a:cubicBezTo>
                  <a:cubicBezTo>
                    <a:pt x="1026670" y="1419543"/>
                    <a:pt x="1026670" y="1419543"/>
                    <a:pt x="995216" y="1419543"/>
                  </a:cubicBezTo>
                  <a:cubicBezTo>
                    <a:pt x="995216" y="1419543"/>
                    <a:pt x="995216" y="1419543"/>
                    <a:pt x="988581" y="1406416"/>
                  </a:cubicBezTo>
                  <a:close/>
                  <a:moveTo>
                    <a:pt x="1184182" y="1365074"/>
                  </a:moveTo>
                  <a:cubicBezTo>
                    <a:pt x="1184182" y="1365074"/>
                    <a:pt x="1184182" y="1365074"/>
                    <a:pt x="1183195" y="1366051"/>
                  </a:cubicBezTo>
                  <a:lnTo>
                    <a:pt x="1182476" y="1366764"/>
                  </a:lnTo>
                  <a:lnTo>
                    <a:pt x="1176291" y="1372894"/>
                  </a:lnTo>
                  <a:lnTo>
                    <a:pt x="1176008" y="1372894"/>
                  </a:lnTo>
                  <a:lnTo>
                    <a:pt x="1173131" y="1373843"/>
                  </a:lnTo>
                  <a:cubicBezTo>
                    <a:pt x="1170182" y="1374815"/>
                    <a:pt x="1164284" y="1376760"/>
                    <a:pt x="1152489" y="1380649"/>
                  </a:cubicBezTo>
                  <a:lnTo>
                    <a:pt x="1152388" y="1380749"/>
                  </a:lnTo>
                  <a:lnTo>
                    <a:pt x="1154617" y="1380013"/>
                  </a:lnTo>
                  <a:cubicBezTo>
                    <a:pt x="1157569" y="1379038"/>
                    <a:pt x="1163473" y="1377088"/>
                    <a:pt x="1175280" y="1373188"/>
                  </a:cubicBezTo>
                  <a:cubicBezTo>
                    <a:pt x="1175280" y="1373188"/>
                    <a:pt x="1175280" y="1373188"/>
                    <a:pt x="1238250" y="1396587"/>
                  </a:cubicBezTo>
                  <a:cubicBezTo>
                    <a:pt x="1238250" y="1396587"/>
                    <a:pt x="1238250" y="1396587"/>
                    <a:pt x="1238250" y="1427784"/>
                  </a:cubicBezTo>
                  <a:cubicBezTo>
                    <a:pt x="1238250" y="1427784"/>
                    <a:pt x="1238250" y="1427784"/>
                    <a:pt x="1238250" y="1466781"/>
                  </a:cubicBezTo>
                  <a:cubicBezTo>
                    <a:pt x="1238250" y="1466781"/>
                    <a:pt x="1238250" y="1466781"/>
                    <a:pt x="1222508" y="1529177"/>
                  </a:cubicBezTo>
                  <a:cubicBezTo>
                    <a:pt x="1222508" y="1529177"/>
                    <a:pt x="1222508" y="1529177"/>
                    <a:pt x="1215866" y="1539048"/>
                  </a:cubicBezTo>
                  <a:lnTo>
                    <a:pt x="1206831" y="1552477"/>
                  </a:lnTo>
                  <a:lnTo>
                    <a:pt x="1206998" y="1552505"/>
                  </a:lnTo>
                  <a:cubicBezTo>
                    <a:pt x="1199185" y="1560372"/>
                    <a:pt x="1199185" y="1560372"/>
                    <a:pt x="1199185" y="1560372"/>
                  </a:cubicBezTo>
                  <a:cubicBezTo>
                    <a:pt x="1206998" y="1552505"/>
                    <a:pt x="1206998" y="1552505"/>
                    <a:pt x="1206998" y="1552505"/>
                  </a:cubicBezTo>
                  <a:cubicBezTo>
                    <a:pt x="1206998" y="1552505"/>
                    <a:pt x="1206998" y="1552505"/>
                    <a:pt x="1207975" y="1552505"/>
                  </a:cubicBezTo>
                  <a:lnTo>
                    <a:pt x="1208020" y="1552505"/>
                  </a:lnTo>
                  <a:lnTo>
                    <a:pt x="1209827" y="1549819"/>
                  </a:lnTo>
                  <a:cubicBezTo>
                    <a:pt x="1211800" y="1546887"/>
                    <a:pt x="1215745" y="1541022"/>
                    <a:pt x="1223636" y="1529292"/>
                  </a:cubicBezTo>
                  <a:cubicBezTo>
                    <a:pt x="1223636" y="1529292"/>
                    <a:pt x="1223636" y="1529292"/>
                    <a:pt x="1239418" y="1466733"/>
                  </a:cubicBezTo>
                  <a:cubicBezTo>
                    <a:pt x="1239418" y="1466733"/>
                    <a:pt x="1239418" y="1466733"/>
                    <a:pt x="1239418" y="1427633"/>
                  </a:cubicBezTo>
                  <a:cubicBezTo>
                    <a:pt x="1239418" y="1427633"/>
                    <a:pt x="1239418" y="1427633"/>
                    <a:pt x="1239418" y="1396353"/>
                  </a:cubicBezTo>
                  <a:cubicBezTo>
                    <a:pt x="1239418" y="1396353"/>
                    <a:pt x="1239418" y="1396353"/>
                    <a:pt x="1176291" y="1372894"/>
                  </a:cubicBezTo>
                  <a:cubicBezTo>
                    <a:pt x="1176291" y="1372894"/>
                    <a:pt x="1176291" y="1372894"/>
                    <a:pt x="1177278" y="1371916"/>
                  </a:cubicBezTo>
                  <a:lnTo>
                    <a:pt x="1182476" y="1366764"/>
                  </a:lnTo>
                  <a:close/>
                  <a:moveTo>
                    <a:pt x="1238989" y="1333977"/>
                  </a:moveTo>
                  <a:cubicBezTo>
                    <a:pt x="1238989" y="1333977"/>
                    <a:pt x="1238989" y="1333977"/>
                    <a:pt x="1168216" y="1365092"/>
                  </a:cubicBezTo>
                  <a:cubicBezTo>
                    <a:pt x="1168216" y="1365092"/>
                    <a:pt x="1168216" y="1365092"/>
                    <a:pt x="1168216" y="1372870"/>
                  </a:cubicBezTo>
                  <a:lnTo>
                    <a:pt x="1168400" y="1372870"/>
                  </a:lnTo>
                  <a:lnTo>
                    <a:pt x="1168400" y="1371916"/>
                  </a:lnTo>
                  <a:cubicBezTo>
                    <a:pt x="1168400" y="1370939"/>
                    <a:pt x="1168400" y="1368984"/>
                    <a:pt x="1168400" y="1365074"/>
                  </a:cubicBezTo>
                  <a:cubicBezTo>
                    <a:pt x="1168400" y="1365074"/>
                    <a:pt x="1168400" y="1365074"/>
                    <a:pt x="1198361" y="1351878"/>
                  </a:cubicBezTo>
                  <a:lnTo>
                    <a:pt x="1238996" y="1333980"/>
                  </a:lnTo>
                  <a:close/>
                  <a:moveTo>
                    <a:pt x="1641476" y="1285875"/>
                  </a:moveTo>
                  <a:lnTo>
                    <a:pt x="1665288" y="1317218"/>
                  </a:lnTo>
                  <a:lnTo>
                    <a:pt x="1665288" y="1372068"/>
                  </a:lnTo>
                  <a:lnTo>
                    <a:pt x="1665288" y="1404716"/>
                  </a:lnTo>
                  <a:lnTo>
                    <a:pt x="1601788" y="1616279"/>
                  </a:lnTo>
                  <a:lnTo>
                    <a:pt x="1570038" y="1624115"/>
                  </a:lnTo>
                  <a:lnTo>
                    <a:pt x="1538288" y="1631950"/>
                  </a:lnTo>
                  <a:lnTo>
                    <a:pt x="1506538" y="1608443"/>
                  </a:lnTo>
                  <a:lnTo>
                    <a:pt x="1506538" y="1569265"/>
                  </a:lnTo>
                  <a:lnTo>
                    <a:pt x="1498600" y="1537922"/>
                  </a:lnTo>
                  <a:lnTo>
                    <a:pt x="1514475" y="1506580"/>
                  </a:lnTo>
                  <a:lnTo>
                    <a:pt x="1530350" y="1467401"/>
                  </a:lnTo>
                  <a:lnTo>
                    <a:pt x="1514475" y="1404716"/>
                  </a:lnTo>
                  <a:lnTo>
                    <a:pt x="1538288" y="1387739"/>
                  </a:lnTo>
                  <a:lnTo>
                    <a:pt x="1570038" y="1364232"/>
                  </a:lnTo>
                  <a:lnTo>
                    <a:pt x="1601788" y="1317218"/>
                  </a:lnTo>
                  <a:close/>
                  <a:moveTo>
                    <a:pt x="1294034" y="1271747"/>
                  </a:moveTo>
                  <a:cubicBezTo>
                    <a:pt x="1294034" y="1271747"/>
                    <a:pt x="1294034" y="1271747"/>
                    <a:pt x="1294034" y="1310640"/>
                  </a:cubicBezTo>
                  <a:cubicBezTo>
                    <a:pt x="1294034" y="1310640"/>
                    <a:pt x="1294034" y="1310640"/>
                    <a:pt x="1317625" y="1349534"/>
                  </a:cubicBezTo>
                  <a:cubicBezTo>
                    <a:pt x="1317625" y="1349534"/>
                    <a:pt x="1317625" y="1349534"/>
                    <a:pt x="1317625" y="1372870"/>
                  </a:cubicBezTo>
                  <a:cubicBezTo>
                    <a:pt x="1317625" y="1372870"/>
                    <a:pt x="1317625" y="1372870"/>
                    <a:pt x="1307673" y="1379434"/>
                  </a:cubicBezTo>
                  <a:lnTo>
                    <a:pt x="1294459" y="1388148"/>
                  </a:lnTo>
                  <a:lnTo>
                    <a:pt x="1294653" y="1388534"/>
                  </a:lnTo>
                  <a:cubicBezTo>
                    <a:pt x="1294653" y="1388534"/>
                    <a:pt x="1294653" y="1388534"/>
                    <a:pt x="1318326" y="1372894"/>
                  </a:cubicBezTo>
                  <a:cubicBezTo>
                    <a:pt x="1318326" y="1372894"/>
                    <a:pt x="1318326" y="1372894"/>
                    <a:pt x="1318326" y="1349434"/>
                  </a:cubicBezTo>
                  <a:cubicBezTo>
                    <a:pt x="1318326" y="1349434"/>
                    <a:pt x="1318326" y="1349434"/>
                    <a:pt x="1294653" y="1310335"/>
                  </a:cubicBezTo>
                  <a:cubicBezTo>
                    <a:pt x="1294653" y="1310335"/>
                    <a:pt x="1294653" y="1310335"/>
                    <a:pt x="1294653" y="1293839"/>
                  </a:cubicBezTo>
                  <a:lnTo>
                    <a:pt x="1294653" y="1271747"/>
                  </a:lnTo>
                  <a:close/>
                  <a:moveTo>
                    <a:pt x="1175716" y="1185100"/>
                  </a:moveTo>
                  <a:lnTo>
                    <a:pt x="1173553" y="1185816"/>
                  </a:lnTo>
                  <a:cubicBezTo>
                    <a:pt x="1170607" y="1186792"/>
                    <a:pt x="1164714" y="1188742"/>
                    <a:pt x="1152929" y="1192644"/>
                  </a:cubicBezTo>
                  <a:cubicBezTo>
                    <a:pt x="1152929" y="1192644"/>
                    <a:pt x="1152929" y="1192644"/>
                    <a:pt x="1152806" y="1193375"/>
                  </a:cubicBezTo>
                  <a:lnTo>
                    <a:pt x="1152721" y="1193883"/>
                  </a:lnTo>
                  <a:lnTo>
                    <a:pt x="1155438" y="1192987"/>
                  </a:lnTo>
                  <a:cubicBezTo>
                    <a:pt x="1158386" y="1192014"/>
                    <a:pt x="1164284" y="1190070"/>
                    <a:pt x="1176080" y="1186180"/>
                  </a:cubicBezTo>
                  <a:cubicBezTo>
                    <a:pt x="1176080" y="1186180"/>
                    <a:pt x="1176080" y="1186180"/>
                    <a:pt x="1175834" y="1185451"/>
                  </a:cubicBezTo>
                  <a:close/>
                  <a:moveTo>
                    <a:pt x="1168458" y="1092476"/>
                  </a:moveTo>
                  <a:lnTo>
                    <a:pt x="1168216" y="1092836"/>
                  </a:lnTo>
                  <a:cubicBezTo>
                    <a:pt x="1168216" y="1092836"/>
                    <a:pt x="1168216" y="1092836"/>
                    <a:pt x="1183943" y="1155065"/>
                  </a:cubicBezTo>
                  <a:cubicBezTo>
                    <a:pt x="1183943" y="1155065"/>
                    <a:pt x="1183943" y="1155065"/>
                    <a:pt x="1199670" y="1193959"/>
                  </a:cubicBezTo>
                  <a:cubicBezTo>
                    <a:pt x="1199670" y="1193959"/>
                    <a:pt x="1231125" y="1209517"/>
                    <a:pt x="1238989" y="1209517"/>
                  </a:cubicBezTo>
                  <a:cubicBezTo>
                    <a:pt x="1238989" y="1209517"/>
                    <a:pt x="1278307" y="1217295"/>
                    <a:pt x="1278307" y="1217295"/>
                  </a:cubicBezTo>
                  <a:cubicBezTo>
                    <a:pt x="1278307" y="1217295"/>
                    <a:pt x="1278307" y="1217295"/>
                    <a:pt x="1286171" y="1232853"/>
                  </a:cubicBezTo>
                  <a:cubicBezTo>
                    <a:pt x="1286171" y="1232853"/>
                    <a:pt x="1286171" y="1232853"/>
                    <a:pt x="1292806" y="1249261"/>
                  </a:cubicBezTo>
                  <a:lnTo>
                    <a:pt x="1301691" y="1271235"/>
                  </a:lnTo>
                  <a:lnTo>
                    <a:pt x="1302377" y="1271235"/>
                  </a:lnTo>
                  <a:lnTo>
                    <a:pt x="1300547" y="1266715"/>
                  </a:lnTo>
                  <a:cubicBezTo>
                    <a:pt x="1298575" y="1261842"/>
                    <a:pt x="1294630" y="1252095"/>
                    <a:pt x="1286741" y="1232601"/>
                  </a:cubicBezTo>
                  <a:cubicBezTo>
                    <a:pt x="1286741" y="1232601"/>
                    <a:pt x="1286741" y="1232601"/>
                    <a:pt x="1278852" y="1217006"/>
                  </a:cubicBezTo>
                  <a:cubicBezTo>
                    <a:pt x="1278852" y="1217006"/>
                    <a:pt x="1239405" y="1209209"/>
                    <a:pt x="1239405" y="1209209"/>
                  </a:cubicBezTo>
                  <a:cubicBezTo>
                    <a:pt x="1231515" y="1209209"/>
                    <a:pt x="1199958" y="1193614"/>
                    <a:pt x="1199958" y="1193614"/>
                  </a:cubicBezTo>
                  <a:cubicBezTo>
                    <a:pt x="1199958" y="1193614"/>
                    <a:pt x="1199958" y="1193614"/>
                    <a:pt x="1184179" y="1154627"/>
                  </a:cubicBezTo>
                  <a:cubicBezTo>
                    <a:pt x="1184179" y="1154627"/>
                    <a:pt x="1184179" y="1154627"/>
                    <a:pt x="1177522" y="1128310"/>
                  </a:cubicBezTo>
                  <a:close/>
                  <a:moveTo>
                    <a:pt x="1176080" y="1015048"/>
                  </a:moveTo>
                  <a:cubicBezTo>
                    <a:pt x="1176080" y="1015048"/>
                    <a:pt x="1176080" y="1015048"/>
                    <a:pt x="1179397" y="1038020"/>
                  </a:cubicBezTo>
                  <a:lnTo>
                    <a:pt x="1183908" y="1069257"/>
                  </a:lnTo>
                  <a:lnTo>
                    <a:pt x="1184179" y="1068855"/>
                  </a:lnTo>
                  <a:cubicBezTo>
                    <a:pt x="1184179" y="1068855"/>
                    <a:pt x="1184179" y="1068855"/>
                    <a:pt x="1180851" y="1045828"/>
                  </a:cubicBezTo>
                  <a:lnTo>
                    <a:pt x="1176402" y="1015048"/>
                  </a:lnTo>
                  <a:close/>
                  <a:moveTo>
                    <a:pt x="1270443" y="1007269"/>
                  </a:moveTo>
                  <a:cubicBezTo>
                    <a:pt x="1270443" y="1007269"/>
                    <a:pt x="1270443" y="1007269"/>
                    <a:pt x="1262580" y="1022827"/>
                  </a:cubicBezTo>
                  <a:cubicBezTo>
                    <a:pt x="1262580" y="1022827"/>
                    <a:pt x="1262580" y="1022827"/>
                    <a:pt x="1262580" y="1032672"/>
                  </a:cubicBezTo>
                  <a:lnTo>
                    <a:pt x="1262580" y="1045462"/>
                  </a:lnTo>
                  <a:lnTo>
                    <a:pt x="1263073" y="1045462"/>
                  </a:lnTo>
                  <a:cubicBezTo>
                    <a:pt x="1263073" y="1045462"/>
                    <a:pt x="1263073" y="1045462"/>
                    <a:pt x="1263073" y="1022070"/>
                  </a:cubicBezTo>
                  <a:cubicBezTo>
                    <a:pt x="1263073" y="1022070"/>
                    <a:pt x="1263073" y="1022070"/>
                    <a:pt x="1264059" y="1020121"/>
                  </a:cubicBezTo>
                  <a:lnTo>
                    <a:pt x="1270521" y="1007347"/>
                  </a:lnTo>
                  <a:close/>
                  <a:moveTo>
                    <a:pt x="1191807" y="935852"/>
                  </a:moveTo>
                  <a:lnTo>
                    <a:pt x="1191722" y="935999"/>
                  </a:lnTo>
                  <a:cubicBezTo>
                    <a:pt x="1190249" y="938560"/>
                    <a:pt x="1184356" y="948801"/>
                    <a:pt x="1160786" y="989767"/>
                  </a:cubicBezTo>
                  <a:cubicBezTo>
                    <a:pt x="1160786" y="989767"/>
                    <a:pt x="1160786" y="989767"/>
                    <a:pt x="1145073" y="1044387"/>
                  </a:cubicBezTo>
                  <a:lnTo>
                    <a:pt x="1145097" y="1044530"/>
                  </a:lnTo>
                  <a:lnTo>
                    <a:pt x="1146591" y="1039357"/>
                  </a:lnTo>
                  <a:cubicBezTo>
                    <a:pt x="1148557" y="1032550"/>
                    <a:pt x="1152488" y="1018938"/>
                    <a:pt x="1160352" y="991712"/>
                  </a:cubicBezTo>
                  <a:cubicBezTo>
                    <a:pt x="1160352" y="991712"/>
                    <a:pt x="1160352" y="991712"/>
                    <a:pt x="1191807" y="937261"/>
                  </a:cubicBezTo>
                  <a:close/>
                  <a:moveTo>
                    <a:pt x="778842" y="927254"/>
                  </a:moveTo>
                  <a:lnTo>
                    <a:pt x="765049" y="935173"/>
                  </a:lnTo>
                  <a:lnTo>
                    <a:pt x="764204" y="935657"/>
                  </a:lnTo>
                  <a:lnTo>
                    <a:pt x="776605" y="929482"/>
                  </a:lnTo>
                  <a:close/>
                  <a:moveTo>
                    <a:pt x="1291630" y="874345"/>
                  </a:moveTo>
                  <a:lnTo>
                    <a:pt x="1288685" y="875519"/>
                  </a:lnTo>
                  <a:cubicBezTo>
                    <a:pt x="1283800" y="877467"/>
                    <a:pt x="1274031" y="881361"/>
                    <a:pt x="1254492" y="889150"/>
                  </a:cubicBezTo>
                  <a:cubicBezTo>
                    <a:pt x="1254492" y="889150"/>
                    <a:pt x="1254492" y="889150"/>
                    <a:pt x="1199784" y="896938"/>
                  </a:cubicBezTo>
                  <a:cubicBezTo>
                    <a:pt x="1199784" y="896938"/>
                    <a:pt x="1199784" y="896938"/>
                    <a:pt x="1195877" y="894018"/>
                  </a:cubicBezTo>
                  <a:lnTo>
                    <a:pt x="1193409" y="892173"/>
                  </a:lnTo>
                  <a:lnTo>
                    <a:pt x="1199670" y="898367"/>
                  </a:lnTo>
                  <a:cubicBezTo>
                    <a:pt x="1199670" y="898367"/>
                    <a:pt x="1199670" y="898367"/>
                    <a:pt x="1254716" y="890588"/>
                  </a:cubicBezTo>
                  <a:cubicBezTo>
                    <a:pt x="1254716" y="890588"/>
                    <a:pt x="1254716" y="890588"/>
                    <a:pt x="1270443" y="890588"/>
                  </a:cubicBezTo>
                  <a:cubicBezTo>
                    <a:pt x="1270443" y="890588"/>
                    <a:pt x="1270443" y="890588"/>
                    <a:pt x="1272409" y="892533"/>
                  </a:cubicBezTo>
                  <a:lnTo>
                    <a:pt x="1285753" y="905733"/>
                  </a:lnTo>
                  <a:lnTo>
                    <a:pt x="1285753" y="904347"/>
                  </a:lnTo>
                  <a:cubicBezTo>
                    <a:pt x="1285753" y="904347"/>
                    <a:pt x="1285753" y="904347"/>
                    <a:pt x="1270000" y="888683"/>
                  </a:cubicBezTo>
                  <a:cubicBezTo>
                    <a:pt x="1270000" y="888683"/>
                    <a:pt x="1270000" y="888683"/>
                    <a:pt x="1279969" y="882075"/>
                  </a:cubicBezTo>
                  <a:close/>
                  <a:moveTo>
                    <a:pt x="1317015" y="859118"/>
                  </a:moveTo>
                  <a:lnTo>
                    <a:pt x="1317015" y="859942"/>
                  </a:lnTo>
                  <a:lnTo>
                    <a:pt x="1317015" y="873020"/>
                  </a:lnTo>
                  <a:lnTo>
                    <a:pt x="1317259" y="873020"/>
                  </a:lnTo>
                  <a:cubicBezTo>
                    <a:pt x="1317259" y="873020"/>
                    <a:pt x="1317259" y="873020"/>
                    <a:pt x="1317259" y="872041"/>
                  </a:cubicBezTo>
                  <a:lnTo>
                    <a:pt x="1317259" y="867068"/>
                  </a:lnTo>
                  <a:lnTo>
                    <a:pt x="1317018" y="866987"/>
                  </a:lnTo>
                  <a:cubicBezTo>
                    <a:pt x="1317018" y="866987"/>
                    <a:pt x="1317018" y="866987"/>
                    <a:pt x="1317018" y="859120"/>
                  </a:cubicBezTo>
                  <a:close/>
                  <a:moveTo>
                    <a:pt x="659481" y="812398"/>
                  </a:moveTo>
                  <a:lnTo>
                    <a:pt x="658999" y="813040"/>
                  </a:lnTo>
                  <a:lnTo>
                    <a:pt x="697310" y="828435"/>
                  </a:lnTo>
                  <a:lnTo>
                    <a:pt x="697819" y="827720"/>
                  </a:lnTo>
                  <a:close/>
                  <a:moveTo>
                    <a:pt x="1612119" y="787753"/>
                  </a:moveTo>
                  <a:lnTo>
                    <a:pt x="1616075" y="788318"/>
                  </a:lnTo>
                  <a:cubicBezTo>
                    <a:pt x="1616075" y="788318"/>
                    <a:pt x="1616075" y="788318"/>
                    <a:pt x="1589514" y="818188"/>
                  </a:cubicBezTo>
                  <a:lnTo>
                    <a:pt x="1553856" y="858288"/>
                  </a:lnTo>
                  <a:lnTo>
                    <a:pt x="1554375" y="858141"/>
                  </a:lnTo>
                  <a:lnTo>
                    <a:pt x="1617028" y="788446"/>
                  </a:lnTo>
                  <a:close/>
                  <a:moveTo>
                    <a:pt x="1254492" y="772319"/>
                  </a:moveTo>
                  <a:lnTo>
                    <a:pt x="1254404" y="772584"/>
                  </a:lnTo>
                  <a:lnTo>
                    <a:pt x="1256026" y="772584"/>
                  </a:lnTo>
                  <a:cubicBezTo>
                    <a:pt x="1257993" y="772584"/>
                    <a:pt x="1261928" y="772584"/>
                    <a:pt x="1269798" y="772584"/>
                  </a:cubicBezTo>
                  <a:lnTo>
                    <a:pt x="1269842" y="772319"/>
                  </a:lnTo>
                  <a:lnTo>
                    <a:pt x="1268169" y="772319"/>
                  </a:lnTo>
                  <a:cubicBezTo>
                    <a:pt x="1266215" y="772319"/>
                    <a:pt x="1262307" y="772319"/>
                    <a:pt x="1254492" y="772319"/>
                  </a:cubicBezTo>
                  <a:close/>
                  <a:moveTo>
                    <a:pt x="776288" y="741948"/>
                  </a:moveTo>
                  <a:lnTo>
                    <a:pt x="775362" y="742181"/>
                  </a:lnTo>
                  <a:lnTo>
                    <a:pt x="775362" y="765705"/>
                  </a:lnTo>
                  <a:lnTo>
                    <a:pt x="798778" y="804911"/>
                  </a:lnTo>
                  <a:lnTo>
                    <a:pt x="806583" y="804911"/>
                  </a:lnTo>
                  <a:lnTo>
                    <a:pt x="790973" y="851959"/>
                  </a:lnTo>
                  <a:lnTo>
                    <a:pt x="806583" y="891165"/>
                  </a:lnTo>
                  <a:lnTo>
                    <a:pt x="814268" y="906607"/>
                  </a:lnTo>
                  <a:lnTo>
                    <a:pt x="815658" y="906146"/>
                  </a:lnTo>
                  <a:lnTo>
                    <a:pt x="846900" y="890588"/>
                  </a:lnTo>
                  <a:lnTo>
                    <a:pt x="878142" y="890588"/>
                  </a:lnTo>
                  <a:lnTo>
                    <a:pt x="893168" y="898070"/>
                  </a:lnTo>
                  <a:lnTo>
                    <a:pt x="893466" y="896883"/>
                  </a:lnTo>
                  <a:lnTo>
                    <a:pt x="878198" y="889265"/>
                  </a:lnTo>
                  <a:lnTo>
                    <a:pt x="846913" y="889265"/>
                  </a:lnTo>
                  <a:lnTo>
                    <a:pt x="815627" y="904875"/>
                  </a:lnTo>
                  <a:lnTo>
                    <a:pt x="807806" y="889265"/>
                  </a:lnTo>
                  <a:lnTo>
                    <a:pt x="792163" y="850239"/>
                  </a:lnTo>
                  <a:lnTo>
                    <a:pt x="807806" y="803408"/>
                  </a:lnTo>
                  <a:lnTo>
                    <a:pt x="839091" y="795602"/>
                  </a:lnTo>
                  <a:lnTo>
                    <a:pt x="886019" y="779992"/>
                  </a:lnTo>
                  <a:lnTo>
                    <a:pt x="893802" y="764458"/>
                  </a:lnTo>
                  <a:lnTo>
                    <a:pt x="893715" y="764475"/>
                  </a:lnTo>
                  <a:lnTo>
                    <a:pt x="885874" y="779995"/>
                  </a:lnTo>
                  <a:lnTo>
                    <a:pt x="838826" y="795515"/>
                  </a:lnTo>
                  <a:lnTo>
                    <a:pt x="808021" y="803137"/>
                  </a:lnTo>
                  <a:lnTo>
                    <a:pt x="808038" y="803275"/>
                  </a:lnTo>
                  <a:lnTo>
                    <a:pt x="807461" y="803275"/>
                  </a:lnTo>
                  <a:lnTo>
                    <a:pt x="800101" y="803275"/>
                  </a:lnTo>
                  <a:lnTo>
                    <a:pt x="776288" y="764580"/>
                  </a:lnTo>
                  <a:close/>
                  <a:moveTo>
                    <a:pt x="353219" y="741523"/>
                  </a:moveTo>
                  <a:lnTo>
                    <a:pt x="352876" y="741591"/>
                  </a:lnTo>
                  <a:lnTo>
                    <a:pt x="353219" y="742269"/>
                  </a:lnTo>
                  <a:close/>
                  <a:moveTo>
                    <a:pt x="266393" y="725585"/>
                  </a:moveTo>
                  <a:lnTo>
                    <a:pt x="268162" y="726460"/>
                  </a:lnTo>
                  <a:cubicBezTo>
                    <a:pt x="270125" y="727431"/>
                    <a:pt x="274052" y="729374"/>
                    <a:pt x="281906" y="733259"/>
                  </a:cubicBezTo>
                  <a:lnTo>
                    <a:pt x="281998" y="733259"/>
                  </a:lnTo>
                  <a:lnTo>
                    <a:pt x="280369" y="732445"/>
                  </a:lnTo>
                  <a:cubicBezTo>
                    <a:pt x="278408" y="731465"/>
                    <a:pt x="274485" y="729505"/>
                    <a:pt x="266639" y="725585"/>
                  </a:cubicBezTo>
                  <a:close/>
                  <a:moveTo>
                    <a:pt x="454025" y="710634"/>
                  </a:moveTo>
                  <a:lnTo>
                    <a:pt x="445372" y="713508"/>
                  </a:lnTo>
                  <a:lnTo>
                    <a:pt x="454025" y="711200"/>
                  </a:lnTo>
                  <a:lnTo>
                    <a:pt x="438150" y="717550"/>
                  </a:lnTo>
                  <a:lnTo>
                    <a:pt x="433201" y="717550"/>
                  </a:lnTo>
                  <a:lnTo>
                    <a:pt x="431271" y="718191"/>
                  </a:lnTo>
                  <a:lnTo>
                    <a:pt x="430579" y="718191"/>
                  </a:lnTo>
                  <a:lnTo>
                    <a:pt x="430579" y="718939"/>
                  </a:lnTo>
                  <a:lnTo>
                    <a:pt x="438150" y="718939"/>
                  </a:lnTo>
                  <a:lnTo>
                    <a:pt x="454025" y="711201"/>
                  </a:lnTo>
                  <a:lnTo>
                    <a:pt x="454025" y="711200"/>
                  </a:lnTo>
                  <a:close/>
                  <a:moveTo>
                    <a:pt x="210399" y="685997"/>
                  </a:moveTo>
                  <a:lnTo>
                    <a:pt x="211336" y="693473"/>
                  </a:lnTo>
                  <a:cubicBezTo>
                    <a:pt x="211336" y="693473"/>
                    <a:pt x="211336" y="693473"/>
                    <a:pt x="227078" y="732720"/>
                  </a:cubicBezTo>
                  <a:lnTo>
                    <a:pt x="227127" y="732720"/>
                  </a:lnTo>
                  <a:lnTo>
                    <a:pt x="225448" y="728525"/>
                  </a:lnTo>
                  <a:cubicBezTo>
                    <a:pt x="223487" y="723625"/>
                    <a:pt x="219564" y="713825"/>
                    <a:pt x="211718" y="694224"/>
                  </a:cubicBezTo>
                  <a:cubicBezTo>
                    <a:pt x="211718" y="694224"/>
                    <a:pt x="211718" y="690304"/>
                    <a:pt x="210737" y="686384"/>
                  </a:cubicBezTo>
                  <a:close/>
                  <a:moveTo>
                    <a:pt x="791869" y="679838"/>
                  </a:moveTo>
                  <a:lnTo>
                    <a:pt x="791151" y="680077"/>
                  </a:lnTo>
                  <a:lnTo>
                    <a:pt x="792498" y="684812"/>
                  </a:lnTo>
                  <a:close/>
                  <a:moveTo>
                    <a:pt x="140494" y="679450"/>
                  </a:moveTo>
                  <a:lnTo>
                    <a:pt x="140494" y="685624"/>
                  </a:lnTo>
                  <a:lnTo>
                    <a:pt x="141105" y="685624"/>
                  </a:lnTo>
                  <a:lnTo>
                    <a:pt x="141105" y="685403"/>
                  </a:lnTo>
                  <a:lnTo>
                    <a:pt x="141105" y="679450"/>
                  </a:lnTo>
                  <a:close/>
                  <a:moveTo>
                    <a:pt x="776483" y="648203"/>
                  </a:moveTo>
                  <a:lnTo>
                    <a:pt x="776664" y="648475"/>
                  </a:lnTo>
                  <a:lnTo>
                    <a:pt x="799534" y="656092"/>
                  </a:lnTo>
                  <a:lnTo>
                    <a:pt x="799620" y="655836"/>
                  </a:lnTo>
                  <a:close/>
                  <a:moveTo>
                    <a:pt x="767276" y="616873"/>
                  </a:moveTo>
                  <a:lnTo>
                    <a:pt x="729425" y="648184"/>
                  </a:lnTo>
                  <a:lnTo>
                    <a:pt x="690055" y="656001"/>
                  </a:lnTo>
                  <a:lnTo>
                    <a:pt x="642811" y="656001"/>
                  </a:lnTo>
                  <a:lnTo>
                    <a:pt x="611523" y="671531"/>
                  </a:lnTo>
                  <a:lnTo>
                    <a:pt x="612608" y="671892"/>
                  </a:lnTo>
                  <a:lnTo>
                    <a:pt x="643857" y="656280"/>
                  </a:lnTo>
                  <a:lnTo>
                    <a:pt x="690730" y="656280"/>
                  </a:lnTo>
                  <a:lnTo>
                    <a:pt x="729791" y="648475"/>
                  </a:lnTo>
                  <a:lnTo>
                    <a:pt x="766066" y="618270"/>
                  </a:lnTo>
                  <a:close/>
                  <a:moveTo>
                    <a:pt x="422982" y="608268"/>
                  </a:moveTo>
                  <a:lnTo>
                    <a:pt x="422822" y="608348"/>
                  </a:lnTo>
                  <a:cubicBezTo>
                    <a:pt x="420615" y="609450"/>
                    <a:pt x="411788" y="613861"/>
                    <a:pt x="376482" y="631501"/>
                  </a:cubicBezTo>
                  <a:cubicBezTo>
                    <a:pt x="376482" y="631501"/>
                    <a:pt x="376482" y="631501"/>
                    <a:pt x="337252" y="662862"/>
                  </a:cubicBezTo>
                  <a:cubicBezTo>
                    <a:pt x="337252" y="662862"/>
                    <a:pt x="337252" y="662862"/>
                    <a:pt x="313714" y="694224"/>
                  </a:cubicBezTo>
                  <a:lnTo>
                    <a:pt x="305869" y="717745"/>
                  </a:lnTo>
                  <a:cubicBezTo>
                    <a:pt x="305869" y="717745"/>
                    <a:pt x="305869" y="717745"/>
                    <a:pt x="305869" y="733425"/>
                  </a:cubicBezTo>
                  <a:cubicBezTo>
                    <a:pt x="305869" y="733425"/>
                    <a:pt x="305869" y="733425"/>
                    <a:pt x="298023" y="733425"/>
                  </a:cubicBezTo>
                  <a:lnTo>
                    <a:pt x="297783" y="733425"/>
                  </a:lnTo>
                  <a:lnTo>
                    <a:pt x="299578" y="735201"/>
                  </a:lnTo>
                  <a:cubicBezTo>
                    <a:pt x="301541" y="737144"/>
                    <a:pt x="305468" y="741029"/>
                    <a:pt x="313322" y="748799"/>
                  </a:cubicBezTo>
                  <a:lnTo>
                    <a:pt x="313885" y="748688"/>
                  </a:lnTo>
                  <a:lnTo>
                    <a:pt x="306388" y="733746"/>
                  </a:lnTo>
                  <a:lnTo>
                    <a:pt x="306388" y="718191"/>
                  </a:lnTo>
                  <a:lnTo>
                    <a:pt x="314193" y="694859"/>
                  </a:lnTo>
                  <a:lnTo>
                    <a:pt x="337609" y="663750"/>
                  </a:lnTo>
                  <a:lnTo>
                    <a:pt x="376635" y="632641"/>
                  </a:lnTo>
                  <a:close/>
                  <a:moveTo>
                    <a:pt x="423557" y="607980"/>
                  </a:moveTo>
                  <a:lnTo>
                    <a:pt x="423491" y="608013"/>
                  </a:lnTo>
                  <a:lnTo>
                    <a:pt x="430316" y="608013"/>
                  </a:lnTo>
                  <a:lnTo>
                    <a:pt x="430300" y="607980"/>
                  </a:lnTo>
                  <a:close/>
                  <a:moveTo>
                    <a:pt x="521378" y="593206"/>
                  </a:moveTo>
                  <a:lnTo>
                    <a:pt x="520502" y="593378"/>
                  </a:lnTo>
                  <a:lnTo>
                    <a:pt x="519926" y="593491"/>
                  </a:lnTo>
                  <a:lnTo>
                    <a:pt x="518682" y="597221"/>
                  </a:lnTo>
                  <a:close/>
                  <a:moveTo>
                    <a:pt x="149309" y="592602"/>
                  </a:moveTo>
                  <a:lnTo>
                    <a:pt x="149281" y="592630"/>
                  </a:lnTo>
                  <a:lnTo>
                    <a:pt x="150912" y="594260"/>
                  </a:lnTo>
                  <a:cubicBezTo>
                    <a:pt x="152873" y="596220"/>
                    <a:pt x="156796" y="600140"/>
                    <a:pt x="164642" y="607980"/>
                  </a:cubicBezTo>
                  <a:lnTo>
                    <a:pt x="164735" y="607888"/>
                  </a:lnTo>
                  <a:lnTo>
                    <a:pt x="163053" y="606222"/>
                  </a:lnTo>
                  <a:cubicBezTo>
                    <a:pt x="161090" y="604276"/>
                    <a:pt x="157163" y="600385"/>
                    <a:pt x="149309" y="592602"/>
                  </a:cubicBezTo>
                  <a:close/>
                  <a:moveTo>
                    <a:pt x="93482" y="592097"/>
                  </a:moveTo>
                  <a:lnTo>
                    <a:pt x="108786" y="607546"/>
                  </a:lnTo>
                  <a:lnTo>
                    <a:pt x="124326" y="615390"/>
                  </a:lnTo>
                  <a:lnTo>
                    <a:pt x="124326" y="624541"/>
                  </a:lnTo>
                  <a:lnTo>
                    <a:pt x="132097" y="648074"/>
                  </a:lnTo>
                  <a:lnTo>
                    <a:pt x="147189" y="678543"/>
                  </a:lnTo>
                  <a:lnTo>
                    <a:pt x="148950" y="678543"/>
                  </a:lnTo>
                  <a:cubicBezTo>
                    <a:pt x="148950" y="678543"/>
                    <a:pt x="148950" y="678543"/>
                    <a:pt x="133259" y="647182"/>
                  </a:cubicBezTo>
                  <a:cubicBezTo>
                    <a:pt x="133259" y="647182"/>
                    <a:pt x="133259" y="647182"/>
                    <a:pt x="125413" y="623661"/>
                  </a:cubicBezTo>
                  <a:cubicBezTo>
                    <a:pt x="125413" y="623661"/>
                    <a:pt x="125413" y="623661"/>
                    <a:pt x="125413" y="615821"/>
                  </a:cubicBezTo>
                  <a:lnTo>
                    <a:pt x="125437" y="615797"/>
                  </a:lnTo>
                  <a:lnTo>
                    <a:pt x="123783" y="614977"/>
                  </a:lnTo>
                  <a:cubicBezTo>
                    <a:pt x="121820" y="614005"/>
                    <a:pt x="117893" y="612059"/>
                    <a:pt x="110039" y="608168"/>
                  </a:cubicBezTo>
                  <a:cubicBezTo>
                    <a:pt x="110039" y="608168"/>
                    <a:pt x="110039" y="608168"/>
                    <a:pt x="94331" y="592602"/>
                  </a:cubicBezTo>
                  <a:close/>
                  <a:moveTo>
                    <a:pt x="290661" y="576861"/>
                  </a:moveTo>
                  <a:lnTo>
                    <a:pt x="290680" y="577037"/>
                  </a:lnTo>
                  <a:cubicBezTo>
                    <a:pt x="290680" y="577037"/>
                    <a:pt x="290680" y="577037"/>
                    <a:pt x="292643" y="578010"/>
                  </a:cubicBezTo>
                  <a:lnTo>
                    <a:pt x="305780" y="584519"/>
                  </a:lnTo>
                  <a:lnTo>
                    <a:pt x="305869" y="584459"/>
                  </a:lnTo>
                  <a:cubicBezTo>
                    <a:pt x="305869" y="584459"/>
                    <a:pt x="305869" y="584459"/>
                    <a:pt x="303907" y="583479"/>
                  </a:cubicBezTo>
                  <a:close/>
                  <a:moveTo>
                    <a:pt x="1339775" y="569549"/>
                  </a:moveTo>
                  <a:lnTo>
                    <a:pt x="1339484" y="572735"/>
                  </a:lnTo>
                  <a:cubicBezTo>
                    <a:pt x="1338996" y="578089"/>
                    <a:pt x="1338263" y="586122"/>
                    <a:pt x="1337164" y="598170"/>
                  </a:cubicBezTo>
                  <a:lnTo>
                    <a:pt x="1332731" y="646766"/>
                  </a:lnTo>
                  <a:lnTo>
                    <a:pt x="1332758" y="646713"/>
                  </a:lnTo>
                  <a:cubicBezTo>
                    <a:pt x="1332758" y="646713"/>
                    <a:pt x="1332758" y="646713"/>
                    <a:pt x="1336078" y="610205"/>
                  </a:cubicBezTo>
                  <a:close/>
                  <a:moveTo>
                    <a:pt x="532575" y="513475"/>
                  </a:moveTo>
                  <a:lnTo>
                    <a:pt x="532420" y="514877"/>
                  </a:lnTo>
                  <a:lnTo>
                    <a:pt x="532339" y="515603"/>
                  </a:lnTo>
                  <a:lnTo>
                    <a:pt x="532575" y="515324"/>
                  </a:lnTo>
                  <a:close/>
                  <a:moveTo>
                    <a:pt x="722210" y="388395"/>
                  </a:moveTo>
                  <a:lnTo>
                    <a:pt x="580317" y="481525"/>
                  </a:lnTo>
                  <a:lnTo>
                    <a:pt x="532985" y="504825"/>
                  </a:lnTo>
                  <a:lnTo>
                    <a:pt x="509319" y="504825"/>
                  </a:lnTo>
                  <a:lnTo>
                    <a:pt x="493542" y="489292"/>
                  </a:lnTo>
                  <a:lnTo>
                    <a:pt x="430095" y="446047"/>
                  </a:lnTo>
                  <a:lnTo>
                    <a:pt x="494171" y="490375"/>
                  </a:lnTo>
                  <a:cubicBezTo>
                    <a:pt x="494171" y="490375"/>
                    <a:pt x="494171" y="490375"/>
                    <a:pt x="509863" y="506056"/>
                  </a:cubicBezTo>
                  <a:cubicBezTo>
                    <a:pt x="509863" y="506056"/>
                    <a:pt x="509863" y="506056"/>
                    <a:pt x="519793" y="506056"/>
                  </a:cubicBezTo>
                  <a:lnTo>
                    <a:pt x="532835" y="506056"/>
                  </a:lnTo>
                  <a:lnTo>
                    <a:pt x="579819" y="482735"/>
                  </a:lnTo>
                  <a:lnTo>
                    <a:pt x="721551" y="388938"/>
                  </a:lnTo>
                  <a:lnTo>
                    <a:pt x="783957" y="396682"/>
                  </a:lnTo>
                  <a:lnTo>
                    <a:pt x="783188" y="395922"/>
                  </a:lnTo>
                  <a:cubicBezTo>
                    <a:pt x="783188" y="395922"/>
                    <a:pt x="783188" y="395922"/>
                    <a:pt x="756605" y="392641"/>
                  </a:cubicBezTo>
                  <a:close/>
                  <a:moveTo>
                    <a:pt x="712314" y="385556"/>
                  </a:moveTo>
                  <a:lnTo>
                    <a:pt x="714425" y="388327"/>
                  </a:lnTo>
                  <a:lnTo>
                    <a:pt x="721659" y="388327"/>
                  </a:lnTo>
                  <a:lnTo>
                    <a:pt x="720176" y="388144"/>
                  </a:lnTo>
                  <a:cubicBezTo>
                    <a:pt x="720176" y="388144"/>
                    <a:pt x="720176" y="388144"/>
                    <a:pt x="717223" y="387172"/>
                  </a:cubicBezTo>
                  <a:close/>
                  <a:moveTo>
                    <a:pt x="264777" y="331378"/>
                  </a:moveTo>
                  <a:lnTo>
                    <a:pt x="287966" y="349250"/>
                  </a:lnTo>
                  <a:lnTo>
                    <a:pt x="288117" y="349250"/>
                  </a:lnTo>
                  <a:close/>
                  <a:moveTo>
                    <a:pt x="212964" y="271829"/>
                  </a:moveTo>
                  <a:lnTo>
                    <a:pt x="212558" y="273050"/>
                  </a:lnTo>
                  <a:lnTo>
                    <a:pt x="217438" y="273050"/>
                  </a:lnTo>
                  <a:lnTo>
                    <a:pt x="217438" y="271829"/>
                  </a:lnTo>
                  <a:close/>
                  <a:moveTo>
                    <a:pt x="641350" y="0"/>
                  </a:moveTo>
                  <a:lnTo>
                    <a:pt x="643427" y="0"/>
                  </a:lnTo>
                  <a:lnTo>
                    <a:pt x="657225" y="0"/>
                  </a:lnTo>
                  <a:lnTo>
                    <a:pt x="688976" y="15494"/>
                  </a:lnTo>
                  <a:lnTo>
                    <a:pt x="696913" y="46482"/>
                  </a:lnTo>
                  <a:lnTo>
                    <a:pt x="665163" y="92964"/>
                  </a:lnTo>
                  <a:lnTo>
                    <a:pt x="688976" y="108458"/>
                  </a:lnTo>
                  <a:lnTo>
                    <a:pt x="712300" y="116046"/>
                  </a:lnTo>
                  <a:lnTo>
                    <a:pt x="712300" y="115888"/>
                  </a:lnTo>
                  <a:cubicBezTo>
                    <a:pt x="712300" y="115888"/>
                    <a:pt x="712300" y="115888"/>
                    <a:pt x="751682" y="131445"/>
                  </a:cubicBezTo>
                  <a:cubicBezTo>
                    <a:pt x="751682" y="131445"/>
                    <a:pt x="751682" y="131445"/>
                    <a:pt x="806817" y="139224"/>
                  </a:cubicBezTo>
                  <a:cubicBezTo>
                    <a:pt x="806817" y="139224"/>
                    <a:pt x="806817" y="139224"/>
                    <a:pt x="822570" y="154782"/>
                  </a:cubicBezTo>
                  <a:cubicBezTo>
                    <a:pt x="822570" y="154782"/>
                    <a:pt x="822570" y="154782"/>
                    <a:pt x="846199" y="170339"/>
                  </a:cubicBezTo>
                  <a:cubicBezTo>
                    <a:pt x="846199" y="170339"/>
                    <a:pt x="846199" y="170339"/>
                    <a:pt x="877705" y="193675"/>
                  </a:cubicBezTo>
                  <a:cubicBezTo>
                    <a:pt x="877705" y="193675"/>
                    <a:pt x="877705" y="193675"/>
                    <a:pt x="924964" y="178118"/>
                  </a:cubicBezTo>
                  <a:cubicBezTo>
                    <a:pt x="924964" y="178118"/>
                    <a:pt x="924964" y="178118"/>
                    <a:pt x="924964" y="147003"/>
                  </a:cubicBezTo>
                  <a:cubicBezTo>
                    <a:pt x="924964" y="147003"/>
                    <a:pt x="924964" y="147003"/>
                    <a:pt x="972222" y="131445"/>
                  </a:cubicBezTo>
                  <a:cubicBezTo>
                    <a:pt x="972222" y="131445"/>
                    <a:pt x="972222" y="131445"/>
                    <a:pt x="1003728" y="139224"/>
                  </a:cubicBezTo>
                  <a:cubicBezTo>
                    <a:pt x="1003728" y="139224"/>
                    <a:pt x="1003728" y="139224"/>
                    <a:pt x="1027357" y="154782"/>
                  </a:cubicBezTo>
                  <a:cubicBezTo>
                    <a:pt x="1027357" y="154782"/>
                    <a:pt x="1027357" y="154782"/>
                    <a:pt x="1050987" y="162560"/>
                  </a:cubicBezTo>
                  <a:cubicBezTo>
                    <a:pt x="1050987" y="162560"/>
                    <a:pt x="1050987" y="162560"/>
                    <a:pt x="1043110" y="178118"/>
                  </a:cubicBezTo>
                  <a:cubicBezTo>
                    <a:pt x="1043110" y="178118"/>
                    <a:pt x="1043110" y="178118"/>
                    <a:pt x="1035234" y="201454"/>
                  </a:cubicBezTo>
                  <a:lnTo>
                    <a:pt x="1035333" y="201676"/>
                  </a:lnTo>
                  <a:lnTo>
                    <a:pt x="1042900" y="179116"/>
                  </a:lnTo>
                  <a:cubicBezTo>
                    <a:pt x="1042900" y="179116"/>
                    <a:pt x="1042900" y="179116"/>
                    <a:pt x="1050749" y="163513"/>
                  </a:cubicBezTo>
                  <a:cubicBezTo>
                    <a:pt x="1050749" y="163513"/>
                    <a:pt x="1050749" y="163513"/>
                    <a:pt x="1082146" y="163513"/>
                  </a:cubicBezTo>
                  <a:cubicBezTo>
                    <a:pt x="1082146" y="163513"/>
                    <a:pt x="1082146" y="163513"/>
                    <a:pt x="1129242" y="186917"/>
                  </a:cubicBezTo>
                  <a:cubicBezTo>
                    <a:pt x="1129242" y="186917"/>
                    <a:pt x="1129242" y="186917"/>
                    <a:pt x="1184187" y="171314"/>
                  </a:cubicBezTo>
                  <a:cubicBezTo>
                    <a:pt x="1184187" y="171314"/>
                    <a:pt x="1184187" y="171314"/>
                    <a:pt x="1207735" y="179116"/>
                  </a:cubicBezTo>
                  <a:cubicBezTo>
                    <a:pt x="1207735" y="179116"/>
                    <a:pt x="1207735" y="179116"/>
                    <a:pt x="1254831" y="186917"/>
                  </a:cubicBezTo>
                  <a:cubicBezTo>
                    <a:pt x="1254831" y="186917"/>
                    <a:pt x="1254831" y="186917"/>
                    <a:pt x="1270529" y="171314"/>
                  </a:cubicBezTo>
                  <a:cubicBezTo>
                    <a:pt x="1270529" y="171314"/>
                    <a:pt x="1270529" y="171314"/>
                    <a:pt x="1294077" y="233726"/>
                  </a:cubicBezTo>
                  <a:cubicBezTo>
                    <a:pt x="1294077" y="233726"/>
                    <a:pt x="1294077" y="233726"/>
                    <a:pt x="1301927" y="233726"/>
                  </a:cubicBezTo>
                  <a:cubicBezTo>
                    <a:pt x="1301927" y="233726"/>
                    <a:pt x="1301927" y="233726"/>
                    <a:pt x="1278379" y="257130"/>
                  </a:cubicBezTo>
                  <a:cubicBezTo>
                    <a:pt x="1278379" y="257130"/>
                    <a:pt x="1278379" y="257130"/>
                    <a:pt x="1223434" y="225924"/>
                  </a:cubicBezTo>
                  <a:cubicBezTo>
                    <a:pt x="1223434" y="225924"/>
                    <a:pt x="1223434" y="225924"/>
                    <a:pt x="1262680" y="280534"/>
                  </a:cubicBezTo>
                  <a:cubicBezTo>
                    <a:pt x="1262680" y="280534"/>
                    <a:pt x="1262680" y="280534"/>
                    <a:pt x="1294077" y="342946"/>
                  </a:cubicBezTo>
                  <a:cubicBezTo>
                    <a:pt x="1294077" y="342946"/>
                    <a:pt x="1294077" y="342946"/>
                    <a:pt x="1317625" y="397556"/>
                  </a:cubicBezTo>
                  <a:cubicBezTo>
                    <a:pt x="1317625" y="397556"/>
                    <a:pt x="1317625" y="397556"/>
                    <a:pt x="1301927" y="413159"/>
                  </a:cubicBezTo>
                  <a:cubicBezTo>
                    <a:pt x="1301927" y="413159"/>
                    <a:pt x="1301927" y="413159"/>
                    <a:pt x="1262680" y="436563"/>
                  </a:cubicBezTo>
                  <a:cubicBezTo>
                    <a:pt x="1262680" y="436563"/>
                    <a:pt x="1089995" y="436563"/>
                    <a:pt x="1058598" y="436563"/>
                  </a:cubicBezTo>
                  <a:lnTo>
                    <a:pt x="1058568" y="436563"/>
                  </a:lnTo>
                  <a:lnTo>
                    <a:pt x="1057879" y="440650"/>
                  </a:lnTo>
                  <a:cubicBezTo>
                    <a:pt x="1056894" y="446484"/>
                    <a:pt x="1054925" y="458152"/>
                    <a:pt x="1050987" y="481489"/>
                  </a:cubicBezTo>
                  <a:cubicBezTo>
                    <a:pt x="1050987" y="481489"/>
                    <a:pt x="1050987" y="481489"/>
                    <a:pt x="1027357" y="481489"/>
                  </a:cubicBezTo>
                  <a:cubicBezTo>
                    <a:pt x="1027357" y="481489"/>
                    <a:pt x="1027357" y="481489"/>
                    <a:pt x="1027357" y="504825"/>
                  </a:cubicBezTo>
                  <a:cubicBezTo>
                    <a:pt x="1027357" y="504825"/>
                    <a:pt x="1027357" y="504825"/>
                    <a:pt x="1019481" y="497046"/>
                  </a:cubicBezTo>
                  <a:cubicBezTo>
                    <a:pt x="1019481" y="497046"/>
                    <a:pt x="1019481" y="497046"/>
                    <a:pt x="830446" y="395922"/>
                  </a:cubicBezTo>
                  <a:cubicBezTo>
                    <a:pt x="830446" y="395922"/>
                    <a:pt x="830446" y="395922"/>
                    <a:pt x="817155" y="402486"/>
                  </a:cubicBezTo>
                  <a:lnTo>
                    <a:pt x="799232" y="411336"/>
                  </a:lnTo>
                  <a:lnTo>
                    <a:pt x="800291" y="412387"/>
                  </a:lnTo>
                  <a:lnTo>
                    <a:pt x="800291" y="413651"/>
                  </a:lnTo>
                  <a:lnTo>
                    <a:pt x="830985" y="398463"/>
                  </a:lnTo>
                  <a:lnTo>
                    <a:pt x="1019175" y="499343"/>
                  </a:lnTo>
                  <a:lnTo>
                    <a:pt x="1011334" y="592463"/>
                  </a:lnTo>
                  <a:lnTo>
                    <a:pt x="987810" y="607983"/>
                  </a:lnTo>
                  <a:lnTo>
                    <a:pt x="979969" y="648076"/>
                  </a:lnTo>
                  <a:lnTo>
                    <a:pt x="972128" y="671356"/>
                  </a:lnTo>
                  <a:lnTo>
                    <a:pt x="995479" y="717575"/>
                  </a:lnTo>
                  <a:lnTo>
                    <a:pt x="995518" y="717550"/>
                  </a:lnTo>
                  <a:lnTo>
                    <a:pt x="1011161" y="748771"/>
                  </a:lnTo>
                  <a:lnTo>
                    <a:pt x="1034625" y="787797"/>
                  </a:lnTo>
                  <a:lnTo>
                    <a:pt x="1065910" y="803408"/>
                  </a:lnTo>
                  <a:lnTo>
                    <a:pt x="1112103" y="849505"/>
                  </a:lnTo>
                  <a:lnTo>
                    <a:pt x="1113000" y="849393"/>
                  </a:lnTo>
                  <a:lnTo>
                    <a:pt x="1107954" y="844365"/>
                  </a:lnTo>
                  <a:cubicBezTo>
                    <a:pt x="1102092" y="838523"/>
                    <a:pt x="1090369" y="826840"/>
                    <a:pt x="1066923" y="803474"/>
                  </a:cubicBezTo>
                  <a:cubicBezTo>
                    <a:pt x="1066923" y="803474"/>
                    <a:pt x="1066923" y="803474"/>
                    <a:pt x="1035661" y="787897"/>
                  </a:cubicBezTo>
                  <a:cubicBezTo>
                    <a:pt x="1035661" y="787897"/>
                    <a:pt x="1035661" y="787897"/>
                    <a:pt x="1012215" y="748953"/>
                  </a:cubicBezTo>
                  <a:cubicBezTo>
                    <a:pt x="1012215" y="748953"/>
                    <a:pt x="1012215" y="748953"/>
                    <a:pt x="996584" y="717799"/>
                  </a:cubicBezTo>
                  <a:cubicBezTo>
                    <a:pt x="996584" y="717799"/>
                    <a:pt x="996584" y="717799"/>
                    <a:pt x="973138" y="671067"/>
                  </a:cubicBezTo>
                  <a:cubicBezTo>
                    <a:pt x="973138" y="671067"/>
                    <a:pt x="973138" y="671067"/>
                    <a:pt x="980954" y="647701"/>
                  </a:cubicBezTo>
                  <a:cubicBezTo>
                    <a:pt x="980954" y="647701"/>
                    <a:pt x="980954" y="647701"/>
                    <a:pt x="988769" y="608757"/>
                  </a:cubicBezTo>
                  <a:cubicBezTo>
                    <a:pt x="988769" y="608757"/>
                    <a:pt x="988769" y="608757"/>
                    <a:pt x="1012215" y="593180"/>
                  </a:cubicBezTo>
                  <a:cubicBezTo>
                    <a:pt x="1012215" y="593180"/>
                    <a:pt x="1012215" y="593180"/>
                    <a:pt x="1020031" y="499716"/>
                  </a:cubicBezTo>
                  <a:cubicBezTo>
                    <a:pt x="1020031" y="499716"/>
                    <a:pt x="1020031" y="499716"/>
                    <a:pt x="1027846" y="507504"/>
                  </a:cubicBezTo>
                  <a:cubicBezTo>
                    <a:pt x="1027846" y="507504"/>
                    <a:pt x="1027846" y="507504"/>
                    <a:pt x="1027846" y="484138"/>
                  </a:cubicBezTo>
                  <a:cubicBezTo>
                    <a:pt x="1027846" y="484138"/>
                    <a:pt x="1027846" y="484138"/>
                    <a:pt x="1051292" y="484138"/>
                  </a:cubicBezTo>
                  <a:cubicBezTo>
                    <a:pt x="1051292" y="484138"/>
                    <a:pt x="1051292" y="484138"/>
                    <a:pt x="1059107" y="437406"/>
                  </a:cubicBezTo>
                  <a:cubicBezTo>
                    <a:pt x="1090369" y="437406"/>
                    <a:pt x="1262307" y="437406"/>
                    <a:pt x="1262307" y="437406"/>
                  </a:cubicBezTo>
                  <a:lnTo>
                    <a:pt x="1301384" y="414040"/>
                  </a:lnTo>
                  <a:cubicBezTo>
                    <a:pt x="1301384" y="414040"/>
                    <a:pt x="1301384" y="414040"/>
                    <a:pt x="1317015" y="398463"/>
                  </a:cubicBezTo>
                  <a:cubicBezTo>
                    <a:pt x="1317015" y="398463"/>
                    <a:pt x="1317015" y="398463"/>
                    <a:pt x="1340461" y="429618"/>
                  </a:cubicBezTo>
                  <a:cubicBezTo>
                    <a:pt x="1340461" y="429618"/>
                    <a:pt x="1340461" y="429618"/>
                    <a:pt x="1363907" y="499716"/>
                  </a:cubicBezTo>
                  <a:cubicBezTo>
                    <a:pt x="1363907" y="499716"/>
                    <a:pt x="1363907" y="499716"/>
                    <a:pt x="1370502" y="516145"/>
                  </a:cubicBezTo>
                  <a:lnTo>
                    <a:pt x="1378915" y="537106"/>
                  </a:lnTo>
                  <a:lnTo>
                    <a:pt x="1379977" y="536575"/>
                  </a:lnTo>
                  <a:cubicBezTo>
                    <a:pt x="1379977" y="536575"/>
                    <a:pt x="1379977" y="536575"/>
                    <a:pt x="1403587" y="583777"/>
                  </a:cubicBezTo>
                  <a:cubicBezTo>
                    <a:pt x="1403587" y="583777"/>
                    <a:pt x="1403587" y="583777"/>
                    <a:pt x="1442937" y="599511"/>
                  </a:cubicBezTo>
                  <a:cubicBezTo>
                    <a:pt x="1442937" y="599511"/>
                    <a:pt x="1442937" y="599511"/>
                    <a:pt x="1505896" y="693914"/>
                  </a:cubicBezTo>
                  <a:cubicBezTo>
                    <a:pt x="1505896" y="693914"/>
                    <a:pt x="1505896" y="693914"/>
                    <a:pt x="1513766" y="709648"/>
                  </a:cubicBezTo>
                  <a:cubicBezTo>
                    <a:pt x="1513766" y="709648"/>
                    <a:pt x="1513766" y="709648"/>
                    <a:pt x="1490156" y="725382"/>
                  </a:cubicBezTo>
                  <a:cubicBezTo>
                    <a:pt x="1490156" y="725382"/>
                    <a:pt x="1490156" y="725382"/>
                    <a:pt x="1505896" y="748983"/>
                  </a:cubicBezTo>
                  <a:cubicBezTo>
                    <a:pt x="1505896" y="748983"/>
                    <a:pt x="1505896" y="748983"/>
                    <a:pt x="1560986" y="780451"/>
                  </a:cubicBezTo>
                  <a:cubicBezTo>
                    <a:pt x="1560986" y="780451"/>
                    <a:pt x="1560986" y="780451"/>
                    <a:pt x="1561847" y="780574"/>
                  </a:cubicBezTo>
                  <a:lnTo>
                    <a:pt x="1562024" y="780599"/>
                  </a:lnTo>
                  <a:lnTo>
                    <a:pt x="1507385" y="749727"/>
                  </a:lnTo>
                  <a:lnTo>
                    <a:pt x="1491722" y="726495"/>
                  </a:lnTo>
                  <a:lnTo>
                    <a:pt x="1515217" y="711007"/>
                  </a:lnTo>
                  <a:lnTo>
                    <a:pt x="1515217" y="718751"/>
                  </a:lnTo>
                  <a:lnTo>
                    <a:pt x="1546543" y="726495"/>
                  </a:lnTo>
                  <a:lnTo>
                    <a:pt x="1687513" y="703263"/>
                  </a:lnTo>
                  <a:lnTo>
                    <a:pt x="1671850" y="765214"/>
                  </a:lnTo>
                  <a:lnTo>
                    <a:pt x="1624860" y="873629"/>
                  </a:lnTo>
                  <a:lnTo>
                    <a:pt x="1570038" y="935580"/>
                  </a:lnTo>
                  <a:lnTo>
                    <a:pt x="1507385" y="966556"/>
                  </a:lnTo>
                  <a:lnTo>
                    <a:pt x="1468227" y="1020763"/>
                  </a:lnTo>
                  <a:lnTo>
                    <a:pt x="1452563" y="997532"/>
                  </a:lnTo>
                  <a:lnTo>
                    <a:pt x="1452563" y="920093"/>
                  </a:lnTo>
                  <a:lnTo>
                    <a:pt x="1476058" y="896861"/>
                  </a:lnTo>
                  <a:lnTo>
                    <a:pt x="1476058" y="889494"/>
                  </a:lnTo>
                  <a:lnTo>
                    <a:pt x="1474788" y="890340"/>
                  </a:lnTo>
                  <a:lnTo>
                    <a:pt x="1474788" y="896515"/>
                  </a:lnTo>
                  <a:cubicBezTo>
                    <a:pt x="1474788" y="896515"/>
                    <a:pt x="1474788" y="896515"/>
                    <a:pt x="1451159" y="920010"/>
                  </a:cubicBezTo>
                  <a:lnTo>
                    <a:pt x="1451159" y="998327"/>
                  </a:lnTo>
                  <a:cubicBezTo>
                    <a:pt x="1451159" y="998327"/>
                    <a:pt x="1451159" y="998327"/>
                    <a:pt x="1466912" y="1021822"/>
                  </a:cubicBezTo>
                  <a:cubicBezTo>
                    <a:pt x="1466912" y="1021822"/>
                    <a:pt x="1466912" y="1021822"/>
                    <a:pt x="1443282" y="1045317"/>
                  </a:cubicBezTo>
                  <a:cubicBezTo>
                    <a:pt x="1443282" y="1045317"/>
                    <a:pt x="1443282" y="1045317"/>
                    <a:pt x="1411777" y="1092307"/>
                  </a:cubicBezTo>
                  <a:cubicBezTo>
                    <a:pt x="1411777" y="1092307"/>
                    <a:pt x="1409808" y="1092307"/>
                    <a:pt x="1407839" y="1093286"/>
                  </a:cubicBezTo>
                  <a:lnTo>
                    <a:pt x="1404241" y="1099546"/>
                  </a:lnTo>
                  <a:lnTo>
                    <a:pt x="1405082" y="1100045"/>
                  </a:lnTo>
                  <a:cubicBezTo>
                    <a:pt x="1397193" y="1100045"/>
                    <a:pt x="1389303" y="1107842"/>
                    <a:pt x="1389303" y="1115639"/>
                  </a:cubicBezTo>
                  <a:cubicBezTo>
                    <a:pt x="1389303" y="1123437"/>
                    <a:pt x="1405082" y="1154627"/>
                    <a:pt x="1405082" y="1154627"/>
                  </a:cubicBezTo>
                  <a:cubicBezTo>
                    <a:pt x="1405082" y="1154627"/>
                    <a:pt x="1405082" y="1154627"/>
                    <a:pt x="1412971" y="1224804"/>
                  </a:cubicBezTo>
                  <a:cubicBezTo>
                    <a:pt x="1412971" y="1224804"/>
                    <a:pt x="1412971" y="1224804"/>
                    <a:pt x="1419628" y="1234672"/>
                  </a:cubicBezTo>
                  <a:lnTo>
                    <a:pt x="1428527" y="1247865"/>
                  </a:lnTo>
                  <a:lnTo>
                    <a:pt x="1428797" y="1247775"/>
                  </a:lnTo>
                  <a:cubicBezTo>
                    <a:pt x="1428797" y="1247775"/>
                    <a:pt x="1428797" y="1247775"/>
                    <a:pt x="1428797" y="1279055"/>
                  </a:cubicBezTo>
                  <a:cubicBezTo>
                    <a:pt x="1428797" y="1279055"/>
                    <a:pt x="1428797" y="1279055"/>
                    <a:pt x="1436688" y="1333794"/>
                  </a:cubicBezTo>
                  <a:cubicBezTo>
                    <a:pt x="1436688" y="1333794"/>
                    <a:pt x="1436688" y="1333794"/>
                    <a:pt x="1428797" y="1372894"/>
                  </a:cubicBezTo>
                  <a:cubicBezTo>
                    <a:pt x="1428797" y="1372894"/>
                    <a:pt x="1428797" y="1372894"/>
                    <a:pt x="1405125" y="1404173"/>
                  </a:cubicBezTo>
                  <a:cubicBezTo>
                    <a:pt x="1405125" y="1404173"/>
                    <a:pt x="1405125" y="1404173"/>
                    <a:pt x="1334108" y="1443273"/>
                  </a:cubicBezTo>
                  <a:cubicBezTo>
                    <a:pt x="1334108" y="1443273"/>
                    <a:pt x="1334108" y="1443273"/>
                    <a:pt x="1294653" y="1490192"/>
                  </a:cubicBezTo>
                  <a:cubicBezTo>
                    <a:pt x="1294653" y="1490192"/>
                    <a:pt x="1294653" y="1490192"/>
                    <a:pt x="1310435" y="1560572"/>
                  </a:cubicBezTo>
                  <a:cubicBezTo>
                    <a:pt x="1310435" y="1560572"/>
                    <a:pt x="1310435" y="1560572"/>
                    <a:pt x="1294653" y="1599671"/>
                  </a:cubicBezTo>
                  <a:cubicBezTo>
                    <a:pt x="1294653" y="1599671"/>
                    <a:pt x="1294653" y="1599671"/>
                    <a:pt x="1239418" y="1646591"/>
                  </a:cubicBezTo>
                  <a:cubicBezTo>
                    <a:pt x="1239418" y="1646591"/>
                    <a:pt x="1247308" y="1646591"/>
                    <a:pt x="1239418" y="1670050"/>
                  </a:cubicBezTo>
                  <a:cubicBezTo>
                    <a:pt x="1239418" y="1670050"/>
                    <a:pt x="1239418" y="1670050"/>
                    <a:pt x="1223636" y="1670050"/>
                  </a:cubicBezTo>
                  <a:cubicBezTo>
                    <a:pt x="1223636" y="1670050"/>
                    <a:pt x="1223636" y="1670050"/>
                    <a:pt x="1215745" y="1552752"/>
                  </a:cubicBezTo>
                  <a:lnTo>
                    <a:pt x="1214828" y="1552752"/>
                  </a:lnTo>
                  <a:lnTo>
                    <a:pt x="1222624" y="1670509"/>
                  </a:lnTo>
                  <a:cubicBezTo>
                    <a:pt x="1222624" y="1670509"/>
                    <a:pt x="1222624" y="1670509"/>
                    <a:pt x="1238250" y="1670509"/>
                  </a:cubicBezTo>
                  <a:cubicBezTo>
                    <a:pt x="1230437" y="1694110"/>
                    <a:pt x="1206998" y="1741312"/>
                    <a:pt x="1206998" y="1741312"/>
                  </a:cubicBezTo>
                  <a:cubicBezTo>
                    <a:pt x="1206998" y="1741312"/>
                    <a:pt x="1206998" y="1741312"/>
                    <a:pt x="1089804" y="1867183"/>
                  </a:cubicBezTo>
                  <a:cubicBezTo>
                    <a:pt x="1089804" y="1867183"/>
                    <a:pt x="1089804" y="1867183"/>
                    <a:pt x="1035113" y="1875049"/>
                  </a:cubicBezTo>
                  <a:cubicBezTo>
                    <a:pt x="1035113" y="1875049"/>
                    <a:pt x="1035113" y="1875049"/>
                    <a:pt x="972609" y="1882916"/>
                  </a:cubicBezTo>
                  <a:cubicBezTo>
                    <a:pt x="972609" y="1882916"/>
                    <a:pt x="972609" y="1882916"/>
                    <a:pt x="910105" y="1898650"/>
                  </a:cubicBezTo>
                  <a:cubicBezTo>
                    <a:pt x="910105" y="1898650"/>
                    <a:pt x="910105" y="1898650"/>
                    <a:pt x="878853" y="1851449"/>
                  </a:cubicBezTo>
                  <a:cubicBezTo>
                    <a:pt x="878853" y="1851449"/>
                    <a:pt x="878853" y="1851449"/>
                    <a:pt x="878853" y="1819981"/>
                  </a:cubicBezTo>
                  <a:cubicBezTo>
                    <a:pt x="878853" y="1819981"/>
                    <a:pt x="878853" y="1819981"/>
                    <a:pt x="855414" y="1757045"/>
                  </a:cubicBezTo>
                  <a:cubicBezTo>
                    <a:pt x="855414" y="1757045"/>
                    <a:pt x="855414" y="1757045"/>
                    <a:pt x="839788" y="1733445"/>
                  </a:cubicBezTo>
                  <a:cubicBezTo>
                    <a:pt x="839788" y="1733445"/>
                    <a:pt x="839788" y="1733445"/>
                    <a:pt x="847601" y="1717711"/>
                  </a:cubicBezTo>
                  <a:cubicBezTo>
                    <a:pt x="847601" y="1717711"/>
                    <a:pt x="847601" y="1717711"/>
                    <a:pt x="886666" y="1733445"/>
                  </a:cubicBezTo>
                  <a:cubicBezTo>
                    <a:pt x="886666" y="1733445"/>
                    <a:pt x="886666" y="1733445"/>
                    <a:pt x="910105" y="1725578"/>
                  </a:cubicBezTo>
                  <a:cubicBezTo>
                    <a:pt x="910105" y="1725578"/>
                    <a:pt x="910105" y="1725578"/>
                    <a:pt x="920573" y="1651795"/>
                  </a:cubicBezTo>
                  <a:lnTo>
                    <a:pt x="925543" y="1616769"/>
                  </a:lnTo>
                  <a:lnTo>
                    <a:pt x="925524" y="1616732"/>
                  </a:lnTo>
                  <a:lnTo>
                    <a:pt x="910025" y="1724215"/>
                  </a:lnTo>
                  <a:lnTo>
                    <a:pt x="886561" y="1731963"/>
                  </a:lnTo>
                  <a:lnTo>
                    <a:pt x="847455" y="1716466"/>
                  </a:lnTo>
                  <a:lnTo>
                    <a:pt x="839633" y="1731963"/>
                  </a:lnTo>
                  <a:lnTo>
                    <a:pt x="800527" y="1693221"/>
                  </a:lnTo>
                  <a:lnTo>
                    <a:pt x="784884" y="1592490"/>
                  </a:lnTo>
                  <a:lnTo>
                    <a:pt x="777063" y="1569244"/>
                  </a:lnTo>
                  <a:lnTo>
                    <a:pt x="722313" y="1460765"/>
                  </a:lnTo>
                  <a:lnTo>
                    <a:pt x="730135" y="1414274"/>
                  </a:lnTo>
                  <a:lnTo>
                    <a:pt x="745731" y="1406548"/>
                  </a:lnTo>
                  <a:lnTo>
                    <a:pt x="744371" y="1405188"/>
                  </a:lnTo>
                  <a:cubicBezTo>
                    <a:pt x="744371" y="1405188"/>
                    <a:pt x="744371" y="1405188"/>
                    <a:pt x="728663" y="1413042"/>
                  </a:cubicBezTo>
                  <a:cubicBezTo>
                    <a:pt x="728663" y="1413042"/>
                    <a:pt x="728663" y="1413042"/>
                    <a:pt x="728663" y="1350211"/>
                  </a:cubicBezTo>
                  <a:cubicBezTo>
                    <a:pt x="728663" y="1350211"/>
                    <a:pt x="728663" y="1350211"/>
                    <a:pt x="760079" y="1295233"/>
                  </a:cubicBezTo>
                  <a:cubicBezTo>
                    <a:pt x="760079" y="1295233"/>
                    <a:pt x="760079" y="1295233"/>
                    <a:pt x="752225" y="1248109"/>
                  </a:cubicBezTo>
                  <a:cubicBezTo>
                    <a:pt x="752225" y="1248109"/>
                    <a:pt x="752225" y="1248109"/>
                    <a:pt x="736517" y="1146008"/>
                  </a:cubicBezTo>
                  <a:cubicBezTo>
                    <a:pt x="736517" y="1146008"/>
                    <a:pt x="736517" y="1146008"/>
                    <a:pt x="760079" y="1130300"/>
                  </a:cubicBezTo>
                  <a:cubicBezTo>
                    <a:pt x="760079" y="1130300"/>
                    <a:pt x="815057" y="1130300"/>
                    <a:pt x="822911" y="1130300"/>
                  </a:cubicBezTo>
                  <a:cubicBezTo>
                    <a:pt x="830765" y="1130300"/>
                    <a:pt x="862180" y="1177424"/>
                    <a:pt x="870034" y="1177424"/>
                  </a:cubicBezTo>
                  <a:cubicBezTo>
                    <a:pt x="877888" y="1177424"/>
                    <a:pt x="885742" y="1185278"/>
                    <a:pt x="893596" y="1177424"/>
                  </a:cubicBezTo>
                  <a:cubicBezTo>
                    <a:pt x="901450" y="1177424"/>
                    <a:pt x="917158" y="1161716"/>
                    <a:pt x="917158" y="1161716"/>
                  </a:cubicBezTo>
                  <a:cubicBezTo>
                    <a:pt x="925012" y="1161716"/>
                    <a:pt x="964282" y="1161716"/>
                    <a:pt x="964282" y="1161716"/>
                  </a:cubicBezTo>
                  <a:cubicBezTo>
                    <a:pt x="964282" y="1161716"/>
                    <a:pt x="964282" y="1161716"/>
                    <a:pt x="979990" y="1255963"/>
                  </a:cubicBezTo>
                  <a:cubicBezTo>
                    <a:pt x="979990" y="1255963"/>
                    <a:pt x="979990" y="1255963"/>
                    <a:pt x="1027113" y="1263817"/>
                  </a:cubicBezTo>
                  <a:lnTo>
                    <a:pt x="1027113" y="1263968"/>
                  </a:lnTo>
                  <a:lnTo>
                    <a:pt x="1031585" y="1263968"/>
                  </a:lnTo>
                  <a:cubicBezTo>
                    <a:pt x="1036500" y="1263968"/>
                    <a:pt x="1046329" y="1263968"/>
                    <a:pt x="1065988" y="1263968"/>
                  </a:cubicBezTo>
                  <a:cubicBezTo>
                    <a:pt x="1065988" y="1263968"/>
                    <a:pt x="1065988" y="1263968"/>
                    <a:pt x="1113170" y="1287304"/>
                  </a:cubicBezTo>
                  <a:cubicBezTo>
                    <a:pt x="1113170" y="1287304"/>
                    <a:pt x="1113170" y="1287304"/>
                    <a:pt x="1160352" y="1310640"/>
                  </a:cubicBezTo>
                  <a:lnTo>
                    <a:pt x="1160352" y="1309473"/>
                  </a:lnTo>
                  <a:lnTo>
                    <a:pt x="1160050" y="1309322"/>
                  </a:lnTo>
                  <a:cubicBezTo>
                    <a:pt x="1157840" y="1308225"/>
                    <a:pt x="1149001" y="1303836"/>
                    <a:pt x="1113645" y="1286279"/>
                  </a:cubicBezTo>
                  <a:cubicBezTo>
                    <a:pt x="1113645" y="1286279"/>
                    <a:pt x="1113645" y="1286279"/>
                    <a:pt x="1066505" y="1262870"/>
                  </a:cubicBezTo>
                  <a:cubicBezTo>
                    <a:pt x="1066505" y="1262870"/>
                    <a:pt x="1066505" y="1262870"/>
                    <a:pt x="1027221" y="1262870"/>
                  </a:cubicBezTo>
                  <a:cubicBezTo>
                    <a:pt x="1027221" y="1262870"/>
                    <a:pt x="1027221" y="1262870"/>
                    <a:pt x="980080" y="1255067"/>
                  </a:cubicBezTo>
                  <a:cubicBezTo>
                    <a:pt x="980080" y="1255067"/>
                    <a:pt x="980080" y="1255067"/>
                    <a:pt x="964367" y="1161432"/>
                  </a:cubicBezTo>
                  <a:cubicBezTo>
                    <a:pt x="964367" y="1161432"/>
                    <a:pt x="925083" y="1161432"/>
                    <a:pt x="917226" y="1161432"/>
                  </a:cubicBezTo>
                  <a:cubicBezTo>
                    <a:pt x="917226" y="1161432"/>
                    <a:pt x="901512" y="1177038"/>
                    <a:pt x="893656" y="1177038"/>
                  </a:cubicBezTo>
                  <a:cubicBezTo>
                    <a:pt x="885799" y="1184841"/>
                    <a:pt x="877942" y="1177038"/>
                    <a:pt x="870085" y="1177038"/>
                  </a:cubicBezTo>
                  <a:cubicBezTo>
                    <a:pt x="862228" y="1177038"/>
                    <a:pt x="830801" y="1130220"/>
                    <a:pt x="822945" y="1130220"/>
                  </a:cubicBezTo>
                  <a:cubicBezTo>
                    <a:pt x="815088" y="1130220"/>
                    <a:pt x="760090" y="1130220"/>
                    <a:pt x="760090" y="1130220"/>
                  </a:cubicBezTo>
                  <a:cubicBezTo>
                    <a:pt x="760090" y="1130220"/>
                    <a:pt x="760090" y="1130220"/>
                    <a:pt x="736520" y="1145826"/>
                  </a:cubicBezTo>
                  <a:cubicBezTo>
                    <a:pt x="736520" y="1145826"/>
                    <a:pt x="736520" y="1145826"/>
                    <a:pt x="728663" y="1122417"/>
                  </a:cubicBezTo>
                  <a:lnTo>
                    <a:pt x="729219" y="1121865"/>
                  </a:lnTo>
                  <a:lnTo>
                    <a:pt x="721932" y="1092835"/>
                  </a:lnTo>
                  <a:lnTo>
                    <a:pt x="698500" y="1069499"/>
                  </a:lnTo>
                  <a:lnTo>
                    <a:pt x="714121" y="1053942"/>
                  </a:lnTo>
                  <a:lnTo>
                    <a:pt x="737553" y="1038384"/>
                  </a:lnTo>
                  <a:lnTo>
                    <a:pt x="760984" y="1038384"/>
                  </a:lnTo>
                  <a:lnTo>
                    <a:pt x="768795" y="999491"/>
                  </a:lnTo>
                  <a:lnTo>
                    <a:pt x="776605" y="960597"/>
                  </a:lnTo>
                  <a:lnTo>
                    <a:pt x="760984" y="952818"/>
                  </a:lnTo>
                  <a:lnTo>
                    <a:pt x="760984" y="937506"/>
                  </a:lnTo>
                  <a:lnTo>
                    <a:pt x="759752" y="938213"/>
                  </a:lnTo>
                  <a:lnTo>
                    <a:pt x="760625" y="938213"/>
                  </a:lnTo>
                  <a:lnTo>
                    <a:pt x="760625" y="953528"/>
                  </a:lnTo>
                  <a:lnTo>
                    <a:pt x="776288" y="961185"/>
                  </a:lnTo>
                  <a:lnTo>
                    <a:pt x="768457" y="999472"/>
                  </a:lnTo>
                  <a:lnTo>
                    <a:pt x="760625" y="1037759"/>
                  </a:lnTo>
                  <a:lnTo>
                    <a:pt x="737130" y="1037759"/>
                  </a:lnTo>
                  <a:lnTo>
                    <a:pt x="713635" y="1053074"/>
                  </a:lnTo>
                  <a:lnTo>
                    <a:pt x="697972" y="1068388"/>
                  </a:lnTo>
                  <a:lnTo>
                    <a:pt x="658813" y="1007129"/>
                  </a:lnTo>
                  <a:lnTo>
                    <a:pt x="658813" y="961185"/>
                  </a:lnTo>
                  <a:lnTo>
                    <a:pt x="658813" y="938213"/>
                  </a:lnTo>
                  <a:lnTo>
                    <a:pt x="658284" y="938213"/>
                  </a:lnTo>
                  <a:lnTo>
                    <a:pt x="650479" y="883324"/>
                  </a:lnTo>
                  <a:lnTo>
                    <a:pt x="627063" y="883324"/>
                  </a:lnTo>
                  <a:lnTo>
                    <a:pt x="627246" y="882404"/>
                  </a:lnTo>
                  <a:lnTo>
                    <a:pt x="596984" y="874844"/>
                  </a:lnTo>
                  <a:lnTo>
                    <a:pt x="565736" y="867039"/>
                  </a:lnTo>
                  <a:lnTo>
                    <a:pt x="534487" y="828009"/>
                  </a:lnTo>
                  <a:lnTo>
                    <a:pt x="503238" y="828009"/>
                  </a:lnTo>
                  <a:lnTo>
                    <a:pt x="503238" y="788980"/>
                  </a:lnTo>
                  <a:lnTo>
                    <a:pt x="518863" y="734339"/>
                  </a:lnTo>
                  <a:lnTo>
                    <a:pt x="518863" y="703116"/>
                  </a:lnTo>
                  <a:lnTo>
                    <a:pt x="518863" y="679698"/>
                  </a:lnTo>
                  <a:lnTo>
                    <a:pt x="534487" y="656280"/>
                  </a:lnTo>
                  <a:lnTo>
                    <a:pt x="564916" y="656280"/>
                  </a:lnTo>
                  <a:lnTo>
                    <a:pt x="564071" y="656001"/>
                  </a:lnTo>
                  <a:lnTo>
                    <a:pt x="532575" y="656001"/>
                  </a:lnTo>
                  <a:lnTo>
                    <a:pt x="517525" y="678411"/>
                  </a:lnTo>
                  <a:lnTo>
                    <a:pt x="517525" y="701358"/>
                  </a:lnTo>
                  <a:lnTo>
                    <a:pt x="517525" y="732790"/>
                  </a:lnTo>
                  <a:lnTo>
                    <a:pt x="501650" y="787797"/>
                  </a:lnTo>
                  <a:lnTo>
                    <a:pt x="501650" y="827088"/>
                  </a:lnTo>
                  <a:lnTo>
                    <a:pt x="485775" y="827088"/>
                  </a:lnTo>
                  <a:lnTo>
                    <a:pt x="461963" y="787797"/>
                  </a:lnTo>
                  <a:lnTo>
                    <a:pt x="454026" y="732794"/>
                  </a:lnTo>
                  <a:lnTo>
                    <a:pt x="454026" y="734417"/>
                  </a:lnTo>
                  <a:lnTo>
                    <a:pt x="461963" y="788591"/>
                  </a:lnTo>
                  <a:lnTo>
                    <a:pt x="485775" y="827286"/>
                  </a:lnTo>
                  <a:lnTo>
                    <a:pt x="454026" y="835025"/>
                  </a:lnTo>
                  <a:lnTo>
                    <a:pt x="453647" y="833919"/>
                  </a:lnTo>
                  <a:lnTo>
                    <a:pt x="399317" y="849313"/>
                  </a:lnTo>
                  <a:lnTo>
                    <a:pt x="360277" y="849313"/>
                  </a:lnTo>
                  <a:lnTo>
                    <a:pt x="360446" y="849814"/>
                  </a:lnTo>
                  <a:cubicBezTo>
                    <a:pt x="360446" y="849814"/>
                    <a:pt x="360446" y="849814"/>
                    <a:pt x="336884" y="849814"/>
                  </a:cubicBezTo>
                  <a:cubicBezTo>
                    <a:pt x="336884" y="849814"/>
                    <a:pt x="336884" y="849814"/>
                    <a:pt x="281906" y="873125"/>
                  </a:cubicBezTo>
                  <a:cubicBezTo>
                    <a:pt x="281906" y="873125"/>
                    <a:pt x="281906" y="873125"/>
                    <a:pt x="250491" y="873125"/>
                  </a:cubicBezTo>
                  <a:cubicBezTo>
                    <a:pt x="250491" y="873125"/>
                    <a:pt x="250491" y="873125"/>
                    <a:pt x="250491" y="849814"/>
                  </a:cubicBezTo>
                  <a:cubicBezTo>
                    <a:pt x="250491" y="849814"/>
                    <a:pt x="226929" y="834273"/>
                    <a:pt x="226929" y="834273"/>
                  </a:cubicBezTo>
                  <a:cubicBezTo>
                    <a:pt x="219075" y="834273"/>
                    <a:pt x="226929" y="810962"/>
                    <a:pt x="226929" y="810962"/>
                  </a:cubicBezTo>
                  <a:cubicBezTo>
                    <a:pt x="226929" y="810962"/>
                    <a:pt x="226929" y="810962"/>
                    <a:pt x="225947" y="809991"/>
                  </a:cubicBezTo>
                  <a:lnTo>
                    <a:pt x="219238" y="803353"/>
                  </a:lnTo>
                  <a:lnTo>
                    <a:pt x="219207" y="803364"/>
                  </a:lnTo>
                  <a:cubicBezTo>
                    <a:pt x="211336" y="803364"/>
                    <a:pt x="203464" y="811213"/>
                    <a:pt x="203464" y="811213"/>
                  </a:cubicBezTo>
                  <a:lnTo>
                    <a:pt x="197708" y="807549"/>
                  </a:lnTo>
                  <a:lnTo>
                    <a:pt x="198074" y="808145"/>
                  </a:lnTo>
                  <a:cubicBezTo>
                    <a:pt x="199855" y="810303"/>
                    <a:pt x="201754" y="811742"/>
                    <a:pt x="203654" y="811742"/>
                  </a:cubicBezTo>
                  <a:cubicBezTo>
                    <a:pt x="203654" y="811742"/>
                    <a:pt x="211251" y="804069"/>
                    <a:pt x="218848" y="804069"/>
                  </a:cubicBezTo>
                  <a:cubicBezTo>
                    <a:pt x="218848" y="804069"/>
                    <a:pt x="218848" y="804069"/>
                    <a:pt x="226446" y="811742"/>
                  </a:cubicBezTo>
                  <a:cubicBezTo>
                    <a:pt x="226446" y="811742"/>
                    <a:pt x="218848" y="834761"/>
                    <a:pt x="226446" y="834761"/>
                  </a:cubicBezTo>
                  <a:cubicBezTo>
                    <a:pt x="226446" y="834761"/>
                    <a:pt x="249238" y="850106"/>
                    <a:pt x="249238" y="850106"/>
                  </a:cubicBezTo>
                  <a:cubicBezTo>
                    <a:pt x="249238" y="850106"/>
                    <a:pt x="249238" y="850106"/>
                    <a:pt x="249238" y="873125"/>
                  </a:cubicBezTo>
                  <a:cubicBezTo>
                    <a:pt x="249238" y="873125"/>
                    <a:pt x="249238" y="873125"/>
                    <a:pt x="218848" y="873125"/>
                  </a:cubicBezTo>
                  <a:cubicBezTo>
                    <a:pt x="218848" y="873125"/>
                    <a:pt x="218848" y="873125"/>
                    <a:pt x="150472" y="827088"/>
                  </a:cubicBezTo>
                  <a:cubicBezTo>
                    <a:pt x="150472" y="827088"/>
                    <a:pt x="150472" y="827088"/>
                    <a:pt x="142875" y="819415"/>
                  </a:cubicBezTo>
                  <a:cubicBezTo>
                    <a:pt x="142875" y="819415"/>
                    <a:pt x="142875" y="819415"/>
                    <a:pt x="150472" y="804069"/>
                  </a:cubicBezTo>
                  <a:cubicBezTo>
                    <a:pt x="150472" y="804069"/>
                    <a:pt x="150472" y="804069"/>
                    <a:pt x="165667" y="796396"/>
                  </a:cubicBezTo>
                  <a:cubicBezTo>
                    <a:pt x="165667" y="796396"/>
                    <a:pt x="165667" y="796396"/>
                    <a:pt x="173264" y="781050"/>
                  </a:cubicBezTo>
                  <a:cubicBezTo>
                    <a:pt x="173264" y="781050"/>
                    <a:pt x="173264" y="781050"/>
                    <a:pt x="175164" y="782009"/>
                  </a:cubicBezTo>
                  <a:lnTo>
                    <a:pt x="188031" y="788507"/>
                  </a:lnTo>
                  <a:lnTo>
                    <a:pt x="187722" y="787665"/>
                  </a:lnTo>
                  <a:cubicBezTo>
                    <a:pt x="187722" y="787665"/>
                    <a:pt x="187722" y="787665"/>
                    <a:pt x="185754" y="786684"/>
                  </a:cubicBezTo>
                  <a:lnTo>
                    <a:pt x="173035" y="780342"/>
                  </a:lnTo>
                  <a:lnTo>
                    <a:pt x="173038" y="780345"/>
                  </a:lnTo>
                  <a:lnTo>
                    <a:pt x="165100" y="795867"/>
                  </a:lnTo>
                  <a:lnTo>
                    <a:pt x="149225" y="803628"/>
                  </a:lnTo>
                  <a:lnTo>
                    <a:pt x="141288" y="819150"/>
                  </a:lnTo>
                  <a:lnTo>
                    <a:pt x="109538" y="788106"/>
                  </a:lnTo>
                  <a:lnTo>
                    <a:pt x="93663" y="772584"/>
                  </a:lnTo>
                  <a:lnTo>
                    <a:pt x="109538" y="764822"/>
                  </a:lnTo>
                  <a:lnTo>
                    <a:pt x="117475" y="749300"/>
                  </a:lnTo>
                  <a:lnTo>
                    <a:pt x="148955" y="749300"/>
                  </a:lnTo>
                  <a:lnTo>
                    <a:pt x="148365" y="748419"/>
                  </a:lnTo>
                  <a:cubicBezTo>
                    <a:pt x="148365" y="748419"/>
                    <a:pt x="148365" y="748419"/>
                    <a:pt x="116880" y="748419"/>
                  </a:cubicBezTo>
                  <a:lnTo>
                    <a:pt x="109009" y="764117"/>
                  </a:lnTo>
                  <a:cubicBezTo>
                    <a:pt x="109009" y="764117"/>
                    <a:pt x="109009" y="764117"/>
                    <a:pt x="93266" y="771967"/>
                  </a:cubicBezTo>
                  <a:cubicBezTo>
                    <a:pt x="93266" y="771967"/>
                    <a:pt x="93266" y="771967"/>
                    <a:pt x="53909" y="717021"/>
                  </a:cubicBezTo>
                  <a:cubicBezTo>
                    <a:pt x="53909" y="717021"/>
                    <a:pt x="53909" y="717021"/>
                    <a:pt x="52925" y="717021"/>
                  </a:cubicBezTo>
                  <a:lnTo>
                    <a:pt x="47804" y="717021"/>
                  </a:lnTo>
                  <a:lnTo>
                    <a:pt x="47030" y="717550"/>
                  </a:lnTo>
                  <a:lnTo>
                    <a:pt x="46720" y="717021"/>
                  </a:lnTo>
                  <a:lnTo>
                    <a:pt x="46038" y="717021"/>
                  </a:lnTo>
                  <a:lnTo>
                    <a:pt x="46529" y="716695"/>
                  </a:lnTo>
                  <a:lnTo>
                    <a:pt x="24742" y="679450"/>
                  </a:lnTo>
                  <a:lnTo>
                    <a:pt x="23311" y="679450"/>
                  </a:lnTo>
                  <a:lnTo>
                    <a:pt x="15541" y="679450"/>
                  </a:lnTo>
                  <a:lnTo>
                    <a:pt x="0" y="624541"/>
                  </a:lnTo>
                  <a:lnTo>
                    <a:pt x="15541" y="576169"/>
                  </a:lnTo>
                  <a:lnTo>
                    <a:pt x="16376" y="576169"/>
                  </a:lnTo>
                  <a:lnTo>
                    <a:pt x="17755" y="574119"/>
                  </a:lnTo>
                  <a:cubicBezTo>
                    <a:pt x="19719" y="571200"/>
                    <a:pt x="23646" y="565363"/>
                    <a:pt x="31500" y="553689"/>
                  </a:cubicBezTo>
                  <a:cubicBezTo>
                    <a:pt x="31500" y="553689"/>
                    <a:pt x="31500" y="553689"/>
                    <a:pt x="31500" y="499211"/>
                  </a:cubicBezTo>
                  <a:cubicBezTo>
                    <a:pt x="31500" y="499211"/>
                    <a:pt x="31500" y="499211"/>
                    <a:pt x="7938" y="452515"/>
                  </a:cubicBezTo>
                  <a:cubicBezTo>
                    <a:pt x="7938" y="452515"/>
                    <a:pt x="7938" y="452515"/>
                    <a:pt x="15792" y="444732"/>
                  </a:cubicBezTo>
                  <a:cubicBezTo>
                    <a:pt x="47208" y="444732"/>
                    <a:pt x="110039" y="452515"/>
                    <a:pt x="110039" y="452515"/>
                  </a:cubicBezTo>
                  <a:cubicBezTo>
                    <a:pt x="117893" y="452515"/>
                    <a:pt x="117893" y="398037"/>
                    <a:pt x="117893" y="398037"/>
                  </a:cubicBezTo>
                  <a:cubicBezTo>
                    <a:pt x="117893" y="398037"/>
                    <a:pt x="117893" y="398037"/>
                    <a:pt x="133601" y="382472"/>
                  </a:cubicBezTo>
                  <a:cubicBezTo>
                    <a:pt x="133601" y="382472"/>
                    <a:pt x="133601" y="382472"/>
                    <a:pt x="141455" y="320211"/>
                  </a:cubicBezTo>
                  <a:cubicBezTo>
                    <a:pt x="141455" y="320211"/>
                    <a:pt x="141455" y="320211"/>
                    <a:pt x="219994" y="320211"/>
                  </a:cubicBezTo>
                  <a:cubicBezTo>
                    <a:pt x="219994" y="320211"/>
                    <a:pt x="219994" y="320211"/>
                    <a:pt x="219994" y="310361"/>
                  </a:cubicBezTo>
                  <a:lnTo>
                    <a:pt x="219994" y="297086"/>
                  </a:lnTo>
                  <a:lnTo>
                    <a:pt x="219075" y="296382"/>
                  </a:lnTo>
                  <a:lnTo>
                    <a:pt x="219075" y="296863"/>
                  </a:lnTo>
                  <a:lnTo>
                    <a:pt x="219075" y="299140"/>
                  </a:lnTo>
                  <a:cubicBezTo>
                    <a:pt x="219075" y="302039"/>
                    <a:pt x="219075" y="307837"/>
                    <a:pt x="219075" y="319432"/>
                  </a:cubicBezTo>
                  <a:cubicBezTo>
                    <a:pt x="219075" y="319432"/>
                    <a:pt x="219075" y="319432"/>
                    <a:pt x="140311" y="319432"/>
                  </a:cubicBezTo>
                  <a:cubicBezTo>
                    <a:pt x="140311" y="319432"/>
                    <a:pt x="140311" y="319432"/>
                    <a:pt x="132434" y="381276"/>
                  </a:cubicBezTo>
                  <a:cubicBezTo>
                    <a:pt x="132434" y="381276"/>
                    <a:pt x="132434" y="381276"/>
                    <a:pt x="116681" y="396737"/>
                  </a:cubicBezTo>
                  <a:cubicBezTo>
                    <a:pt x="116681" y="396737"/>
                    <a:pt x="116681" y="450850"/>
                    <a:pt x="108805" y="450850"/>
                  </a:cubicBezTo>
                  <a:cubicBezTo>
                    <a:pt x="108805" y="450850"/>
                    <a:pt x="45794" y="443119"/>
                    <a:pt x="14288" y="443119"/>
                  </a:cubicBezTo>
                  <a:cubicBezTo>
                    <a:pt x="14288" y="443119"/>
                    <a:pt x="14288" y="443119"/>
                    <a:pt x="45794" y="373546"/>
                  </a:cubicBezTo>
                  <a:cubicBezTo>
                    <a:pt x="45794" y="373546"/>
                    <a:pt x="45794" y="373546"/>
                    <a:pt x="85176" y="288511"/>
                  </a:cubicBezTo>
                  <a:cubicBezTo>
                    <a:pt x="85176" y="288511"/>
                    <a:pt x="85176" y="288511"/>
                    <a:pt x="100929" y="273050"/>
                  </a:cubicBezTo>
                  <a:cubicBezTo>
                    <a:pt x="100929" y="273050"/>
                    <a:pt x="100929" y="273050"/>
                    <a:pt x="102652" y="273050"/>
                  </a:cubicBezTo>
                  <a:lnTo>
                    <a:pt x="103188" y="273050"/>
                  </a:lnTo>
                  <a:lnTo>
                    <a:pt x="118812" y="257394"/>
                  </a:lnTo>
                  <a:lnTo>
                    <a:pt x="189121" y="226082"/>
                  </a:lnTo>
                  <a:lnTo>
                    <a:pt x="196934" y="163458"/>
                  </a:lnTo>
                  <a:lnTo>
                    <a:pt x="228182" y="124318"/>
                  </a:lnTo>
                  <a:lnTo>
                    <a:pt x="259431" y="93006"/>
                  </a:lnTo>
                  <a:lnTo>
                    <a:pt x="290680" y="46038"/>
                  </a:lnTo>
                  <a:lnTo>
                    <a:pt x="321928" y="61694"/>
                  </a:lnTo>
                  <a:lnTo>
                    <a:pt x="345365" y="61694"/>
                  </a:lnTo>
                  <a:lnTo>
                    <a:pt x="376613" y="61694"/>
                  </a:lnTo>
                  <a:lnTo>
                    <a:pt x="383842" y="61694"/>
                  </a:lnTo>
                  <a:lnTo>
                    <a:pt x="422544" y="38833"/>
                  </a:lnTo>
                  <a:lnTo>
                    <a:pt x="501431" y="15533"/>
                  </a:lnTo>
                  <a:lnTo>
                    <a:pt x="588206" y="15533"/>
                  </a:lnTo>
                  <a:lnTo>
                    <a:pt x="627649" y="7766"/>
                  </a:lnTo>
                  <a:lnTo>
                    <a:pt x="641350" y="102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  <a:scene3d>
              <a:camera prst="orthographicFront"/>
              <a:lightRig rig="contrasting" dir="t"/>
            </a:scene3d>
            <a:sp3d z="63500" prstMaterial="metal">
              <a:bevelB w="0" h="0"/>
            </a:sp3d>
          </p:spPr>
          <p:txBody>
            <a:bodyPr wrap="square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2640216" y="4239307"/>
              <a:ext cx="1788350" cy="2315222"/>
            </a:xfrm>
            <a:custGeom>
              <a:avLst/>
              <a:gdLst>
                <a:gd name="connsiteX0" fmla="*/ 922983 w 1366837"/>
                <a:gd name="connsiteY0" fmla="*/ 1196066 h 2009850"/>
                <a:gd name="connsiteX1" fmla="*/ 925200 w 1366837"/>
                <a:gd name="connsiteY1" fmla="*/ 1198669 h 2009850"/>
                <a:gd name="connsiteX2" fmla="*/ 924719 w 1366837"/>
                <a:gd name="connsiteY2" fmla="*/ 1197739 h 2009850"/>
                <a:gd name="connsiteX3" fmla="*/ 924259 w 1366837"/>
                <a:gd name="connsiteY3" fmla="*/ 1035860 h 2009850"/>
                <a:gd name="connsiteX4" fmla="*/ 920841 w 1366837"/>
                <a:gd name="connsiteY4" fmla="*/ 1038159 h 2009850"/>
                <a:gd name="connsiteX5" fmla="*/ 924276 w 1366837"/>
                <a:gd name="connsiteY5" fmla="*/ 1035884 h 2009850"/>
                <a:gd name="connsiteX6" fmla="*/ 624338 w 1366837"/>
                <a:gd name="connsiteY6" fmla="*/ 947843 h 2009850"/>
                <a:gd name="connsiteX7" fmla="*/ 623984 w 1366837"/>
                <a:gd name="connsiteY7" fmla="*/ 949533 h 2009850"/>
                <a:gd name="connsiteX8" fmla="*/ 624572 w 1366837"/>
                <a:gd name="connsiteY8" fmla="*/ 948137 h 2009850"/>
                <a:gd name="connsiteX9" fmla="*/ 609461 w 1366837"/>
                <a:gd name="connsiteY9" fmla="*/ 918513 h 2009850"/>
                <a:gd name="connsiteX10" fmla="*/ 611736 w 1366837"/>
                <a:gd name="connsiteY10" fmla="*/ 925235 h 2009850"/>
                <a:gd name="connsiteX11" fmla="*/ 621346 w 1366837"/>
                <a:gd name="connsiteY11" fmla="*/ 942005 h 2009850"/>
                <a:gd name="connsiteX12" fmla="*/ 622620 w 1366837"/>
                <a:gd name="connsiteY12" fmla="*/ 941216 h 2009850"/>
                <a:gd name="connsiteX13" fmla="*/ 595516 w 1366837"/>
                <a:gd name="connsiteY13" fmla="*/ 863127 h 2009850"/>
                <a:gd name="connsiteX14" fmla="*/ 602819 w 1366837"/>
                <a:gd name="connsiteY14" fmla="*/ 873640 h 2009850"/>
                <a:gd name="connsiteX15" fmla="*/ 603540 w 1366837"/>
                <a:gd name="connsiteY15" fmla="*/ 882917 h 2009850"/>
                <a:gd name="connsiteX16" fmla="*/ 605225 w 1366837"/>
                <a:gd name="connsiteY16" fmla="*/ 870910 h 2009850"/>
                <a:gd name="connsiteX17" fmla="*/ 596194 w 1366837"/>
                <a:gd name="connsiteY17" fmla="*/ 863446 h 2009850"/>
                <a:gd name="connsiteX18" fmla="*/ 569861 w 1366837"/>
                <a:gd name="connsiteY18" fmla="*/ 844549 h 2009850"/>
                <a:gd name="connsiteX19" fmla="*/ 577981 w 1366837"/>
                <a:gd name="connsiteY19" fmla="*/ 851795 h 2009850"/>
                <a:gd name="connsiteX20" fmla="*/ 578240 w 1366837"/>
                <a:gd name="connsiteY20" fmla="*/ 851766 h 2009850"/>
                <a:gd name="connsiteX21" fmla="*/ 573140 w 1366837"/>
                <a:gd name="connsiteY21" fmla="*/ 846860 h 2009850"/>
                <a:gd name="connsiteX22" fmla="*/ 573672 w 1366837"/>
                <a:gd name="connsiteY22" fmla="*/ 844549 h 2009850"/>
                <a:gd name="connsiteX23" fmla="*/ 796081 w 1366837"/>
                <a:gd name="connsiteY23" fmla="*/ 813297 h 2009850"/>
                <a:gd name="connsiteX24" fmla="*/ 797130 w 1366837"/>
                <a:gd name="connsiteY24" fmla="*/ 814850 h 2009850"/>
                <a:gd name="connsiteX25" fmla="*/ 821131 w 1366837"/>
                <a:gd name="connsiteY25" fmla="*/ 818356 h 2009850"/>
                <a:gd name="connsiteX26" fmla="*/ 830459 w 1366837"/>
                <a:gd name="connsiteY26" fmla="*/ 820086 h 2009850"/>
                <a:gd name="connsiteX27" fmla="*/ 830459 w 1366837"/>
                <a:gd name="connsiteY27" fmla="*/ 819307 h 2009850"/>
                <a:gd name="connsiteX28" fmla="*/ 796886 w 1366837"/>
                <a:gd name="connsiteY28" fmla="*/ 813387 h 2009850"/>
                <a:gd name="connsiteX29" fmla="*/ 596990 w 1366837"/>
                <a:gd name="connsiteY29" fmla="*/ 721173 h 2009850"/>
                <a:gd name="connsiteX30" fmla="*/ 590470 w 1366837"/>
                <a:gd name="connsiteY30" fmla="*/ 766592 h 2009850"/>
                <a:gd name="connsiteX31" fmla="*/ 582453 w 1366837"/>
                <a:gd name="connsiteY31" fmla="*/ 809643 h 2009850"/>
                <a:gd name="connsiteX32" fmla="*/ 577778 w 1366837"/>
                <a:gd name="connsiteY32" fmla="*/ 829999 h 2009850"/>
                <a:gd name="connsiteX33" fmla="*/ 580241 w 1366837"/>
                <a:gd name="connsiteY33" fmla="*/ 822781 h 2009850"/>
                <a:gd name="connsiteX34" fmla="*/ 588288 w 1366837"/>
                <a:gd name="connsiteY34" fmla="*/ 779824 h 2009850"/>
                <a:gd name="connsiteX35" fmla="*/ 598124 w 1366837"/>
                <a:gd name="connsiteY35" fmla="*/ 723736 h 2009850"/>
                <a:gd name="connsiteX36" fmla="*/ 598524 w 1366837"/>
                <a:gd name="connsiteY36" fmla="*/ 693102 h 2009850"/>
                <a:gd name="connsiteX37" fmla="*/ 592555 w 1366837"/>
                <a:gd name="connsiteY37" fmla="*/ 693740 h 2009850"/>
                <a:gd name="connsiteX38" fmla="*/ 586843 w 1366837"/>
                <a:gd name="connsiteY38" fmla="*/ 695533 h 2009850"/>
                <a:gd name="connsiteX39" fmla="*/ 591011 w 1366837"/>
                <a:gd name="connsiteY39" fmla="*/ 700977 h 2009850"/>
                <a:gd name="connsiteX40" fmla="*/ 603239 w 1366837"/>
                <a:gd name="connsiteY40" fmla="*/ 697961 h 2009850"/>
                <a:gd name="connsiteX41" fmla="*/ 667141 w 1366837"/>
                <a:gd name="connsiteY41" fmla="*/ 679024 h 2009850"/>
                <a:gd name="connsiteX42" fmla="*/ 671189 w 1366837"/>
                <a:gd name="connsiteY42" fmla="*/ 679689 h 2009850"/>
                <a:gd name="connsiteX43" fmla="*/ 671031 w 1366837"/>
                <a:gd name="connsiteY43" fmla="*/ 679069 h 2009850"/>
                <a:gd name="connsiteX44" fmla="*/ 535291 w 1366837"/>
                <a:gd name="connsiteY44" fmla="*/ 540321 h 2009850"/>
                <a:gd name="connsiteX45" fmla="*/ 518318 w 1366837"/>
                <a:gd name="connsiteY45" fmla="*/ 550174 h 2009850"/>
                <a:gd name="connsiteX46" fmla="*/ 486251 w 1366837"/>
                <a:gd name="connsiteY46" fmla="*/ 592062 h 2009850"/>
                <a:gd name="connsiteX47" fmla="*/ 486251 w 1366837"/>
                <a:gd name="connsiteY47" fmla="*/ 596681 h 2009850"/>
                <a:gd name="connsiteX48" fmla="*/ 511603 w 1366837"/>
                <a:gd name="connsiteY48" fmla="*/ 559881 h 2009850"/>
                <a:gd name="connsiteX49" fmla="*/ 533355 w 1366837"/>
                <a:gd name="connsiteY49" fmla="*/ 545939 h 2009850"/>
                <a:gd name="connsiteX50" fmla="*/ 545605 w 1366837"/>
                <a:gd name="connsiteY50" fmla="*/ 527758 h 2009850"/>
                <a:gd name="connsiteX51" fmla="*/ 545055 w 1366837"/>
                <a:gd name="connsiteY51" fmla="*/ 529195 h 2009850"/>
                <a:gd name="connsiteX52" fmla="*/ 555108 w 1366837"/>
                <a:gd name="connsiteY52" fmla="*/ 538923 h 2009850"/>
                <a:gd name="connsiteX53" fmla="*/ 555232 w 1366837"/>
                <a:gd name="connsiteY53" fmla="*/ 538264 h 2009850"/>
                <a:gd name="connsiteX54" fmla="*/ 547497 w 1366837"/>
                <a:gd name="connsiteY54" fmla="*/ 530579 h 2009850"/>
                <a:gd name="connsiteX55" fmla="*/ 431035 w 1366837"/>
                <a:gd name="connsiteY55" fmla="*/ 453449 h 2009850"/>
                <a:gd name="connsiteX56" fmla="*/ 415925 w 1366837"/>
                <a:gd name="connsiteY56" fmla="*/ 483352 h 2009850"/>
                <a:gd name="connsiteX57" fmla="*/ 395685 w 1366837"/>
                <a:gd name="connsiteY57" fmla="*/ 503379 h 2009850"/>
                <a:gd name="connsiteX58" fmla="*/ 422116 w 1366837"/>
                <a:gd name="connsiteY58" fmla="*/ 480362 h 2009850"/>
                <a:gd name="connsiteX59" fmla="*/ 436778 w 1366837"/>
                <a:gd name="connsiteY59" fmla="*/ 454826 h 2009850"/>
                <a:gd name="connsiteX60" fmla="*/ 433945 w 1366837"/>
                <a:gd name="connsiteY60" fmla="*/ 455612 h 2009850"/>
                <a:gd name="connsiteX61" fmla="*/ 625327 w 1366837"/>
                <a:gd name="connsiteY61" fmla="*/ 402496 h 2009850"/>
                <a:gd name="connsiteX62" fmla="*/ 440660 w 1366837"/>
                <a:gd name="connsiteY62" fmla="*/ 453749 h 2009850"/>
                <a:gd name="connsiteX63" fmla="*/ 448505 w 1366837"/>
                <a:gd name="connsiteY63" fmla="*/ 457848 h 2009850"/>
                <a:gd name="connsiteX64" fmla="*/ 571284 w 1366837"/>
                <a:gd name="connsiteY64" fmla="*/ 423686 h 2009850"/>
                <a:gd name="connsiteX65" fmla="*/ 571457 w 1366837"/>
                <a:gd name="connsiteY65" fmla="*/ 424547 h 2009850"/>
                <a:gd name="connsiteX66" fmla="*/ 620276 w 1366837"/>
                <a:gd name="connsiteY66" fmla="*/ 412718 h 2009850"/>
                <a:gd name="connsiteX67" fmla="*/ 642028 w 1366837"/>
                <a:gd name="connsiteY67" fmla="*/ 433768 h 2009850"/>
                <a:gd name="connsiteX68" fmla="*/ 644893 w 1366837"/>
                <a:gd name="connsiteY68" fmla="*/ 432844 h 2009850"/>
                <a:gd name="connsiteX69" fmla="*/ 638774 w 1366837"/>
                <a:gd name="connsiteY69" fmla="*/ 426684 h 2009850"/>
                <a:gd name="connsiteX70" fmla="*/ 625327 w 1366837"/>
                <a:gd name="connsiteY70" fmla="*/ 413147 h 2009850"/>
                <a:gd name="connsiteX71" fmla="*/ 625327 w 1366837"/>
                <a:gd name="connsiteY71" fmla="*/ 408649 h 2009850"/>
                <a:gd name="connsiteX72" fmla="*/ 571284 w 1366837"/>
                <a:gd name="connsiteY72" fmla="*/ 423686 h 2009850"/>
                <a:gd name="connsiteX73" fmla="*/ 570928 w 1366837"/>
                <a:gd name="connsiteY73" fmla="*/ 421920 h 2009850"/>
                <a:gd name="connsiteX74" fmla="*/ 625327 w 1366837"/>
                <a:gd name="connsiteY74" fmla="*/ 408407 h 2009850"/>
                <a:gd name="connsiteX75" fmla="*/ 625327 w 1366837"/>
                <a:gd name="connsiteY75" fmla="*/ 406317 h 2009850"/>
                <a:gd name="connsiteX76" fmla="*/ 927886 w 1366837"/>
                <a:gd name="connsiteY76" fmla="*/ 401750 h 2009850"/>
                <a:gd name="connsiteX77" fmla="*/ 931969 w 1366837"/>
                <a:gd name="connsiteY77" fmla="*/ 405702 h 2009850"/>
                <a:gd name="connsiteX78" fmla="*/ 940137 w 1366837"/>
                <a:gd name="connsiteY78" fmla="*/ 401750 h 2009850"/>
                <a:gd name="connsiteX79" fmla="*/ 856829 w 1366837"/>
                <a:gd name="connsiteY79" fmla="*/ 361558 h 2009850"/>
                <a:gd name="connsiteX80" fmla="*/ 862224 w 1366837"/>
                <a:gd name="connsiteY80" fmla="*/ 372302 h 2009850"/>
                <a:gd name="connsiteX81" fmla="*/ 877887 w 1366837"/>
                <a:gd name="connsiteY81" fmla="*/ 403500 h 2009850"/>
                <a:gd name="connsiteX82" fmla="*/ 866834 w 1366837"/>
                <a:gd name="connsiteY82" fmla="*/ 405702 h 2009850"/>
                <a:gd name="connsiteX83" fmla="*/ 873963 w 1366837"/>
                <a:gd name="connsiteY83" fmla="*/ 405702 h 2009850"/>
                <a:gd name="connsiteX84" fmla="*/ 878470 w 1366837"/>
                <a:gd name="connsiteY84" fmla="*/ 403521 h 2009850"/>
                <a:gd name="connsiteX85" fmla="*/ 865452 w 1366837"/>
                <a:gd name="connsiteY85" fmla="*/ 378277 h 2009850"/>
                <a:gd name="connsiteX86" fmla="*/ 771998 w 1366837"/>
                <a:gd name="connsiteY86" fmla="*/ 341594 h 2009850"/>
                <a:gd name="connsiteX87" fmla="*/ 771785 w 1366837"/>
                <a:gd name="connsiteY87" fmla="*/ 341679 h 2009850"/>
                <a:gd name="connsiteX88" fmla="*/ 749374 w 1366837"/>
                <a:gd name="connsiteY88" fmla="*/ 350704 h 2009850"/>
                <a:gd name="connsiteX89" fmla="*/ 687351 w 1366837"/>
                <a:gd name="connsiteY89" fmla="*/ 350704 h 2009850"/>
                <a:gd name="connsiteX90" fmla="*/ 690258 w 1366837"/>
                <a:gd name="connsiteY90" fmla="*/ 355583 h 2009850"/>
                <a:gd name="connsiteX91" fmla="*/ 690910 w 1366837"/>
                <a:gd name="connsiteY91" fmla="*/ 356677 h 2009850"/>
                <a:gd name="connsiteX92" fmla="*/ 736288 w 1366837"/>
                <a:gd name="connsiteY92" fmla="*/ 356677 h 2009850"/>
                <a:gd name="connsiteX93" fmla="*/ 772541 w 1366837"/>
                <a:gd name="connsiteY93" fmla="*/ 342645 h 2009850"/>
                <a:gd name="connsiteX94" fmla="*/ 783202 w 1366837"/>
                <a:gd name="connsiteY94" fmla="*/ 325155 h 2009850"/>
                <a:gd name="connsiteX95" fmla="*/ 788139 w 1366837"/>
                <a:gd name="connsiteY95" fmla="*/ 335094 h 2009850"/>
                <a:gd name="connsiteX96" fmla="*/ 783293 w 1366837"/>
                <a:gd name="connsiteY96" fmla="*/ 337045 h 2009850"/>
                <a:gd name="connsiteX97" fmla="*/ 781317 w 1366837"/>
                <a:gd name="connsiteY97" fmla="*/ 337841 h 2009850"/>
                <a:gd name="connsiteX98" fmla="*/ 794294 w 1366837"/>
                <a:gd name="connsiteY98" fmla="*/ 356677 h 2009850"/>
                <a:gd name="connsiteX99" fmla="*/ 787043 w 1366837"/>
                <a:gd name="connsiteY99" fmla="*/ 398685 h 2009850"/>
                <a:gd name="connsiteX100" fmla="*/ 808795 w 1366837"/>
                <a:gd name="connsiteY100" fmla="*/ 419735 h 2009850"/>
                <a:gd name="connsiteX101" fmla="*/ 814135 w 1366837"/>
                <a:gd name="connsiteY101" fmla="*/ 418005 h 2009850"/>
                <a:gd name="connsiteX102" fmla="*/ 791739 w 1366837"/>
                <a:gd name="connsiteY102" fmla="*/ 395700 h 2009850"/>
                <a:gd name="connsiteX103" fmla="*/ 799570 w 1366837"/>
                <a:gd name="connsiteY103" fmla="*/ 348904 h 2009850"/>
                <a:gd name="connsiteX104" fmla="*/ 783907 w 1366837"/>
                <a:gd name="connsiteY104" fmla="*/ 325506 h 2009850"/>
                <a:gd name="connsiteX105" fmla="*/ 616575 w 1366837"/>
                <a:gd name="connsiteY105" fmla="*/ 311477 h 2009850"/>
                <a:gd name="connsiteX106" fmla="*/ 614534 w 1366837"/>
                <a:gd name="connsiteY106" fmla="*/ 315524 h 2009850"/>
                <a:gd name="connsiteX107" fmla="*/ 615104 w 1366837"/>
                <a:gd name="connsiteY107" fmla="*/ 316654 h 2009850"/>
                <a:gd name="connsiteX108" fmla="*/ 617575 w 1366837"/>
                <a:gd name="connsiteY108" fmla="*/ 311678 h 2009850"/>
                <a:gd name="connsiteX109" fmla="*/ 528165 w 1366837"/>
                <a:gd name="connsiteY109" fmla="*/ 136524 h 2009850"/>
                <a:gd name="connsiteX110" fmla="*/ 528165 w 1366837"/>
                <a:gd name="connsiteY110" fmla="*/ 144306 h 2009850"/>
                <a:gd name="connsiteX111" fmla="*/ 496759 w 1366837"/>
                <a:gd name="connsiteY111" fmla="*/ 159872 h 2009850"/>
                <a:gd name="connsiteX112" fmla="*/ 495777 w 1366837"/>
                <a:gd name="connsiteY112" fmla="*/ 167654 h 2009850"/>
                <a:gd name="connsiteX113" fmla="*/ 495454 w 1366837"/>
                <a:gd name="connsiteY113" fmla="*/ 170215 h 2009850"/>
                <a:gd name="connsiteX114" fmla="*/ 497405 w 1366837"/>
                <a:gd name="connsiteY114" fmla="*/ 169233 h 2009850"/>
                <a:gd name="connsiteX115" fmla="*/ 524540 w 1366837"/>
                <a:gd name="connsiteY115" fmla="*/ 155574 h 2009850"/>
                <a:gd name="connsiteX116" fmla="*/ 532293 w 1366837"/>
                <a:gd name="connsiteY116" fmla="*/ 178989 h 2009850"/>
                <a:gd name="connsiteX117" fmla="*/ 571057 w 1366837"/>
                <a:gd name="connsiteY117" fmla="*/ 171184 h 2009850"/>
                <a:gd name="connsiteX118" fmla="*/ 609822 w 1366837"/>
                <a:gd name="connsiteY118" fmla="*/ 178989 h 2009850"/>
                <a:gd name="connsiteX119" fmla="*/ 617575 w 1366837"/>
                <a:gd name="connsiteY119" fmla="*/ 194600 h 2009850"/>
                <a:gd name="connsiteX120" fmla="*/ 656339 w 1366837"/>
                <a:gd name="connsiteY120" fmla="*/ 202405 h 2009850"/>
                <a:gd name="connsiteX121" fmla="*/ 733868 w 1366837"/>
                <a:gd name="connsiteY121" fmla="*/ 194600 h 2009850"/>
                <a:gd name="connsiteX122" fmla="*/ 780386 w 1366837"/>
                <a:gd name="connsiteY122" fmla="*/ 218016 h 2009850"/>
                <a:gd name="connsiteX123" fmla="*/ 788139 w 1366837"/>
                <a:gd name="connsiteY123" fmla="*/ 233626 h 2009850"/>
                <a:gd name="connsiteX124" fmla="*/ 797951 w 1366837"/>
                <a:gd name="connsiteY124" fmla="*/ 236919 h 2009850"/>
                <a:gd name="connsiteX125" fmla="*/ 807118 w 1366837"/>
                <a:gd name="connsiteY125" fmla="*/ 239995 h 2009850"/>
                <a:gd name="connsiteX126" fmla="*/ 807402 w 1366837"/>
                <a:gd name="connsiteY126" fmla="*/ 239712 h 2009850"/>
                <a:gd name="connsiteX127" fmla="*/ 808323 w 1366837"/>
                <a:gd name="connsiteY127" fmla="*/ 240400 h 2009850"/>
                <a:gd name="connsiteX128" fmla="*/ 811397 w 1366837"/>
                <a:gd name="connsiteY128" fmla="*/ 241431 h 2009850"/>
                <a:gd name="connsiteX129" fmla="*/ 819150 w 1366837"/>
                <a:gd name="connsiteY129" fmla="*/ 241431 h 2009850"/>
                <a:gd name="connsiteX130" fmla="*/ 815274 w 1366837"/>
                <a:gd name="connsiteY130" fmla="*/ 245334 h 2009850"/>
                <a:gd name="connsiteX131" fmla="*/ 815127 w 1366837"/>
                <a:gd name="connsiteY131" fmla="*/ 245482 h 2009850"/>
                <a:gd name="connsiteX132" fmla="*/ 838729 w 1366837"/>
                <a:gd name="connsiteY132" fmla="*/ 263110 h 2009850"/>
                <a:gd name="connsiteX133" fmla="*/ 846560 w 1366837"/>
                <a:gd name="connsiteY133" fmla="*/ 286508 h 2009850"/>
                <a:gd name="connsiteX134" fmla="*/ 877887 w 1366837"/>
                <a:gd name="connsiteY134" fmla="*/ 294308 h 2009850"/>
                <a:gd name="connsiteX135" fmla="*/ 870055 w 1366837"/>
                <a:gd name="connsiteY135" fmla="*/ 317706 h 2009850"/>
                <a:gd name="connsiteX136" fmla="*/ 846560 w 1366837"/>
                <a:gd name="connsiteY136" fmla="*/ 341104 h 2009850"/>
                <a:gd name="connsiteX137" fmla="*/ 849446 w 1366837"/>
                <a:gd name="connsiteY137" fmla="*/ 346852 h 2009850"/>
                <a:gd name="connsiteX138" fmla="*/ 873522 w 1366837"/>
                <a:gd name="connsiteY138" fmla="*/ 323509 h 2009850"/>
                <a:gd name="connsiteX139" fmla="*/ 881591 w 1366837"/>
                <a:gd name="connsiteY139" fmla="*/ 300037 h 2009850"/>
                <a:gd name="connsiteX140" fmla="*/ 881591 w 1366837"/>
                <a:gd name="connsiteY140" fmla="*/ 307861 h 2009850"/>
                <a:gd name="connsiteX141" fmla="*/ 946150 w 1366837"/>
                <a:gd name="connsiteY141" fmla="*/ 315685 h 2009850"/>
                <a:gd name="connsiteX142" fmla="*/ 938080 w 1366837"/>
                <a:gd name="connsiteY142" fmla="*/ 339157 h 2009850"/>
                <a:gd name="connsiteX143" fmla="*/ 946150 w 1366837"/>
                <a:gd name="connsiteY143" fmla="*/ 370453 h 2009850"/>
                <a:gd name="connsiteX144" fmla="*/ 946150 w 1366837"/>
                <a:gd name="connsiteY144" fmla="*/ 398840 h 2009850"/>
                <a:gd name="connsiteX145" fmla="*/ 955648 w 1366837"/>
                <a:gd name="connsiteY145" fmla="*/ 394245 h 2009850"/>
                <a:gd name="connsiteX146" fmla="*/ 950595 w 1366837"/>
                <a:gd name="connsiteY146" fmla="*/ 389069 h 2009850"/>
                <a:gd name="connsiteX147" fmla="*/ 950595 w 1366837"/>
                <a:gd name="connsiteY147" fmla="*/ 357848 h 2009850"/>
                <a:gd name="connsiteX148" fmla="*/ 942975 w 1366837"/>
                <a:gd name="connsiteY148" fmla="*/ 326627 h 2009850"/>
                <a:gd name="connsiteX149" fmla="*/ 950595 w 1366837"/>
                <a:gd name="connsiteY149" fmla="*/ 303212 h 2009850"/>
                <a:gd name="connsiteX150" fmla="*/ 965835 w 1366837"/>
                <a:gd name="connsiteY150" fmla="*/ 303212 h 2009850"/>
                <a:gd name="connsiteX151" fmla="*/ 1019175 w 1366837"/>
                <a:gd name="connsiteY151" fmla="*/ 334432 h 2009850"/>
                <a:gd name="connsiteX152" fmla="*/ 1001723 w 1366837"/>
                <a:gd name="connsiteY152" fmla="*/ 361247 h 2009850"/>
                <a:gd name="connsiteX153" fmla="*/ 1018978 w 1366837"/>
                <a:gd name="connsiteY153" fmla="*/ 405702 h 2009850"/>
                <a:gd name="connsiteX154" fmla="*/ 1026229 w 1366837"/>
                <a:gd name="connsiteY154" fmla="*/ 433768 h 2009850"/>
                <a:gd name="connsiteX155" fmla="*/ 1076896 w 1366837"/>
                <a:gd name="connsiteY155" fmla="*/ 461833 h 2009850"/>
                <a:gd name="connsiteX156" fmla="*/ 1134902 w 1366837"/>
                <a:gd name="connsiteY156" fmla="*/ 482792 h 2009850"/>
                <a:gd name="connsiteX157" fmla="*/ 1149403 w 1366837"/>
                <a:gd name="connsiteY157" fmla="*/ 503841 h 2009850"/>
                <a:gd name="connsiteX158" fmla="*/ 1171156 w 1366837"/>
                <a:gd name="connsiteY158" fmla="*/ 510857 h 2009850"/>
                <a:gd name="connsiteX159" fmla="*/ 1243663 w 1366837"/>
                <a:gd name="connsiteY159" fmla="*/ 517874 h 2009850"/>
                <a:gd name="connsiteX160" fmla="*/ 1308831 w 1366837"/>
                <a:gd name="connsiteY160" fmla="*/ 552956 h 2009850"/>
                <a:gd name="connsiteX161" fmla="*/ 1352336 w 1366837"/>
                <a:gd name="connsiteY161" fmla="*/ 566898 h 2009850"/>
                <a:gd name="connsiteX162" fmla="*/ 1366837 w 1366837"/>
                <a:gd name="connsiteY162" fmla="*/ 616013 h 2009850"/>
                <a:gd name="connsiteX163" fmla="*/ 1366837 w 1366837"/>
                <a:gd name="connsiteY163" fmla="*/ 637062 h 2009850"/>
                <a:gd name="connsiteX164" fmla="*/ 1294330 w 1366837"/>
                <a:gd name="connsiteY164" fmla="*/ 728184 h 2009850"/>
                <a:gd name="connsiteX165" fmla="*/ 1272577 w 1366837"/>
                <a:gd name="connsiteY165" fmla="*/ 735201 h 2009850"/>
                <a:gd name="connsiteX166" fmla="*/ 1265327 w 1366837"/>
                <a:gd name="connsiteY166" fmla="*/ 854298 h 2009850"/>
                <a:gd name="connsiteX167" fmla="*/ 1258076 w 1366837"/>
                <a:gd name="connsiteY167" fmla="*/ 868331 h 2009850"/>
                <a:gd name="connsiteX168" fmla="*/ 1236412 w 1366837"/>
                <a:gd name="connsiteY168" fmla="*/ 903413 h 2009850"/>
                <a:gd name="connsiteX169" fmla="*/ 1229161 w 1366837"/>
                <a:gd name="connsiteY169" fmla="*/ 931388 h 2009850"/>
                <a:gd name="connsiteX170" fmla="*/ 1214660 w 1366837"/>
                <a:gd name="connsiteY170" fmla="*/ 959453 h 2009850"/>
                <a:gd name="connsiteX171" fmla="*/ 1200158 w 1366837"/>
                <a:gd name="connsiteY171" fmla="*/ 966470 h 2009850"/>
                <a:gd name="connsiteX172" fmla="*/ 1149403 w 1366837"/>
                <a:gd name="connsiteY172" fmla="*/ 973486 h 2009850"/>
                <a:gd name="connsiteX173" fmla="*/ 1069645 w 1366837"/>
                <a:gd name="connsiteY173" fmla="*/ 1022510 h 2009850"/>
                <a:gd name="connsiteX174" fmla="*/ 1047893 w 1366837"/>
                <a:gd name="connsiteY174" fmla="*/ 1064609 h 2009850"/>
                <a:gd name="connsiteX175" fmla="*/ 1018978 w 1366837"/>
                <a:gd name="connsiteY175" fmla="*/ 1155731 h 2009850"/>
                <a:gd name="connsiteX176" fmla="*/ 982725 w 1366837"/>
                <a:gd name="connsiteY176" fmla="*/ 1190813 h 2009850"/>
                <a:gd name="connsiteX177" fmla="*/ 953722 w 1366837"/>
                <a:gd name="connsiteY177" fmla="*/ 1218788 h 2009850"/>
                <a:gd name="connsiteX178" fmla="*/ 946471 w 1366837"/>
                <a:gd name="connsiteY178" fmla="*/ 1239837 h 2009850"/>
                <a:gd name="connsiteX179" fmla="*/ 939090 w 1366837"/>
                <a:gd name="connsiteY179" fmla="*/ 1225552 h 2009850"/>
                <a:gd name="connsiteX180" fmla="*/ 952500 w 1366837"/>
                <a:gd name="connsiteY180" fmla="*/ 1257049 h 2009850"/>
                <a:gd name="connsiteX181" fmla="*/ 945030 w 1366837"/>
                <a:gd name="connsiteY181" fmla="*/ 1274595 h 2009850"/>
                <a:gd name="connsiteX182" fmla="*/ 907677 w 1366837"/>
                <a:gd name="connsiteY182" fmla="*/ 1309687 h 2009850"/>
                <a:gd name="connsiteX183" fmla="*/ 870324 w 1366837"/>
                <a:gd name="connsiteY183" fmla="*/ 1300914 h 2009850"/>
                <a:gd name="connsiteX184" fmla="*/ 861821 w 1366837"/>
                <a:gd name="connsiteY184" fmla="*/ 1290929 h 2009850"/>
                <a:gd name="connsiteX185" fmla="*/ 874285 w 1366837"/>
                <a:gd name="connsiteY185" fmla="*/ 1315586 h 2009850"/>
                <a:gd name="connsiteX186" fmla="*/ 859052 w 1366837"/>
                <a:gd name="connsiteY186" fmla="*/ 1353492 h 2009850"/>
                <a:gd name="connsiteX187" fmla="*/ 836107 w 1366837"/>
                <a:gd name="connsiteY187" fmla="*/ 1408360 h 2009850"/>
                <a:gd name="connsiteX188" fmla="*/ 781562 w 1366837"/>
                <a:gd name="connsiteY188" fmla="*/ 1428071 h 2009850"/>
                <a:gd name="connsiteX189" fmla="*/ 744567 w 1366837"/>
                <a:gd name="connsiteY189" fmla="*/ 1429114 h 2009850"/>
                <a:gd name="connsiteX190" fmla="*/ 729334 w 1366837"/>
                <a:gd name="connsiteY190" fmla="*/ 1459249 h 2009850"/>
                <a:gd name="connsiteX191" fmla="*/ 724225 w 1366837"/>
                <a:gd name="connsiteY191" fmla="*/ 1476306 h 2009850"/>
                <a:gd name="connsiteX192" fmla="*/ 727111 w 1366837"/>
                <a:gd name="connsiteY192" fmla="*/ 1491374 h 2009850"/>
                <a:gd name="connsiteX193" fmla="*/ 698821 w 1366837"/>
                <a:gd name="connsiteY193" fmla="*/ 1512222 h 2009850"/>
                <a:gd name="connsiteX194" fmla="*/ 696030 w 1366837"/>
                <a:gd name="connsiteY194" fmla="*/ 1545295 h 2009850"/>
                <a:gd name="connsiteX195" fmla="*/ 675924 w 1366837"/>
                <a:gd name="connsiteY195" fmla="*/ 1557614 h 2009850"/>
                <a:gd name="connsiteX196" fmla="*/ 657758 w 1366837"/>
                <a:gd name="connsiteY196" fmla="*/ 1590592 h 2009850"/>
                <a:gd name="connsiteX197" fmla="*/ 648675 w 1366837"/>
                <a:gd name="connsiteY197" fmla="*/ 1618263 h 2009850"/>
                <a:gd name="connsiteX198" fmla="*/ 614898 w 1366837"/>
                <a:gd name="connsiteY198" fmla="*/ 1633046 h 2009850"/>
                <a:gd name="connsiteX199" fmla="*/ 630131 w 1366837"/>
                <a:gd name="connsiteY199" fmla="*/ 1663371 h 2009850"/>
                <a:gd name="connsiteX200" fmla="*/ 653027 w 1366837"/>
                <a:gd name="connsiteY200" fmla="*/ 1678439 h 2009850"/>
                <a:gd name="connsiteX201" fmla="*/ 643424 w 1366837"/>
                <a:gd name="connsiteY201" fmla="*/ 1720988 h 2009850"/>
                <a:gd name="connsiteX202" fmla="*/ 619628 w 1366837"/>
                <a:gd name="connsiteY202" fmla="*/ 1743731 h 2009850"/>
                <a:gd name="connsiteX203" fmla="*/ 597678 w 1366837"/>
                <a:gd name="connsiteY203" fmla="*/ 1790924 h 2009850"/>
                <a:gd name="connsiteX204" fmla="*/ 576720 w 1366837"/>
                <a:gd name="connsiteY204" fmla="*/ 1822007 h 2009850"/>
                <a:gd name="connsiteX205" fmla="*/ 573125 w 1366837"/>
                <a:gd name="connsiteY205" fmla="*/ 1857354 h 2009850"/>
                <a:gd name="connsiteX206" fmla="*/ 582255 w 1366837"/>
                <a:gd name="connsiteY206" fmla="*/ 1877917 h 2009850"/>
                <a:gd name="connsiteX207" fmla="*/ 567249 w 1366837"/>
                <a:gd name="connsiteY207" fmla="*/ 1877772 h 2009850"/>
                <a:gd name="connsiteX208" fmla="*/ 558941 w 1366837"/>
                <a:gd name="connsiteY208" fmla="*/ 1876963 h 2009850"/>
                <a:gd name="connsiteX209" fmla="*/ 577528 w 1366837"/>
                <a:gd name="connsiteY209" fmla="*/ 1910017 h 2009850"/>
                <a:gd name="connsiteX210" fmla="*/ 646734 w 1366837"/>
                <a:gd name="connsiteY210" fmla="*/ 1979712 h 2009850"/>
                <a:gd name="connsiteX211" fmla="*/ 555528 w 1366837"/>
                <a:gd name="connsiteY211" fmla="*/ 2006133 h 2009850"/>
                <a:gd name="connsiteX212" fmla="*/ 468302 w 1366837"/>
                <a:gd name="connsiteY212" fmla="*/ 1939351 h 2009850"/>
                <a:gd name="connsiteX213" fmla="*/ 406400 w 1366837"/>
                <a:gd name="connsiteY213" fmla="*/ 1818373 h 2009850"/>
                <a:gd name="connsiteX214" fmla="*/ 431456 w 1366837"/>
                <a:gd name="connsiteY214" fmla="*/ 1713622 h 2009850"/>
                <a:gd name="connsiteX215" fmla="*/ 441314 w 1366837"/>
                <a:gd name="connsiteY215" fmla="*/ 1656514 h 2009850"/>
                <a:gd name="connsiteX216" fmla="*/ 484390 w 1366837"/>
                <a:gd name="connsiteY216" fmla="*/ 1532207 h 2009850"/>
                <a:gd name="connsiteX217" fmla="*/ 450920 w 1366837"/>
                <a:gd name="connsiteY217" fmla="*/ 1528462 h 2009850"/>
                <a:gd name="connsiteX218" fmla="*/ 475237 w 1366837"/>
                <a:gd name="connsiteY218" fmla="*/ 1383974 h 2009850"/>
                <a:gd name="connsiteX219" fmla="*/ 503132 w 1366837"/>
                <a:gd name="connsiteY219" fmla="*/ 1303981 h 2009850"/>
                <a:gd name="connsiteX220" fmla="*/ 508539 w 1366837"/>
                <a:gd name="connsiteY220" fmla="*/ 1154709 h 2009850"/>
                <a:gd name="connsiteX221" fmla="*/ 538919 w 1366837"/>
                <a:gd name="connsiteY221" fmla="*/ 991289 h 2009850"/>
                <a:gd name="connsiteX222" fmla="*/ 546023 w 1366837"/>
                <a:gd name="connsiteY222" fmla="*/ 932412 h 2009850"/>
                <a:gd name="connsiteX223" fmla="*/ 543907 w 1366837"/>
                <a:gd name="connsiteY223" fmla="*/ 852003 h 2009850"/>
                <a:gd name="connsiteX224" fmla="*/ 550897 w 1366837"/>
                <a:gd name="connsiteY224" fmla="*/ 836718 h 2009850"/>
                <a:gd name="connsiteX225" fmla="*/ 398065 w 1366837"/>
                <a:gd name="connsiteY225" fmla="*/ 759611 h 2009850"/>
                <a:gd name="connsiteX226" fmla="*/ 398065 w 1366837"/>
                <a:gd name="connsiteY226" fmla="*/ 745649 h 2009850"/>
                <a:gd name="connsiteX227" fmla="*/ 349964 w 1366837"/>
                <a:gd name="connsiteY227" fmla="*/ 654893 h 2009850"/>
                <a:gd name="connsiteX228" fmla="*/ 301863 w 1366837"/>
                <a:gd name="connsiteY228" fmla="*/ 585080 h 2009850"/>
                <a:gd name="connsiteX229" fmla="*/ 277812 w 1366837"/>
                <a:gd name="connsiteY229" fmla="*/ 536212 h 2009850"/>
                <a:gd name="connsiteX230" fmla="*/ 301863 w 1366837"/>
                <a:gd name="connsiteY230" fmla="*/ 522249 h 2009850"/>
                <a:gd name="connsiteX231" fmla="*/ 304435 w 1366837"/>
                <a:gd name="connsiteY231" fmla="*/ 526729 h 2009850"/>
                <a:gd name="connsiteX232" fmla="*/ 312737 w 1366837"/>
                <a:gd name="connsiteY232" fmla="*/ 522621 h 2009850"/>
                <a:gd name="connsiteX233" fmla="*/ 296862 w 1366837"/>
                <a:gd name="connsiteY233" fmla="*/ 491206 h 2009850"/>
                <a:gd name="connsiteX234" fmla="*/ 328612 w 1366837"/>
                <a:gd name="connsiteY234" fmla="*/ 420520 h 2009850"/>
                <a:gd name="connsiteX235" fmla="*/ 336550 w 1366837"/>
                <a:gd name="connsiteY235" fmla="*/ 404812 h 2009850"/>
                <a:gd name="connsiteX236" fmla="*/ 341873 w 1366837"/>
                <a:gd name="connsiteY236" fmla="*/ 406787 h 2009850"/>
                <a:gd name="connsiteX237" fmla="*/ 355428 w 1366837"/>
                <a:gd name="connsiteY237" fmla="*/ 393351 h 2009850"/>
                <a:gd name="connsiteX238" fmla="*/ 386835 w 1366837"/>
                <a:gd name="connsiteY238" fmla="*/ 370003 h 2009850"/>
                <a:gd name="connsiteX239" fmla="*/ 378984 w 1366837"/>
                <a:gd name="connsiteY239" fmla="*/ 338872 h 2009850"/>
                <a:gd name="connsiteX240" fmla="*/ 378984 w 1366837"/>
                <a:gd name="connsiteY240" fmla="*/ 315524 h 2009850"/>
                <a:gd name="connsiteX241" fmla="*/ 371132 w 1366837"/>
                <a:gd name="connsiteY241" fmla="*/ 276611 h 2009850"/>
                <a:gd name="connsiteX242" fmla="*/ 363280 w 1366837"/>
                <a:gd name="connsiteY242" fmla="*/ 261046 h 2009850"/>
                <a:gd name="connsiteX243" fmla="*/ 386835 w 1366837"/>
                <a:gd name="connsiteY243" fmla="*/ 237698 h 2009850"/>
                <a:gd name="connsiteX244" fmla="*/ 410390 w 1366837"/>
                <a:gd name="connsiteY244" fmla="*/ 214350 h 2009850"/>
                <a:gd name="connsiteX245" fmla="*/ 426094 w 1366837"/>
                <a:gd name="connsiteY245" fmla="*/ 206567 h 2009850"/>
                <a:gd name="connsiteX246" fmla="*/ 441797 w 1366837"/>
                <a:gd name="connsiteY246" fmla="*/ 167654 h 2009850"/>
                <a:gd name="connsiteX247" fmla="*/ 473204 w 1366837"/>
                <a:gd name="connsiteY247" fmla="*/ 152089 h 2009850"/>
                <a:gd name="connsiteX248" fmla="*/ 528165 w 1366837"/>
                <a:gd name="connsiteY248" fmla="*/ 136524 h 2009850"/>
                <a:gd name="connsiteX249" fmla="*/ 47625 w 1366837"/>
                <a:gd name="connsiteY249" fmla="*/ 0 h 2009850"/>
                <a:gd name="connsiteX250" fmla="*/ 87312 w 1366837"/>
                <a:gd name="connsiteY250" fmla="*/ 0 h 2009850"/>
                <a:gd name="connsiteX251" fmla="*/ 87312 w 1366837"/>
                <a:gd name="connsiteY251" fmla="*/ 32809 h 2009850"/>
                <a:gd name="connsiteX252" fmla="*/ 119062 w 1366837"/>
                <a:gd name="connsiteY252" fmla="*/ 41011 h 2009850"/>
                <a:gd name="connsiteX253" fmla="*/ 112740 w 1366837"/>
                <a:gd name="connsiteY253" fmla="*/ 45911 h 2009850"/>
                <a:gd name="connsiteX254" fmla="*/ 119062 w 1366837"/>
                <a:gd name="connsiteY254" fmla="*/ 41274 h 2009850"/>
                <a:gd name="connsiteX255" fmla="*/ 142875 w 1366837"/>
                <a:gd name="connsiteY255" fmla="*/ 49035 h 2009850"/>
                <a:gd name="connsiteX256" fmla="*/ 218777 w 1366837"/>
                <a:gd name="connsiteY256" fmla="*/ 62132 h 2009850"/>
                <a:gd name="connsiteX257" fmla="*/ 228552 w 1366837"/>
                <a:gd name="connsiteY257" fmla="*/ 64210 h 2009850"/>
                <a:gd name="connsiteX258" fmla="*/ 230187 w 1366837"/>
                <a:gd name="connsiteY258" fmla="*/ 63499 h 2009850"/>
                <a:gd name="connsiteX259" fmla="*/ 230094 w 1366837"/>
                <a:gd name="connsiteY259" fmla="*/ 64537 h 2009850"/>
                <a:gd name="connsiteX260" fmla="*/ 230187 w 1366837"/>
                <a:gd name="connsiteY260" fmla="*/ 64557 h 2009850"/>
                <a:gd name="connsiteX261" fmla="*/ 230088 w 1366837"/>
                <a:gd name="connsiteY261" fmla="*/ 64599 h 2009850"/>
                <a:gd name="connsiteX262" fmla="*/ 230063 w 1366837"/>
                <a:gd name="connsiteY262" fmla="*/ 64883 h 2009850"/>
                <a:gd name="connsiteX263" fmla="*/ 222249 w 1366837"/>
                <a:gd name="connsiteY263" fmla="*/ 152059 h 2009850"/>
                <a:gd name="connsiteX264" fmla="*/ 226218 w 1366837"/>
                <a:gd name="connsiteY264" fmla="*/ 158097 h 2009850"/>
                <a:gd name="connsiteX265" fmla="*/ 229783 w 1366837"/>
                <a:gd name="connsiteY265" fmla="*/ 174369 h 2009850"/>
                <a:gd name="connsiteX266" fmla="*/ 230187 w 1366837"/>
                <a:gd name="connsiteY266" fmla="*/ 174448 h 2009850"/>
                <a:gd name="connsiteX267" fmla="*/ 254000 w 1366837"/>
                <a:gd name="connsiteY267" fmla="*/ 205492 h 2009850"/>
                <a:gd name="connsiteX268" fmla="*/ 253008 w 1366837"/>
                <a:gd name="connsiteY268" fmla="*/ 209373 h 2009850"/>
                <a:gd name="connsiteX269" fmla="*/ 246098 w 1366837"/>
                <a:gd name="connsiteY269" fmla="*/ 236398 h 2009850"/>
                <a:gd name="connsiteX270" fmla="*/ 247043 w 1366837"/>
                <a:gd name="connsiteY270" fmla="*/ 232766 h 2009850"/>
                <a:gd name="connsiteX271" fmla="*/ 253911 w 1366837"/>
                <a:gd name="connsiteY271" fmla="*/ 206374 h 2009850"/>
                <a:gd name="connsiteX272" fmla="*/ 261761 w 1366837"/>
                <a:gd name="connsiteY272" fmla="*/ 213914 h 2009850"/>
                <a:gd name="connsiteX273" fmla="*/ 316706 w 1366837"/>
                <a:gd name="connsiteY273" fmla="*/ 213914 h 2009850"/>
                <a:gd name="connsiteX274" fmla="*/ 355953 w 1366837"/>
                <a:gd name="connsiteY274" fmla="*/ 213914 h 2009850"/>
                <a:gd name="connsiteX275" fmla="*/ 387350 w 1366837"/>
                <a:gd name="connsiteY275" fmla="*/ 236536 h 2009850"/>
                <a:gd name="connsiteX276" fmla="*/ 363802 w 1366837"/>
                <a:gd name="connsiteY276" fmla="*/ 259158 h 2009850"/>
                <a:gd name="connsiteX277" fmla="*/ 355953 w 1366837"/>
                <a:gd name="connsiteY277" fmla="*/ 236536 h 2009850"/>
                <a:gd name="connsiteX278" fmla="*/ 324555 w 1366837"/>
                <a:gd name="connsiteY278" fmla="*/ 228996 h 2009850"/>
                <a:gd name="connsiteX279" fmla="*/ 301007 w 1366837"/>
                <a:gd name="connsiteY279" fmla="*/ 251618 h 2009850"/>
                <a:gd name="connsiteX280" fmla="*/ 293158 w 1366837"/>
                <a:gd name="connsiteY280" fmla="*/ 266699 h 2009850"/>
                <a:gd name="connsiteX281" fmla="*/ 277459 w 1366837"/>
                <a:gd name="connsiteY281" fmla="*/ 266699 h 2009850"/>
                <a:gd name="connsiteX282" fmla="*/ 249864 w 1366837"/>
                <a:gd name="connsiteY282" fmla="*/ 240189 h 2009850"/>
                <a:gd name="connsiteX283" fmla="*/ 246062 w 1366837"/>
                <a:gd name="connsiteY283" fmla="*/ 236537 h 2009850"/>
                <a:gd name="connsiteX284" fmla="*/ 174625 w 1366837"/>
                <a:gd name="connsiteY284" fmla="*/ 189970 h 2009850"/>
                <a:gd name="connsiteX285" fmla="*/ 172641 w 1366837"/>
                <a:gd name="connsiteY285" fmla="*/ 188030 h 2009850"/>
                <a:gd name="connsiteX286" fmla="*/ 160182 w 1366837"/>
                <a:gd name="connsiteY286" fmla="*/ 175848 h 2009850"/>
                <a:gd name="connsiteX287" fmla="*/ 158749 w 1366837"/>
                <a:gd name="connsiteY287" fmla="*/ 176212 h 2009850"/>
                <a:gd name="connsiteX288" fmla="*/ 119062 w 1366837"/>
                <a:gd name="connsiteY288" fmla="*/ 111804 h 2009850"/>
                <a:gd name="connsiteX289" fmla="*/ 142502 w 1366837"/>
                <a:gd name="connsiteY289" fmla="*/ 101615 h 2009850"/>
                <a:gd name="connsiteX290" fmla="*/ 162565 w 1366837"/>
                <a:gd name="connsiteY290" fmla="*/ 92894 h 2009850"/>
                <a:gd name="connsiteX291" fmla="*/ 151184 w 1366837"/>
                <a:gd name="connsiteY291" fmla="*/ 97663 h 2009850"/>
                <a:gd name="connsiteX292" fmla="*/ 119062 w 1366837"/>
                <a:gd name="connsiteY292" fmla="*/ 111124 h 2009850"/>
                <a:gd name="connsiteX293" fmla="*/ 102319 w 1366837"/>
                <a:gd name="connsiteY293" fmla="*/ 101301 h 2009850"/>
                <a:gd name="connsiteX294" fmla="*/ 80021 w 1366837"/>
                <a:gd name="connsiteY294" fmla="*/ 88219 h 2009850"/>
                <a:gd name="connsiteX295" fmla="*/ 79375 w 1366837"/>
                <a:gd name="connsiteY295" fmla="*/ 90223 h 2009850"/>
                <a:gd name="connsiteX296" fmla="*/ 55562 w 1366837"/>
                <a:gd name="connsiteY296" fmla="*/ 98425 h 2009850"/>
                <a:gd name="connsiteX297" fmla="*/ 7938 w 1366837"/>
                <a:gd name="connsiteY297" fmla="*/ 90223 h 2009850"/>
                <a:gd name="connsiteX298" fmla="*/ 0 w 1366837"/>
                <a:gd name="connsiteY298" fmla="*/ 82021 h 2009850"/>
                <a:gd name="connsiteX299" fmla="*/ 7938 w 1366837"/>
                <a:gd name="connsiteY299" fmla="*/ 65617 h 2009850"/>
                <a:gd name="connsiteX300" fmla="*/ 23813 w 1366837"/>
                <a:gd name="connsiteY300" fmla="*/ 41011 h 2009850"/>
                <a:gd name="connsiteX301" fmla="*/ 47625 w 1366837"/>
                <a:gd name="connsiteY301" fmla="*/ 41011 h 2009850"/>
                <a:gd name="connsiteX302" fmla="*/ 31750 w 1366837"/>
                <a:gd name="connsiteY302" fmla="*/ 8202 h 2009850"/>
                <a:gd name="connsiteX303" fmla="*/ 47625 w 1366837"/>
                <a:gd name="connsiteY303" fmla="*/ 0 h 2009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</a:cxnLst>
              <a:rect l="l" t="t" r="r" b="b"/>
              <a:pathLst>
                <a:path w="1366837" h="2009850">
                  <a:moveTo>
                    <a:pt x="922983" y="1196066"/>
                  </a:moveTo>
                  <a:lnTo>
                    <a:pt x="925200" y="1198669"/>
                  </a:lnTo>
                  <a:lnTo>
                    <a:pt x="924719" y="1197739"/>
                  </a:lnTo>
                  <a:close/>
                  <a:moveTo>
                    <a:pt x="924259" y="1035860"/>
                  </a:moveTo>
                  <a:lnTo>
                    <a:pt x="920841" y="1038159"/>
                  </a:lnTo>
                  <a:lnTo>
                    <a:pt x="924276" y="1035884"/>
                  </a:lnTo>
                  <a:close/>
                  <a:moveTo>
                    <a:pt x="624338" y="947843"/>
                  </a:moveTo>
                  <a:lnTo>
                    <a:pt x="623984" y="949533"/>
                  </a:lnTo>
                  <a:lnTo>
                    <a:pt x="624572" y="948137"/>
                  </a:lnTo>
                  <a:close/>
                  <a:moveTo>
                    <a:pt x="609461" y="918513"/>
                  </a:moveTo>
                  <a:lnTo>
                    <a:pt x="611736" y="925235"/>
                  </a:lnTo>
                  <a:lnTo>
                    <a:pt x="621346" y="942005"/>
                  </a:lnTo>
                  <a:lnTo>
                    <a:pt x="622620" y="941216"/>
                  </a:lnTo>
                  <a:close/>
                  <a:moveTo>
                    <a:pt x="595516" y="863127"/>
                  </a:moveTo>
                  <a:lnTo>
                    <a:pt x="602819" y="873640"/>
                  </a:lnTo>
                  <a:lnTo>
                    <a:pt x="603540" y="882917"/>
                  </a:lnTo>
                  <a:lnTo>
                    <a:pt x="605225" y="870910"/>
                  </a:lnTo>
                  <a:cubicBezTo>
                    <a:pt x="604120" y="867505"/>
                    <a:pt x="600353" y="865299"/>
                    <a:pt x="596194" y="863446"/>
                  </a:cubicBezTo>
                  <a:close/>
                  <a:moveTo>
                    <a:pt x="569861" y="844549"/>
                  </a:moveTo>
                  <a:lnTo>
                    <a:pt x="577981" y="851795"/>
                  </a:lnTo>
                  <a:lnTo>
                    <a:pt x="578240" y="851766"/>
                  </a:lnTo>
                  <a:lnTo>
                    <a:pt x="573140" y="846860"/>
                  </a:lnTo>
                  <a:lnTo>
                    <a:pt x="573672" y="844549"/>
                  </a:lnTo>
                  <a:close/>
                  <a:moveTo>
                    <a:pt x="796081" y="813297"/>
                  </a:moveTo>
                  <a:lnTo>
                    <a:pt x="797130" y="814850"/>
                  </a:lnTo>
                  <a:cubicBezTo>
                    <a:pt x="800693" y="814850"/>
                    <a:pt x="811358" y="816603"/>
                    <a:pt x="821131" y="818356"/>
                  </a:cubicBezTo>
                  <a:lnTo>
                    <a:pt x="830459" y="820086"/>
                  </a:lnTo>
                  <a:lnTo>
                    <a:pt x="830459" y="819307"/>
                  </a:lnTo>
                  <a:cubicBezTo>
                    <a:pt x="830459" y="819307"/>
                    <a:pt x="810116" y="815360"/>
                    <a:pt x="796886" y="813387"/>
                  </a:cubicBezTo>
                  <a:close/>
                  <a:moveTo>
                    <a:pt x="596990" y="721173"/>
                  </a:moveTo>
                  <a:lnTo>
                    <a:pt x="590470" y="766592"/>
                  </a:lnTo>
                  <a:lnTo>
                    <a:pt x="582453" y="809643"/>
                  </a:lnTo>
                  <a:lnTo>
                    <a:pt x="577778" y="829999"/>
                  </a:lnTo>
                  <a:lnTo>
                    <a:pt x="580241" y="822781"/>
                  </a:lnTo>
                  <a:cubicBezTo>
                    <a:pt x="582765" y="811603"/>
                    <a:pt x="585316" y="796346"/>
                    <a:pt x="588288" y="779824"/>
                  </a:cubicBezTo>
                  <a:cubicBezTo>
                    <a:pt x="591260" y="763331"/>
                    <a:pt x="598860" y="736580"/>
                    <a:pt x="598124" y="723736"/>
                  </a:cubicBezTo>
                  <a:close/>
                  <a:moveTo>
                    <a:pt x="598524" y="693102"/>
                  </a:moveTo>
                  <a:cubicBezTo>
                    <a:pt x="595385" y="692783"/>
                    <a:pt x="595385" y="692783"/>
                    <a:pt x="592555" y="693740"/>
                  </a:cubicBezTo>
                  <a:lnTo>
                    <a:pt x="586843" y="695533"/>
                  </a:lnTo>
                  <a:lnTo>
                    <a:pt x="591011" y="700977"/>
                  </a:lnTo>
                  <a:lnTo>
                    <a:pt x="603239" y="697961"/>
                  </a:lnTo>
                  <a:close/>
                  <a:moveTo>
                    <a:pt x="667141" y="679024"/>
                  </a:moveTo>
                  <a:lnTo>
                    <a:pt x="671189" y="679689"/>
                  </a:lnTo>
                  <a:lnTo>
                    <a:pt x="671031" y="679069"/>
                  </a:lnTo>
                  <a:close/>
                  <a:moveTo>
                    <a:pt x="535291" y="540321"/>
                  </a:moveTo>
                  <a:lnTo>
                    <a:pt x="518318" y="550174"/>
                  </a:lnTo>
                  <a:lnTo>
                    <a:pt x="486251" y="592062"/>
                  </a:lnTo>
                  <a:lnTo>
                    <a:pt x="486251" y="596681"/>
                  </a:lnTo>
                  <a:lnTo>
                    <a:pt x="511603" y="559881"/>
                  </a:lnTo>
                  <a:lnTo>
                    <a:pt x="533355" y="545939"/>
                  </a:lnTo>
                  <a:close/>
                  <a:moveTo>
                    <a:pt x="545605" y="527758"/>
                  </a:moveTo>
                  <a:lnTo>
                    <a:pt x="545055" y="529195"/>
                  </a:lnTo>
                  <a:lnTo>
                    <a:pt x="555108" y="538923"/>
                  </a:lnTo>
                  <a:lnTo>
                    <a:pt x="555232" y="538264"/>
                  </a:lnTo>
                  <a:lnTo>
                    <a:pt x="547497" y="530579"/>
                  </a:lnTo>
                  <a:close/>
                  <a:moveTo>
                    <a:pt x="431035" y="453449"/>
                  </a:moveTo>
                  <a:lnTo>
                    <a:pt x="415925" y="483352"/>
                  </a:lnTo>
                  <a:lnTo>
                    <a:pt x="395685" y="503379"/>
                  </a:lnTo>
                  <a:lnTo>
                    <a:pt x="422116" y="480362"/>
                  </a:lnTo>
                  <a:lnTo>
                    <a:pt x="436778" y="454826"/>
                  </a:lnTo>
                  <a:lnTo>
                    <a:pt x="433945" y="455612"/>
                  </a:lnTo>
                  <a:close/>
                  <a:moveTo>
                    <a:pt x="625327" y="402496"/>
                  </a:moveTo>
                  <a:lnTo>
                    <a:pt x="440660" y="453749"/>
                  </a:lnTo>
                  <a:lnTo>
                    <a:pt x="448505" y="457848"/>
                  </a:lnTo>
                  <a:lnTo>
                    <a:pt x="571284" y="423686"/>
                  </a:lnTo>
                  <a:lnTo>
                    <a:pt x="571457" y="424547"/>
                  </a:lnTo>
                  <a:lnTo>
                    <a:pt x="620276" y="412718"/>
                  </a:lnTo>
                  <a:lnTo>
                    <a:pt x="642028" y="433768"/>
                  </a:lnTo>
                  <a:lnTo>
                    <a:pt x="644893" y="432844"/>
                  </a:lnTo>
                  <a:lnTo>
                    <a:pt x="638774" y="426684"/>
                  </a:lnTo>
                  <a:cubicBezTo>
                    <a:pt x="635503" y="423391"/>
                    <a:pt x="631142" y="419001"/>
                    <a:pt x="625327" y="413147"/>
                  </a:cubicBezTo>
                  <a:lnTo>
                    <a:pt x="625327" y="408649"/>
                  </a:lnTo>
                  <a:lnTo>
                    <a:pt x="571284" y="423686"/>
                  </a:lnTo>
                  <a:lnTo>
                    <a:pt x="570928" y="421920"/>
                  </a:lnTo>
                  <a:lnTo>
                    <a:pt x="625327" y="408407"/>
                  </a:lnTo>
                  <a:lnTo>
                    <a:pt x="625327" y="406317"/>
                  </a:lnTo>
                  <a:close/>
                  <a:moveTo>
                    <a:pt x="927886" y="401750"/>
                  </a:moveTo>
                  <a:lnTo>
                    <a:pt x="931969" y="405702"/>
                  </a:lnTo>
                  <a:lnTo>
                    <a:pt x="940137" y="401750"/>
                  </a:lnTo>
                  <a:close/>
                  <a:moveTo>
                    <a:pt x="856829" y="361558"/>
                  </a:moveTo>
                  <a:lnTo>
                    <a:pt x="862224" y="372302"/>
                  </a:lnTo>
                  <a:lnTo>
                    <a:pt x="877887" y="403500"/>
                  </a:lnTo>
                  <a:lnTo>
                    <a:pt x="866834" y="405702"/>
                  </a:lnTo>
                  <a:lnTo>
                    <a:pt x="873963" y="405702"/>
                  </a:lnTo>
                  <a:lnTo>
                    <a:pt x="878470" y="403521"/>
                  </a:lnTo>
                  <a:lnTo>
                    <a:pt x="865452" y="378277"/>
                  </a:lnTo>
                  <a:close/>
                  <a:moveTo>
                    <a:pt x="771998" y="341594"/>
                  </a:moveTo>
                  <a:lnTo>
                    <a:pt x="771785" y="341679"/>
                  </a:lnTo>
                  <a:cubicBezTo>
                    <a:pt x="766333" y="343875"/>
                    <a:pt x="759065" y="346802"/>
                    <a:pt x="749374" y="350704"/>
                  </a:cubicBezTo>
                  <a:cubicBezTo>
                    <a:pt x="749374" y="350704"/>
                    <a:pt x="749374" y="350704"/>
                    <a:pt x="687351" y="350704"/>
                  </a:cubicBezTo>
                  <a:cubicBezTo>
                    <a:pt x="687351" y="350704"/>
                    <a:pt x="687351" y="350704"/>
                    <a:pt x="690258" y="355583"/>
                  </a:cubicBezTo>
                  <a:lnTo>
                    <a:pt x="690910" y="356677"/>
                  </a:lnTo>
                  <a:lnTo>
                    <a:pt x="736288" y="356677"/>
                  </a:lnTo>
                  <a:lnTo>
                    <a:pt x="772541" y="342645"/>
                  </a:lnTo>
                  <a:close/>
                  <a:moveTo>
                    <a:pt x="783202" y="325155"/>
                  </a:moveTo>
                  <a:lnTo>
                    <a:pt x="788139" y="335094"/>
                  </a:lnTo>
                  <a:cubicBezTo>
                    <a:pt x="788139" y="335094"/>
                    <a:pt x="788139" y="335094"/>
                    <a:pt x="783293" y="337045"/>
                  </a:cubicBezTo>
                  <a:lnTo>
                    <a:pt x="781317" y="337841"/>
                  </a:lnTo>
                  <a:lnTo>
                    <a:pt x="794294" y="356677"/>
                  </a:lnTo>
                  <a:cubicBezTo>
                    <a:pt x="791906" y="370710"/>
                    <a:pt x="789430" y="384652"/>
                    <a:pt x="787043" y="398685"/>
                  </a:cubicBezTo>
                  <a:lnTo>
                    <a:pt x="808795" y="419735"/>
                  </a:lnTo>
                  <a:lnTo>
                    <a:pt x="814135" y="418005"/>
                  </a:lnTo>
                  <a:lnTo>
                    <a:pt x="791739" y="395700"/>
                  </a:lnTo>
                  <a:lnTo>
                    <a:pt x="799570" y="348904"/>
                  </a:lnTo>
                  <a:lnTo>
                    <a:pt x="783907" y="325506"/>
                  </a:lnTo>
                  <a:close/>
                  <a:moveTo>
                    <a:pt x="616575" y="311477"/>
                  </a:moveTo>
                  <a:lnTo>
                    <a:pt x="614534" y="315524"/>
                  </a:lnTo>
                  <a:lnTo>
                    <a:pt x="615104" y="316654"/>
                  </a:lnTo>
                  <a:lnTo>
                    <a:pt x="617575" y="311678"/>
                  </a:lnTo>
                  <a:close/>
                  <a:moveTo>
                    <a:pt x="528165" y="136524"/>
                  </a:moveTo>
                  <a:cubicBezTo>
                    <a:pt x="528165" y="136524"/>
                    <a:pt x="528165" y="136524"/>
                    <a:pt x="528165" y="144306"/>
                  </a:cubicBezTo>
                  <a:cubicBezTo>
                    <a:pt x="528165" y="144306"/>
                    <a:pt x="528165" y="144306"/>
                    <a:pt x="496759" y="159872"/>
                  </a:cubicBezTo>
                  <a:cubicBezTo>
                    <a:pt x="496759" y="159872"/>
                    <a:pt x="496759" y="159872"/>
                    <a:pt x="495777" y="167654"/>
                  </a:cubicBezTo>
                  <a:lnTo>
                    <a:pt x="495454" y="170215"/>
                  </a:lnTo>
                  <a:lnTo>
                    <a:pt x="497405" y="169233"/>
                  </a:lnTo>
                  <a:cubicBezTo>
                    <a:pt x="501281" y="167282"/>
                    <a:pt x="509034" y="163379"/>
                    <a:pt x="524540" y="155574"/>
                  </a:cubicBezTo>
                  <a:cubicBezTo>
                    <a:pt x="524540" y="163379"/>
                    <a:pt x="524540" y="178989"/>
                    <a:pt x="532293" y="178989"/>
                  </a:cubicBezTo>
                  <a:cubicBezTo>
                    <a:pt x="540045" y="178989"/>
                    <a:pt x="571057" y="171184"/>
                    <a:pt x="571057" y="171184"/>
                  </a:cubicBezTo>
                  <a:cubicBezTo>
                    <a:pt x="571057" y="171184"/>
                    <a:pt x="571057" y="171184"/>
                    <a:pt x="609822" y="178989"/>
                  </a:cubicBezTo>
                  <a:cubicBezTo>
                    <a:pt x="609822" y="178989"/>
                    <a:pt x="609822" y="178989"/>
                    <a:pt x="617575" y="194600"/>
                  </a:cubicBezTo>
                  <a:cubicBezTo>
                    <a:pt x="617575" y="194600"/>
                    <a:pt x="617575" y="194600"/>
                    <a:pt x="656339" y="202405"/>
                  </a:cubicBezTo>
                  <a:cubicBezTo>
                    <a:pt x="656339" y="202405"/>
                    <a:pt x="656339" y="202405"/>
                    <a:pt x="733868" y="194600"/>
                  </a:cubicBezTo>
                  <a:cubicBezTo>
                    <a:pt x="733868" y="194600"/>
                    <a:pt x="733868" y="194600"/>
                    <a:pt x="780386" y="218016"/>
                  </a:cubicBezTo>
                  <a:cubicBezTo>
                    <a:pt x="780386" y="218016"/>
                    <a:pt x="780386" y="218016"/>
                    <a:pt x="788139" y="233626"/>
                  </a:cubicBezTo>
                  <a:cubicBezTo>
                    <a:pt x="788139" y="233626"/>
                    <a:pt x="788139" y="233626"/>
                    <a:pt x="797951" y="236919"/>
                  </a:cubicBezTo>
                  <a:lnTo>
                    <a:pt x="807118" y="239995"/>
                  </a:lnTo>
                  <a:lnTo>
                    <a:pt x="807402" y="239712"/>
                  </a:lnTo>
                  <a:lnTo>
                    <a:pt x="808323" y="240400"/>
                  </a:lnTo>
                  <a:lnTo>
                    <a:pt x="811397" y="241431"/>
                  </a:lnTo>
                  <a:cubicBezTo>
                    <a:pt x="811397" y="241431"/>
                    <a:pt x="811397" y="241431"/>
                    <a:pt x="819150" y="241431"/>
                  </a:cubicBezTo>
                  <a:cubicBezTo>
                    <a:pt x="819150" y="241431"/>
                    <a:pt x="819150" y="241431"/>
                    <a:pt x="815274" y="245334"/>
                  </a:cubicBezTo>
                  <a:lnTo>
                    <a:pt x="815127" y="245482"/>
                  </a:lnTo>
                  <a:lnTo>
                    <a:pt x="838729" y="263110"/>
                  </a:lnTo>
                  <a:lnTo>
                    <a:pt x="846560" y="286508"/>
                  </a:lnTo>
                  <a:lnTo>
                    <a:pt x="877887" y="294308"/>
                  </a:lnTo>
                  <a:lnTo>
                    <a:pt x="870055" y="317706"/>
                  </a:lnTo>
                  <a:lnTo>
                    <a:pt x="846560" y="341104"/>
                  </a:lnTo>
                  <a:lnTo>
                    <a:pt x="849446" y="346852"/>
                  </a:lnTo>
                  <a:lnTo>
                    <a:pt x="873522" y="323509"/>
                  </a:lnTo>
                  <a:lnTo>
                    <a:pt x="881591" y="300037"/>
                  </a:lnTo>
                  <a:lnTo>
                    <a:pt x="881591" y="307861"/>
                  </a:lnTo>
                  <a:lnTo>
                    <a:pt x="946150" y="315685"/>
                  </a:lnTo>
                  <a:lnTo>
                    <a:pt x="938080" y="339157"/>
                  </a:lnTo>
                  <a:lnTo>
                    <a:pt x="946150" y="370453"/>
                  </a:lnTo>
                  <a:lnTo>
                    <a:pt x="946150" y="398840"/>
                  </a:lnTo>
                  <a:lnTo>
                    <a:pt x="955648" y="394245"/>
                  </a:lnTo>
                  <a:lnTo>
                    <a:pt x="950595" y="389069"/>
                  </a:lnTo>
                  <a:lnTo>
                    <a:pt x="950595" y="357848"/>
                  </a:lnTo>
                  <a:lnTo>
                    <a:pt x="942975" y="326627"/>
                  </a:lnTo>
                  <a:lnTo>
                    <a:pt x="950595" y="303212"/>
                  </a:lnTo>
                  <a:lnTo>
                    <a:pt x="965835" y="303212"/>
                  </a:lnTo>
                  <a:lnTo>
                    <a:pt x="1019175" y="334432"/>
                  </a:lnTo>
                  <a:lnTo>
                    <a:pt x="1001723" y="361247"/>
                  </a:lnTo>
                  <a:lnTo>
                    <a:pt x="1018978" y="405702"/>
                  </a:lnTo>
                  <a:cubicBezTo>
                    <a:pt x="1021366" y="415087"/>
                    <a:pt x="1023842" y="424382"/>
                    <a:pt x="1026229" y="433768"/>
                  </a:cubicBezTo>
                  <a:lnTo>
                    <a:pt x="1076896" y="461833"/>
                  </a:lnTo>
                  <a:lnTo>
                    <a:pt x="1134902" y="482792"/>
                  </a:lnTo>
                  <a:lnTo>
                    <a:pt x="1149403" y="503841"/>
                  </a:lnTo>
                  <a:lnTo>
                    <a:pt x="1171156" y="510857"/>
                  </a:lnTo>
                  <a:lnTo>
                    <a:pt x="1243663" y="517874"/>
                  </a:lnTo>
                  <a:lnTo>
                    <a:pt x="1308831" y="552956"/>
                  </a:lnTo>
                  <a:lnTo>
                    <a:pt x="1352336" y="566898"/>
                  </a:lnTo>
                  <a:cubicBezTo>
                    <a:pt x="1357199" y="583300"/>
                    <a:pt x="1361974" y="599611"/>
                    <a:pt x="1366837" y="616013"/>
                  </a:cubicBezTo>
                  <a:lnTo>
                    <a:pt x="1366837" y="637062"/>
                  </a:lnTo>
                  <a:lnTo>
                    <a:pt x="1294330" y="728184"/>
                  </a:lnTo>
                  <a:lnTo>
                    <a:pt x="1272577" y="735201"/>
                  </a:lnTo>
                  <a:cubicBezTo>
                    <a:pt x="1270190" y="774930"/>
                    <a:pt x="1267714" y="814569"/>
                    <a:pt x="1265327" y="854298"/>
                  </a:cubicBezTo>
                  <a:cubicBezTo>
                    <a:pt x="1262939" y="858945"/>
                    <a:pt x="1260463" y="863684"/>
                    <a:pt x="1258076" y="868331"/>
                  </a:cubicBezTo>
                  <a:cubicBezTo>
                    <a:pt x="1250825" y="879994"/>
                    <a:pt x="1243663" y="891749"/>
                    <a:pt x="1236412" y="903413"/>
                  </a:cubicBezTo>
                  <a:cubicBezTo>
                    <a:pt x="1234025" y="912707"/>
                    <a:pt x="1231549" y="922093"/>
                    <a:pt x="1229161" y="931388"/>
                  </a:cubicBezTo>
                  <a:lnTo>
                    <a:pt x="1214660" y="959453"/>
                  </a:lnTo>
                  <a:lnTo>
                    <a:pt x="1200158" y="966470"/>
                  </a:lnTo>
                  <a:lnTo>
                    <a:pt x="1149403" y="973486"/>
                  </a:lnTo>
                  <a:lnTo>
                    <a:pt x="1069645" y="1022510"/>
                  </a:lnTo>
                  <a:lnTo>
                    <a:pt x="1047893" y="1064609"/>
                  </a:lnTo>
                  <a:lnTo>
                    <a:pt x="1018978" y="1155731"/>
                  </a:lnTo>
                  <a:lnTo>
                    <a:pt x="982725" y="1190813"/>
                  </a:lnTo>
                  <a:lnTo>
                    <a:pt x="953722" y="1218788"/>
                  </a:lnTo>
                  <a:cubicBezTo>
                    <a:pt x="951334" y="1225804"/>
                    <a:pt x="948858" y="1232821"/>
                    <a:pt x="946471" y="1239837"/>
                  </a:cubicBezTo>
                  <a:lnTo>
                    <a:pt x="939090" y="1225552"/>
                  </a:lnTo>
                  <a:lnTo>
                    <a:pt x="952500" y="1257049"/>
                  </a:lnTo>
                  <a:lnTo>
                    <a:pt x="945030" y="1274595"/>
                  </a:lnTo>
                  <a:lnTo>
                    <a:pt x="907677" y="1309687"/>
                  </a:lnTo>
                  <a:lnTo>
                    <a:pt x="870324" y="1300914"/>
                  </a:lnTo>
                  <a:lnTo>
                    <a:pt x="861821" y="1290929"/>
                  </a:lnTo>
                  <a:lnTo>
                    <a:pt x="874285" y="1315586"/>
                  </a:lnTo>
                  <a:cubicBezTo>
                    <a:pt x="869223" y="1328190"/>
                    <a:pt x="865438" y="1338045"/>
                    <a:pt x="859052" y="1353492"/>
                  </a:cubicBezTo>
                  <a:cubicBezTo>
                    <a:pt x="852712" y="1368938"/>
                    <a:pt x="849022" y="1395946"/>
                    <a:pt x="836107" y="1408360"/>
                  </a:cubicBezTo>
                  <a:cubicBezTo>
                    <a:pt x="823193" y="1420774"/>
                    <a:pt x="796795" y="1424660"/>
                    <a:pt x="781562" y="1428071"/>
                  </a:cubicBezTo>
                  <a:cubicBezTo>
                    <a:pt x="766329" y="1431483"/>
                    <a:pt x="753272" y="1423902"/>
                    <a:pt x="744567" y="1429114"/>
                  </a:cubicBezTo>
                  <a:cubicBezTo>
                    <a:pt x="735863" y="1434326"/>
                    <a:pt x="732741" y="1451383"/>
                    <a:pt x="729334" y="1459249"/>
                  </a:cubicBezTo>
                  <a:cubicBezTo>
                    <a:pt x="725928" y="1467114"/>
                    <a:pt x="724604" y="1470999"/>
                    <a:pt x="724225" y="1476306"/>
                  </a:cubicBezTo>
                  <a:cubicBezTo>
                    <a:pt x="723847" y="1481613"/>
                    <a:pt x="731321" y="1485404"/>
                    <a:pt x="727111" y="1491374"/>
                  </a:cubicBezTo>
                  <a:cubicBezTo>
                    <a:pt x="722901" y="1497344"/>
                    <a:pt x="721718" y="1481992"/>
                    <a:pt x="698821" y="1512222"/>
                  </a:cubicBezTo>
                  <a:cubicBezTo>
                    <a:pt x="699483" y="1520277"/>
                    <a:pt x="699862" y="1537714"/>
                    <a:pt x="696030" y="1545295"/>
                  </a:cubicBezTo>
                  <a:cubicBezTo>
                    <a:pt x="692198" y="1552876"/>
                    <a:pt x="682311" y="1550033"/>
                    <a:pt x="675924" y="1557614"/>
                  </a:cubicBezTo>
                  <a:cubicBezTo>
                    <a:pt x="669538" y="1565195"/>
                    <a:pt x="662300" y="1580452"/>
                    <a:pt x="657758" y="1590592"/>
                  </a:cubicBezTo>
                  <a:cubicBezTo>
                    <a:pt x="653217" y="1600732"/>
                    <a:pt x="650142" y="1608123"/>
                    <a:pt x="648675" y="1618263"/>
                  </a:cubicBezTo>
                  <a:cubicBezTo>
                    <a:pt x="637416" y="1623191"/>
                    <a:pt x="617973" y="1625560"/>
                    <a:pt x="614898" y="1633046"/>
                  </a:cubicBezTo>
                  <a:cubicBezTo>
                    <a:pt x="611823" y="1640533"/>
                    <a:pt x="625069" y="1653231"/>
                    <a:pt x="630131" y="1663371"/>
                  </a:cubicBezTo>
                  <a:cubicBezTo>
                    <a:pt x="637747" y="1668394"/>
                    <a:pt x="650804" y="1668867"/>
                    <a:pt x="653027" y="1678439"/>
                  </a:cubicBezTo>
                  <a:cubicBezTo>
                    <a:pt x="655251" y="1688010"/>
                    <a:pt x="649006" y="1710090"/>
                    <a:pt x="643424" y="1720988"/>
                  </a:cubicBezTo>
                  <a:cubicBezTo>
                    <a:pt x="637842" y="1731886"/>
                    <a:pt x="627245" y="1732075"/>
                    <a:pt x="619628" y="1743731"/>
                  </a:cubicBezTo>
                  <a:cubicBezTo>
                    <a:pt x="612012" y="1755387"/>
                    <a:pt x="604821" y="1777846"/>
                    <a:pt x="597678" y="1790924"/>
                  </a:cubicBezTo>
                  <a:cubicBezTo>
                    <a:pt x="590534" y="1804001"/>
                    <a:pt x="580836" y="1810919"/>
                    <a:pt x="576720" y="1822007"/>
                  </a:cubicBezTo>
                  <a:cubicBezTo>
                    <a:pt x="572652" y="1833094"/>
                    <a:pt x="572226" y="1848067"/>
                    <a:pt x="573125" y="1857354"/>
                  </a:cubicBezTo>
                  <a:cubicBezTo>
                    <a:pt x="574071" y="1866640"/>
                    <a:pt x="594035" y="1876875"/>
                    <a:pt x="582255" y="1877917"/>
                  </a:cubicBezTo>
                  <a:cubicBezTo>
                    <a:pt x="579311" y="1878178"/>
                    <a:pt x="573932" y="1878148"/>
                    <a:pt x="567249" y="1877772"/>
                  </a:cubicBezTo>
                  <a:lnTo>
                    <a:pt x="558941" y="1876963"/>
                  </a:lnTo>
                  <a:lnTo>
                    <a:pt x="577528" y="1910017"/>
                  </a:lnTo>
                  <a:cubicBezTo>
                    <a:pt x="585841" y="1935086"/>
                    <a:pt x="664351" y="1959427"/>
                    <a:pt x="646734" y="1979712"/>
                  </a:cubicBezTo>
                  <a:cubicBezTo>
                    <a:pt x="603625" y="2018408"/>
                    <a:pt x="573128" y="2010398"/>
                    <a:pt x="555528" y="2006133"/>
                  </a:cubicBezTo>
                  <a:lnTo>
                    <a:pt x="468302" y="1939351"/>
                  </a:lnTo>
                  <a:lnTo>
                    <a:pt x="406400" y="1818373"/>
                  </a:lnTo>
                  <a:lnTo>
                    <a:pt x="431456" y="1713622"/>
                  </a:lnTo>
                  <a:lnTo>
                    <a:pt x="441314" y="1656514"/>
                  </a:lnTo>
                  <a:lnTo>
                    <a:pt x="484390" y="1532207"/>
                  </a:lnTo>
                  <a:cubicBezTo>
                    <a:pt x="484155" y="1499127"/>
                    <a:pt x="451155" y="1561541"/>
                    <a:pt x="450920" y="1528462"/>
                  </a:cubicBezTo>
                  <a:lnTo>
                    <a:pt x="475237" y="1383974"/>
                  </a:lnTo>
                  <a:lnTo>
                    <a:pt x="503132" y="1303981"/>
                  </a:lnTo>
                  <a:cubicBezTo>
                    <a:pt x="501301" y="1180922"/>
                    <a:pt x="510387" y="1277663"/>
                    <a:pt x="508539" y="1154709"/>
                  </a:cubicBezTo>
                  <a:lnTo>
                    <a:pt x="538919" y="991289"/>
                  </a:lnTo>
                  <a:lnTo>
                    <a:pt x="546023" y="932412"/>
                  </a:lnTo>
                  <a:lnTo>
                    <a:pt x="543907" y="852003"/>
                  </a:lnTo>
                  <a:lnTo>
                    <a:pt x="550897" y="836718"/>
                  </a:lnTo>
                  <a:lnTo>
                    <a:pt x="398065" y="759611"/>
                  </a:lnTo>
                  <a:lnTo>
                    <a:pt x="398065" y="745649"/>
                  </a:lnTo>
                  <a:lnTo>
                    <a:pt x="349964" y="654893"/>
                  </a:lnTo>
                  <a:lnTo>
                    <a:pt x="301863" y="585080"/>
                  </a:lnTo>
                  <a:lnTo>
                    <a:pt x="277812" y="536212"/>
                  </a:lnTo>
                  <a:lnTo>
                    <a:pt x="301863" y="522249"/>
                  </a:lnTo>
                  <a:lnTo>
                    <a:pt x="304435" y="526729"/>
                  </a:lnTo>
                  <a:lnTo>
                    <a:pt x="312737" y="522621"/>
                  </a:lnTo>
                  <a:lnTo>
                    <a:pt x="296862" y="491206"/>
                  </a:lnTo>
                  <a:lnTo>
                    <a:pt x="328612" y="420520"/>
                  </a:lnTo>
                  <a:lnTo>
                    <a:pt x="336550" y="404812"/>
                  </a:lnTo>
                  <a:lnTo>
                    <a:pt x="341873" y="406787"/>
                  </a:lnTo>
                  <a:lnTo>
                    <a:pt x="355428" y="393351"/>
                  </a:lnTo>
                  <a:cubicBezTo>
                    <a:pt x="355428" y="393351"/>
                    <a:pt x="355428" y="393351"/>
                    <a:pt x="386835" y="370003"/>
                  </a:cubicBezTo>
                  <a:cubicBezTo>
                    <a:pt x="386835" y="370003"/>
                    <a:pt x="386835" y="370003"/>
                    <a:pt x="378984" y="338872"/>
                  </a:cubicBezTo>
                  <a:cubicBezTo>
                    <a:pt x="378984" y="338872"/>
                    <a:pt x="378984" y="338872"/>
                    <a:pt x="378984" y="315524"/>
                  </a:cubicBezTo>
                  <a:cubicBezTo>
                    <a:pt x="378984" y="315524"/>
                    <a:pt x="378984" y="315524"/>
                    <a:pt x="371132" y="276611"/>
                  </a:cubicBezTo>
                  <a:cubicBezTo>
                    <a:pt x="371132" y="276611"/>
                    <a:pt x="371132" y="276611"/>
                    <a:pt x="363280" y="261046"/>
                  </a:cubicBezTo>
                  <a:cubicBezTo>
                    <a:pt x="363280" y="261046"/>
                    <a:pt x="363280" y="261046"/>
                    <a:pt x="386835" y="237698"/>
                  </a:cubicBezTo>
                  <a:cubicBezTo>
                    <a:pt x="386835" y="237698"/>
                    <a:pt x="386835" y="237698"/>
                    <a:pt x="410390" y="214350"/>
                  </a:cubicBezTo>
                  <a:cubicBezTo>
                    <a:pt x="410390" y="214350"/>
                    <a:pt x="410390" y="214350"/>
                    <a:pt x="426094" y="206567"/>
                  </a:cubicBezTo>
                  <a:cubicBezTo>
                    <a:pt x="426094" y="206567"/>
                    <a:pt x="426094" y="206567"/>
                    <a:pt x="441797" y="167654"/>
                  </a:cubicBezTo>
                  <a:cubicBezTo>
                    <a:pt x="441797" y="167654"/>
                    <a:pt x="441797" y="167654"/>
                    <a:pt x="473204" y="152089"/>
                  </a:cubicBezTo>
                  <a:cubicBezTo>
                    <a:pt x="473204" y="152089"/>
                    <a:pt x="473204" y="152089"/>
                    <a:pt x="528165" y="136524"/>
                  </a:cubicBezTo>
                  <a:close/>
                  <a:moveTo>
                    <a:pt x="47625" y="0"/>
                  </a:moveTo>
                  <a:cubicBezTo>
                    <a:pt x="47625" y="0"/>
                    <a:pt x="47625" y="0"/>
                    <a:pt x="87312" y="0"/>
                  </a:cubicBezTo>
                  <a:cubicBezTo>
                    <a:pt x="87312" y="0"/>
                    <a:pt x="87312" y="0"/>
                    <a:pt x="87312" y="32809"/>
                  </a:cubicBezTo>
                  <a:cubicBezTo>
                    <a:pt x="87312" y="32809"/>
                    <a:pt x="103187" y="41011"/>
                    <a:pt x="119062" y="41011"/>
                  </a:cubicBezTo>
                  <a:lnTo>
                    <a:pt x="112740" y="45911"/>
                  </a:lnTo>
                  <a:lnTo>
                    <a:pt x="119062" y="41274"/>
                  </a:lnTo>
                  <a:cubicBezTo>
                    <a:pt x="127000" y="41274"/>
                    <a:pt x="134937" y="49035"/>
                    <a:pt x="142875" y="49035"/>
                  </a:cubicBezTo>
                  <a:cubicBezTo>
                    <a:pt x="154781" y="49035"/>
                    <a:pt x="197941" y="57766"/>
                    <a:pt x="218777" y="62132"/>
                  </a:cubicBezTo>
                  <a:lnTo>
                    <a:pt x="228552" y="64210"/>
                  </a:lnTo>
                  <a:lnTo>
                    <a:pt x="230187" y="63499"/>
                  </a:lnTo>
                  <a:lnTo>
                    <a:pt x="230094" y="64537"/>
                  </a:lnTo>
                  <a:lnTo>
                    <a:pt x="230187" y="64557"/>
                  </a:lnTo>
                  <a:lnTo>
                    <a:pt x="230088" y="64599"/>
                  </a:lnTo>
                  <a:lnTo>
                    <a:pt x="230063" y="64883"/>
                  </a:lnTo>
                  <a:cubicBezTo>
                    <a:pt x="229691" y="69034"/>
                    <a:pt x="228203" y="85639"/>
                    <a:pt x="222249" y="152059"/>
                  </a:cubicBezTo>
                  <a:cubicBezTo>
                    <a:pt x="222249" y="152059"/>
                    <a:pt x="224234" y="154072"/>
                    <a:pt x="226218" y="158097"/>
                  </a:cubicBezTo>
                  <a:lnTo>
                    <a:pt x="229783" y="174369"/>
                  </a:lnTo>
                  <a:lnTo>
                    <a:pt x="230187" y="174448"/>
                  </a:lnTo>
                  <a:cubicBezTo>
                    <a:pt x="238125" y="182209"/>
                    <a:pt x="246062" y="197731"/>
                    <a:pt x="254000" y="205492"/>
                  </a:cubicBezTo>
                  <a:cubicBezTo>
                    <a:pt x="254000" y="205492"/>
                    <a:pt x="254000" y="205492"/>
                    <a:pt x="253008" y="209373"/>
                  </a:cubicBezTo>
                  <a:lnTo>
                    <a:pt x="246098" y="236398"/>
                  </a:lnTo>
                  <a:lnTo>
                    <a:pt x="247043" y="232766"/>
                  </a:lnTo>
                  <a:cubicBezTo>
                    <a:pt x="248024" y="228996"/>
                    <a:pt x="249987" y="221455"/>
                    <a:pt x="253911" y="206374"/>
                  </a:cubicBezTo>
                  <a:cubicBezTo>
                    <a:pt x="253911" y="213914"/>
                    <a:pt x="253911" y="213914"/>
                    <a:pt x="261761" y="213914"/>
                  </a:cubicBezTo>
                  <a:cubicBezTo>
                    <a:pt x="269610" y="221455"/>
                    <a:pt x="316706" y="213914"/>
                    <a:pt x="316706" y="213914"/>
                  </a:cubicBezTo>
                  <a:cubicBezTo>
                    <a:pt x="316706" y="213914"/>
                    <a:pt x="316706" y="213914"/>
                    <a:pt x="355953" y="213914"/>
                  </a:cubicBezTo>
                  <a:lnTo>
                    <a:pt x="387350" y="236536"/>
                  </a:lnTo>
                  <a:cubicBezTo>
                    <a:pt x="387350" y="236536"/>
                    <a:pt x="387350" y="236536"/>
                    <a:pt x="363802" y="259158"/>
                  </a:cubicBezTo>
                  <a:cubicBezTo>
                    <a:pt x="363802" y="259158"/>
                    <a:pt x="363802" y="259158"/>
                    <a:pt x="355953" y="236536"/>
                  </a:cubicBezTo>
                  <a:cubicBezTo>
                    <a:pt x="355953" y="236536"/>
                    <a:pt x="355953" y="236536"/>
                    <a:pt x="324555" y="228996"/>
                  </a:cubicBezTo>
                  <a:cubicBezTo>
                    <a:pt x="324555" y="228996"/>
                    <a:pt x="324555" y="228996"/>
                    <a:pt x="301007" y="251618"/>
                  </a:cubicBezTo>
                  <a:cubicBezTo>
                    <a:pt x="301007" y="251618"/>
                    <a:pt x="301007" y="251618"/>
                    <a:pt x="293158" y="266699"/>
                  </a:cubicBezTo>
                  <a:cubicBezTo>
                    <a:pt x="293158" y="266699"/>
                    <a:pt x="285309" y="266699"/>
                    <a:pt x="277459" y="266699"/>
                  </a:cubicBezTo>
                  <a:cubicBezTo>
                    <a:pt x="271572" y="261043"/>
                    <a:pt x="256855" y="246905"/>
                    <a:pt x="249864" y="240189"/>
                  </a:cubicBezTo>
                  <a:lnTo>
                    <a:pt x="246062" y="236537"/>
                  </a:lnTo>
                  <a:cubicBezTo>
                    <a:pt x="246062" y="236537"/>
                    <a:pt x="246062" y="236537"/>
                    <a:pt x="174625" y="189970"/>
                  </a:cubicBezTo>
                  <a:cubicBezTo>
                    <a:pt x="174625" y="189970"/>
                    <a:pt x="174625" y="189970"/>
                    <a:pt x="172641" y="188030"/>
                  </a:cubicBezTo>
                  <a:lnTo>
                    <a:pt x="160182" y="175848"/>
                  </a:lnTo>
                  <a:lnTo>
                    <a:pt x="158749" y="176212"/>
                  </a:lnTo>
                  <a:cubicBezTo>
                    <a:pt x="158749" y="176212"/>
                    <a:pt x="158749" y="176212"/>
                    <a:pt x="119062" y="111804"/>
                  </a:cubicBezTo>
                  <a:cubicBezTo>
                    <a:pt x="119062" y="111804"/>
                    <a:pt x="119062" y="111804"/>
                    <a:pt x="142502" y="101615"/>
                  </a:cubicBezTo>
                  <a:lnTo>
                    <a:pt x="162565" y="92894"/>
                  </a:lnTo>
                  <a:lnTo>
                    <a:pt x="151184" y="97663"/>
                  </a:lnTo>
                  <a:cubicBezTo>
                    <a:pt x="143371" y="100937"/>
                    <a:pt x="132953" y="105303"/>
                    <a:pt x="119062" y="111124"/>
                  </a:cubicBezTo>
                  <a:cubicBezTo>
                    <a:pt x="119062" y="111124"/>
                    <a:pt x="119062" y="111124"/>
                    <a:pt x="102319" y="101301"/>
                  </a:cubicBezTo>
                  <a:lnTo>
                    <a:pt x="80021" y="88219"/>
                  </a:lnTo>
                  <a:lnTo>
                    <a:pt x="79375" y="90223"/>
                  </a:lnTo>
                  <a:cubicBezTo>
                    <a:pt x="79375" y="90223"/>
                    <a:pt x="79375" y="90223"/>
                    <a:pt x="55562" y="98425"/>
                  </a:cubicBezTo>
                  <a:cubicBezTo>
                    <a:pt x="55562" y="98425"/>
                    <a:pt x="55562" y="98425"/>
                    <a:pt x="7938" y="90223"/>
                  </a:cubicBezTo>
                  <a:cubicBezTo>
                    <a:pt x="7938" y="90223"/>
                    <a:pt x="7938" y="90223"/>
                    <a:pt x="0" y="82021"/>
                  </a:cubicBezTo>
                  <a:cubicBezTo>
                    <a:pt x="0" y="82021"/>
                    <a:pt x="0" y="82021"/>
                    <a:pt x="7938" y="65617"/>
                  </a:cubicBezTo>
                  <a:cubicBezTo>
                    <a:pt x="7938" y="65617"/>
                    <a:pt x="7938" y="65617"/>
                    <a:pt x="23813" y="41011"/>
                  </a:cubicBezTo>
                  <a:cubicBezTo>
                    <a:pt x="23813" y="41011"/>
                    <a:pt x="23813" y="41011"/>
                    <a:pt x="47625" y="41011"/>
                  </a:cubicBezTo>
                  <a:cubicBezTo>
                    <a:pt x="47625" y="41011"/>
                    <a:pt x="47625" y="41011"/>
                    <a:pt x="31750" y="8202"/>
                  </a:cubicBezTo>
                  <a:cubicBezTo>
                    <a:pt x="31750" y="8202"/>
                    <a:pt x="31750" y="8202"/>
                    <a:pt x="47625" y="0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  <a:scene3d>
              <a:camera prst="orthographicFront"/>
              <a:lightRig rig="contrasting" dir="t"/>
            </a:scene3d>
            <a:sp3d z="63500" prstMaterial="metal">
              <a:bevelB w="0" h="0"/>
            </a:sp3d>
          </p:spPr>
          <p:txBody>
            <a:bodyPr wrap="square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9482060" y="4680026"/>
              <a:ext cx="2104064" cy="1554396"/>
            </a:xfrm>
            <a:custGeom>
              <a:avLst/>
              <a:gdLst>
                <a:gd name="connsiteX0" fmla="*/ 1459740 w 1608137"/>
                <a:gd name="connsiteY0" fmla="*/ 1144587 h 1349375"/>
                <a:gd name="connsiteX1" fmla="*/ 1475339 w 1608137"/>
                <a:gd name="connsiteY1" fmla="*/ 1160240 h 1349375"/>
                <a:gd name="connsiteX2" fmla="*/ 1506537 w 1608137"/>
                <a:gd name="connsiteY2" fmla="*/ 1168066 h 1349375"/>
                <a:gd name="connsiteX3" fmla="*/ 1506537 w 1608137"/>
                <a:gd name="connsiteY3" fmla="*/ 1191545 h 1349375"/>
                <a:gd name="connsiteX4" fmla="*/ 1475339 w 1608137"/>
                <a:gd name="connsiteY4" fmla="*/ 1215024 h 1349375"/>
                <a:gd name="connsiteX5" fmla="*/ 1459740 w 1608137"/>
                <a:gd name="connsiteY5" fmla="*/ 1231981 h 1349375"/>
                <a:gd name="connsiteX6" fmla="*/ 1428543 w 1608137"/>
                <a:gd name="connsiteY6" fmla="*/ 1263286 h 1349375"/>
                <a:gd name="connsiteX7" fmla="*/ 1420743 w 1608137"/>
                <a:gd name="connsiteY7" fmla="*/ 1294591 h 1349375"/>
                <a:gd name="connsiteX8" fmla="*/ 1412944 w 1608137"/>
                <a:gd name="connsiteY8" fmla="*/ 1341549 h 1349375"/>
                <a:gd name="connsiteX9" fmla="*/ 1373947 w 1608137"/>
                <a:gd name="connsiteY9" fmla="*/ 1349375 h 1349375"/>
                <a:gd name="connsiteX10" fmla="*/ 1350548 w 1608137"/>
                <a:gd name="connsiteY10" fmla="*/ 1341549 h 1349375"/>
                <a:gd name="connsiteX11" fmla="*/ 1327150 w 1608137"/>
                <a:gd name="connsiteY11" fmla="*/ 1318070 h 1349375"/>
                <a:gd name="connsiteX12" fmla="*/ 1350548 w 1608137"/>
                <a:gd name="connsiteY12" fmla="*/ 1271112 h 1349375"/>
                <a:gd name="connsiteX13" fmla="*/ 1366147 w 1608137"/>
                <a:gd name="connsiteY13" fmla="*/ 1247633 h 1349375"/>
                <a:gd name="connsiteX14" fmla="*/ 1412944 w 1608137"/>
                <a:gd name="connsiteY14" fmla="*/ 1222850 h 1349375"/>
                <a:gd name="connsiteX15" fmla="*/ 1428543 w 1608137"/>
                <a:gd name="connsiteY15" fmla="*/ 1215024 h 1349375"/>
                <a:gd name="connsiteX16" fmla="*/ 1444142 w 1608137"/>
                <a:gd name="connsiteY16" fmla="*/ 1183719 h 1349375"/>
                <a:gd name="connsiteX17" fmla="*/ 863600 w 1608137"/>
                <a:gd name="connsiteY17" fmla="*/ 1128712 h 1349375"/>
                <a:gd name="connsiteX18" fmla="*/ 863600 w 1608137"/>
                <a:gd name="connsiteY18" fmla="*/ 1167964 h 1349375"/>
                <a:gd name="connsiteX19" fmla="*/ 839788 w 1608137"/>
                <a:gd name="connsiteY19" fmla="*/ 1215066 h 1349375"/>
                <a:gd name="connsiteX20" fmla="*/ 823913 w 1608137"/>
                <a:gd name="connsiteY20" fmla="*/ 1247775 h 1349375"/>
                <a:gd name="connsiteX21" fmla="*/ 800100 w 1608137"/>
                <a:gd name="connsiteY21" fmla="*/ 1222916 h 1349375"/>
                <a:gd name="connsiteX22" fmla="*/ 792162 w 1608137"/>
                <a:gd name="connsiteY22" fmla="*/ 1191515 h 1349375"/>
                <a:gd name="connsiteX23" fmla="*/ 776287 w 1608137"/>
                <a:gd name="connsiteY23" fmla="*/ 1152263 h 1349375"/>
                <a:gd name="connsiteX24" fmla="*/ 831850 w 1608137"/>
                <a:gd name="connsiteY24" fmla="*/ 1144413 h 1349375"/>
                <a:gd name="connsiteX25" fmla="*/ 1482725 w 1608137"/>
                <a:gd name="connsiteY25" fmla="*/ 960437 h 1349375"/>
                <a:gd name="connsiteX26" fmla="*/ 1521916 w 1608137"/>
                <a:gd name="connsiteY26" fmla="*/ 975946 h 1349375"/>
                <a:gd name="connsiteX27" fmla="*/ 1521916 w 1608137"/>
                <a:gd name="connsiteY27" fmla="*/ 1014718 h 1349375"/>
                <a:gd name="connsiteX28" fmla="*/ 1537593 w 1608137"/>
                <a:gd name="connsiteY28" fmla="*/ 1037981 h 1349375"/>
                <a:gd name="connsiteX29" fmla="*/ 1561108 w 1608137"/>
                <a:gd name="connsiteY29" fmla="*/ 1061244 h 1349375"/>
                <a:gd name="connsiteX30" fmla="*/ 1592460 w 1608137"/>
                <a:gd name="connsiteY30" fmla="*/ 1045735 h 1349375"/>
                <a:gd name="connsiteX31" fmla="*/ 1608137 w 1608137"/>
                <a:gd name="connsiteY31" fmla="*/ 1061244 h 1349375"/>
                <a:gd name="connsiteX32" fmla="*/ 1600299 w 1608137"/>
                <a:gd name="connsiteY32" fmla="*/ 1076752 h 1349375"/>
                <a:gd name="connsiteX33" fmla="*/ 1584622 w 1608137"/>
                <a:gd name="connsiteY33" fmla="*/ 1092261 h 1349375"/>
                <a:gd name="connsiteX34" fmla="*/ 1568946 w 1608137"/>
                <a:gd name="connsiteY34" fmla="*/ 1107770 h 1349375"/>
                <a:gd name="connsiteX35" fmla="*/ 1561108 w 1608137"/>
                <a:gd name="connsiteY35" fmla="*/ 1131033 h 1349375"/>
                <a:gd name="connsiteX36" fmla="*/ 1537593 w 1608137"/>
                <a:gd name="connsiteY36" fmla="*/ 1162050 h 1349375"/>
                <a:gd name="connsiteX37" fmla="*/ 1514078 w 1608137"/>
                <a:gd name="connsiteY37" fmla="*/ 1146542 h 1349375"/>
                <a:gd name="connsiteX38" fmla="*/ 1521916 w 1608137"/>
                <a:gd name="connsiteY38" fmla="*/ 1123279 h 1349375"/>
                <a:gd name="connsiteX39" fmla="*/ 1490563 w 1608137"/>
                <a:gd name="connsiteY39" fmla="*/ 1100015 h 1349375"/>
                <a:gd name="connsiteX40" fmla="*/ 1514078 w 1608137"/>
                <a:gd name="connsiteY40" fmla="*/ 1061244 h 1349375"/>
                <a:gd name="connsiteX41" fmla="*/ 1514078 w 1608137"/>
                <a:gd name="connsiteY41" fmla="*/ 1030226 h 1349375"/>
                <a:gd name="connsiteX42" fmla="*/ 486014 w 1608137"/>
                <a:gd name="connsiteY42" fmla="*/ 333375 h 1349375"/>
                <a:gd name="connsiteX43" fmla="*/ 517369 w 1608137"/>
                <a:gd name="connsiteY43" fmla="*/ 341183 h 1349375"/>
                <a:gd name="connsiteX44" fmla="*/ 572242 w 1608137"/>
                <a:gd name="connsiteY44" fmla="*/ 348992 h 1349375"/>
                <a:gd name="connsiteX45" fmla="*/ 564403 w 1608137"/>
                <a:gd name="connsiteY45" fmla="*/ 380224 h 1349375"/>
                <a:gd name="connsiteX46" fmla="*/ 548725 w 1608137"/>
                <a:gd name="connsiteY46" fmla="*/ 419265 h 1349375"/>
                <a:gd name="connsiteX47" fmla="*/ 572242 w 1608137"/>
                <a:gd name="connsiteY47" fmla="*/ 434882 h 1349375"/>
                <a:gd name="connsiteX48" fmla="*/ 611437 w 1608137"/>
                <a:gd name="connsiteY48" fmla="*/ 434882 h 1349375"/>
                <a:gd name="connsiteX49" fmla="*/ 642792 w 1608137"/>
                <a:gd name="connsiteY49" fmla="*/ 483032 h 1349375"/>
                <a:gd name="connsiteX50" fmla="*/ 666309 w 1608137"/>
                <a:gd name="connsiteY50" fmla="*/ 475224 h 1349375"/>
                <a:gd name="connsiteX51" fmla="*/ 705504 w 1608137"/>
                <a:gd name="connsiteY51" fmla="*/ 450498 h 1349375"/>
                <a:gd name="connsiteX52" fmla="*/ 705504 w 1608137"/>
                <a:gd name="connsiteY52" fmla="*/ 372416 h 1349375"/>
                <a:gd name="connsiteX53" fmla="*/ 736860 w 1608137"/>
                <a:gd name="connsiteY53" fmla="*/ 333375 h 1349375"/>
                <a:gd name="connsiteX54" fmla="*/ 752538 w 1608137"/>
                <a:gd name="connsiteY54" fmla="*/ 388033 h 1349375"/>
                <a:gd name="connsiteX55" fmla="*/ 760377 w 1608137"/>
                <a:gd name="connsiteY55" fmla="*/ 403649 h 1349375"/>
                <a:gd name="connsiteX56" fmla="*/ 776055 w 1608137"/>
                <a:gd name="connsiteY56" fmla="*/ 411457 h 1349375"/>
                <a:gd name="connsiteX57" fmla="*/ 799571 w 1608137"/>
                <a:gd name="connsiteY57" fmla="*/ 490840 h 1349375"/>
                <a:gd name="connsiteX58" fmla="*/ 838766 w 1608137"/>
                <a:gd name="connsiteY58" fmla="*/ 529881 h 1349375"/>
                <a:gd name="connsiteX59" fmla="*/ 885800 w 1608137"/>
                <a:gd name="connsiteY59" fmla="*/ 545498 h 1349375"/>
                <a:gd name="connsiteX60" fmla="*/ 901477 w 1608137"/>
                <a:gd name="connsiteY60" fmla="*/ 592347 h 1349375"/>
                <a:gd name="connsiteX61" fmla="*/ 924994 w 1608137"/>
                <a:gd name="connsiteY61" fmla="*/ 607963 h 1349375"/>
                <a:gd name="connsiteX62" fmla="*/ 932833 w 1608137"/>
                <a:gd name="connsiteY62" fmla="*/ 647004 h 1349375"/>
                <a:gd name="connsiteX63" fmla="*/ 981173 w 1608137"/>
                <a:gd name="connsiteY63" fmla="*/ 678237 h 1349375"/>
                <a:gd name="connsiteX64" fmla="*/ 981173 w 1608137"/>
                <a:gd name="connsiteY64" fmla="*/ 709469 h 1349375"/>
                <a:gd name="connsiteX65" fmla="*/ 989012 w 1608137"/>
                <a:gd name="connsiteY65" fmla="*/ 756319 h 1349375"/>
                <a:gd name="connsiteX66" fmla="*/ 989012 w 1608137"/>
                <a:gd name="connsiteY66" fmla="*/ 826592 h 1349375"/>
                <a:gd name="connsiteX67" fmla="*/ 932833 w 1608137"/>
                <a:gd name="connsiteY67" fmla="*/ 943715 h 1349375"/>
                <a:gd name="connsiteX68" fmla="*/ 909316 w 1608137"/>
                <a:gd name="connsiteY68" fmla="*/ 1013989 h 1349375"/>
                <a:gd name="connsiteX69" fmla="*/ 909316 w 1608137"/>
                <a:gd name="connsiteY69" fmla="*/ 1045221 h 1349375"/>
                <a:gd name="connsiteX70" fmla="*/ 893639 w 1608137"/>
                <a:gd name="connsiteY70" fmla="*/ 1045221 h 1349375"/>
                <a:gd name="connsiteX71" fmla="*/ 862283 w 1608137"/>
                <a:gd name="connsiteY71" fmla="*/ 1060838 h 1349375"/>
                <a:gd name="connsiteX72" fmla="*/ 830927 w 1608137"/>
                <a:gd name="connsiteY72" fmla="*/ 1084262 h 1349375"/>
                <a:gd name="connsiteX73" fmla="*/ 807410 w 1608137"/>
                <a:gd name="connsiteY73" fmla="*/ 1084262 h 1349375"/>
                <a:gd name="connsiteX74" fmla="*/ 776055 w 1608137"/>
                <a:gd name="connsiteY74" fmla="*/ 1060838 h 1349375"/>
                <a:gd name="connsiteX75" fmla="*/ 752538 w 1608137"/>
                <a:gd name="connsiteY75" fmla="*/ 1076454 h 1349375"/>
                <a:gd name="connsiteX76" fmla="*/ 697665 w 1608137"/>
                <a:gd name="connsiteY76" fmla="*/ 1053029 h 1349375"/>
                <a:gd name="connsiteX77" fmla="*/ 650631 w 1608137"/>
                <a:gd name="connsiteY77" fmla="*/ 1029605 h 1349375"/>
                <a:gd name="connsiteX78" fmla="*/ 627114 w 1608137"/>
                <a:gd name="connsiteY78" fmla="*/ 990564 h 1349375"/>
                <a:gd name="connsiteX79" fmla="*/ 611437 w 1608137"/>
                <a:gd name="connsiteY79" fmla="*/ 959331 h 1349375"/>
                <a:gd name="connsiteX80" fmla="*/ 580081 w 1608137"/>
                <a:gd name="connsiteY80" fmla="*/ 967139 h 1349375"/>
                <a:gd name="connsiteX81" fmla="*/ 548725 w 1608137"/>
                <a:gd name="connsiteY81" fmla="*/ 935907 h 1349375"/>
                <a:gd name="connsiteX82" fmla="*/ 493853 w 1608137"/>
                <a:gd name="connsiteY82" fmla="*/ 881249 h 1349375"/>
                <a:gd name="connsiteX83" fmla="*/ 407624 w 1608137"/>
                <a:gd name="connsiteY83" fmla="*/ 865633 h 1349375"/>
                <a:gd name="connsiteX84" fmla="*/ 344913 w 1608137"/>
                <a:gd name="connsiteY84" fmla="*/ 873441 h 1349375"/>
                <a:gd name="connsiteX85" fmla="*/ 266523 w 1608137"/>
                <a:gd name="connsiteY85" fmla="*/ 896866 h 1349375"/>
                <a:gd name="connsiteX86" fmla="*/ 258685 w 1608137"/>
                <a:gd name="connsiteY86" fmla="*/ 920290 h 1349375"/>
                <a:gd name="connsiteX87" fmla="*/ 211651 w 1608137"/>
                <a:gd name="connsiteY87" fmla="*/ 928099 h 1349375"/>
                <a:gd name="connsiteX88" fmla="*/ 180295 w 1608137"/>
                <a:gd name="connsiteY88" fmla="*/ 928099 h 1349375"/>
                <a:gd name="connsiteX89" fmla="*/ 156778 w 1608137"/>
                <a:gd name="connsiteY89" fmla="*/ 951523 h 1349375"/>
                <a:gd name="connsiteX90" fmla="*/ 109745 w 1608137"/>
                <a:gd name="connsiteY90" fmla="*/ 967139 h 1349375"/>
                <a:gd name="connsiteX91" fmla="*/ 78389 w 1608137"/>
                <a:gd name="connsiteY91" fmla="*/ 967139 h 1349375"/>
                <a:gd name="connsiteX92" fmla="*/ 39194 w 1608137"/>
                <a:gd name="connsiteY92" fmla="*/ 935907 h 1349375"/>
                <a:gd name="connsiteX93" fmla="*/ 47033 w 1608137"/>
                <a:gd name="connsiteY93" fmla="*/ 873441 h 1349375"/>
                <a:gd name="connsiteX94" fmla="*/ 39194 w 1608137"/>
                <a:gd name="connsiteY94" fmla="*/ 834400 h 1349375"/>
                <a:gd name="connsiteX95" fmla="*/ 7839 w 1608137"/>
                <a:gd name="connsiteY95" fmla="*/ 732894 h 1349375"/>
                <a:gd name="connsiteX96" fmla="*/ 7839 w 1608137"/>
                <a:gd name="connsiteY96" fmla="*/ 701661 h 1349375"/>
                <a:gd name="connsiteX97" fmla="*/ 0 w 1608137"/>
                <a:gd name="connsiteY97" fmla="*/ 654812 h 1349375"/>
                <a:gd name="connsiteX98" fmla="*/ 7839 w 1608137"/>
                <a:gd name="connsiteY98" fmla="*/ 615771 h 1349375"/>
                <a:gd name="connsiteX99" fmla="*/ 39194 w 1608137"/>
                <a:gd name="connsiteY99" fmla="*/ 584538 h 1349375"/>
                <a:gd name="connsiteX100" fmla="*/ 101906 w 1608137"/>
                <a:gd name="connsiteY100" fmla="*/ 561114 h 1349375"/>
                <a:gd name="connsiteX101" fmla="*/ 148939 w 1608137"/>
                <a:gd name="connsiteY101" fmla="*/ 529881 h 1349375"/>
                <a:gd name="connsiteX102" fmla="*/ 188134 w 1608137"/>
                <a:gd name="connsiteY102" fmla="*/ 522073 h 1349375"/>
                <a:gd name="connsiteX103" fmla="*/ 203812 w 1608137"/>
                <a:gd name="connsiteY103" fmla="*/ 475224 h 1349375"/>
                <a:gd name="connsiteX104" fmla="*/ 235168 w 1608137"/>
                <a:gd name="connsiteY104" fmla="*/ 459608 h 1349375"/>
                <a:gd name="connsiteX105" fmla="*/ 266523 w 1608137"/>
                <a:gd name="connsiteY105" fmla="*/ 450498 h 1349375"/>
                <a:gd name="connsiteX106" fmla="*/ 313557 w 1608137"/>
                <a:gd name="connsiteY106" fmla="*/ 411457 h 1349375"/>
                <a:gd name="connsiteX107" fmla="*/ 344913 w 1608137"/>
                <a:gd name="connsiteY107" fmla="*/ 395841 h 1349375"/>
                <a:gd name="connsiteX108" fmla="*/ 368430 w 1608137"/>
                <a:gd name="connsiteY108" fmla="*/ 411457 h 1349375"/>
                <a:gd name="connsiteX109" fmla="*/ 391946 w 1608137"/>
                <a:gd name="connsiteY109" fmla="*/ 419265 h 1349375"/>
                <a:gd name="connsiteX110" fmla="*/ 407624 w 1608137"/>
                <a:gd name="connsiteY110" fmla="*/ 388033 h 1349375"/>
                <a:gd name="connsiteX111" fmla="*/ 431141 w 1608137"/>
                <a:gd name="connsiteY111" fmla="*/ 364608 h 1349375"/>
                <a:gd name="connsiteX112" fmla="*/ 470336 w 1608137"/>
                <a:gd name="connsiteY112" fmla="*/ 356800 h 1349375"/>
                <a:gd name="connsiteX113" fmla="*/ 532301 w 1608137"/>
                <a:gd name="connsiteY113" fmla="*/ 0 h 1349375"/>
                <a:gd name="connsiteX114" fmla="*/ 558960 w 1608137"/>
                <a:gd name="connsiteY114" fmla="*/ 27023 h 1349375"/>
                <a:gd name="connsiteX115" fmla="*/ 579611 w 1608137"/>
                <a:gd name="connsiteY115" fmla="*/ 54047 h 1349375"/>
                <a:gd name="connsiteX116" fmla="*/ 612653 w 1608137"/>
                <a:gd name="connsiteY116" fmla="*/ 54047 h 1349375"/>
                <a:gd name="connsiteX117" fmla="*/ 646071 w 1608137"/>
                <a:gd name="connsiteY117" fmla="*/ 27023 h 1349375"/>
                <a:gd name="connsiteX118" fmla="*/ 708025 w 1608137"/>
                <a:gd name="connsiteY118" fmla="*/ 46434 h 1349375"/>
                <a:gd name="connsiteX119" fmla="*/ 708025 w 1608137"/>
                <a:gd name="connsiteY119" fmla="*/ 44450 h 1349375"/>
                <a:gd name="connsiteX120" fmla="*/ 754339 w 1608137"/>
                <a:gd name="connsiteY120" fmla="*/ 58637 h 1349375"/>
                <a:gd name="connsiteX121" fmla="*/ 801791 w 1608137"/>
                <a:gd name="connsiteY121" fmla="*/ 85861 h 1349375"/>
                <a:gd name="connsiteX122" fmla="*/ 815458 w 1608137"/>
                <a:gd name="connsiteY122" fmla="*/ 106183 h 1349375"/>
                <a:gd name="connsiteX123" fmla="*/ 849244 w 1608137"/>
                <a:gd name="connsiteY123" fmla="*/ 126505 h 1349375"/>
                <a:gd name="connsiteX124" fmla="*/ 835577 w 1608137"/>
                <a:gd name="connsiteY124" fmla="*/ 139926 h 1349375"/>
                <a:gd name="connsiteX125" fmla="*/ 842031 w 1608137"/>
                <a:gd name="connsiteY125" fmla="*/ 160248 h 1349375"/>
                <a:gd name="connsiteX126" fmla="*/ 882650 w 1608137"/>
                <a:gd name="connsiteY126" fmla="*/ 173668 h 1349375"/>
                <a:gd name="connsiteX127" fmla="*/ 882650 w 1608137"/>
                <a:gd name="connsiteY127" fmla="*/ 214312 h 1349375"/>
                <a:gd name="connsiteX128" fmla="*/ 855697 w 1608137"/>
                <a:gd name="connsiteY128" fmla="*/ 200892 h 1349375"/>
                <a:gd name="connsiteX129" fmla="*/ 808245 w 1608137"/>
                <a:gd name="connsiteY129" fmla="*/ 167150 h 1349375"/>
                <a:gd name="connsiteX130" fmla="*/ 788125 w 1608137"/>
                <a:gd name="connsiteY130" fmla="*/ 153346 h 1349375"/>
                <a:gd name="connsiteX131" fmla="*/ 754339 w 1608137"/>
                <a:gd name="connsiteY131" fmla="*/ 167150 h 1349375"/>
                <a:gd name="connsiteX132" fmla="*/ 733460 w 1608137"/>
                <a:gd name="connsiteY132" fmla="*/ 187472 h 1349375"/>
                <a:gd name="connsiteX133" fmla="*/ 713340 w 1608137"/>
                <a:gd name="connsiteY133" fmla="*/ 187472 h 1349375"/>
                <a:gd name="connsiteX134" fmla="*/ 708025 w 1608137"/>
                <a:gd name="connsiteY134" fmla="*/ 184788 h 1349375"/>
                <a:gd name="connsiteX135" fmla="*/ 708025 w 1608137"/>
                <a:gd name="connsiteY135" fmla="*/ 185737 h 1349375"/>
                <a:gd name="connsiteX136" fmla="*/ 686622 w 1608137"/>
                <a:gd name="connsiteY136" fmla="*/ 174700 h 1349375"/>
                <a:gd name="connsiteX137" fmla="*/ 666722 w 1608137"/>
                <a:gd name="connsiteY137" fmla="*/ 168229 h 1349375"/>
                <a:gd name="connsiteX138" fmla="*/ 639688 w 1608137"/>
                <a:gd name="connsiteY138" fmla="*/ 161378 h 1349375"/>
                <a:gd name="connsiteX139" fmla="*/ 666722 w 1608137"/>
                <a:gd name="connsiteY139" fmla="*/ 148057 h 1349375"/>
                <a:gd name="connsiteX140" fmla="*/ 659588 w 1608137"/>
                <a:gd name="connsiteY140" fmla="*/ 134355 h 1349375"/>
                <a:gd name="connsiteX141" fmla="*/ 612653 w 1608137"/>
                <a:gd name="connsiteY141" fmla="*/ 107712 h 1349375"/>
                <a:gd name="connsiteX142" fmla="*/ 566094 w 1608137"/>
                <a:gd name="connsiteY142" fmla="*/ 87540 h 1349375"/>
                <a:gd name="connsiteX143" fmla="*/ 552201 w 1608137"/>
                <a:gd name="connsiteY143" fmla="*/ 81070 h 1349375"/>
                <a:gd name="connsiteX144" fmla="*/ 532301 w 1608137"/>
                <a:gd name="connsiteY144" fmla="*/ 81070 h 1349375"/>
                <a:gd name="connsiteX145" fmla="*/ 525542 w 1608137"/>
                <a:gd name="connsiteY145" fmla="*/ 60517 h 1349375"/>
                <a:gd name="connsiteX146" fmla="*/ 519159 w 1608137"/>
                <a:gd name="connsiteY146" fmla="*/ 47196 h 1349375"/>
                <a:gd name="connsiteX147" fmla="*/ 492125 w 1608137"/>
                <a:gd name="connsiteY147" fmla="*/ 34255 h 1349375"/>
                <a:gd name="connsiteX148" fmla="*/ 505642 w 1608137"/>
                <a:gd name="connsiteY148" fmla="*/ 7231 h 1349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</a:cxnLst>
              <a:rect l="l" t="t" r="r" b="b"/>
              <a:pathLst>
                <a:path w="1608137" h="1349375">
                  <a:moveTo>
                    <a:pt x="1459740" y="1144587"/>
                  </a:moveTo>
                  <a:lnTo>
                    <a:pt x="1475339" y="1160240"/>
                  </a:lnTo>
                  <a:lnTo>
                    <a:pt x="1506537" y="1168066"/>
                  </a:lnTo>
                  <a:lnTo>
                    <a:pt x="1506537" y="1191545"/>
                  </a:lnTo>
                  <a:lnTo>
                    <a:pt x="1475339" y="1215024"/>
                  </a:lnTo>
                  <a:lnTo>
                    <a:pt x="1459740" y="1231981"/>
                  </a:lnTo>
                  <a:lnTo>
                    <a:pt x="1428543" y="1263286"/>
                  </a:lnTo>
                  <a:lnTo>
                    <a:pt x="1420743" y="1294591"/>
                  </a:lnTo>
                  <a:lnTo>
                    <a:pt x="1412944" y="1341549"/>
                  </a:lnTo>
                  <a:lnTo>
                    <a:pt x="1373947" y="1349375"/>
                  </a:lnTo>
                  <a:lnTo>
                    <a:pt x="1350548" y="1341549"/>
                  </a:lnTo>
                  <a:lnTo>
                    <a:pt x="1327150" y="1318070"/>
                  </a:lnTo>
                  <a:lnTo>
                    <a:pt x="1350548" y="1271112"/>
                  </a:lnTo>
                  <a:lnTo>
                    <a:pt x="1366147" y="1247633"/>
                  </a:lnTo>
                  <a:lnTo>
                    <a:pt x="1412944" y="1222850"/>
                  </a:lnTo>
                  <a:lnTo>
                    <a:pt x="1428543" y="1215024"/>
                  </a:lnTo>
                  <a:lnTo>
                    <a:pt x="1444142" y="1183719"/>
                  </a:lnTo>
                  <a:close/>
                  <a:moveTo>
                    <a:pt x="863600" y="1128712"/>
                  </a:moveTo>
                  <a:lnTo>
                    <a:pt x="863600" y="1167964"/>
                  </a:lnTo>
                  <a:lnTo>
                    <a:pt x="839788" y="1215066"/>
                  </a:lnTo>
                  <a:lnTo>
                    <a:pt x="823913" y="1247775"/>
                  </a:lnTo>
                  <a:lnTo>
                    <a:pt x="800100" y="1222916"/>
                  </a:lnTo>
                  <a:lnTo>
                    <a:pt x="792162" y="1191515"/>
                  </a:lnTo>
                  <a:lnTo>
                    <a:pt x="776287" y="1152263"/>
                  </a:lnTo>
                  <a:lnTo>
                    <a:pt x="831850" y="1144413"/>
                  </a:lnTo>
                  <a:close/>
                  <a:moveTo>
                    <a:pt x="1482725" y="960437"/>
                  </a:moveTo>
                  <a:lnTo>
                    <a:pt x="1521916" y="975946"/>
                  </a:lnTo>
                  <a:lnTo>
                    <a:pt x="1521916" y="1014718"/>
                  </a:lnTo>
                  <a:lnTo>
                    <a:pt x="1537593" y="1037981"/>
                  </a:lnTo>
                  <a:lnTo>
                    <a:pt x="1561108" y="1061244"/>
                  </a:lnTo>
                  <a:lnTo>
                    <a:pt x="1592460" y="1045735"/>
                  </a:lnTo>
                  <a:lnTo>
                    <a:pt x="1608137" y="1061244"/>
                  </a:lnTo>
                  <a:lnTo>
                    <a:pt x="1600299" y="1076752"/>
                  </a:lnTo>
                  <a:lnTo>
                    <a:pt x="1584622" y="1092261"/>
                  </a:lnTo>
                  <a:lnTo>
                    <a:pt x="1568946" y="1107770"/>
                  </a:lnTo>
                  <a:lnTo>
                    <a:pt x="1561108" y="1131033"/>
                  </a:lnTo>
                  <a:lnTo>
                    <a:pt x="1537593" y="1162050"/>
                  </a:lnTo>
                  <a:lnTo>
                    <a:pt x="1514078" y="1146542"/>
                  </a:lnTo>
                  <a:lnTo>
                    <a:pt x="1521916" y="1123279"/>
                  </a:lnTo>
                  <a:lnTo>
                    <a:pt x="1490563" y="1100015"/>
                  </a:lnTo>
                  <a:lnTo>
                    <a:pt x="1514078" y="1061244"/>
                  </a:lnTo>
                  <a:lnTo>
                    <a:pt x="1514078" y="1030226"/>
                  </a:lnTo>
                  <a:close/>
                  <a:moveTo>
                    <a:pt x="486014" y="333375"/>
                  </a:moveTo>
                  <a:lnTo>
                    <a:pt x="517369" y="341183"/>
                  </a:lnTo>
                  <a:lnTo>
                    <a:pt x="572242" y="348992"/>
                  </a:lnTo>
                  <a:lnTo>
                    <a:pt x="564403" y="380224"/>
                  </a:lnTo>
                  <a:lnTo>
                    <a:pt x="548725" y="419265"/>
                  </a:lnTo>
                  <a:lnTo>
                    <a:pt x="572242" y="434882"/>
                  </a:lnTo>
                  <a:lnTo>
                    <a:pt x="611437" y="434882"/>
                  </a:lnTo>
                  <a:lnTo>
                    <a:pt x="642792" y="483032"/>
                  </a:lnTo>
                  <a:lnTo>
                    <a:pt x="666309" y="475224"/>
                  </a:lnTo>
                  <a:lnTo>
                    <a:pt x="705504" y="450498"/>
                  </a:lnTo>
                  <a:lnTo>
                    <a:pt x="705504" y="372416"/>
                  </a:lnTo>
                  <a:lnTo>
                    <a:pt x="736860" y="333375"/>
                  </a:lnTo>
                  <a:lnTo>
                    <a:pt x="752538" y="388033"/>
                  </a:lnTo>
                  <a:lnTo>
                    <a:pt x="760377" y="403649"/>
                  </a:lnTo>
                  <a:lnTo>
                    <a:pt x="776055" y="411457"/>
                  </a:lnTo>
                  <a:lnTo>
                    <a:pt x="799571" y="490840"/>
                  </a:lnTo>
                  <a:lnTo>
                    <a:pt x="838766" y="529881"/>
                  </a:lnTo>
                  <a:lnTo>
                    <a:pt x="885800" y="545498"/>
                  </a:lnTo>
                  <a:lnTo>
                    <a:pt x="901477" y="592347"/>
                  </a:lnTo>
                  <a:lnTo>
                    <a:pt x="924994" y="607963"/>
                  </a:lnTo>
                  <a:lnTo>
                    <a:pt x="932833" y="647004"/>
                  </a:lnTo>
                  <a:lnTo>
                    <a:pt x="981173" y="678237"/>
                  </a:lnTo>
                  <a:lnTo>
                    <a:pt x="981173" y="709469"/>
                  </a:lnTo>
                  <a:lnTo>
                    <a:pt x="989012" y="756319"/>
                  </a:lnTo>
                  <a:lnTo>
                    <a:pt x="989012" y="826592"/>
                  </a:lnTo>
                  <a:lnTo>
                    <a:pt x="932833" y="943715"/>
                  </a:lnTo>
                  <a:lnTo>
                    <a:pt x="909316" y="1013989"/>
                  </a:lnTo>
                  <a:lnTo>
                    <a:pt x="909316" y="1045221"/>
                  </a:lnTo>
                  <a:lnTo>
                    <a:pt x="893639" y="1045221"/>
                  </a:lnTo>
                  <a:lnTo>
                    <a:pt x="862283" y="1060838"/>
                  </a:lnTo>
                  <a:lnTo>
                    <a:pt x="830927" y="1084262"/>
                  </a:lnTo>
                  <a:lnTo>
                    <a:pt x="807410" y="1084262"/>
                  </a:lnTo>
                  <a:lnTo>
                    <a:pt x="776055" y="1060838"/>
                  </a:lnTo>
                  <a:lnTo>
                    <a:pt x="752538" y="1076454"/>
                  </a:lnTo>
                  <a:lnTo>
                    <a:pt x="697665" y="1053029"/>
                  </a:lnTo>
                  <a:lnTo>
                    <a:pt x="650631" y="1029605"/>
                  </a:lnTo>
                  <a:lnTo>
                    <a:pt x="627114" y="990564"/>
                  </a:lnTo>
                  <a:lnTo>
                    <a:pt x="611437" y="959331"/>
                  </a:lnTo>
                  <a:lnTo>
                    <a:pt x="580081" y="967139"/>
                  </a:lnTo>
                  <a:lnTo>
                    <a:pt x="548725" y="935907"/>
                  </a:lnTo>
                  <a:lnTo>
                    <a:pt x="493853" y="881249"/>
                  </a:lnTo>
                  <a:lnTo>
                    <a:pt x="407624" y="865633"/>
                  </a:lnTo>
                  <a:lnTo>
                    <a:pt x="344913" y="873441"/>
                  </a:lnTo>
                  <a:lnTo>
                    <a:pt x="266523" y="896866"/>
                  </a:lnTo>
                  <a:lnTo>
                    <a:pt x="258685" y="920290"/>
                  </a:lnTo>
                  <a:lnTo>
                    <a:pt x="211651" y="928099"/>
                  </a:lnTo>
                  <a:lnTo>
                    <a:pt x="180295" y="928099"/>
                  </a:lnTo>
                  <a:lnTo>
                    <a:pt x="156778" y="951523"/>
                  </a:lnTo>
                  <a:lnTo>
                    <a:pt x="109745" y="967139"/>
                  </a:lnTo>
                  <a:lnTo>
                    <a:pt x="78389" y="967139"/>
                  </a:lnTo>
                  <a:lnTo>
                    <a:pt x="39194" y="935907"/>
                  </a:lnTo>
                  <a:lnTo>
                    <a:pt x="47033" y="873441"/>
                  </a:lnTo>
                  <a:lnTo>
                    <a:pt x="39194" y="834400"/>
                  </a:lnTo>
                  <a:lnTo>
                    <a:pt x="7839" y="732894"/>
                  </a:lnTo>
                  <a:lnTo>
                    <a:pt x="7839" y="701661"/>
                  </a:lnTo>
                  <a:lnTo>
                    <a:pt x="0" y="654812"/>
                  </a:lnTo>
                  <a:lnTo>
                    <a:pt x="7839" y="615771"/>
                  </a:lnTo>
                  <a:lnTo>
                    <a:pt x="39194" y="584538"/>
                  </a:lnTo>
                  <a:lnTo>
                    <a:pt x="101906" y="561114"/>
                  </a:lnTo>
                  <a:lnTo>
                    <a:pt x="148939" y="529881"/>
                  </a:lnTo>
                  <a:lnTo>
                    <a:pt x="188134" y="522073"/>
                  </a:lnTo>
                  <a:lnTo>
                    <a:pt x="203812" y="475224"/>
                  </a:lnTo>
                  <a:lnTo>
                    <a:pt x="235168" y="459608"/>
                  </a:lnTo>
                  <a:lnTo>
                    <a:pt x="266523" y="450498"/>
                  </a:lnTo>
                  <a:lnTo>
                    <a:pt x="313557" y="411457"/>
                  </a:lnTo>
                  <a:lnTo>
                    <a:pt x="344913" y="395841"/>
                  </a:lnTo>
                  <a:lnTo>
                    <a:pt x="368430" y="411457"/>
                  </a:lnTo>
                  <a:lnTo>
                    <a:pt x="391946" y="419265"/>
                  </a:lnTo>
                  <a:lnTo>
                    <a:pt x="407624" y="388033"/>
                  </a:lnTo>
                  <a:lnTo>
                    <a:pt x="431141" y="364608"/>
                  </a:lnTo>
                  <a:lnTo>
                    <a:pt x="470336" y="356800"/>
                  </a:lnTo>
                  <a:close/>
                  <a:moveTo>
                    <a:pt x="532301" y="0"/>
                  </a:moveTo>
                  <a:lnTo>
                    <a:pt x="558960" y="27023"/>
                  </a:lnTo>
                  <a:lnTo>
                    <a:pt x="579611" y="54047"/>
                  </a:lnTo>
                  <a:lnTo>
                    <a:pt x="612653" y="54047"/>
                  </a:lnTo>
                  <a:lnTo>
                    <a:pt x="646071" y="27023"/>
                  </a:lnTo>
                  <a:lnTo>
                    <a:pt x="708025" y="46434"/>
                  </a:lnTo>
                  <a:lnTo>
                    <a:pt x="708025" y="44450"/>
                  </a:lnTo>
                  <a:lnTo>
                    <a:pt x="754339" y="58637"/>
                  </a:lnTo>
                  <a:lnTo>
                    <a:pt x="801791" y="85861"/>
                  </a:lnTo>
                  <a:lnTo>
                    <a:pt x="815458" y="106183"/>
                  </a:lnTo>
                  <a:lnTo>
                    <a:pt x="849244" y="126505"/>
                  </a:lnTo>
                  <a:lnTo>
                    <a:pt x="835577" y="139926"/>
                  </a:lnTo>
                  <a:lnTo>
                    <a:pt x="842031" y="160248"/>
                  </a:lnTo>
                  <a:lnTo>
                    <a:pt x="882650" y="173668"/>
                  </a:lnTo>
                  <a:lnTo>
                    <a:pt x="882650" y="214312"/>
                  </a:lnTo>
                  <a:lnTo>
                    <a:pt x="855697" y="200892"/>
                  </a:lnTo>
                  <a:lnTo>
                    <a:pt x="808245" y="167150"/>
                  </a:lnTo>
                  <a:lnTo>
                    <a:pt x="788125" y="153346"/>
                  </a:lnTo>
                  <a:lnTo>
                    <a:pt x="754339" y="167150"/>
                  </a:lnTo>
                  <a:lnTo>
                    <a:pt x="733460" y="187472"/>
                  </a:lnTo>
                  <a:lnTo>
                    <a:pt x="713340" y="187472"/>
                  </a:lnTo>
                  <a:lnTo>
                    <a:pt x="708025" y="184788"/>
                  </a:lnTo>
                  <a:lnTo>
                    <a:pt x="708025" y="185737"/>
                  </a:lnTo>
                  <a:lnTo>
                    <a:pt x="686622" y="174700"/>
                  </a:lnTo>
                  <a:lnTo>
                    <a:pt x="666722" y="168229"/>
                  </a:lnTo>
                  <a:lnTo>
                    <a:pt x="639688" y="161378"/>
                  </a:lnTo>
                  <a:lnTo>
                    <a:pt x="666722" y="148057"/>
                  </a:lnTo>
                  <a:lnTo>
                    <a:pt x="659588" y="134355"/>
                  </a:lnTo>
                  <a:lnTo>
                    <a:pt x="612653" y="107712"/>
                  </a:lnTo>
                  <a:lnTo>
                    <a:pt x="566094" y="87540"/>
                  </a:lnTo>
                  <a:lnTo>
                    <a:pt x="552201" y="81070"/>
                  </a:lnTo>
                  <a:lnTo>
                    <a:pt x="532301" y="81070"/>
                  </a:lnTo>
                  <a:lnTo>
                    <a:pt x="525542" y="60517"/>
                  </a:lnTo>
                  <a:lnTo>
                    <a:pt x="519159" y="47196"/>
                  </a:lnTo>
                  <a:lnTo>
                    <a:pt x="492125" y="34255"/>
                  </a:lnTo>
                  <a:lnTo>
                    <a:pt x="505642" y="723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  <a:scene3d>
              <a:camera prst="orthographicFront"/>
              <a:lightRig rig="contrasting" dir="t"/>
            </a:scene3d>
            <a:sp3d z="63500" prstMaterial="metal">
              <a:bevelB w="0" h="0"/>
            </a:sp3d>
          </p:spPr>
          <p:txBody>
            <a:bodyPr wrap="square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6937658" y="2842181"/>
              <a:ext cx="3601626" cy="2148724"/>
            </a:xfrm>
            <a:custGeom>
              <a:avLst/>
              <a:gdLst>
                <a:gd name="connsiteX0" fmla="*/ 1827540 w 2752725"/>
                <a:gd name="connsiteY0" fmla="*/ 1804988 h 1865313"/>
                <a:gd name="connsiteX1" fmla="*/ 1882122 w 2752725"/>
                <a:gd name="connsiteY1" fmla="*/ 1804988 h 1865313"/>
                <a:gd name="connsiteX2" fmla="*/ 1913311 w 2752725"/>
                <a:gd name="connsiteY2" fmla="*/ 1812529 h 1865313"/>
                <a:gd name="connsiteX3" fmla="*/ 1936704 w 2752725"/>
                <a:gd name="connsiteY3" fmla="*/ 1827610 h 1865313"/>
                <a:gd name="connsiteX4" fmla="*/ 1999083 w 2752725"/>
                <a:gd name="connsiteY4" fmla="*/ 1842691 h 1865313"/>
                <a:gd name="connsiteX5" fmla="*/ 2022475 w 2752725"/>
                <a:gd name="connsiteY5" fmla="*/ 1865313 h 1865313"/>
                <a:gd name="connsiteX6" fmla="*/ 1960096 w 2752725"/>
                <a:gd name="connsiteY6" fmla="*/ 1857773 h 1865313"/>
                <a:gd name="connsiteX7" fmla="*/ 1905514 w 2752725"/>
                <a:gd name="connsiteY7" fmla="*/ 1850232 h 1865313"/>
                <a:gd name="connsiteX8" fmla="*/ 1819743 w 2752725"/>
                <a:gd name="connsiteY8" fmla="*/ 1835151 h 1865313"/>
                <a:gd name="connsiteX9" fmla="*/ 1757363 w 2752725"/>
                <a:gd name="connsiteY9" fmla="*/ 1812529 h 1865313"/>
                <a:gd name="connsiteX10" fmla="*/ 1827540 w 2752725"/>
                <a:gd name="connsiteY10" fmla="*/ 1804988 h 1865313"/>
                <a:gd name="connsiteX11" fmla="*/ 1520825 w 2752725"/>
                <a:gd name="connsiteY11" fmla="*/ 1516063 h 1865313"/>
                <a:gd name="connsiteX12" fmla="*/ 1551960 w 2752725"/>
                <a:gd name="connsiteY12" fmla="*/ 1516063 h 1865313"/>
                <a:gd name="connsiteX13" fmla="*/ 1583096 w 2752725"/>
                <a:gd name="connsiteY13" fmla="*/ 1562848 h 1865313"/>
                <a:gd name="connsiteX14" fmla="*/ 1606447 w 2752725"/>
                <a:gd name="connsiteY14" fmla="*/ 1578443 h 1865313"/>
                <a:gd name="connsiteX15" fmla="*/ 1645367 w 2752725"/>
                <a:gd name="connsiteY15" fmla="*/ 1594037 h 1865313"/>
                <a:gd name="connsiteX16" fmla="*/ 1707638 w 2752725"/>
                <a:gd name="connsiteY16" fmla="*/ 1648619 h 1865313"/>
                <a:gd name="connsiteX17" fmla="*/ 1723205 w 2752725"/>
                <a:gd name="connsiteY17" fmla="*/ 1672011 h 1865313"/>
                <a:gd name="connsiteX18" fmla="*/ 1754341 w 2752725"/>
                <a:gd name="connsiteY18" fmla="*/ 1710999 h 1865313"/>
                <a:gd name="connsiteX19" fmla="*/ 1762125 w 2752725"/>
                <a:gd name="connsiteY19" fmla="*/ 1757783 h 1865313"/>
                <a:gd name="connsiteX20" fmla="*/ 1730989 w 2752725"/>
                <a:gd name="connsiteY20" fmla="*/ 1781175 h 1865313"/>
                <a:gd name="connsiteX21" fmla="*/ 1684286 w 2752725"/>
                <a:gd name="connsiteY21" fmla="*/ 1742188 h 1865313"/>
                <a:gd name="connsiteX22" fmla="*/ 1637583 w 2752725"/>
                <a:gd name="connsiteY22" fmla="*/ 1718796 h 1865313"/>
                <a:gd name="connsiteX23" fmla="*/ 1614231 w 2752725"/>
                <a:gd name="connsiteY23" fmla="*/ 1656417 h 1865313"/>
                <a:gd name="connsiteX24" fmla="*/ 1590880 w 2752725"/>
                <a:gd name="connsiteY24" fmla="*/ 1640822 h 1865313"/>
                <a:gd name="connsiteX25" fmla="*/ 1567528 w 2752725"/>
                <a:gd name="connsiteY25" fmla="*/ 1609632 h 1865313"/>
                <a:gd name="connsiteX26" fmla="*/ 1528609 w 2752725"/>
                <a:gd name="connsiteY26" fmla="*/ 1578443 h 1865313"/>
                <a:gd name="connsiteX27" fmla="*/ 2085045 w 2752725"/>
                <a:gd name="connsiteY27" fmla="*/ 1481138 h 1865313"/>
                <a:gd name="connsiteX28" fmla="*/ 2116357 w 2752725"/>
                <a:gd name="connsiteY28" fmla="*/ 1496733 h 1865313"/>
                <a:gd name="connsiteX29" fmla="*/ 2132013 w 2752725"/>
                <a:gd name="connsiteY29" fmla="*/ 1520125 h 1865313"/>
                <a:gd name="connsiteX30" fmla="*/ 2108529 w 2752725"/>
                <a:gd name="connsiteY30" fmla="*/ 1543518 h 1865313"/>
                <a:gd name="connsiteX31" fmla="*/ 2100701 w 2752725"/>
                <a:gd name="connsiteY31" fmla="*/ 1566910 h 1865313"/>
                <a:gd name="connsiteX32" fmla="*/ 2108529 w 2752725"/>
                <a:gd name="connsiteY32" fmla="*/ 1598099 h 1865313"/>
                <a:gd name="connsiteX33" fmla="*/ 2132013 w 2752725"/>
                <a:gd name="connsiteY33" fmla="*/ 1621492 h 1865313"/>
                <a:gd name="connsiteX34" fmla="*/ 2129860 w 2752725"/>
                <a:gd name="connsiteY34" fmla="*/ 1622922 h 1865313"/>
                <a:gd name="connsiteX35" fmla="*/ 2164380 w 2752725"/>
                <a:gd name="connsiteY35" fmla="*/ 1616004 h 1865313"/>
                <a:gd name="connsiteX36" fmla="*/ 2219325 w 2752725"/>
                <a:gd name="connsiteY36" fmla="*/ 1608138 h 1865313"/>
                <a:gd name="connsiteX37" fmla="*/ 2219325 w 2752725"/>
                <a:gd name="connsiteY37" fmla="*/ 1623869 h 1865313"/>
                <a:gd name="connsiteX38" fmla="*/ 2195777 w 2752725"/>
                <a:gd name="connsiteY38" fmla="*/ 1623869 h 1865313"/>
                <a:gd name="connsiteX39" fmla="*/ 2148682 w 2752725"/>
                <a:gd name="connsiteY39" fmla="*/ 1639600 h 1865313"/>
                <a:gd name="connsiteX40" fmla="*/ 2132983 w 2752725"/>
                <a:gd name="connsiteY40" fmla="*/ 1663195 h 1865313"/>
                <a:gd name="connsiteX41" fmla="*/ 2187928 w 2752725"/>
                <a:gd name="connsiteY41" fmla="*/ 1663195 h 1865313"/>
                <a:gd name="connsiteX42" fmla="*/ 2195777 w 2752725"/>
                <a:gd name="connsiteY42" fmla="*/ 1686791 h 1865313"/>
                <a:gd name="connsiteX43" fmla="*/ 2180079 w 2752725"/>
                <a:gd name="connsiteY43" fmla="*/ 1694657 h 1865313"/>
                <a:gd name="connsiteX44" fmla="*/ 2164380 w 2752725"/>
                <a:gd name="connsiteY44" fmla="*/ 1710387 h 1865313"/>
                <a:gd name="connsiteX45" fmla="*/ 2195777 w 2752725"/>
                <a:gd name="connsiteY45" fmla="*/ 1741849 h 1865313"/>
                <a:gd name="connsiteX46" fmla="*/ 2203627 w 2752725"/>
                <a:gd name="connsiteY46" fmla="*/ 1773310 h 1865313"/>
                <a:gd name="connsiteX47" fmla="*/ 2172230 w 2752725"/>
                <a:gd name="connsiteY47" fmla="*/ 1773310 h 1865313"/>
                <a:gd name="connsiteX48" fmla="*/ 2148682 w 2752725"/>
                <a:gd name="connsiteY48" fmla="*/ 1749714 h 1865313"/>
                <a:gd name="connsiteX49" fmla="*/ 2125134 w 2752725"/>
                <a:gd name="connsiteY49" fmla="*/ 1718253 h 1865313"/>
                <a:gd name="connsiteX50" fmla="*/ 2125134 w 2752725"/>
                <a:gd name="connsiteY50" fmla="*/ 1757579 h 1865313"/>
                <a:gd name="connsiteX51" fmla="*/ 2125134 w 2752725"/>
                <a:gd name="connsiteY51" fmla="*/ 1781175 h 1865313"/>
                <a:gd name="connsiteX52" fmla="*/ 2093737 w 2752725"/>
                <a:gd name="connsiteY52" fmla="*/ 1773310 h 1865313"/>
                <a:gd name="connsiteX53" fmla="*/ 2093737 w 2752725"/>
                <a:gd name="connsiteY53" fmla="*/ 1749714 h 1865313"/>
                <a:gd name="connsiteX54" fmla="*/ 2078038 w 2752725"/>
                <a:gd name="connsiteY54" fmla="*/ 1718253 h 1865313"/>
                <a:gd name="connsiteX55" fmla="*/ 2085888 w 2752725"/>
                <a:gd name="connsiteY55" fmla="*/ 1694657 h 1865313"/>
                <a:gd name="connsiteX56" fmla="*/ 2109435 w 2752725"/>
                <a:gd name="connsiteY56" fmla="*/ 1639600 h 1865313"/>
                <a:gd name="connsiteX57" fmla="*/ 2118651 w 2752725"/>
                <a:gd name="connsiteY57" fmla="*/ 1630365 h 1865313"/>
                <a:gd name="connsiteX58" fmla="*/ 2108529 w 2752725"/>
                <a:gd name="connsiteY58" fmla="*/ 1637086 h 1865313"/>
                <a:gd name="connsiteX59" fmla="*/ 2100701 w 2752725"/>
                <a:gd name="connsiteY59" fmla="*/ 1652681 h 1865313"/>
                <a:gd name="connsiteX60" fmla="*/ 2085045 w 2752725"/>
                <a:gd name="connsiteY60" fmla="*/ 1676074 h 1865313"/>
                <a:gd name="connsiteX61" fmla="*/ 2069389 w 2752725"/>
                <a:gd name="connsiteY61" fmla="*/ 1699466 h 1865313"/>
                <a:gd name="connsiteX62" fmla="*/ 2053733 w 2752725"/>
                <a:gd name="connsiteY62" fmla="*/ 1738453 h 1865313"/>
                <a:gd name="connsiteX63" fmla="*/ 2022421 w 2752725"/>
                <a:gd name="connsiteY63" fmla="*/ 1746250 h 1865313"/>
                <a:gd name="connsiteX64" fmla="*/ 1998937 w 2752725"/>
                <a:gd name="connsiteY64" fmla="*/ 1730655 h 1865313"/>
                <a:gd name="connsiteX65" fmla="*/ 1959796 w 2752725"/>
                <a:gd name="connsiteY65" fmla="*/ 1730655 h 1865313"/>
                <a:gd name="connsiteX66" fmla="*/ 1936312 w 2752725"/>
                <a:gd name="connsiteY66" fmla="*/ 1730655 h 1865313"/>
                <a:gd name="connsiteX67" fmla="*/ 1920656 w 2752725"/>
                <a:gd name="connsiteY67" fmla="*/ 1699466 h 1865313"/>
                <a:gd name="connsiteX68" fmla="*/ 1905000 w 2752725"/>
                <a:gd name="connsiteY68" fmla="*/ 1668276 h 1865313"/>
                <a:gd name="connsiteX69" fmla="*/ 1905000 w 2752725"/>
                <a:gd name="connsiteY69" fmla="*/ 1621492 h 1865313"/>
                <a:gd name="connsiteX70" fmla="*/ 1920656 w 2752725"/>
                <a:gd name="connsiteY70" fmla="*/ 1598099 h 1865313"/>
                <a:gd name="connsiteX71" fmla="*/ 1951968 w 2752725"/>
                <a:gd name="connsiteY71" fmla="*/ 1590302 h 1865313"/>
                <a:gd name="connsiteX72" fmla="*/ 1983281 w 2752725"/>
                <a:gd name="connsiteY72" fmla="*/ 1566910 h 1865313"/>
                <a:gd name="connsiteX73" fmla="*/ 2030249 w 2752725"/>
                <a:gd name="connsiteY73" fmla="*/ 1512328 h 1865313"/>
                <a:gd name="connsiteX74" fmla="*/ 2234671 w 2752725"/>
                <a:gd name="connsiteY74" fmla="*/ 1406525 h 1865313"/>
                <a:gd name="connsiteX75" fmla="*/ 2273300 w 2752725"/>
                <a:gd name="connsiteY75" fmla="*/ 1437217 h 1865313"/>
                <a:gd name="connsiteX76" fmla="*/ 2273300 w 2752725"/>
                <a:gd name="connsiteY76" fmla="*/ 1498600 h 1865313"/>
                <a:gd name="connsiteX77" fmla="*/ 2234671 w 2752725"/>
                <a:gd name="connsiteY77" fmla="*/ 1483254 h 1865313"/>
                <a:gd name="connsiteX78" fmla="*/ 2211494 w 2752725"/>
                <a:gd name="connsiteY78" fmla="*/ 1483254 h 1865313"/>
                <a:gd name="connsiteX79" fmla="*/ 2188316 w 2752725"/>
                <a:gd name="connsiteY79" fmla="*/ 1467909 h 1865313"/>
                <a:gd name="connsiteX80" fmla="*/ 2157413 w 2752725"/>
                <a:gd name="connsiteY80" fmla="*/ 1475581 h 1865313"/>
                <a:gd name="connsiteX81" fmla="*/ 2180591 w 2752725"/>
                <a:gd name="connsiteY81" fmla="*/ 1437217 h 1865313"/>
                <a:gd name="connsiteX82" fmla="*/ 2211494 w 2752725"/>
                <a:gd name="connsiteY82" fmla="*/ 1437217 h 1865313"/>
                <a:gd name="connsiteX83" fmla="*/ 1810077 w 2752725"/>
                <a:gd name="connsiteY83" fmla="*/ 1334119 h 1865313"/>
                <a:gd name="connsiteX84" fmla="*/ 1797579 w 2752725"/>
                <a:gd name="connsiteY84" fmla="*/ 1348196 h 1865313"/>
                <a:gd name="connsiteX85" fmla="*/ 1818382 w 2752725"/>
                <a:gd name="connsiteY85" fmla="*/ 1334600 h 1865313"/>
                <a:gd name="connsiteX86" fmla="*/ 1821327 w 2752725"/>
                <a:gd name="connsiteY86" fmla="*/ 1334119 h 1865313"/>
                <a:gd name="connsiteX87" fmla="*/ 1881010 w 2752725"/>
                <a:gd name="connsiteY87" fmla="*/ 1308817 h 1865313"/>
                <a:gd name="connsiteX88" fmla="*/ 1873923 w 2752725"/>
                <a:gd name="connsiteY88" fmla="*/ 1325580 h 1865313"/>
                <a:gd name="connsiteX89" fmla="*/ 1875648 w 2752725"/>
                <a:gd name="connsiteY89" fmla="*/ 1325762 h 1865313"/>
                <a:gd name="connsiteX90" fmla="*/ 1703414 w 2752725"/>
                <a:gd name="connsiteY90" fmla="*/ 1307852 h 1865313"/>
                <a:gd name="connsiteX91" fmla="*/ 1703829 w 2752725"/>
                <a:gd name="connsiteY91" fmla="*/ 1310858 h 1865313"/>
                <a:gd name="connsiteX92" fmla="*/ 1704526 w 2752725"/>
                <a:gd name="connsiteY92" fmla="*/ 1311738 h 1865313"/>
                <a:gd name="connsiteX93" fmla="*/ 1705502 w 2752725"/>
                <a:gd name="connsiteY93" fmla="*/ 1318813 h 1865313"/>
                <a:gd name="connsiteX94" fmla="*/ 1706221 w 2752725"/>
                <a:gd name="connsiteY94" fmla="*/ 1315169 h 1865313"/>
                <a:gd name="connsiteX95" fmla="*/ 1872248 w 2752725"/>
                <a:gd name="connsiteY95" fmla="*/ 1284187 h 1865313"/>
                <a:gd name="connsiteX96" fmla="*/ 1882500 w 2752725"/>
                <a:gd name="connsiteY96" fmla="*/ 1304107 h 1865313"/>
                <a:gd name="connsiteX97" fmla="*/ 1883252 w 2752725"/>
                <a:gd name="connsiteY97" fmla="*/ 1301731 h 1865313"/>
                <a:gd name="connsiteX98" fmla="*/ 1691681 w 2752725"/>
                <a:gd name="connsiteY98" fmla="*/ 1267043 h 1865313"/>
                <a:gd name="connsiteX99" fmla="*/ 1684390 w 2752725"/>
                <a:gd name="connsiteY99" fmla="*/ 1281794 h 1865313"/>
                <a:gd name="connsiteX100" fmla="*/ 1701900 w 2752725"/>
                <a:gd name="connsiteY100" fmla="*/ 1303906 h 1865313"/>
                <a:gd name="connsiteX101" fmla="*/ 1691681 w 2752725"/>
                <a:gd name="connsiteY101" fmla="*/ 1277269 h 1865313"/>
                <a:gd name="connsiteX102" fmla="*/ 1646359 w 2752725"/>
                <a:gd name="connsiteY102" fmla="*/ 1257941 h 1865313"/>
                <a:gd name="connsiteX103" fmla="*/ 1661006 w 2752725"/>
                <a:gd name="connsiteY103" fmla="*/ 1287636 h 1865313"/>
                <a:gd name="connsiteX104" fmla="*/ 1661062 w 2752725"/>
                <a:gd name="connsiteY104" fmla="*/ 1287879 h 1865313"/>
                <a:gd name="connsiteX105" fmla="*/ 1659518 w 2752725"/>
                <a:gd name="connsiteY105" fmla="*/ 1287954 h 1865313"/>
                <a:gd name="connsiteX106" fmla="*/ 1662420 w 2752725"/>
                <a:gd name="connsiteY106" fmla="*/ 1293842 h 1865313"/>
                <a:gd name="connsiteX107" fmla="*/ 1661062 w 2752725"/>
                <a:gd name="connsiteY107" fmla="*/ 1287879 h 1865313"/>
                <a:gd name="connsiteX108" fmla="*/ 1661100 w 2752725"/>
                <a:gd name="connsiteY108" fmla="*/ 1287877 h 1865313"/>
                <a:gd name="connsiteX109" fmla="*/ 1661079 w 2752725"/>
                <a:gd name="connsiteY109" fmla="*/ 1287784 h 1865313"/>
                <a:gd name="connsiteX110" fmla="*/ 1661006 w 2752725"/>
                <a:gd name="connsiteY110" fmla="*/ 1287636 h 1865313"/>
                <a:gd name="connsiteX111" fmla="*/ 1656095 w 2752725"/>
                <a:gd name="connsiteY111" fmla="*/ 1266073 h 1865313"/>
                <a:gd name="connsiteX112" fmla="*/ 1802756 w 2752725"/>
                <a:gd name="connsiteY112" fmla="*/ 1219439 h 1865313"/>
                <a:gd name="connsiteX113" fmla="*/ 1837079 w 2752725"/>
                <a:gd name="connsiteY113" fmla="*/ 1228842 h 1865313"/>
                <a:gd name="connsiteX114" fmla="*/ 1839689 w 2752725"/>
                <a:gd name="connsiteY114" fmla="*/ 1232282 h 1865313"/>
                <a:gd name="connsiteX115" fmla="*/ 1837351 w 2752725"/>
                <a:gd name="connsiteY115" fmla="*/ 1228554 h 1865313"/>
                <a:gd name="connsiteX116" fmla="*/ 1809819 w 2752725"/>
                <a:gd name="connsiteY116" fmla="*/ 1219439 h 1865313"/>
                <a:gd name="connsiteX117" fmla="*/ 2139510 w 2752725"/>
                <a:gd name="connsiteY117" fmla="*/ 1179513 h 1865313"/>
                <a:gd name="connsiteX118" fmla="*/ 2170907 w 2752725"/>
                <a:gd name="connsiteY118" fmla="*/ 1195030 h 1865313"/>
                <a:gd name="connsiteX119" fmla="*/ 2163057 w 2752725"/>
                <a:gd name="connsiteY119" fmla="*/ 1241583 h 1865313"/>
                <a:gd name="connsiteX120" fmla="*/ 2155208 w 2752725"/>
                <a:gd name="connsiteY120" fmla="*/ 1264859 h 1865313"/>
                <a:gd name="connsiteX121" fmla="*/ 2202304 w 2752725"/>
                <a:gd name="connsiteY121" fmla="*/ 1297187 h 1865313"/>
                <a:gd name="connsiteX122" fmla="*/ 2233701 w 2752725"/>
                <a:gd name="connsiteY122" fmla="*/ 1343740 h 1865313"/>
                <a:gd name="connsiteX123" fmla="*/ 2241550 w 2752725"/>
                <a:gd name="connsiteY123" fmla="*/ 1374775 h 1865313"/>
                <a:gd name="connsiteX124" fmla="*/ 2202304 w 2752725"/>
                <a:gd name="connsiteY124" fmla="*/ 1359258 h 1865313"/>
                <a:gd name="connsiteX125" fmla="*/ 2194455 w 2752725"/>
                <a:gd name="connsiteY125" fmla="*/ 1320463 h 1865313"/>
                <a:gd name="connsiteX126" fmla="*/ 2147359 w 2752725"/>
                <a:gd name="connsiteY126" fmla="*/ 1297187 h 1865313"/>
                <a:gd name="connsiteX127" fmla="*/ 2123811 w 2752725"/>
                <a:gd name="connsiteY127" fmla="*/ 1289428 h 1865313"/>
                <a:gd name="connsiteX128" fmla="*/ 2108113 w 2752725"/>
                <a:gd name="connsiteY128" fmla="*/ 1272618 h 1865313"/>
                <a:gd name="connsiteX129" fmla="*/ 2100263 w 2752725"/>
                <a:gd name="connsiteY129" fmla="*/ 1233824 h 1865313"/>
                <a:gd name="connsiteX130" fmla="*/ 2115962 w 2752725"/>
                <a:gd name="connsiteY130" fmla="*/ 1202789 h 1865313"/>
                <a:gd name="connsiteX131" fmla="*/ 468143 w 2752725"/>
                <a:gd name="connsiteY131" fmla="*/ 1142735 h 1865313"/>
                <a:gd name="connsiteX132" fmla="*/ 453390 w 2752725"/>
                <a:gd name="connsiteY132" fmla="*/ 1154377 h 1865313"/>
                <a:gd name="connsiteX133" fmla="*/ 446583 w 2752725"/>
                <a:gd name="connsiteY133" fmla="*/ 1158213 h 1865313"/>
                <a:gd name="connsiteX134" fmla="*/ 422560 w 2752725"/>
                <a:gd name="connsiteY134" fmla="*/ 1162005 h 1865313"/>
                <a:gd name="connsiteX135" fmla="*/ 422463 w 2752725"/>
                <a:gd name="connsiteY135" fmla="*/ 1162134 h 1865313"/>
                <a:gd name="connsiteX136" fmla="*/ 446666 w 2752725"/>
                <a:gd name="connsiteY136" fmla="*/ 1158280 h 1865313"/>
                <a:gd name="connsiteX137" fmla="*/ 453496 w 2752725"/>
                <a:gd name="connsiteY137" fmla="*/ 1154396 h 1865313"/>
                <a:gd name="connsiteX138" fmla="*/ 458374 w 2752725"/>
                <a:gd name="connsiteY138" fmla="*/ 1150512 h 1865313"/>
                <a:gd name="connsiteX139" fmla="*/ 492541 w 2752725"/>
                <a:gd name="connsiteY139" fmla="*/ 1068954 h 1865313"/>
                <a:gd name="connsiteX140" fmla="*/ 492125 w 2752725"/>
                <a:gd name="connsiteY140" fmla="*/ 1069975 h 1865313"/>
                <a:gd name="connsiteX141" fmla="*/ 491604 w 2752725"/>
                <a:gd name="connsiteY141" fmla="*/ 1069847 h 1865313"/>
                <a:gd name="connsiteX142" fmla="*/ 439404 w 2752725"/>
                <a:gd name="connsiteY142" fmla="*/ 1139522 h 1865313"/>
                <a:gd name="connsiteX143" fmla="*/ 492284 w 2752725"/>
                <a:gd name="connsiteY143" fmla="*/ 1069975 h 1865313"/>
                <a:gd name="connsiteX144" fmla="*/ 500063 w 2752725"/>
                <a:gd name="connsiteY144" fmla="*/ 1069975 h 1865313"/>
                <a:gd name="connsiteX145" fmla="*/ 496781 w 2752725"/>
                <a:gd name="connsiteY145" fmla="*/ 1092634 h 1865313"/>
                <a:gd name="connsiteX146" fmla="*/ 492312 w 2752725"/>
                <a:gd name="connsiteY146" fmla="*/ 1123494 h 1865313"/>
                <a:gd name="connsiteX147" fmla="*/ 492522 w 2752725"/>
                <a:gd name="connsiteY147" fmla="*/ 1123326 h 1865313"/>
                <a:gd name="connsiteX148" fmla="*/ 500327 w 2752725"/>
                <a:gd name="connsiteY148" fmla="*/ 1068954 h 1865313"/>
                <a:gd name="connsiteX149" fmla="*/ 499351 w 2752725"/>
                <a:gd name="connsiteY149" fmla="*/ 1068954 h 1865313"/>
                <a:gd name="connsiteX150" fmla="*/ 2149475 w 2752725"/>
                <a:gd name="connsiteY150" fmla="*/ 1000125 h 1865313"/>
                <a:gd name="connsiteX151" fmla="*/ 2149475 w 2752725"/>
                <a:gd name="connsiteY151" fmla="*/ 1031346 h 1865313"/>
                <a:gd name="connsiteX152" fmla="*/ 2125663 w 2752725"/>
                <a:gd name="connsiteY152" fmla="*/ 1093788 h 1865313"/>
                <a:gd name="connsiteX153" fmla="*/ 2117725 w 2752725"/>
                <a:gd name="connsiteY153" fmla="*/ 1054762 h 1865313"/>
                <a:gd name="connsiteX154" fmla="*/ 2117725 w 2752725"/>
                <a:gd name="connsiteY154" fmla="*/ 1023541 h 1865313"/>
                <a:gd name="connsiteX155" fmla="*/ 1468331 w 2752725"/>
                <a:gd name="connsiteY155" fmla="*/ 920221 h 1865313"/>
                <a:gd name="connsiteX156" fmla="*/ 1459713 w 2752725"/>
                <a:gd name="connsiteY156" fmla="*/ 920457 h 1865313"/>
                <a:gd name="connsiteX157" fmla="*/ 1462004 w 2752725"/>
                <a:gd name="connsiteY157" fmla="*/ 921381 h 1865313"/>
                <a:gd name="connsiteX158" fmla="*/ 1462995 w 2752725"/>
                <a:gd name="connsiteY158" fmla="*/ 900339 h 1865313"/>
                <a:gd name="connsiteX159" fmla="*/ 1444828 w 2752725"/>
                <a:gd name="connsiteY159" fmla="*/ 914873 h 1865313"/>
                <a:gd name="connsiteX160" fmla="*/ 1450838 w 2752725"/>
                <a:gd name="connsiteY160" fmla="*/ 915434 h 1865313"/>
                <a:gd name="connsiteX161" fmla="*/ 1450046 w 2752725"/>
                <a:gd name="connsiteY161" fmla="*/ 916557 h 1865313"/>
                <a:gd name="connsiteX162" fmla="*/ 1450079 w 2752725"/>
                <a:gd name="connsiteY162" fmla="*/ 916570 h 1865313"/>
                <a:gd name="connsiteX163" fmla="*/ 1450971 w 2752725"/>
                <a:gd name="connsiteY163" fmla="*/ 915446 h 1865313"/>
                <a:gd name="connsiteX164" fmla="*/ 1450838 w 2752725"/>
                <a:gd name="connsiteY164" fmla="*/ 915434 h 1865313"/>
                <a:gd name="connsiteX165" fmla="*/ 1458091 w 2752725"/>
                <a:gd name="connsiteY165" fmla="*/ 905143 h 1865313"/>
                <a:gd name="connsiteX166" fmla="*/ 804384 w 2752725"/>
                <a:gd name="connsiteY166" fmla="*/ 823672 h 1865313"/>
                <a:gd name="connsiteX167" fmla="*/ 800282 w 2752725"/>
                <a:gd name="connsiteY167" fmla="*/ 825336 h 1865313"/>
                <a:gd name="connsiteX168" fmla="*/ 800042 w 2752725"/>
                <a:gd name="connsiteY168" fmla="*/ 826803 h 1865313"/>
                <a:gd name="connsiteX169" fmla="*/ 802395 w 2752725"/>
                <a:gd name="connsiteY169" fmla="*/ 826686 h 1865313"/>
                <a:gd name="connsiteX170" fmla="*/ 77228 w 2752725"/>
                <a:gd name="connsiteY170" fmla="*/ 811317 h 1865313"/>
                <a:gd name="connsiteX171" fmla="*/ 77227 w 2752725"/>
                <a:gd name="connsiteY171" fmla="*/ 811318 h 1865313"/>
                <a:gd name="connsiteX172" fmla="*/ 77227 w 2752725"/>
                <a:gd name="connsiteY172" fmla="*/ 811318 h 1865313"/>
                <a:gd name="connsiteX173" fmla="*/ 84481 w 2752725"/>
                <a:gd name="connsiteY173" fmla="*/ 807751 h 1865313"/>
                <a:gd name="connsiteX174" fmla="*/ 77228 w 2752725"/>
                <a:gd name="connsiteY174" fmla="*/ 811317 h 1865313"/>
                <a:gd name="connsiteX175" fmla="*/ 77228 w 2752725"/>
                <a:gd name="connsiteY175" fmla="*/ 811317 h 1865313"/>
                <a:gd name="connsiteX176" fmla="*/ 88944 w 2752725"/>
                <a:gd name="connsiteY176" fmla="*/ 805675 h 1865313"/>
                <a:gd name="connsiteX177" fmla="*/ 115293 w 2752725"/>
                <a:gd name="connsiteY177" fmla="*/ 812304 h 1865313"/>
                <a:gd name="connsiteX178" fmla="*/ 193179 w 2752725"/>
                <a:gd name="connsiteY178" fmla="*/ 851495 h 1865313"/>
                <a:gd name="connsiteX179" fmla="*/ 216545 w 2752725"/>
                <a:gd name="connsiteY179" fmla="*/ 875010 h 1865313"/>
                <a:gd name="connsiteX180" fmla="*/ 278855 w 2752725"/>
                <a:gd name="connsiteY180" fmla="*/ 882849 h 1865313"/>
                <a:gd name="connsiteX181" fmla="*/ 302221 w 2752725"/>
                <a:gd name="connsiteY181" fmla="*/ 898525 h 1865313"/>
                <a:gd name="connsiteX182" fmla="*/ 325587 w 2752725"/>
                <a:gd name="connsiteY182" fmla="*/ 898525 h 1865313"/>
                <a:gd name="connsiteX183" fmla="*/ 324886 w 2752725"/>
                <a:gd name="connsiteY183" fmla="*/ 897114 h 1865313"/>
                <a:gd name="connsiteX184" fmla="*/ 328083 w 2752725"/>
                <a:gd name="connsiteY184" fmla="*/ 897114 h 1865313"/>
                <a:gd name="connsiteX185" fmla="*/ 328083 w 2752725"/>
                <a:gd name="connsiteY185" fmla="*/ 904934 h 1865313"/>
                <a:gd name="connsiteX186" fmla="*/ 359329 w 2752725"/>
                <a:gd name="connsiteY186" fmla="*/ 936213 h 1865313"/>
                <a:gd name="connsiteX187" fmla="*/ 374952 w 2752725"/>
                <a:gd name="connsiteY187" fmla="*/ 983133 h 1865313"/>
                <a:gd name="connsiteX188" fmla="*/ 406198 w 2752725"/>
                <a:gd name="connsiteY188" fmla="*/ 998773 h 1865313"/>
                <a:gd name="connsiteX189" fmla="*/ 414010 w 2752725"/>
                <a:gd name="connsiteY189" fmla="*/ 998773 h 1865313"/>
                <a:gd name="connsiteX190" fmla="*/ 413491 w 2752725"/>
                <a:gd name="connsiteY190" fmla="*/ 1000330 h 1865313"/>
                <a:gd name="connsiteX191" fmla="*/ 444500 w 2752725"/>
                <a:gd name="connsiteY191" fmla="*/ 1015524 h 1865313"/>
                <a:gd name="connsiteX192" fmla="*/ 515937 w 2752725"/>
                <a:gd name="connsiteY192" fmla="*/ 992188 h 1865313"/>
                <a:gd name="connsiteX193" fmla="*/ 523644 w 2752725"/>
                <a:gd name="connsiteY193" fmla="*/ 1022399 h 1865313"/>
                <a:gd name="connsiteX194" fmla="*/ 523742 w 2752725"/>
                <a:gd name="connsiteY194" fmla="*/ 1022350 h 1865313"/>
                <a:gd name="connsiteX195" fmla="*/ 547158 w 2752725"/>
                <a:gd name="connsiteY195" fmla="*/ 1030117 h 1865313"/>
                <a:gd name="connsiteX196" fmla="*/ 609600 w 2752725"/>
                <a:gd name="connsiteY196" fmla="*/ 1076722 h 1865313"/>
                <a:gd name="connsiteX197" fmla="*/ 578379 w 2752725"/>
                <a:gd name="connsiteY197" fmla="*/ 1107792 h 1865313"/>
                <a:gd name="connsiteX198" fmla="*/ 554963 w 2752725"/>
                <a:gd name="connsiteY198" fmla="*/ 1138861 h 1865313"/>
                <a:gd name="connsiteX199" fmla="*/ 508132 w 2752725"/>
                <a:gd name="connsiteY199" fmla="*/ 1201001 h 1865313"/>
                <a:gd name="connsiteX200" fmla="*/ 453496 w 2752725"/>
                <a:gd name="connsiteY200" fmla="*/ 1239838 h 1865313"/>
                <a:gd name="connsiteX201" fmla="*/ 430080 w 2752725"/>
                <a:gd name="connsiteY201" fmla="*/ 1185466 h 1865313"/>
                <a:gd name="connsiteX202" fmla="*/ 426787 w 2752725"/>
                <a:gd name="connsiteY202" fmla="*/ 1175635 h 1865313"/>
                <a:gd name="connsiteX203" fmla="*/ 422326 w 2752725"/>
                <a:gd name="connsiteY203" fmla="*/ 1162317 h 1865313"/>
                <a:gd name="connsiteX204" fmla="*/ 421821 w 2752725"/>
                <a:gd name="connsiteY204" fmla="*/ 1162991 h 1865313"/>
                <a:gd name="connsiteX205" fmla="*/ 421583 w 2752725"/>
                <a:gd name="connsiteY205" fmla="*/ 1163063 h 1865313"/>
                <a:gd name="connsiteX206" fmla="*/ 429045 w 2752725"/>
                <a:gd name="connsiteY206" fmla="*/ 1185635 h 1865313"/>
                <a:gd name="connsiteX207" fmla="*/ 452438 w 2752725"/>
                <a:gd name="connsiteY207" fmla="*/ 1240669 h 1865313"/>
                <a:gd name="connsiteX208" fmla="*/ 382261 w 2752725"/>
                <a:gd name="connsiteY208" fmla="*/ 1264255 h 1865313"/>
                <a:gd name="connsiteX209" fmla="*/ 335476 w 2752725"/>
                <a:gd name="connsiteY209" fmla="*/ 1279978 h 1865313"/>
                <a:gd name="connsiteX210" fmla="*/ 304286 w 2752725"/>
                <a:gd name="connsiteY210" fmla="*/ 1311426 h 1865313"/>
                <a:gd name="connsiteX211" fmla="*/ 280894 w 2752725"/>
                <a:gd name="connsiteY211" fmla="*/ 1311426 h 1865313"/>
                <a:gd name="connsiteX212" fmla="*/ 226312 w 2752725"/>
                <a:gd name="connsiteY212" fmla="*/ 1327150 h 1865313"/>
                <a:gd name="connsiteX213" fmla="*/ 195122 w 2752725"/>
                <a:gd name="connsiteY213" fmla="*/ 1256393 h 1865313"/>
                <a:gd name="connsiteX214" fmla="*/ 187325 w 2752725"/>
                <a:gd name="connsiteY214" fmla="*/ 1224945 h 1865313"/>
                <a:gd name="connsiteX215" fmla="*/ 187476 w 2752725"/>
                <a:gd name="connsiteY215" fmla="*/ 1224894 h 1865313"/>
                <a:gd name="connsiteX216" fmla="*/ 187476 w 2752725"/>
                <a:gd name="connsiteY216" fmla="*/ 1224572 h 1865313"/>
                <a:gd name="connsiteX217" fmla="*/ 187476 w 2752725"/>
                <a:gd name="connsiteY217" fmla="*/ 1217730 h 1865313"/>
                <a:gd name="connsiteX218" fmla="*/ 132795 w 2752725"/>
                <a:gd name="connsiteY218" fmla="*/ 1162991 h 1865313"/>
                <a:gd name="connsiteX219" fmla="*/ 117172 w 2752725"/>
                <a:gd name="connsiteY219" fmla="*/ 1108251 h 1865313"/>
                <a:gd name="connsiteX220" fmla="*/ 101549 w 2752725"/>
                <a:gd name="connsiteY220" fmla="*/ 1061332 h 1865313"/>
                <a:gd name="connsiteX221" fmla="*/ 70303 w 2752725"/>
                <a:gd name="connsiteY221" fmla="*/ 1030052 h 1865313"/>
                <a:gd name="connsiteX222" fmla="*/ 15623 w 2752725"/>
                <a:gd name="connsiteY222" fmla="*/ 920573 h 1865313"/>
                <a:gd name="connsiteX223" fmla="*/ 0 w 2752725"/>
                <a:gd name="connsiteY223" fmla="*/ 889294 h 1865313"/>
                <a:gd name="connsiteX224" fmla="*/ 15623 w 2752725"/>
                <a:gd name="connsiteY224" fmla="*/ 889294 h 1865313"/>
                <a:gd name="connsiteX225" fmla="*/ 31246 w 2752725"/>
                <a:gd name="connsiteY225" fmla="*/ 873654 h 1865313"/>
                <a:gd name="connsiteX226" fmla="*/ 54680 w 2752725"/>
                <a:gd name="connsiteY226" fmla="*/ 873654 h 1865313"/>
                <a:gd name="connsiteX227" fmla="*/ 62492 w 2752725"/>
                <a:gd name="connsiteY227" fmla="*/ 858014 h 1865313"/>
                <a:gd name="connsiteX228" fmla="*/ 55901 w 2752725"/>
                <a:gd name="connsiteY228" fmla="*/ 841519 h 1865313"/>
                <a:gd name="connsiteX229" fmla="*/ 46898 w 2752725"/>
                <a:gd name="connsiteY229" fmla="*/ 818987 h 1865313"/>
                <a:gd name="connsiteX230" fmla="*/ 46869 w 2752725"/>
                <a:gd name="connsiteY230" fmla="*/ 818915 h 1865313"/>
                <a:gd name="connsiteX231" fmla="*/ 60051 w 2752725"/>
                <a:gd name="connsiteY231" fmla="*/ 815616 h 1865313"/>
                <a:gd name="connsiteX232" fmla="*/ 77227 w 2752725"/>
                <a:gd name="connsiteY232" fmla="*/ 811318 h 1865313"/>
                <a:gd name="connsiteX233" fmla="*/ 76364 w 2752725"/>
                <a:gd name="connsiteY233" fmla="*/ 811742 h 1865313"/>
                <a:gd name="connsiteX234" fmla="*/ 77227 w 2752725"/>
                <a:gd name="connsiteY234" fmla="*/ 811318 h 1865313"/>
                <a:gd name="connsiteX235" fmla="*/ 77228 w 2752725"/>
                <a:gd name="connsiteY235" fmla="*/ 811317 h 1865313"/>
                <a:gd name="connsiteX236" fmla="*/ 78115 w 2752725"/>
                <a:gd name="connsiteY236" fmla="*/ 811095 h 1865313"/>
                <a:gd name="connsiteX237" fmla="*/ 80068 w 2752725"/>
                <a:gd name="connsiteY237" fmla="*/ 810117 h 1865313"/>
                <a:gd name="connsiteX238" fmla="*/ 2391040 w 2752725"/>
                <a:gd name="connsiteY238" fmla="*/ 757238 h 1865313"/>
                <a:gd name="connsiteX239" fmla="*/ 2398713 w 2752725"/>
                <a:gd name="connsiteY239" fmla="*/ 780521 h 1865313"/>
                <a:gd name="connsiteX240" fmla="*/ 2391040 w 2752725"/>
                <a:gd name="connsiteY240" fmla="*/ 811566 h 1865313"/>
                <a:gd name="connsiteX241" fmla="*/ 2368021 w 2752725"/>
                <a:gd name="connsiteY241" fmla="*/ 827088 h 1865313"/>
                <a:gd name="connsiteX242" fmla="*/ 2360348 w 2752725"/>
                <a:gd name="connsiteY242" fmla="*/ 803805 h 1865313"/>
                <a:gd name="connsiteX243" fmla="*/ 2352675 w 2752725"/>
                <a:gd name="connsiteY243" fmla="*/ 780521 h 1865313"/>
                <a:gd name="connsiteX244" fmla="*/ 904777 w 2752725"/>
                <a:gd name="connsiteY244" fmla="*/ 748198 h 1865313"/>
                <a:gd name="connsiteX245" fmla="*/ 901454 w 2752725"/>
                <a:gd name="connsiteY245" fmla="*/ 752170 h 1865313"/>
                <a:gd name="connsiteX246" fmla="*/ 903915 w 2752725"/>
                <a:gd name="connsiteY246" fmla="*/ 751117 h 1865313"/>
                <a:gd name="connsiteX247" fmla="*/ 641584 w 2752725"/>
                <a:gd name="connsiteY247" fmla="*/ 677137 h 1865313"/>
                <a:gd name="connsiteX248" fmla="*/ 641112 w 2752725"/>
                <a:gd name="connsiteY248" fmla="*/ 681345 h 1865313"/>
                <a:gd name="connsiteX249" fmla="*/ 634259 w 2752725"/>
                <a:gd name="connsiteY249" fmla="*/ 742488 h 1865313"/>
                <a:gd name="connsiteX250" fmla="*/ 626428 w 2752725"/>
                <a:gd name="connsiteY250" fmla="*/ 773546 h 1865313"/>
                <a:gd name="connsiteX251" fmla="*/ 626428 w 2752725"/>
                <a:gd name="connsiteY251" fmla="*/ 812367 h 1865313"/>
                <a:gd name="connsiteX252" fmla="*/ 657754 w 2752725"/>
                <a:gd name="connsiteY252" fmla="*/ 827896 h 1865313"/>
                <a:gd name="connsiteX253" fmla="*/ 651146 w 2752725"/>
                <a:gd name="connsiteY253" fmla="*/ 847549 h 1865313"/>
                <a:gd name="connsiteX254" fmla="*/ 648513 w 2752725"/>
                <a:gd name="connsiteY254" fmla="*/ 855382 h 1865313"/>
                <a:gd name="connsiteX255" fmla="*/ 654610 w 2752725"/>
                <a:gd name="connsiteY255" fmla="*/ 845018 h 1865313"/>
                <a:gd name="connsiteX256" fmla="*/ 669457 w 2752725"/>
                <a:gd name="connsiteY256" fmla="*/ 800765 h 1865313"/>
                <a:gd name="connsiteX257" fmla="*/ 639763 w 2752725"/>
                <a:gd name="connsiteY257" fmla="*/ 786022 h 1865313"/>
                <a:gd name="connsiteX258" fmla="*/ 639763 w 2752725"/>
                <a:gd name="connsiteY258" fmla="*/ 749140 h 1865313"/>
                <a:gd name="connsiteX259" fmla="*/ 647169 w 2752725"/>
                <a:gd name="connsiteY259" fmla="*/ 719655 h 1865313"/>
                <a:gd name="connsiteX260" fmla="*/ 650716 w 2752725"/>
                <a:gd name="connsiteY260" fmla="*/ 698559 h 1865313"/>
                <a:gd name="connsiteX261" fmla="*/ 641584 w 2752725"/>
                <a:gd name="connsiteY261" fmla="*/ 694017 h 1865313"/>
                <a:gd name="connsiteX262" fmla="*/ 641584 w 2752725"/>
                <a:gd name="connsiteY262" fmla="*/ 684148 h 1865313"/>
                <a:gd name="connsiteX263" fmla="*/ 216545 w 2752725"/>
                <a:gd name="connsiteY263" fmla="*/ 647700 h 1865313"/>
                <a:gd name="connsiteX264" fmla="*/ 232123 w 2752725"/>
                <a:gd name="connsiteY264" fmla="*/ 655538 h 1865313"/>
                <a:gd name="connsiteX265" fmla="*/ 263277 w 2752725"/>
                <a:gd name="connsiteY265" fmla="*/ 702568 h 1865313"/>
                <a:gd name="connsiteX266" fmla="*/ 255489 w 2752725"/>
                <a:gd name="connsiteY266" fmla="*/ 733921 h 1865313"/>
                <a:gd name="connsiteX267" fmla="*/ 255489 w 2752725"/>
                <a:gd name="connsiteY267" fmla="*/ 765274 h 1865313"/>
                <a:gd name="connsiteX268" fmla="*/ 302221 w 2752725"/>
                <a:gd name="connsiteY268" fmla="*/ 804466 h 1865313"/>
                <a:gd name="connsiteX269" fmla="*/ 317798 w 2752725"/>
                <a:gd name="connsiteY269" fmla="*/ 843657 h 1865313"/>
                <a:gd name="connsiteX270" fmla="*/ 333375 w 2752725"/>
                <a:gd name="connsiteY270" fmla="*/ 875010 h 1865313"/>
                <a:gd name="connsiteX271" fmla="*/ 317798 w 2752725"/>
                <a:gd name="connsiteY271" fmla="*/ 882849 h 1865313"/>
                <a:gd name="connsiteX272" fmla="*/ 324886 w 2752725"/>
                <a:gd name="connsiteY272" fmla="*/ 897114 h 1865313"/>
                <a:gd name="connsiteX273" fmla="*/ 307579 w 2752725"/>
                <a:gd name="connsiteY273" fmla="*/ 897114 h 1865313"/>
                <a:gd name="connsiteX274" fmla="*/ 304649 w 2752725"/>
                <a:gd name="connsiteY274" fmla="*/ 897114 h 1865313"/>
                <a:gd name="connsiteX275" fmla="*/ 281214 w 2752725"/>
                <a:gd name="connsiteY275" fmla="*/ 881474 h 1865313"/>
                <a:gd name="connsiteX276" fmla="*/ 218722 w 2752725"/>
                <a:gd name="connsiteY276" fmla="*/ 873654 h 1865313"/>
                <a:gd name="connsiteX277" fmla="*/ 195287 w 2752725"/>
                <a:gd name="connsiteY277" fmla="*/ 850194 h 1865313"/>
                <a:gd name="connsiteX278" fmla="*/ 117172 w 2752725"/>
                <a:gd name="connsiteY278" fmla="*/ 811095 h 1865313"/>
                <a:gd name="connsiteX279" fmla="*/ 99108 w 2752725"/>
                <a:gd name="connsiteY279" fmla="*/ 806574 h 1865313"/>
                <a:gd name="connsiteX280" fmla="*/ 91134 w 2752725"/>
                <a:gd name="connsiteY280" fmla="*/ 804578 h 1865313"/>
                <a:gd name="connsiteX281" fmla="*/ 93738 w 2752725"/>
                <a:gd name="connsiteY281" fmla="*/ 803275 h 1865313"/>
                <a:gd name="connsiteX282" fmla="*/ 85926 w 2752725"/>
                <a:gd name="connsiteY282" fmla="*/ 803275 h 1865313"/>
                <a:gd name="connsiteX283" fmla="*/ 88890 w 2752725"/>
                <a:gd name="connsiteY283" fmla="*/ 804016 h 1865313"/>
                <a:gd name="connsiteX284" fmla="*/ 89832 w 2752725"/>
                <a:gd name="connsiteY284" fmla="*/ 804252 h 1865313"/>
                <a:gd name="connsiteX285" fmla="*/ 91001 w 2752725"/>
                <a:gd name="connsiteY285" fmla="*/ 804545 h 1865313"/>
                <a:gd name="connsiteX286" fmla="*/ 91134 w 2752725"/>
                <a:gd name="connsiteY286" fmla="*/ 804578 h 1865313"/>
                <a:gd name="connsiteX287" fmla="*/ 88944 w 2752725"/>
                <a:gd name="connsiteY287" fmla="*/ 805675 h 1865313"/>
                <a:gd name="connsiteX288" fmla="*/ 88784 w 2752725"/>
                <a:gd name="connsiteY288" fmla="*/ 805635 h 1865313"/>
                <a:gd name="connsiteX289" fmla="*/ 84138 w 2752725"/>
                <a:gd name="connsiteY289" fmla="*/ 804466 h 1865313"/>
                <a:gd name="connsiteX290" fmla="*/ 84138 w 2752725"/>
                <a:gd name="connsiteY290" fmla="*/ 773113 h 1865313"/>
                <a:gd name="connsiteX291" fmla="*/ 138659 w 2752725"/>
                <a:gd name="connsiteY291" fmla="*/ 741760 h 1865313"/>
                <a:gd name="connsiteX292" fmla="*/ 154236 w 2752725"/>
                <a:gd name="connsiteY292" fmla="*/ 686892 h 1865313"/>
                <a:gd name="connsiteX293" fmla="*/ 169813 w 2752725"/>
                <a:gd name="connsiteY293" fmla="*/ 663377 h 1865313"/>
                <a:gd name="connsiteX294" fmla="*/ 169813 w 2752725"/>
                <a:gd name="connsiteY294" fmla="*/ 655538 h 1865313"/>
                <a:gd name="connsiteX295" fmla="*/ 177602 w 2752725"/>
                <a:gd name="connsiteY295" fmla="*/ 655538 h 1865313"/>
                <a:gd name="connsiteX296" fmla="*/ 743492 w 2752725"/>
                <a:gd name="connsiteY296" fmla="*/ 639431 h 1865313"/>
                <a:gd name="connsiteX297" fmla="*/ 740185 w 2752725"/>
                <a:gd name="connsiteY297" fmla="*/ 655880 h 1865313"/>
                <a:gd name="connsiteX298" fmla="*/ 738841 w 2752725"/>
                <a:gd name="connsiteY298" fmla="*/ 662561 h 1865313"/>
                <a:gd name="connsiteX299" fmla="*/ 743624 w 2752725"/>
                <a:gd name="connsiteY299" fmla="*/ 660659 h 1865313"/>
                <a:gd name="connsiteX300" fmla="*/ 747696 w 2752725"/>
                <a:gd name="connsiteY300" fmla="*/ 640477 h 1865313"/>
                <a:gd name="connsiteX301" fmla="*/ 974824 w 2752725"/>
                <a:gd name="connsiteY301" fmla="*/ 612219 h 1865313"/>
                <a:gd name="connsiteX302" fmla="*/ 978663 w 2752725"/>
                <a:gd name="connsiteY302" fmla="*/ 616038 h 1865313"/>
                <a:gd name="connsiteX303" fmla="*/ 981998 w 2752725"/>
                <a:gd name="connsiteY303" fmla="*/ 625991 h 1865313"/>
                <a:gd name="connsiteX304" fmla="*/ 979488 w 2752725"/>
                <a:gd name="connsiteY304" fmla="*/ 615950 h 1865313"/>
                <a:gd name="connsiteX305" fmla="*/ 968811 w 2752725"/>
                <a:gd name="connsiteY305" fmla="*/ 577259 h 1865313"/>
                <a:gd name="connsiteX306" fmla="*/ 967517 w 2752725"/>
                <a:gd name="connsiteY306" fmla="*/ 582409 h 1865313"/>
                <a:gd name="connsiteX307" fmla="*/ 962985 w 2752725"/>
                <a:gd name="connsiteY307" fmla="*/ 600442 h 1865313"/>
                <a:gd name="connsiteX308" fmla="*/ 963977 w 2752725"/>
                <a:gd name="connsiteY308" fmla="*/ 601429 h 1865313"/>
                <a:gd name="connsiteX309" fmla="*/ 1103330 w 2752725"/>
                <a:gd name="connsiteY309" fmla="*/ 492024 h 1865313"/>
                <a:gd name="connsiteX310" fmla="*/ 1100168 w 2752725"/>
                <a:gd name="connsiteY310" fmla="*/ 495169 h 1865313"/>
                <a:gd name="connsiteX311" fmla="*/ 1072731 w 2752725"/>
                <a:gd name="connsiteY311" fmla="*/ 522462 h 1865313"/>
                <a:gd name="connsiteX312" fmla="*/ 1033536 w 2752725"/>
                <a:gd name="connsiteY312" fmla="*/ 553654 h 1865313"/>
                <a:gd name="connsiteX313" fmla="*/ 970824 w 2752725"/>
                <a:gd name="connsiteY313" fmla="*/ 569250 h 1865313"/>
                <a:gd name="connsiteX314" fmla="*/ 970278 w 2752725"/>
                <a:gd name="connsiteY314" fmla="*/ 571421 h 1865313"/>
                <a:gd name="connsiteX315" fmla="*/ 1033463 w 2752725"/>
                <a:gd name="connsiteY315" fmla="*/ 555625 h 1865313"/>
                <a:gd name="connsiteX316" fmla="*/ 1071563 w 2752725"/>
                <a:gd name="connsiteY316" fmla="*/ 523875 h 1865313"/>
                <a:gd name="connsiteX317" fmla="*/ 1103313 w 2752725"/>
                <a:gd name="connsiteY317" fmla="*/ 492125 h 1865313"/>
                <a:gd name="connsiteX318" fmla="*/ 1488812 w 2752725"/>
                <a:gd name="connsiteY318" fmla="*/ 414074 h 1865313"/>
                <a:gd name="connsiteX319" fmla="*/ 1550988 w 2752725"/>
                <a:gd name="connsiteY319" fmla="*/ 476250 h 1865313"/>
                <a:gd name="connsiteX320" fmla="*/ 1646238 w 2752725"/>
                <a:gd name="connsiteY320" fmla="*/ 485775 h 1865313"/>
                <a:gd name="connsiteX321" fmla="*/ 1694898 w 2752725"/>
                <a:gd name="connsiteY321" fmla="*/ 509132 h 1865313"/>
                <a:gd name="connsiteX322" fmla="*/ 1645210 w 2752725"/>
                <a:gd name="connsiteY322" fmla="*/ 483655 h 1865313"/>
                <a:gd name="connsiteX323" fmla="*/ 1551081 w 2752725"/>
                <a:gd name="connsiteY323" fmla="*/ 475870 h 1865313"/>
                <a:gd name="connsiteX324" fmla="*/ 2650945 w 2752725"/>
                <a:gd name="connsiteY324" fmla="*/ 398463 h 1865313"/>
                <a:gd name="connsiteX325" fmla="*/ 2682262 w 2752725"/>
                <a:gd name="connsiteY325" fmla="*/ 421797 h 1865313"/>
                <a:gd name="connsiteX326" fmla="*/ 2729237 w 2752725"/>
                <a:gd name="connsiteY326" fmla="*/ 437354 h 1865313"/>
                <a:gd name="connsiteX327" fmla="*/ 2752725 w 2752725"/>
                <a:gd name="connsiteY327" fmla="*/ 437354 h 1865313"/>
                <a:gd name="connsiteX328" fmla="*/ 2721408 w 2752725"/>
                <a:gd name="connsiteY328" fmla="*/ 468467 h 1865313"/>
                <a:gd name="connsiteX329" fmla="*/ 2697920 w 2752725"/>
                <a:gd name="connsiteY329" fmla="*/ 484023 h 1865313"/>
                <a:gd name="connsiteX330" fmla="*/ 2682262 w 2752725"/>
                <a:gd name="connsiteY330" fmla="*/ 508654 h 1865313"/>
                <a:gd name="connsiteX331" fmla="*/ 2643116 w 2752725"/>
                <a:gd name="connsiteY331" fmla="*/ 476245 h 1865313"/>
                <a:gd name="connsiteX332" fmla="*/ 2619628 w 2752725"/>
                <a:gd name="connsiteY332" fmla="*/ 524210 h 1865313"/>
                <a:gd name="connsiteX333" fmla="*/ 2650945 w 2752725"/>
                <a:gd name="connsiteY333" fmla="*/ 578658 h 1865313"/>
                <a:gd name="connsiteX334" fmla="*/ 2627457 w 2752725"/>
                <a:gd name="connsiteY334" fmla="*/ 617549 h 1865313"/>
                <a:gd name="connsiteX335" fmla="*/ 2619628 w 2752725"/>
                <a:gd name="connsiteY335" fmla="*/ 648662 h 1865313"/>
                <a:gd name="connsiteX336" fmla="*/ 2619628 w 2752725"/>
                <a:gd name="connsiteY336" fmla="*/ 703109 h 1865313"/>
                <a:gd name="connsiteX337" fmla="*/ 2603969 w 2752725"/>
                <a:gd name="connsiteY337" fmla="*/ 718665 h 1865313"/>
                <a:gd name="connsiteX338" fmla="*/ 2588311 w 2752725"/>
                <a:gd name="connsiteY338" fmla="*/ 710887 h 1865313"/>
                <a:gd name="connsiteX339" fmla="*/ 2572652 w 2752725"/>
                <a:gd name="connsiteY339" fmla="*/ 718665 h 1865313"/>
                <a:gd name="connsiteX340" fmla="*/ 2541335 w 2752725"/>
                <a:gd name="connsiteY340" fmla="*/ 718665 h 1865313"/>
                <a:gd name="connsiteX341" fmla="*/ 2525677 w 2752725"/>
                <a:gd name="connsiteY341" fmla="*/ 718665 h 1865313"/>
                <a:gd name="connsiteX342" fmla="*/ 2494360 w 2752725"/>
                <a:gd name="connsiteY342" fmla="*/ 749778 h 1865313"/>
                <a:gd name="connsiteX343" fmla="*/ 2486531 w 2752725"/>
                <a:gd name="connsiteY343" fmla="*/ 734222 h 1865313"/>
                <a:gd name="connsiteX344" fmla="*/ 2470872 w 2752725"/>
                <a:gd name="connsiteY344" fmla="*/ 742000 h 1865313"/>
                <a:gd name="connsiteX345" fmla="*/ 2455214 w 2752725"/>
                <a:gd name="connsiteY345" fmla="*/ 749778 h 1865313"/>
                <a:gd name="connsiteX346" fmla="*/ 2423897 w 2752725"/>
                <a:gd name="connsiteY346" fmla="*/ 773113 h 1865313"/>
                <a:gd name="connsiteX347" fmla="*/ 2408238 w 2752725"/>
                <a:gd name="connsiteY347" fmla="*/ 734222 h 1865313"/>
                <a:gd name="connsiteX348" fmla="*/ 2416067 w 2752725"/>
                <a:gd name="connsiteY348" fmla="*/ 718665 h 1865313"/>
                <a:gd name="connsiteX349" fmla="*/ 2463043 w 2752725"/>
                <a:gd name="connsiteY349" fmla="*/ 703109 h 1865313"/>
                <a:gd name="connsiteX350" fmla="*/ 2494360 w 2752725"/>
                <a:gd name="connsiteY350" fmla="*/ 703109 h 1865313"/>
                <a:gd name="connsiteX351" fmla="*/ 2549165 w 2752725"/>
                <a:gd name="connsiteY351" fmla="*/ 656440 h 1865313"/>
                <a:gd name="connsiteX352" fmla="*/ 2588311 w 2752725"/>
                <a:gd name="connsiteY352" fmla="*/ 640883 h 1865313"/>
                <a:gd name="connsiteX353" fmla="*/ 2596140 w 2752725"/>
                <a:gd name="connsiteY353" fmla="*/ 601992 h 1865313"/>
                <a:gd name="connsiteX354" fmla="*/ 2611799 w 2752725"/>
                <a:gd name="connsiteY354" fmla="*/ 539767 h 1865313"/>
                <a:gd name="connsiteX355" fmla="*/ 2611799 w 2752725"/>
                <a:gd name="connsiteY355" fmla="*/ 491801 h 1865313"/>
                <a:gd name="connsiteX356" fmla="*/ 2635286 w 2752725"/>
                <a:gd name="connsiteY356" fmla="*/ 460688 h 1865313"/>
                <a:gd name="connsiteX357" fmla="*/ 2635286 w 2752725"/>
                <a:gd name="connsiteY357" fmla="*/ 421797 h 1865313"/>
                <a:gd name="connsiteX358" fmla="*/ 1445389 w 2752725"/>
                <a:gd name="connsiteY358" fmla="*/ 395228 h 1865313"/>
                <a:gd name="connsiteX359" fmla="*/ 1481052 w 2752725"/>
                <a:gd name="connsiteY359" fmla="*/ 406373 h 1865313"/>
                <a:gd name="connsiteX360" fmla="*/ 1480484 w 2752725"/>
                <a:gd name="connsiteY360" fmla="*/ 405809 h 1865313"/>
                <a:gd name="connsiteX361" fmla="*/ 1173249 w 2752725"/>
                <a:gd name="connsiteY361" fmla="*/ 390095 h 1865313"/>
                <a:gd name="connsiteX362" fmla="*/ 1167780 w 2752725"/>
                <a:gd name="connsiteY362" fmla="*/ 390872 h 1865313"/>
                <a:gd name="connsiteX363" fmla="*/ 1119766 w 2752725"/>
                <a:gd name="connsiteY363" fmla="*/ 397695 h 1865313"/>
                <a:gd name="connsiteX364" fmla="*/ 1119521 w 2752725"/>
                <a:gd name="connsiteY364" fmla="*/ 399157 h 1865313"/>
                <a:gd name="connsiteX365" fmla="*/ 1119377 w 2752725"/>
                <a:gd name="connsiteY365" fmla="*/ 400017 h 1865313"/>
                <a:gd name="connsiteX366" fmla="*/ 1173163 w 2752725"/>
                <a:gd name="connsiteY366" fmla="*/ 390525 h 1865313"/>
                <a:gd name="connsiteX367" fmla="*/ 1212762 w 2752725"/>
                <a:gd name="connsiteY367" fmla="*/ 314709 h 1865313"/>
                <a:gd name="connsiteX368" fmla="*/ 1252538 w 2752725"/>
                <a:gd name="connsiteY368" fmla="*/ 320675 h 1865313"/>
                <a:gd name="connsiteX369" fmla="*/ 1252864 w 2752725"/>
                <a:gd name="connsiteY369" fmla="*/ 319695 h 1865313"/>
                <a:gd name="connsiteX370" fmla="*/ 1252050 w 2752725"/>
                <a:gd name="connsiteY370" fmla="*/ 319594 h 1865313"/>
                <a:gd name="connsiteX371" fmla="*/ 1226573 w 2752725"/>
                <a:gd name="connsiteY371" fmla="*/ 316426 h 1865313"/>
                <a:gd name="connsiteX372" fmla="*/ 1315755 w 2752725"/>
                <a:gd name="connsiteY372" fmla="*/ 266983 h 1865313"/>
                <a:gd name="connsiteX373" fmla="*/ 1312863 w 2752725"/>
                <a:gd name="connsiteY373" fmla="*/ 269875 h 1865313"/>
                <a:gd name="connsiteX374" fmla="*/ 1309688 w 2752725"/>
                <a:gd name="connsiteY374" fmla="*/ 276225 h 1865313"/>
                <a:gd name="connsiteX375" fmla="*/ 1315812 w 2752725"/>
                <a:gd name="connsiteY375" fmla="*/ 267039 h 1865313"/>
                <a:gd name="connsiteX376" fmla="*/ 2666603 w 2752725"/>
                <a:gd name="connsiteY376" fmla="*/ 53975 h 1865313"/>
                <a:gd name="connsiteX377" fmla="*/ 2682082 w 2752725"/>
                <a:gd name="connsiteY377" fmla="*/ 101111 h 1865313"/>
                <a:gd name="connsiteX378" fmla="*/ 2682082 w 2752725"/>
                <a:gd name="connsiteY378" fmla="*/ 132536 h 1865313"/>
                <a:gd name="connsiteX379" fmla="*/ 2713038 w 2752725"/>
                <a:gd name="connsiteY379" fmla="*/ 258234 h 1865313"/>
                <a:gd name="connsiteX380" fmla="*/ 2689821 w 2752725"/>
                <a:gd name="connsiteY380" fmla="*/ 242521 h 1865313"/>
                <a:gd name="connsiteX381" fmla="*/ 2682082 w 2752725"/>
                <a:gd name="connsiteY381" fmla="*/ 273946 h 1865313"/>
                <a:gd name="connsiteX382" fmla="*/ 2682082 w 2752725"/>
                <a:gd name="connsiteY382" fmla="*/ 313226 h 1865313"/>
                <a:gd name="connsiteX383" fmla="*/ 2705299 w 2752725"/>
                <a:gd name="connsiteY383" fmla="*/ 360363 h 1865313"/>
                <a:gd name="connsiteX384" fmla="*/ 2666603 w 2752725"/>
                <a:gd name="connsiteY384" fmla="*/ 344651 h 1865313"/>
                <a:gd name="connsiteX385" fmla="*/ 2666603 w 2752725"/>
                <a:gd name="connsiteY385" fmla="*/ 289658 h 1865313"/>
                <a:gd name="connsiteX386" fmla="*/ 2658864 w 2752725"/>
                <a:gd name="connsiteY386" fmla="*/ 171816 h 1865313"/>
                <a:gd name="connsiteX387" fmla="*/ 2651125 w 2752725"/>
                <a:gd name="connsiteY387" fmla="*/ 140392 h 1865313"/>
                <a:gd name="connsiteX388" fmla="*/ 2658864 w 2752725"/>
                <a:gd name="connsiteY388" fmla="*/ 93255 h 1865313"/>
                <a:gd name="connsiteX389" fmla="*/ 861077 w 2752725"/>
                <a:gd name="connsiteY389" fmla="*/ 0 h 1865313"/>
                <a:gd name="connsiteX390" fmla="*/ 923790 w 2752725"/>
                <a:gd name="connsiteY390" fmla="*/ 70181 h 1865313"/>
                <a:gd name="connsiteX391" fmla="*/ 994341 w 2752725"/>
                <a:gd name="connsiteY391" fmla="*/ 46788 h 1865313"/>
                <a:gd name="connsiteX392" fmla="*/ 1033536 w 2752725"/>
                <a:gd name="connsiteY392" fmla="*/ 46788 h 1865313"/>
                <a:gd name="connsiteX393" fmla="*/ 1064892 w 2752725"/>
                <a:gd name="connsiteY393" fmla="*/ 109171 h 1865313"/>
                <a:gd name="connsiteX394" fmla="*/ 1096249 w 2752725"/>
                <a:gd name="connsiteY394" fmla="*/ 179353 h 1865313"/>
                <a:gd name="connsiteX395" fmla="*/ 1174639 w 2752725"/>
                <a:gd name="connsiteY395" fmla="*/ 179353 h 1865313"/>
                <a:gd name="connsiteX396" fmla="*/ 1237351 w 2752725"/>
                <a:gd name="connsiteY396" fmla="*/ 210544 h 1865313"/>
                <a:gd name="connsiteX397" fmla="*/ 1292225 w 2752725"/>
                <a:gd name="connsiteY397" fmla="*/ 226140 h 1865313"/>
                <a:gd name="connsiteX398" fmla="*/ 1292225 w 2752725"/>
                <a:gd name="connsiteY398" fmla="*/ 265130 h 1865313"/>
                <a:gd name="connsiteX399" fmla="*/ 1268708 w 2752725"/>
                <a:gd name="connsiteY399" fmla="*/ 272928 h 1865313"/>
                <a:gd name="connsiteX400" fmla="*/ 1268690 w 2752725"/>
                <a:gd name="connsiteY400" fmla="*/ 272981 h 1865313"/>
                <a:gd name="connsiteX401" fmla="*/ 1293813 w 2752725"/>
                <a:gd name="connsiteY401" fmla="*/ 266700 h 1865313"/>
                <a:gd name="connsiteX402" fmla="*/ 1309688 w 2752725"/>
                <a:gd name="connsiteY402" fmla="*/ 257175 h 1865313"/>
                <a:gd name="connsiteX403" fmla="*/ 1314843 w 2752725"/>
                <a:gd name="connsiteY403" fmla="*/ 264907 h 1865313"/>
                <a:gd name="connsiteX404" fmla="*/ 1330138 w 2752725"/>
                <a:gd name="connsiteY404" fmla="*/ 234549 h 1865313"/>
                <a:gd name="connsiteX405" fmla="*/ 1385047 w 2752725"/>
                <a:gd name="connsiteY405" fmla="*/ 203411 h 1865313"/>
                <a:gd name="connsiteX406" fmla="*/ 1472639 w 2752725"/>
                <a:gd name="connsiteY406" fmla="*/ 195626 h 1865313"/>
                <a:gd name="connsiteX407" fmla="*/ 1535392 w 2752725"/>
                <a:gd name="connsiteY407" fmla="*/ 218980 h 1865313"/>
                <a:gd name="connsiteX408" fmla="*/ 1566769 w 2752725"/>
                <a:gd name="connsiteY408" fmla="*/ 172273 h 1865313"/>
                <a:gd name="connsiteX409" fmla="*/ 1598145 w 2752725"/>
                <a:gd name="connsiteY409" fmla="*/ 133350 h 1865313"/>
                <a:gd name="connsiteX410" fmla="*/ 1692275 w 2752725"/>
                <a:gd name="connsiteY410" fmla="*/ 180057 h 1865313"/>
                <a:gd name="connsiteX411" fmla="*/ 1715807 w 2752725"/>
                <a:gd name="connsiteY411" fmla="*/ 203411 h 1865313"/>
                <a:gd name="connsiteX412" fmla="*/ 1794249 w 2752725"/>
                <a:gd name="connsiteY412" fmla="*/ 203411 h 1865313"/>
                <a:gd name="connsiteX413" fmla="*/ 1841313 w 2752725"/>
                <a:gd name="connsiteY413" fmla="*/ 242334 h 1865313"/>
                <a:gd name="connsiteX414" fmla="*/ 1966819 w 2752725"/>
                <a:gd name="connsiteY414" fmla="*/ 211195 h 1865313"/>
                <a:gd name="connsiteX415" fmla="*/ 2021728 w 2752725"/>
                <a:gd name="connsiteY415" fmla="*/ 226764 h 1865313"/>
                <a:gd name="connsiteX416" fmla="*/ 2006040 w 2752725"/>
                <a:gd name="connsiteY416" fmla="*/ 257903 h 1865313"/>
                <a:gd name="connsiteX417" fmla="*/ 2006040 w 2752725"/>
                <a:gd name="connsiteY417" fmla="*/ 296825 h 1865313"/>
                <a:gd name="connsiteX418" fmla="*/ 2076637 w 2752725"/>
                <a:gd name="connsiteY418" fmla="*/ 304610 h 1865313"/>
                <a:gd name="connsiteX419" fmla="*/ 2092325 w 2752725"/>
                <a:gd name="connsiteY419" fmla="*/ 335748 h 1865313"/>
                <a:gd name="connsiteX420" fmla="*/ 2021728 w 2752725"/>
                <a:gd name="connsiteY420" fmla="*/ 359102 h 1865313"/>
                <a:gd name="connsiteX421" fmla="*/ 1966819 w 2752725"/>
                <a:gd name="connsiteY421" fmla="*/ 382456 h 1865313"/>
                <a:gd name="connsiteX422" fmla="*/ 1911911 w 2752725"/>
                <a:gd name="connsiteY422" fmla="*/ 405809 h 1865313"/>
                <a:gd name="connsiteX423" fmla="*/ 1896222 w 2752725"/>
                <a:gd name="connsiteY423" fmla="*/ 460301 h 1865313"/>
                <a:gd name="connsiteX424" fmla="*/ 1809937 w 2752725"/>
                <a:gd name="connsiteY424" fmla="*/ 468086 h 1865313"/>
                <a:gd name="connsiteX425" fmla="*/ 1724487 w 2752725"/>
                <a:gd name="connsiteY425" fmla="*/ 523335 h 1865313"/>
                <a:gd name="connsiteX426" fmla="*/ 1725613 w 2752725"/>
                <a:gd name="connsiteY426" fmla="*/ 523875 h 1865313"/>
                <a:gd name="connsiteX427" fmla="*/ 1811338 w 2752725"/>
                <a:gd name="connsiteY427" fmla="*/ 469900 h 1865313"/>
                <a:gd name="connsiteX428" fmla="*/ 1897063 w 2752725"/>
                <a:gd name="connsiteY428" fmla="*/ 460375 h 1865313"/>
                <a:gd name="connsiteX429" fmla="*/ 1912938 w 2752725"/>
                <a:gd name="connsiteY429" fmla="*/ 406400 h 1865313"/>
                <a:gd name="connsiteX430" fmla="*/ 1966913 w 2752725"/>
                <a:gd name="connsiteY430" fmla="*/ 384175 h 1865313"/>
                <a:gd name="connsiteX431" fmla="*/ 2024063 w 2752725"/>
                <a:gd name="connsiteY431" fmla="*/ 358775 h 1865313"/>
                <a:gd name="connsiteX432" fmla="*/ 2093913 w 2752725"/>
                <a:gd name="connsiteY432" fmla="*/ 336550 h 1865313"/>
                <a:gd name="connsiteX433" fmla="*/ 2078038 w 2752725"/>
                <a:gd name="connsiteY433" fmla="*/ 304800 h 1865313"/>
                <a:gd name="connsiteX434" fmla="*/ 2008188 w 2752725"/>
                <a:gd name="connsiteY434" fmla="*/ 295275 h 1865313"/>
                <a:gd name="connsiteX435" fmla="*/ 2008188 w 2752725"/>
                <a:gd name="connsiteY435" fmla="*/ 257175 h 1865313"/>
                <a:gd name="connsiteX436" fmla="*/ 2024063 w 2752725"/>
                <a:gd name="connsiteY436" fmla="*/ 225425 h 1865313"/>
                <a:gd name="connsiteX437" fmla="*/ 2030413 w 2752725"/>
                <a:gd name="connsiteY437" fmla="*/ 209550 h 1865313"/>
                <a:gd name="connsiteX438" fmla="*/ 2078038 w 2752725"/>
                <a:gd name="connsiteY438" fmla="*/ 209550 h 1865313"/>
                <a:gd name="connsiteX439" fmla="*/ 2125663 w 2752725"/>
                <a:gd name="connsiteY439" fmla="*/ 123825 h 1865313"/>
                <a:gd name="connsiteX440" fmla="*/ 2147888 w 2752725"/>
                <a:gd name="connsiteY440" fmla="*/ 85725 h 1865313"/>
                <a:gd name="connsiteX441" fmla="*/ 2220913 w 2752725"/>
                <a:gd name="connsiteY441" fmla="*/ 85725 h 1865313"/>
                <a:gd name="connsiteX442" fmla="*/ 2297113 w 2752725"/>
                <a:gd name="connsiteY442" fmla="*/ 225425 h 1865313"/>
                <a:gd name="connsiteX443" fmla="*/ 2360613 w 2752725"/>
                <a:gd name="connsiteY443" fmla="*/ 241300 h 1865313"/>
                <a:gd name="connsiteX444" fmla="*/ 2376488 w 2752725"/>
                <a:gd name="connsiteY444" fmla="*/ 273050 h 1865313"/>
                <a:gd name="connsiteX445" fmla="*/ 2471738 w 2752725"/>
                <a:gd name="connsiteY445" fmla="*/ 273050 h 1865313"/>
                <a:gd name="connsiteX446" fmla="*/ 2430463 w 2752725"/>
                <a:gd name="connsiteY446" fmla="*/ 390525 h 1865313"/>
                <a:gd name="connsiteX447" fmla="*/ 2392363 w 2752725"/>
                <a:gd name="connsiteY447" fmla="*/ 400050 h 1865313"/>
                <a:gd name="connsiteX448" fmla="*/ 2376488 w 2752725"/>
                <a:gd name="connsiteY448" fmla="*/ 485775 h 1865313"/>
                <a:gd name="connsiteX449" fmla="*/ 2354263 w 2752725"/>
                <a:gd name="connsiteY449" fmla="*/ 476250 h 1865313"/>
                <a:gd name="connsiteX450" fmla="*/ 2335213 w 2752725"/>
                <a:gd name="connsiteY450" fmla="*/ 488950 h 1865313"/>
                <a:gd name="connsiteX451" fmla="*/ 2312988 w 2752725"/>
                <a:gd name="connsiteY451" fmla="*/ 508000 h 1865313"/>
                <a:gd name="connsiteX452" fmla="*/ 2297113 w 2752725"/>
                <a:gd name="connsiteY452" fmla="*/ 523875 h 1865313"/>
                <a:gd name="connsiteX453" fmla="*/ 2312988 w 2752725"/>
                <a:gd name="connsiteY453" fmla="*/ 555625 h 1865313"/>
                <a:gd name="connsiteX454" fmla="*/ 2312988 w 2752725"/>
                <a:gd name="connsiteY454" fmla="*/ 577850 h 1865313"/>
                <a:gd name="connsiteX455" fmla="*/ 2312988 w 2752725"/>
                <a:gd name="connsiteY455" fmla="*/ 603250 h 1865313"/>
                <a:gd name="connsiteX456" fmla="*/ 2316163 w 2752725"/>
                <a:gd name="connsiteY456" fmla="*/ 606425 h 1865313"/>
                <a:gd name="connsiteX457" fmla="*/ 2319338 w 2752725"/>
                <a:gd name="connsiteY457" fmla="*/ 612775 h 1865313"/>
                <a:gd name="connsiteX458" fmla="*/ 2322513 w 2752725"/>
                <a:gd name="connsiteY458" fmla="*/ 615950 h 1865313"/>
                <a:gd name="connsiteX459" fmla="*/ 2322513 w 2752725"/>
                <a:gd name="connsiteY459" fmla="*/ 622300 h 1865313"/>
                <a:gd name="connsiteX460" fmla="*/ 2344738 w 2752725"/>
                <a:gd name="connsiteY460" fmla="*/ 679450 h 1865313"/>
                <a:gd name="connsiteX461" fmla="*/ 2338388 w 2752725"/>
                <a:gd name="connsiteY461" fmla="*/ 704850 h 1865313"/>
                <a:gd name="connsiteX462" fmla="*/ 2322513 w 2752725"/>
                <a:gd name="connsiteY462" fmla="*/ 717550 h 1865313"/>
                <a:gd name="connsiteX463" fmla="*/ 2290763 w 2752725"/>
                <a:gd name="connsiteY463" fmla="*/ 727075 h 1865313"/>
                <a:gd name="connsiteX464" fmla="*/ 2259013 w 2752725"/>
                <a:gd name="connsiteY464" fmla="*/ 727075 h 1865313"/>
                <a:gd name="connsiteX465" fmla="*/ 2274888 w 2752725"/>
                <a:gd name="connsiteY465" fmla="*/ 679450 h 1865313"/>
                <a:gd name="connsiteX466" fmla="*/ 2274888 w 2752725"/>
                <a:gd name="connsiteY466" fmla="*/ 641350 h 1865313"/>
                <a:gd name="connsiteX467" fmla="*/ 2274888 w 2752725"/>
                <a:gd name="connsiteY467" fmla="*/ 638175 h 1865313"/>
                <a:gd name="connsiteX468" fmla="*/ 2268538 w 2752725"/>
                <a:gd name="connsiteY468" fmla="*/ 628650 h 1865313"/>
                <a:gd name="connsiteX469" fmla="*/ 2265363 w 2752725"/>
                <a:gd name="connsiteY469" fmla="*/ 615950 h 1865313"/>
                <a:gd name="connsiteX470" fmla="*/ 2259013 w 2752725"/>
                <a:gd name="connsiteY470" fmla="*/ 593725 h 1865313"/>
                <a:gd name="connsiteX471" fmla="*/ 2227263 w 2752725"/>
                <a:gd name="connsiteY471" fmla="*/ 571500 h 1865313"/>
                <a:gd name="connsiteX472" fmla="*/ 2220913 w 2752725"/>
                <a:gd name="connsiteY472" fmla="*/ 571500 h 1865313"/>
                <a:gd name="connsiteX473" fmla="*/ 2211388 w 2752725"/>
                <a:gd name="connsiteY473" fmla="*/ 571500 h 1865313"/>
                <a:gd name="connsiteX474" fmla="*/ 2173288 w 2752725"/>
                <a:gd name="connsiteY474" fmla="*/ 587375 h 1865313"/>
                <a:gd name="connsiteX475" fmla="*/ 2157413 w 2752725"/>
                <a:gd name="connsiteY475" fmla="*/ 593725 h 1865313"/>
                <a:gd name="connsiteX476" fmla="*/ 2141538 w 2752725"/>
                <a:gd name="connsiteY476" fmla="*/ 577850 h 1865313"/>
                <a:gd name="connsiteX477" fmla="*/ 2163763 w 2752725"/>
                <a:gd name="connsiteY477" fmla="*/ 546100 h 1865313"/>
                <a:gd name="connsiteX478" fmla="*/ 2147888 w 2752725"/>
                <a:gd name="connsiteY478" fmla="*/ 546100 h 1865313"/>
                <a:gd name="connsiteX479" fmla="*/ 2109788 w 2752725"/>
                <a:gd name="connsiteY479" fmla="*/ 571500 h 1865313"/>
                <a:gd name="connsiteX480" fmla="*/ 2084388 w 2752725"/>
                <a:gd name="connsiteY480" fmla="*/ 593725 h 1865313"/>
                <a:gd name="connsiteX481" fmla="*/ 2046288 w 2752725"/>
                <a:gd name="connsiteY481" fmla="*/ 609600 h 1865313"/>
                <a:gd name="connsiteX482" fmla="*/ 2062163 w 2752725"/>
                <a:gd name="connsiteY482" fmla="*/ 625475 h 1865313"/>
                <a:gd name="connsiteX483" fmla="*/ 2078038 w 2752725"/>
                <a:gd name="connsiteY483" fmla="*/ 647700 h 1865313"/>
                <a:gd name="connsiteX484" fmla="*/ 2093913 w 2752725"/>
                <a:gd name="connsiteY484" fmla="*/ 657225 h 1865313"/>
                <a:gd name="connsiteX485" fmla="*/ 2116138 w 2752725"/>
                <a:gd name="connsiteY485" fmla="*/ 647700 h 1865313"/>
                <a:gd name="connsiteX486" fmla="*/ 2157413 w 2752725"/>
                <a:gd name="connsiteY486" fmla="*/ 657225 h 1865313"/>
                <a:gd name="connsiteX487" fmla="*/ 2160588 w 2752725"/>
                <a:gd name="connsiteY487" fmla="*/ 663575 h 1865313"/>
                <a:gd name="connsiteX488" fmla="*/ 2160588 w 2752725"/>
                <a:gd name="connsiteY488" fmla="*/ 669925 h 1865313"/>
                <a:gd name="connsiteX489" fmla="*/ 2157413 w 2752725"/>
                <a:gd name="connsiteY489" fmla="*/ 673100 h 1865313"/>
                <a:gd name="connsiteX490" fmla="*/ 2132013 w 2752725"/>
                <a:gd name="connsiteY490" fmla="*/ 679450 h 1865313"/>
                <a:gd name="connsiteX491" fmla="*/ 2100263 w 2752725"/>
                <a:gd name="connsiteY491" fmla="*/ 717550 h 1865313"/>
                <a:gd name="connsiteX492" fmla="*/ 2093913 w 2752725"/>
                <a:gd name="connsiteY492" fmla="*/ 727075 h 1865313"/>
                <a:gd name="connsiteX493" fmla="*/ 2132013 w 2752725"/>
                <a:gd name="connsiteY493" fmla="*/ 806450 h 1865313"/>
                <a:gd name="connsiteX494" fmla="*/ 2141538 w 2752725"/>
                <a:gd name="connsiteY494" fmla="*/ 835025 h 1865313"/>
                <a:gd name="connsiteX495" fmla="*/ 2132013 w 2752725"/>
                <a:gd name="connsiteY495" fmla="*/ 860425 h 1865313"/>
                <a:gd name="connsiteX496" fmla="*/ 2141538 w 2752725"/>
                <a:gd name="connsiteY496" fmla="*/ 876300 h 1865313"/>
                <a:gd name="connsiteX497" fmla="*/ 2141538 w 2752725"/>
                <a:gd name="connsiteY497" fmla="*/ 898525 h 1865313"/>
                <a:gd name="connsiteX498" fmla="*/ 2116138 w 2752725"/>
                <a:gd name="connsiteY498" fmla="*/ 946150 h 1865313"/>
                <a:gd name="connsiteX499" fmla="*/ 2093913 w 2752725"/>
                <a:gd name="connsiteY499" fmla="*/ 977900 h 1865313"/>
                <a:gd name="connsiteX500" fmla="*/ 2078038 w 2752725"/>
                <a:gd name="connsiteY500" fmla="*/ 1009650 h 1865313"/>
                <a:gd name="connsiteX501" fmla="*/ 2039938 w 2752725"/>
                <a:gd name="connsiteY501" fmla="*/ 1038225 h 1865313"/>
                <a:gd name="connsiteX502" fmla="*/ 1998663 w 2752725"/>
                <a:gd name="connsiteY502" fmla="*/ 1063625 h 1865313"/>
                <a:gd name="connsiteX503" fmla="*/ 1966913 w 2752725"/>
                <a:gd name="connsiteY503" fmla="*/ 1079500 h 1865313"/>
                <a:gd name="connsiteX504" fmla="*/ 1951038 w 2752725"/>
                <a:gd name="connsiteY504" fmla="*/ 1069975 h 1865313"/>
                <a:gd name="connsiteX505" fmla="*/ 1935163 w 2752725"/>
                <a:gd name="connsiteY505" fmla="*/ 1079500 h 1865313"/>
                <a:gd name="connsiteX506" fmla="*/ 1928813 w 2752725"/>
                <a:gd name="connsiteY506" fmla="*/ 1085850 h 1865313"/>
                <a:gd name="connsiteX507" fmla="*/ 1901449 w 2752725"/>
                <a:gd name="connsiteY507" fmla="*/ 1096795 h 1865313"/>
                <a:gd name="connsiteX508" fmla="*/ 1919564 w 2752725"/>
                <a:gd name="connsiteY508" fmla="*/ 1110413 h 1865313"/>
                <a:gd name="connsiteX509" fmla="*/ 1928261 w 2752725"/>
                <a:gd name="connsiteY509" fmla="*/ 1136563 h 1865313"/>
                <a:gd name="connsiteX510" fmla="*/ 1902171 w 2752725"/>
                <a:gd name="connsiteY510" fmla="*/ 1153996 h 1865313"/>
                <a:gd name="connsiteX511" fmla="*/ 1884777 w 2752725"/>
                <a:gd name="connsiteY511" fmla="*/ 1171429 h 1865313"/>
                <a:gd name="connsiteX512" fmla="*/ 1902171 w 2752725"/>
                <a:gd name="connsiteY512" fmla="*/ 1206295 h 1865313"/>
                <a:gd name="connsiteX513" fmla="*/ 1936958 w 2752725"/>
                <a:gd name="connsiteY513" fmla="*/ 1249878 h 1865313"/>
                <a:gd name="connsiteX514" fmla="*/ 1954351 w 2752725"/>
                <a:gd name="connsiteY514" fmla="*/ 1276028 h 1865313"/>
                <a:gd name="connsiteX515" fmla="*/ 1989138 w 2752725"/>
                <a:gd name="connsiteY515" fmla="*/ 1390797 h 1865313"/>
                <a:gd name="connsiteX516" fmla="*/ 1945655 w 2752725"/>
                <a:gd name="connsiteY516" fmla="*/ 1434380 h 1865313"/>
                <a:gd name="connsiteX517" fmla="*/ 1884777 w 2752725"/>
                <a:gd name="connsiteY517" fmla="*/ 1477963 h 1865313"/>
                <a:gd name="connsiteX518" fmla="*/ 1858687 w 2752725"/>
                <a:gd name="connsiteY518" fmla="*/ 1451813 h 1865313"/>
                <a:gd name="connsiteX519" fmla="*/ 1849990 w 2752725"/>
                <a:gd name="connsiteY519" fmla="*/ 1443097 h 1865313"/>
                <a:gd name="connsiteX520" fmla="*/ 1852672 w 2752725"/>
                <a:gd name="connsiteY520" fmla="*/ 1441753 h 1865313"/>
                <a:gd name="connsiteX521" fmla="*/ 1836837 w 2752725"/>
                <a:gd name="connsiteY521" fmla="*/ 1433983 h 1865313"/>
                <a:gd name="connsiteX522" fmla="*/ 1790700 w 2752725"/>
                <a:gd name="connsiteY522" fmla="*/ 1388837 h 1865313"/>
                <a:gd name="connsiteX523" fmla="*/ 1790700 w 2752725"/>
                <a:gd name="connsiteY523" fmla="*/ 1388439 h 1865313"/>
                <a:gd name="connsiteX524" fmla="*/ 1778920 w 2752725"/>
                <a:gd name="connsiteY524" fmla="*/ 1378335 h 1865313"/>
                <a:gd name="connsiteX525" fmla="*/ 1726992 w 2752725"/>
                <a:gd name="connsiteY525" fmla="*/ 1388863 h 1865313"/>
                <a:gd name="connsiteX526" fmla="*/ 1717677 w 2752725"/>
                <a:gd name="connsiteY526" fmla="*/ 1407022 h 1865313"/>
                <a:gd name="connsiteX527" fmla="*/ 1717721 w 2752725"/>
                <a:gd name="connsiteY527" fmla="*/ 1407344 h 1865313"/>
                <a:gd name="connsiteX528" fmla="*/ 1715013 w 2752725"/>
                <a:gd name="connsiteY528" fmla="*/ 1412214 h 1865313"/>
                <a:gd name="connsiteX529" fmla="*/ 1699990 w 2752725"/>
                <a:gd name="connsiteY529" fmla="*/ 1441501 h 1865313"/>
                <a:gd name="connsiteX530" fmla="*/ 1716607 w 2752725"/>
                <a:gd name="connsiteY530" fmla="*/ 1464662 h 1865313"/>
                <a:gd name="connsiteX531" fmla="*/ 1749840 w 2752725"/>
                <a:gd name="connsiteY531" fmla="*/ 1517300 h 1865313"/>
                <a:gd name="connsiteX532" fmla="*/ 1783074 w 2752725"/>
                <a:gd name="connsiteY532" fmla="*/ 1538355 h 1865313"/>
                <a:gd name="connsiteX533" fmla="*/ 1776843 w 2752725"/>
                <a:gd name="connsiteY533" fmla="*/ 1546777 h 1865313"/>
                <a:gd name="connsiteX534" fmla="*/ 1769743 w 2752725"/>
                <a:gd name="connsiteY534" fmla="*/ 1548217 h 1865313"/>
                <a:gd name="connsiteX535" fmla="*/ 1781810 w 2752725"/>
                <a:gd name="connsiteY535" fmla="*/ 1554833 h 1865313"/>
                <a:gd name="connsiteX536" fmla="*/ 1781048 w 2752725"/>
                <a:gd name="connsiteY536" fmla="*/ 1565910 h 1865313"/>
                <a:gd name="connsiteX537" fmla="*/ 1802385 w 2752725"/>
                <a:gd name="connsiteY537" fmla="*/ 1562663 h 1865313"/>
                <a:gd name="connsiteX538" fmla="*/ 1808671 w 2752725"/>
                <a:gd name="connsiteY538" fmla="*/ 1552541 h 1865313"/>
                <a:gd name="connsiteX539" fmla="*/ 1815720 w 2752725"/>
                <a:gd name="connsiteY539" fmla="*/ 1556361 h 1865313"/>
                <a:gd name="connsiteX540" fmla="*/ 1848104 w 2752725"/>
                <a:gd name="connsiteY540" fmla="*/ 1592840 h 1865313"/>
                <a:gd name="connsiteX541" fmla="*/ 1848104 w 2752725"/>
                <a:gd name="connsiteY541" fmla="*/ 1640970 h 1865313"/>
                <a:gd name="connsiteX542" fmla="*/ 1861439 w 2752725"/>
                <a:gd name="connsiteY542" fmla="*/ 1652812 h 1865313"/>
                <a:gd name="connsiteX543" fmla="*/ 1882775 w 2752725"/>
                <a:gd name="connsiteY543" fmla="*/ 1689100 h 1865313"/>
                <a:gd name="connsiteX544" fmla="*/ 1869440 w 2752725"/>
                <a:gd name="connsiteY544" fmla="*/ 1688336 h 1865313"/>
                <a:gd name="connsiteX545" fmla="*/ 1806195 w 2752725"/>
                <a:gd name="connsiteY545" fmla="*/ 1652048 h 1865313"/>
                <a:gd name="connsiteX546" fmla="*/ 1768475 w 2752725"/>
                <a:gd name="connsiteY546" fmla="*/ 1606210 h 1865313"/>
                <a:gd name="connsiteX547" fmla="*/ 1754188 w 2752725"/>
                <a:gd name="connsiteY547" fmla="*/ 1549294 h 1865313"/>
                <a:gd name="connsiteX548" fmla="*/ 1756071 w 2752725"/>
                <a:gd name="connsiteY548" fmla="*/ 1544740 h 1865313"/>
                <a:gd name="connsiteX549" fmla="*/ 1756071 w 2752725"/>
                <a:gd name="connsiteY549" fmla="*/ 1540461 h 1865313"/>
                <a:gd name="connsiteX550" fmla="*/ 1731146 w 2752725"/>
                <a:gd name="connsiteY550" fmla="*/ 1525722 h 1865313"/>
                <a:gd name="connsiteX551" fmla="*/ 1729069 w 2752725"/>
                <a:gd name="connsiteY551" fmla="*/ 1534144 h 1865313"/>
                <a:gd name="connsiteX552" fmla="*/ 1687527 w 2752725"/>
                <a:gd name="connsiteY552" fmla="*/ 1485717 h 1865313"/>
                <a:gd name="connsiteX553" fmla="*/ 1693901 w 2752725"/>
                <a:gd name="connsiteY553" fmla="*/ 1450183 h 1865313"/>
                <a:gd name="connsiteX554" fmla="*/ 1687281 w 2752725"/>
                <a:gd name="connsiteY554" fmla="*/ 1462088 h 1865313"/>
                <a:gd name="connsiteX555" fmla="*/ 1687103 w 2752725"/>
                <a:gd name="connsiteY555" fmla="*/ 1453424 h 1865313"/>
                <a:gd name="connsiteX556" fmla="*/ 1685815 w 2752725"/>
                <a:gd name="connsiteY556" fmla="*/ 1455738 h 1865313"/>
                <a:gd name="connsiteX557" fmla="*/ 1682665 w 2752725"/>
                <a:gd name="connsiteY557" fmla="*/ 1377299 h 1865313"/>
                <a:gd name="connsiteX558" fmla="*/ 1682334 w 2752725"/>
                <a:gd name="connsiteY558" fmla="*/ 1360649 h 1865313"/>
                <a:gd name="connsiteX559" fmla="*/ 1668966 w 2752725"/>
                <a:gd name="connsiteY559" fmla="*/ 1322432 h 1865313"/>
                <a:gd name="connsiteX560" fmla="*/ 1667584 w 2752725"/>
                <a:gd name="connsiteY560" fmla="*/ 1316360 h 1865313"/>
                <a:gd name="connsiteX561" fmla="*/ 1667486 w 2752725"/>
                <a:gd name="connsiteY561" fmla="*/ 1316082 h 1865313"/>
                <a:gd name="connsiteX562" fmla="*/ 1662509 w 2752725"/>
                <a:gd name="connsiteY562" fmla="*/ 1294231 h 1865313"/>
                <a:gd name="connsiteX563" fmla="*/ 1628434 w 2752725"/>
                <a:gd name="connsiteY563" fmla="*/ 1295893 h 1865313"/>
                <a:gd name="connsiteX564" fmla="*/ 1568875 w 2752725"/>
                <a:gd name="connsiteY564" fmla="*/ 1286279 h 1865313"/>
                <a:gd name="connsiteX565" fmla="*/ 1570359 w 2752725"/>
                <a:gd name="connsiteY565" fmla="*/ 1279921 h 1865313"/>
                <a:gd name="connsiteX566" fmla="*/ 1567318 w 2752725"/>
                <a:gd name="connsiteY566" fmla="*/ 1279929 h 1865313"/>
                <a:gd name="connsiteX567" fmla="*/ 1578355 w 2752725"/>
                <a:gd name="connsiteY567" fmla="*/ 1232683 h 1865313"/>
                <a:gd name="connsiteX568" fmla="*/ 1528763 w 2752725"/>
                <a:gd name="connsiteY568" fmla="*/ 1144563 h 1865313"/>
                <a:gd name="connsiteX569" fmla="*/ 1529258 w 2752725"/>
                <a:gd name="connsiteY569" fmla="*/ 1141911 h 1865313"/>
                <a:gd name="connsiteX570" fmla="*/ 1527175 w 2752725"/>
                <a:gd name="connsiteY570" fmla="*/ 1138213 h 1865313"/>
                <a:gd name="connsiteX571" fmla="*/ 1534754 w 2752725"/>
                <a:gd name="connsiteY571" fmla="*/ 1097645 h 1865313"/>
                <a:gd name="connsiteX572" fmla="*/ 1535016 w 2752725"/>
                <a:gd name="connsiteY572" fmla="*/ 1097156 h 1865313"/>
                <a:gd name="connsiteX573" fmla="*/ 1528258 w 2752725"/>
                <a:gd name="connsiteY573" fmla="*/ 1094688 h 1865313"/>
                <a:gd name="connsiteX574" fmla="*/ 1511372 w 2752725"/>
                <a:gd name="connsiteY574" fmla="*/ 1085548 h 1865313"/>
                <a:gd name="connsiteX575" fmla="*/ 1528173 w 2752725"/>
                <a:gd name="connsiteY575" fmla="*/ 1048856 h 1865313"/>
                <a:gd name="connsiteX576" fmla="*/ 1486477 w 2752725"/>
                <a:gd name="connsiteY576" fmla="*/ 1033271 h 1865313"/>
                <a:gd name="connsiteX577" fmla="*/ 1461106 w 2752725"/>
                <a:gd name="connsiteY577" fmla="*/ 1011540 h 1865313"/>
                <a:gd name="connsiteX578" fmla="*/ 1449220 w 2752725"/>
                <a:gd name="connsiteY578" fmla="*/ 1011084 h 1865313"/>
                <a:gd name="connsiteX579" fmla="*/ 1446044 w 2752725"/>
                <a:gd name="connsiteY579" fmla="*/ 1011422 h 1865313"/>
                <a:gd name="connsiteX580" fmla="*/ 1445895 w 2752725"/>
                <a:gd name="connsiteY580" fmla="*/ 1011848 h 1865313"/>
                <a:gd name="connsiteX581" fmla="*/ 1468438 w 2752725"/>
                <a:gd name="connsiteY581" fmla="*/ 1022594 h 1865313"/>
                <a:gd name="connsiteX582" fmla="*/ 1460924 w 2752725"/>
                <a:gd name="connsiteY582" fmla="*/ 1065579 h 1865313"/>
                <a:gd name="connsiteX583" fmla="*/ 1453409 w 2752725"/>
                <a:gd name="connsiteY583" fmla="*/ 1054833 h 1865313"/>
                <a:gd name="connsiteX584" fmla="*/ 1428085 w 2752725"/>
                <a:gd name="connsiteY584" fmla="*/ 1063887 h 1865313"/>
                <a:gd name="connsiteX585" fmla="*/ 1430532 w 2752725"/>
                <a:gd name="connsiteY585" fmla="*/ 1075396 h 1865313"/>
                <a:gd name="connsiteX586" fmla="*/ 1437367 w 2752725"/>
                <a:gd name="connsiteY586" fmla="*/ 1107546 h 1865313"/>
                <a:gd name="connsiteX587" fmla="*/ 1377103 w 2752725"/>
                <a:gd name="connsiteY587" fmla="*/ 1111464 h 1865313"/>
                <a:gd name="connsiteX588" fmla="*/ 1340577 w 2752725"/>
                <a:gd name="connsiteY588" fmla="*/ 1158220 h 1865313"/>
                <a:gd name="connsiteX589" fmla="*/ 1291331 w 2752725"/>
                <a:gd name="connsiteY589" fmla="*/ 1187164 h 1865313"/>
                <a:gd name="connsiteX590" fmla="*/ 1238140 w 2752725"/>
                <a:gd name="connsiteY590" fmla="*/ 1233920 h 1865313"/>
                <a:gd name="connsiteX591" fmla="*/ 1185018 w 2752725"/>
                <a:gd name="connsiteY591" fmla="*/ 1290116 h 1865313"/>
                <a:gd name="connsiteX592" fmla="*/ 1177400 w 2752725"/>
                <a:gd name="connsiteY592" fmla="*/ 1347827 h 1865313"/>
                <a:gd name="connsiteX593" fmla="*/ 1169781 w 2752725"/>
                <a:gd name="connsiteY593" fmla="*/ 1413285 h 1865313"/>
                <a:gd name="connsiteX594" fmla="*/ 1162231 w 2752725"/>
                <a:gd name="connsiteY594" fmla="*/ 1450690 h 1865313"/>
                <a:gd name="connsiteX595" fmla="*/ 1160224 w 2752725"/>
                <a:gd name="connsiteY595" fmla="*/ 1453789 h 1865313"/>
                <a:gd name="connsiteX596" fmla="*/ 1160463 w 2752725"/>
                <a:gd name="connsiteY596" fmla="*/ 1453974 h 1865313"/>
                <a:gd name="connsiteX597" fmla="*/ 1144134 w 2752725"/>
                <a:gd name="connsiteY597" fmla="*/ 1484313 h 1865313"/>
                <a:gd name="connsiteX598" fmla="*/ 1140457 w 2752725"/>
                <a:gd name="connsiteY598" fmla="*/ 1484313 h 1865313"/>
                <a:gd name="connsiteX599" fmla="*/ 1131895 w 2752725"/>
                <a:gd name="connsiteY599" fmla="*/ 1497535 h 1865313"/>
                <a:gd name="connsiteX600" fmla="*/ 1109109 w 2752725"/>
                <a:gd name="connsiteY600" fmla="*/ 1525588 h 1865313"/>
                <a:gd name="connsiteX601" fmla="*/ 1086322 w 2752725"/>
                <a:gd name="connsiteY601" fmla="*/ 1478832 h 1865313"/>
                <a:gd name="connsiteX602" fmla="*/ 1063536 w 2752725"/>
                <a:gd name="connsiteY602" fmla="*/ 1431987 h 1865313"/>
                <a:gd name="connsiteX603" fmla="*/ 1025650 w 2752725"/>
                <a:gd name="connsiteY603" fmla="*/ 1347827 h 1865313"/>
                <a:gd name="connsiteX604" fmla="*/ 1002795 w 2752725"/>
                <a:gd name="connsiteY604" fmla="*/ 1271325 h 1865313"/>
                <a:gd name="connsiteX605" fmla="*/ 987627 w 2752725"/>
                <a:gd name="connsiteY605" fmla="*/ 1093564 h 1865313"/>
                <a:gd name="connsiteX606" fmla="*/ 942122 w 2752725"/>
                <a:gd name="connsiteY606" fmla="*/ 1130968 h 1865313"/>
                <a:gd name="connsiteX607" fmla="*/ 919336 w 2752725"/>
                <a:gd name="connsiteY607" fmla="*/ 1093564 h 1865313"/>
                <a:gd name="connsiteX608" fmla="*/ 889609 w 2752725"/>
                <a:gd name="connsiteY608" fmla="*/ 1047660 h 1865313"/>
                <a:gd name="connsiteX609" fmla="*/ 870677 w 2752725"/>
                <a:gd name="connsiteY609" fmla="*/ 1031471 h 1865313"/>
                <a:gd name="connsiteX610" fmla="*/ 782595 w 2752725"/>
                <a:gd name="connsiteY610" fmla="*/ 1009142 h 1865313"/>
                <a:gd name="connsiteX611" fmla="*/ 669675 w 2752725"/>
                <a:gd name="connsiteY611" fmla="*/ 1012160 h 1865313"/>
                <a:gd name="connsiteX612" fmla="*/ 694955 w 2752725"/>
                <a:gd name="connsiteY612" fmla="*/ 968104 h 1865313"/>
                <a:gd name="connsiteX613" fmla="*/ 699795 w 2752725"/>
                <a:gd name="connsiteY613" fmla="*/ 942314 h 1865313"/>
                <a:gd name="connsiteX614" fmla="*/ 698835 w 2752725"/>
                <a:gd name="connsiteY614" fmla="*/ 930045 h 1865313"/>
                <a:gd name="connsiteX615" fmla="*/ 698155 w 2752725"/>
                <a:gd name="connsiteY615" fmla="*/ 917307 h 1865313"/>
                <a:gd name="connsiteX616" fmla="*/ 672955 w 2752725"/>
                <a:gd name="connsiteY616" fmla="*/ 904921 h 1865313"/>
                <a:gd name="connsiteX617" fmla="*/ 651675 w 2752725"/>
                <a:gd name="connsiteY617" fmla="*/ 873172 h 1865313"/>
                <a:gd name="connsiteX618" fmla="*/ 672265 w 2752725"/>
                <a:gd name="connsiteY618" fmla="*/ 874887 h 1865313"/>
                <a:gd name="connsiteX619" fmla="*/ 693615 w 2752725"/>
                <a:gd name="connsiteY619" fmla="*/ 875407 h 1865313"/>
                <a:gd name="connsiteX620" fmla="*/ 689594 w 2752725"/>
                <a:gd name="connsiteY620" fmla="*/ 874779 h 1865313"/>
                <a:gd name="connsiteX621" fmla="*/ 674474 w 2752725"/>
                <a:gd name="connsiteY621" fmla="*/ 874503 h 1865313"/>
                <a:gd name="connsiteX622" fmla="*/ 657622 w 2752725"/>
                <a:gd name="connsiteY622" fmla="*/ 872651 h 1865313"/>
                <a:gd name="connsiteX623" fmla="*/ 644254 w 2752725"/>
                <a:gd name="connsiteY623" fmla="*/ 868048 h 1865313"/>
                <a:gd name="connsiteX624" fmla="*/ 642091 w 2752725"/>
                <a:gd name="connsiteY624" fmla="*/ 874482 h 1865313"/>
                <a:gd name="connsiteX625" fmla="*/ 649923 w 2752725"/>
                <a:gd name="connsiteY625" fmla="*/ 890010 h 1865313"/>
                <a:gd name="connsiteX626" fmla="*/ 681249 w 2752725"/>
                <a:gd name="connsiteY626" fmla="*/ 921067 h 1865313"/>
                <a:gd name="connsiteX627" fmla="*/ 689081 w 2752725"/>
                <a:gd name="connsiteY627" fmla="*/ 936596 h 1865313"/>
                <a:gd name="connsiteX628" fmla="*/ 696913 w 2752725"/>
                <a:gd name="connsiteY628" fmla="*/ 959889 h 1865313"/>
                <a:gd name="connsiteX629" fmla="*/ 657754 w 2752725"/>
                <a:gd name="connsiteY629" fmla="*/ 975418 h 1865313"/>
                <a:gd name="connsiteX630" fmla="*/ 657754 w 2752725"/>
                <a:gd name="connsiteY630" fmla="*/ 1006475 h 1865313"/>
                <a:gd name="connsiteX631" fmla="*/ 642091 w 2752725"/>
                <a:gd name="connsiteY631" fmla="*/ 1006475 h 1865313"/>
                <a:gd name="connsiteX632" fmla="*/ 555943 w 2752725"/>
                <a:gd name="connsiteY632" fmla="*/ 983182 h 1865313"/>
                <a:gd name="connsiteX633" fmla="*/ 532448 w 2752725"/>
                <a:gd name="connsiteY633" fmla="*/ 952125 h 1865313"/>
                <a:gd name="connsiteX634" fmla="*/ 493289 w 2752725"/>
                <a:gd name="connsiteY634" fmla="*/ 959889 h 1865313"/>
                <a:gd name="connsiteX635" fmla="*/ 446299 w 2752725"/>
                <a:gd name="connsiteY635" fmla="*/ 952125 h 1865313"/>
                <a:gd name="connsiteX636" fmla="*/ 407141 w 2752725"/>
                <a:gd name="connsiteY636" fmla="*/ 921067 h 1865313"/>
                <a:gd name="connsiteX637" fmla="*/ 375814 w 2752725"/>
                <a:gd name="connsiteY637" fmla="*/ 882246 h 1865313"/>
                <a:gd name="connsiteX638" fmla="*/ 344488 w 2752725"/>
                <a:gd name="connsiteY638" fmla="*/ 858953 h 1865313"/>
                <a:gd name="connsiteX639" fmla="*/ 336656 w 2752725"/>
                <a:gd name="connsiteY639" fmla="*/ 874482 h 1865313"/>
                <a:gd name="connsiteX640" fmla="*/ 320993 w 2752725"/>
                <a:gd name="connsiteY640" fmla="*/ 843424 h 1865313"/>
                <a:gd name="connsiteX641" fmla="*/ 305329 w 2752725"/>
                <a:gd name="connsiteY641" fmla="*/ 804603 h 1865313"/>
                <a:gd name="connsiteX642" fmla="*/ 258339 w 2752725"/>
                <a:gd name="connsiteY642" fmla="*/ 765781 h 1865313"/>
                <a:gd name="connsiteX643" fmla="*/ 258339 w 2752725"/>
                <a:gd name="connsiteY643" fmla="*/ 734724 h 1865313"/>
                <a:gd name="connsiteX644" fmla="*/ 266171 w 2752725"/>
                <a:gd name="connsiteY644" fmla="*/ 703667 h 1865313"/>
                <a:gd name="connsiteX645" fmla="*/ 234844 w 2752725"/>
                <a:gd name="connsiteY645" fmla="*/ 657081 h 1865313"/>
                <a:gd name="connsiteX646" fmla="*/ 227013 w 2752725"/>
                <a:gd name="connsiteY646" fmla="*/ 633788 h 1865313"/>
                <a:gd name="connsiteX647" fmla="*/ 227013 w 2752725"/>
                <a:gd name="connsiteY647" fmla="*/ 579438 h 1865313"/>
                <a:gd name="connsiteX648" fmla="*/ 250508 w 2752725"/>
                <a:gd name="connsiteY648" fmla="*/ 594966 h 1865313"/>
                <a:gd name="connsiteX649" fmla="*/ 274003 w 2752725"/>
                <a:gd name="connsiteY649" fmla="*/ 602731 h 1865313"/>
                <a:gd name="connsiteX650" fmla="*/ 305329 w 2752725"/>
                <a:gd name="connsiteY650" fmla="*/ 579438 h 1865313"/>
                <a:gd name="connsiteX651" fmla="*/ 320993 w 2752725"/>
                <a:gd name="connsiteY651" fmla="*/ 594966 h 1865313"/>
                <a:gd name="connsiteX652" fmla="*/ 320993 w 2752725"/>
                <a:gd name="connsiteY652" fmla="*/ 610495 h 1865313"/>
                <a:gd name="connsiteX653" fmla="*/ 344488 w 2752725"/>
                <a:gd name="connsiteY653" fmla="*/ 626024 h 1865313"/>
                <a:gd name="connsiteX654" fmla="*/ 344488 w 2752725"/>
                <a:gd name="connsiteY654" fmla="*/ 649317 h 1865313"/>
                <a:gd name="connsiteX655" fmla="*/ 375814 w 2752725"/>
                <a:gd name="connsiteY655" fmla="*/ 649317 h 1865313"/>
                <a:gd name="connsiteX656" fmla="*/ 399309 w 2752725"/>
                <a:gd name="connsiteY656" fmla="*/ 664845 h 1865313"/>
                <a:gd name="connsiteX657" fmla="*/ 430636 w 2752725"/>
                <a:gd name="connsiteY657" fmla="*/ 664845 h 1865313"/>
                <a:gd name="connsiteX658" fmla="*/ 461963 w 2752725"/>
                <a:gd name="connsiteY658" fmla="*/ 657081 h 1865313"/>
                <a:gd name="connsiteX659" fmla="*/ 469794 w 2752725"/>
                <a:gd name="connsiteY659" fmla="*/ 641552 h 1865313"/>
                <a:gd name="connsiteX660" fmla="*/ 508953 w 2752725"/>
                <a:gd name="connsiteY660" fmla="*/ 626024 h 1865313"/>
                <a:gd name="connsiteX661" fmla="*/ 540279 w 2752725"/>
                <a:gd name="connsiteY661" fmla="*/ 618259 h 1865313"/>
                <a:gd name="connsiteX662" fmla="*/ 579438 w 2752725"/>
                <a:gd name="connsiteY662" fmla="*/ 641552 h 1865313"/>
                <a:gd name="connsiteX663" fmla="*/ 610764 w 2752725"/>
                <a:gd name="connsiteY663" fmla="*/ 664845 h 1865313"/>
                <a:gd name="connsiteX664" fmla="*/ 623980 w 2752725"/>
                <a:gd name="connsiteY664" fmla="*/ 668121 h 1865313"/>
                <a:gd name="connsiteX665" fmla="*/ 641584 w 2752725"/>
                <a:gd name="connsiteY665" fmla="*/ 672484 h 1865313"/>
                <a:gd name="connsiteX666" fmla="*/ 641584 w 2752725"/>
                <a:gd name="connsiteY666" fmla="*/ 670623 h 1865313"/>
                <a:gd name="connsiteX667" fmla="*/ 610228 w 2752725"/>
                <a:gd name="connsiteY667" fmla="*/ 662825 h 1865313"/>
                <a:gd name="connsiteX668" fmla="*/ 578872 w 2752725"/>
                <a:gd name="connsiteY668" fmla="*/ 639431 h 1865313"/>
                <a:gd name="connsiteX669" fmla="*/ 539676 w 2752725"/>
                <a:gd name="connsiteY669" fmla="*/ 616038 h 1865313"/>
                <a:gd name="connsiteX670" fmla="*/ 508320 w 2752725"/>
                <a:gd name="connsiteY670" fmla="*/ 623835 h 1865313"/>
                <a:gd name="connsiteX671" fmla="*/ 469125 w 2752725"/>
                <a:gd name="connsiteY671" fmla="*/ 639431 h 1865313"/>
                <a:gd name="connsiteX672" fmla="*/ 461286 w 2752725"/>
                <a:gd name="connsiteY672" fmla="*/ 655027 h 1865313"/>
                <a:gd name="connsiteX673" fmla="*/ 469125 w 2752725"/>
                <a:gd name="connsiteY673" fmla="*/ 592644 h 1865313"/>
                <a:gd name="connsiteX674" fmla="*/ 437769 w 2752725"/>
                <a:gd name="connsiteY674" fmla="*/ 561452 h 1865313"/>
                <a:gd name="connsiteX675" fmla="*/ 437769 w 2752725"/>
                <a:gd name="connsiteY675" fmla="*/ 491270 h 1865313"/>
                <a:gd name="connsiteX676" fmla="*/ 406412 w 2752725"/>
                <a:gd name="connsiteY676" fmla="*/ 460079 h 1865313"/>
                <a:gd name="connsiteX677" fmla="*/ 382895 w 2752725"/>
                <a:gd name="connsiteY677" fmla="*/ 405493 h 1865313"/>
                <a:gd name="connsiteX678" fmla="*/ 406412 w 2752725"/>
                <a:gd name="connsiteY678" fmla="*/ 389897 h 1865313"/>
                <a:gd name="connsiteX679" fmla="*/ 437769 w 2752725"/>
                <a:gd name="connsiteY679" fmla="*/ 389897 h 1865313"/>
                <a:gd name="connsiteX680" fmla="*/ 484803 w 2752725"/>
                <a:gd name="connsiteY680" fmla="*/ 382099 h 1865313"/>
                <a:gd name="connsiteX681" fmla="*/ 429930 w 2752725"/>
                <a:gd name="connsiteY681" fmla="*/ 319716 h 1865313"/>
                <a:gd name="connsiteX682" fmla="*/ 382895 w 2752725"/>
                <a:gd name="connsiteY682" fmla="*/ 319716 h 1865313"/>
                <a:gd name="connsiteX683" fmla="*/ 328022 w 2752725"/>
                <a:gd name="connsiteY683" fmla="*/ 327514 h 1865313"/>
                <a:gd name="connsiteX684" fmla="*/ 312344 w 2752725"/>
                <a:gd name="connsiteY684" fmla="*/ 288524 h 1865313"/>
                <a:gd name="connsiteX685" fmla="*/ 280988 w 2752725"/>
                <a:gd name="connsiteY685" fmla="*/ 257332 h 1865313"/>
                <a:gd name="connsiteX686" fmla="*/ 304505 w 2752725"/>
                <a:gd name="connsiteY686" fmla="*/ 202746 h 1865313"/>
                <a:gd name="connsiteX687" fmla="*/ 382895 w 2752725"/>
                <a:gd name="connsiteY687" fmla="*/ 163757 h 1865313"/>
                <a:gd name="connsiteX688" fmla="*/ 453447 w 2752725"/>
                <a:gd name="connsiteY688" fmla="*/ 155959 h 1865313"/>
                <a:gd name="connsiteX689" fmla="*/ 492642 w 2752725"/>
                <a:gd name="connsiteY689" fmla="*/ 187151 h 1865313"/>
                <a:gd name="connsiteX690" fmla="*/ 539676 w 2752725"/>
                <a:gd name="connsiteY690" fmla="*/ 179353 h 1865313"/>
                <a:gd name="connsiteX691" fmla="*/ 594550 w 2752725"/>
                <a:gd name="connsiteY691" fmla="*/ 187151 h 1865313"/>
                <a:gd name="connsiteX692" fmla="*/ 649423 w 2752725"/>
                <a:gd name="connsiteY692" fmla="*/ 179353 h 1865313"/>
                <a:gd name="connsiteX693" fmla="*/ 633745 w 2752725"/>
                <a:gd name="connsiteY693" fmla="*/ 124767 h 1865313"/>
                <a:gd name="connsiteX694" fmla="*/ 665101 w 2752725"/>
                <a:gd name="connsiteY694" fmla="*/ 54585 h 1865313"/>
                <a:gd name="connsiteX695" fmla="*/ 767009 w 2752725"/>
                <a:gd name="connsiteY695" fmla="*/ 23394 h 1865313"/>
                <a:gd name="connsiteX696" fmla="*/ 861077 w 2752725"/>
                <a:gd name="connsiteY696" fmla="*/ 0 h 1865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</a:cxnLst>
              <a:rect l="l" t="t" r="r" b="b"/>
              <a:pathLst>
                <a:path w="2752725" h="1865313">
                  <a:moveTo>
                    <a:pt x="1827540" y="1804988"/>
                  </a:moveTo>
                  <a:cubicBezTo>
                    <a:pt x="1882122" y="1804988"/>
                    <a:pt x="1882122" y="1804988"/>
                    <a:pt x="1882122" y="1804988"/>
                  </a:cubicBezTo>
                  <a:cubicBezTo>
                    <a:pt x="1913311" y="1812529"/>
                    <a:pt x="1913311" y="1812529"/>
                    <a:pt x="1913311" y="1812529"/>
                  </a:cubicBezTo>
                  <a:cubicBezTo>
                    <a:pt x="1936704" y="1827610"/>
                    <a:pt x="1936704" y="1827610"/>
                    <a:pt x="1936704" y="1827610"/>
                  </a:cubicBezTo>
                  <a:cubicBezTo>
                    <a:pt x="1999083" y="1842691"/>
                    <a:pt x="1999083" y="1842691"/>
                    <a:pt x="1999083" y="1842691"/>
                  </a:cubicBezTo>
                  <a:cubicBezTo>
                    <a:pt x="2022475" y="1865313"/>
                    <a:pt x="2022475" y="1865313"/>
                    <a:pt x="2022475" y="1865313"/>
                  </a:cubicBezTo>
                  <a:cubicBezTo>
                    <a:pt x="1960096" y="1857773"/>
                    <a:pt x="1960096" y="1857773"/>
                    <a:pt x="1960096" y="1857773"/>
                  </a:cubicBezTo>
                  <a:cubicBezTo>
                    <a:pt x="1905514" y="1850232"/>
                    <a:pt x="1905514" y="1850232"/>
                    <a:pt x="1905514" y="1850232"/>
                  </a:cubicBezTo>
                  <a:cubicBezTo>
                    <a:pt x="1905514" y="1850232"/>
                    <a:pt x="1835337" y="1835151"/>
                    <a:pt x="1819743" y="1835151"/>
                  </a:cubicBezTo>
                  <a:cubicBezTo>
                    <a:pt x="1811945" y="1827610"/>
                    <a:pt x="1757363" y="1812529"/>
                    <a:pt x="1757363" y="1812529"/>
                  </a:cubicBezTo>
                  <a:cubicBezTo>
                    <a:pt x="1827540" y="1804988"/>
                    <a:pt x="1827540" y="1804988"/>
                    <a:pt x="1827540" y="1804988"/>
                  </a:cubicBezTo>
                  <a:close/>
                  <a:moveTo>
                    <a:pt x="1520825" y="1516063"/>
                  </a:moveTo>
                  <a:cubicBezTo>
                    <a:pt x="1551960" y="1516063"/>
                    <a:pt x="1551960" y="1516063"/>
                    <a:pt x="1551960" y="1516063"/>
                  </a:cubicBezTo>
                  <a:cubicBezTo>
                    <a:pt x="1583096" y="1562848"/>
                    <a:pt x="1583096" y="1562848"/>
                    <a:pt x="1583096" y="1562848"/>
                  </a:cubicBezTo>
                  <a:cubicBezTo>
                    <a:pt x="1606447" y="1578443"/>
                    <a:pt x="1606447" y="1578443"/>
                    <a:pt x="1606447" y="1578443"/>
                  </a:cubicBezTo>
                  <a:cubicBezTo>
                    <a:pt x="1645367" y="1594037"/>
                    <a:pt x="1645367" y="1594037"/>
                    <a:pt x="1645367" y="1594037"/>
                  </a:cubicBezTo>
                  <a:cubicBezTo>
                    <a:pt x="1707638" y="1648619"/>
                    <a:pt x="1707638" y="1648619"/>
                    <a:pt x="1707638" y="1648619"/>
                  </a:cubicBezTo>
                  <a:cubicBezTo>
                    <a:pt x="1723205" y="1672011"/>
                    <a:pt x="1723205" y="1672011"/>
                    <a:pt x="1723205" y="1672011"/>
                  </a:cubicBezTo>
                  <a:cubicBezTo>
                    <a:pt x="1754341" y="1710999"/>
                    <a:pt x="1754341" y="1710999"/>
                    <a:pt x="1754341" y="1710999"/>
                  </a:cubicBezTo>
                  <a:cubicBezTo>
                    <a:pt x="1762125" y="1757783"/>
                    <a:pt x="1762125" y="1757783"/>
                    <a:pt x="1762125" y="1757783"/>
                  </a:cubicBezTo>
                  <a:cubicBezTo>
                    <a:pt x="1730989" y="1781175"/>
                    <a:pt x="1730989" y="1781175"/>
                    <a:pt x="1730989" y="1781175"/>
                  </a:cubicBezTo>
                  <a:cubicBezTo>
                    <a:pt x="1684286" y="1742188"/>
                    <a:pt x="1684286" y="1742188"/>
                    <a:pt x="1684286" y="1742188"/>
                  </a:cubicBezTo>
                  <a:cubicBezTo>
                    <a:pt x="1637583" y="1718796"/>
                    <a:pt x="1637583" y="1718796"/>
                    <a:pt x="1637583" y="1718796"/>
                  </a:cubicBezTo>
                  <a:cubicBezTo>
                    <a:pt x="1614231" y="1656417"/>
                    <a:pt x="1614231" y="1656417"/>
                    <a:pt x="1614231" y="1656417"/>
                  </a:cubicBezTo>
                  <a:cubicBezTo>
                    <a:pt x="1590880" y="1640822"/>
                    <a:pt x="1590880" y="1640822"/>
                    <a:pt x="1590880" y="1640822"/>
                  </a:cubicBezTo>
                  <a:cubicBezTo>
                    <a:pt x="1590880" y="1640822"/>
                    <a:pt x="1575312" y="1617430"/>
                    <a:pt x="1567528" y="1609632"/>
                  </a:cubicBezTo>
                  <a:cubicBezTo>
                    <a:pt x="1551960" y="1601835"/>
                    <a:pt x="1528609" y="1578443"/>
                    <a:pt x="1528609" y="1578443"/>
                  </a:cubicBezTo>
                  <a:close/>
                  <a:moveTo>
                    <a:pt x="2085045" y="1481138"/>
                  </a:moveTo>
                  <a:lnTo>
                    <a:pt x="2116357" y="1496733"/>
                  </a:lnTo>
                  <a:lnTo>
                    <a:pt x="2132013" y="1520125"/>
                  </a:lnTo>
                  <a:lnTo>
                    <a:pt x="2108529" y="1543518"/>
                  </a:lnTo>
                  <a:lnTo>
                    <a:pt x="2100701" y="1566910"/>
                  </a:lnTo>
                  <a:lnTo>
                    <a:pt x="2108529" y="1598099"/>
                  </a:lnTo>
                  <a:lnTo>
                    <a:pt x="2132013" y="1621492"/>
                  </a:lnTo>
                  <a:lnTo>
                    <a:pt x="2129860" y="1622922"/>
                  </a:lnTo>
                  <a:lnTo>
                    <a:pt x="2164380" y="1616004"/>
                  </a:lnTo>
                  <a:lnTo>
                    <a:pt x="2219325" y="1608138"/>
                  </a:lnTo>
                  <a:lnTo>
                    <a:pt x="2219325" y="1623869"/>
                  </a:lnTo>
                  <a:lnTo>
                    <a:pt x="2195777" y="1623869"/>
                  </a:lnTo>
                  <a:lnTo>
                    <a:pt x="2148682" y="1639600"/>
                  </a:lnTo>
                  <a:lnTo>
                    <a:pt x="2132983" y="1663195"/>
                  </a:lnTo>
                  <a:lnTo>
                    <a:pt x="2187928" y="1663195"/>
                  </a:lnTo>
                  <a:lnTo>
                    <a:pt x="2195777" y="1686791"/>
                  </a:lnTo>
                  <a:lnTo>
                    <a:pt x="2180079" y="1694657"/>
                  </a:lnTo>
                  <a:lnTo>
                    <a:pt x="2164380" y="1710387"/>
                  </a:lnTo>
                  <a:lnTo>
                    <a:pt x="2195777" y="1741849"/>
                  </a:lnTo>
                  <a:lnTo>
                    <a:pt x="2203627" y="1773310"/>
                  </a:lnTo>
                  <a:lnTo>
                    <a:pt x="2172230" y="1773310"/>
                  </a:lnTo>
                  <a:lnTo>
                    <a:pt x="2148682" y="1749714"/>
                  </a:lnTo>
                  <a:lnTo>
                    <a:pt x="2125134" y="1718253"/>
                  </a:lnTo>
                  <a:lnTo>
                    <a:pt x="2125134" y="1757579"/>
                  </a:lnTo>
                  <a:lnTo>
                    <a:pt x="2125134" y="1781175"/>
                  </a:lnTo>
                  <a:lnTo>
                    <a:pt x="2093737" y="1773310"/>
                  </a:lnTo>
                  <a:lnTo>
                    <a:pt x="2093737" y="1749714"/>
                  </a:lnTo>
                  <a:lnTo>
                    <a:pt x="2078038" y="1718253"/>
                  </a:lnTo>
                  <a:lnTo>
                    <a:pt x="2085888" y="1694657"/>
                  </a:lnTo>
                  <a:lnTo>
                    <a:pt x="2109435" y="1639600"/>
                  </a:lnTo>
                  <a:lnTo>
                    <a:pt x="2118651" y="1630365"/>
                  </a:lnTo>
                  <a:lnTo>
                    <a:pt x="2108529" y="1637086"/>
                  </a:lnTo>
                  <a:lnTo>
                    <a:pt x="2100701" y="1652681"/>
                  </a:lnTo>
                  <a:lnTo>
                    <a:pt x="2085045" y="1676074"/>
                  </a:lnTo>
                  <a:lnTo>
                    <a:pt x="2069389" y="1699466"/>
                  </a:lnTo>
                  <a:lnTo>
                    <a:pt x="2053733" y="1738453"/>
                  </a:lnTo>
                  <a:lnTo>
                    <a:pt x="2022421" y="1746250"/>
                  </a:lnTo>
                  <a:lnTo>
                    <a:pt x="1998937" y="1730655"/>
                  </a:lnTo>
                  <a:lnTo>
                    <a:pt x="1959796" y="1730655"/>
                  </a:lnTo>
                  <a:lnTo>
                    <a:pt x="1936312" y="1730655"/>
                  </a:lnTo>
                  <a:lnTo>
                    <a:pt x="1920656" y="1699466"/>
                  </a:lnTo>
                  <a:lnTo>
                    <a:pt x="1905000" y="1668276"/>
                  </a:lnTo>
                  <a:lnTo>
                    <a:pt x="1905000" y="1621492"/>
                  </a:lnTo>
                  <a:lnTo>
                    <a:pt x="1920656" y="1598099"/>
                  </a:lnTo>
                  <a:lnTo>
                    <a:pt x="1951968" y="1590302"/>
                  </a:lnTo>
                  <a:lnTo>
                    <a:pt x="1983281" y="1566910"/>
                  </a:lnTo>
                  <a:lnTo>
                    <a:pt x="2030249" y="1512328"/>
                  </a:lnTo>
                  <a:close/>
                  <a:moveTo>
                    <a:pt x="2234671" y="1406525"/>
                  </a:moveTo>
                  <a:lnTo>
                    <a:pt x="2273300" y="1437217"/>
                  </a:lnTo>
                  <a:lnTo>
                    <a:pt x="2273300" y="1498600"/>
                  </a:lnTo>
                  <a:lnTo>
                    <a:pt x="2234671" y="1483254"/>
                  </a:lnTo>
                  <a:lnTo>
                    <a:pt x="2211494" y="1483254"/>
                  </a:lnTo>
                  <a:lnTo>
                    <a:pt x="2188316" y="1467909"/>
                  </a:lnTo>
                  <a:lnTo>
                    <a:pt x="2157413" y="1475581"/>
                  </a:lnTo>
                  <a:lnTo>
                    <a:pt x="2180591" y="1437217"/>
                  </a:lnTo>
                  <a:lnTo>
                    <a:pt x="2211494" y="1437217"/>
                  </a:lnTo>
                  <a:close/>
                  <a:moveTo>
                    <a:pt x="1810077" y="1334119"/>
                  </a:moveTo>
                  <a:lnTo>
                    <a:pt x="1797579" y="1348196"/>
                  </a:lnTo>
                  <a:lnTo>
                    <a:pt x="1818382" y="1334600"/>
                  </a:lnTo>
                  <a:lnTo>
                    <a:pt x="1821327" y="1334119"/>
                  </a:lnTo>
                  <a:close/>
                  <a:moveTo>
                    <a:pt x="1881010" y="1308817"/>
                  </a:moveTo>
                  <a:lnTo>
                    <a:pt x="1873923" y="1325580"/>
                  </a:lnTo>
                  <a:lnTo>
                    <a:pt x="1875648" y="1325762"/>
                  </a:lnTo>
                  <a:close/>
                  <a:moveTo>
                    <a:pt x="1703414" y="1307852"/>
                  </a:moveTo>
                  <a:lnTo>
                    <a:pt x="1703829" y="1310858"/>
                  </a:lnTo>
                  <a:lnTo>
                    <a:pt x="1704526" y="1311738"/>
                  </a:lnTo>
                  <a:lnTo>
                    <a:pt x="1705502" y="1318813"/>
                  </a:lnTo>
                  <a:lnTo>
                    <a:pt x="1706221" y="1315169"/>
                  </a:lnTo>
                  <a:close/>
                  <a:moveTo>
                    <a:pt x="1872248" y="1284187"/>
                  </a:moveTo>
                  <a:lnTo>
                    <a:pt x="1882500" y="1304107"/>
                  </a:lnTo>
                  <a:lnTo>
                    <a:pt x="1883252" y="1301731"/>
                  </a:lnTo>
                  <a:close/>
                  <a:moveTo>
                    <a:pt x="1691681" y="1267043"/>
                  </a:moveTo>
                  <a:lnTo>
                    <a:pt x="1684390" y="1281794"/>
                  </a:lnTo>
                  <a:lnTo>
                    <a:pt x="1701900" y="1303906"/>
                  </a:lnTo>
                  <a:lnTo>
                    <a:pt x="1691681" y="1277269"/>
                  </a:lnTo>
                  <a:close/>
                  <a:moveTo>
                    <a:pt x="1646359" y="1257941"/>
                  </a:moveTo>
                  <a:lnTo>
                    <a:pt x="1661006" y="1287636"/>
                  </a:lnTo>
                  <a:lnTo>
                    <a:pt x="1661062" y="1287879"/>
                  </a:lnTo>
                  <a:lnTo>
                    <a:pt x="1659518" y="1287954"/>
                  </a:lnTo>
                  <a:lnTo>
                    <a:pt x="1662420" y="1293842"/>
                  </a:lnTo>
                  <a:lnTo>
                    <a:pt x="1661062" y="1287879"/>
                  </a:lnTo>
                  <a:lnTo>
                    <a:pt x="1661100" y="1287877"/>
                  </a:lnTo>
                  <a:lnTo>
                    <a:pt x="1661079" y="1287784"/>
                  </a:lnTo>
                  <a:lnTo>
                    <a:pt x="1661006" y="1287636"/>
                  </a:lnTo>
                  <a:lnTo>
                    <a:pt x="1656095" y="1266073"/>
                  </a:lnTo>
                  <a:close/>
                  <a:moveTo>
                    <a:pt x="1802756" y="1219439"/>
                  </a:moveTo>
                  <a:lnTo>
                    <a:pt x="1837079" y="1228842"/>
                  </a:lnTo>
                  <a:lnTo>
                    <a:pt x="1839689" y="1232282"/>
                  </a:lnTo>
                  <a:lnTo>
                    <a:pt x="1837351" y="1228554"/>
                  </a:lnTo>
                  <a:lnTo>
                    <a:pt x="1809819" y="1219439"/>
                  </a:lnTo>
                  <a:close/>
                  <a:moveTo>
                    <a:pt x="2139510" y="1179513"/>
                  </a:moveTo>
                  <a:lnTo>
                    <a:pt x="2170907" y="1195030"/>
                  </a:lnTo>
                  <a:lnTo>
                    <a:pt x="2163057" y="1241583"/>
                  </a:lnTo>
                  <a:lnTo>
                    <a:pt x="2155208" y="1264859"/>
                  </a:lnTo>
                  <a:lnTo>
                    <a:pt x="2202304" y="1297187"/>
                  </a:lnTo>
                  <a:lnTo>
                    <a:pt x="2233701" y="1343740"/>
                  </a:lnTo>
                  <a:lnTo>
                    <a:pt x="2241550" y="1374775"/>
                  </a:lnTo>
                  <a:lnTo>
                    <a:pt x="2202304" y="1359258"/>
                  </a:lnTo>
                  <a:lnTo>
                    <a:pt x="2194455" y="1320463"/>
                  </a:lnTo>
                  <a:lnTo>
                    <a:pt x="2147359" y="1297187"/>
                  </a:lnTo>
                  <a:lnTo>
                    <a:pt x="2123811" y="1289428"/>
                  </a:lnTo>
                  <a:lnTo>
                    <a:pt x="2108113" y="1272618"/>
                  </a:lnTo>
                  <a:lnTo>
                    <a:pt x="2100263" y="1233824"/>
                  </a:lnTo>
                  <a:lnTo>
                    <a:pt x="2115962" y="1202789"/>
                  </a:lnTo>
                  <a:close/>
                  <a:moveTo>
                    <a:pt x="468143" y="1142735"/>
                  </a:moveTo>
                  <a:lnTo>
                    <a:pt x="453390" y="1154377"/>
                  </a:lnTo>
                  <a:cubicBezTo>
                    <a:pt x="453390" y="1154377"/>
                    <a:pt x="451445" y="1156295"/>
                    <a:pt x="446583" y="1158213"/>
                  </a:cubicBezTo>
                  <a:lnTo>
                    <a:pt x="422560" y="1162005"/>
                  </a:lnTo>
                  <a:lnTo>
                    <a:pt x="422463" y="1162134"/>
                  </a:lnTo>
                  <a:lnTo>
                    <a:pt x="446666" y="1158280"/>
                  </a:lnTo>
                  <a:cubicBezTo>
                    <a:pt x="451544" y="1156338"/>
                    <a:pt x="453496" y="1154396"/>
                    <a:pt x="453496" y="1154396"/>
                  </a:cubicBezTo>
                  <a:cubicBezTo>
                    <a:pt x="453496" y="1154396"/>
                    <a:pt x="453496" y="1154396"/>
                    <a:pt x="458374" y="1150512"/>
                  </a:cubicBezTo>
                  <a:close/>
                  <a:moveTo>
                    <a:pt x="492541" y="1068954"/>
                  </a:moveTo>
                  <a:lnTo>
                    <a:pt x="492125" y="1069975"/>
                  </a:lnTo>
                  <a:lnTo>
                    <a:pt x="491604" y="1069847"/>
                  </a:lnTo>
                  <a:lnTo>
                    <a:pt x="439404" y="1139522"/>
                  </a:lnTo>
                  <a:lnTo>
                    <a:pt x="492284" y="1069975"/>
                  </a:lnTo>
                  <a:cubicBezTo>
                    <a:pt x="492284" y="1069975"/>
                    <a:pt x="492284" y="1069975"/>
                    <a:pt x="500063" y="1069975"/>
                  </a:cubicBezTo>
                  <a:cubicBezTo>
                    <a:pt x="500063" y="1069975"/>
                    <a:pt x="500063" y="1069975"/>
                    <a:pt x="496781" y="1092634"/>
                  </a:cubicBezTo>
                  <a:lnTo>
                    <a:pt x="492312" y="1123494"/>
                  </a:lnTo>
                  <a:lnTo>
                    <a:pt x="492522" y="1123326"/>
                  </a:lnTo>
                  <a:cubicBezTo>
                    <a:pt x="492522" y="1123326"/>
                    <a:pt x="492522" y="1123326"/>
                    <a:pt x="500327" y="1068954"/>
                  </a:cubicBezTo>
                  <a:cubicBezTo>
                    <a:pt x="500327" y="1068954"/>
                    <a:pt x="500327" y="1068954"/>
                    <a:pt x="499351" y="1068954"/>
                  </a:cubicBezTo>
                  <a:close/>
                  <a:moveTo>
                    <a:pt x="2149475" y="1000125"/>
                  </a:moveTo>
                  <a:lnTo>
                    <a:pt x="2149475" y="1031346"/>
                  </a:lnTo>
                  <a:lnTo>
                    <a:pt x="2125663" y="1093788"/>
                  </a:lnTo>
                  <a:lnTo>
                    <a:pt x="2117725" y="1054762"/>
                  </a:lnTo>
                  <a:lnTo>
                    <a:pt x="2117725" y="1023541"/>
                  </a:lnTo>
                  <a:close/>
                  <a:moveTo>
                    <a:pt x="1468331" y="920221"/>
                  </a:moveTo>
                  <a:lnTo>
                    <a:pt x="1459713" y="920457"/>
                  </a:lnTo>
                  <a:lnTo>
                    <a:pt x="1462004" y="921381"/>
                  </a:lnTo>
                  <a:close/>
                  <a:moveTo>
                    <a:pt x="1462995" y="900339"/>
                  </a:moveTo>
                  <a:lnTo>
                    <a:pt x="1444828" y="914873"/>
                  </a:lnTo>
                  <a:lnTo>
                    <a:pt x="1450838" y="915434"/>
                  </a:lnTo>
                  <a:lnTo>
                    <a:pt x="1450046" y="916557"/>
                  </a:lnTo>
                  <a:lnTo>
                    <a:pt x="1450079" y="916570"/>
                  </a:lnTo>
                  <a:lnTo>
                    <a:pt x="1450971" y="915446"/>
                  </a:lnTo>
                  <a:lnTo>
                    <a:pt x="1450838" y="915434"/>
                  </a:lnTo>
                  <a:lnTo>
                    <a:pt x="1458091" y="905143"/>
                  </a:lnTo>
                  <a:close/>
                  <a:moveTo>
                    <a:pt x="804384" y="823672"/>
                  </a:moveTo>
                  <a:lnTo>
                    <a:pt x="800282" y="825336"/>
                  </a:lnTo>
                  <a:lnTo>
                    <a:pt x="800042" y="826803"/>
                  </a:lnTo>
                  <a:lnTo>
                    <a:pt x="802395" y="826686"/>
                  </a:lnTo>
                  <a:close/>
                  <a:moveTo>
                    <a:pt x="77228" y="811317"/>
                  </a:moveTo>
                  <a:lnTo>
                    <a:pt x="77227" y="811318"/>
                  </a:lnTo>
                  <a:lnTo>
                    <a:pt x="77227" y="811318"/>
                  </a:lnTo>
                  <a:close/>
                  <a:moveTo>
                    <a:pt x="84481" y="807751"/>
                  </a:moveTo>
                  <a:lnTo>
                    <a:pt x="77228" y="811317"/>
                  </a:lnTo>
                  <a:lnTo>
                    <a:pt x="77228" y="811317"/>
                  </a:lnTo>
                  <a:close/>
                  <a:moveTo>
                    <a:pt x="88944" y="805675"/>
                  </a:moveTo>
                  <a:lnTo>
                    <a:pt x="115293" y="812304"/>
                  </a:lnTo>
                  <a:lnTo>
                    <a:pt x="193179" y="851495"/>
                  </a:lnTo>
                  <a:lnTo>
                    <a:pt x="216545" y="875010"/>
                  </a:lnTo>
                  <a:lnTo>
                    <a:pt x="278855" y="882849"/>
                  </a:lnTo>
                  <a:lnTo>
                    <a:pt x="302221" y="898525"/>
                  </a:lnTo>
                  <a:lnTo>
                    <a:pt x="325587" y="898525"/>
                  </a:lnTo>
                  <a:lnTo>
                    <a:pt x="324886" y="897114"/>
                  </a:lnTo>
                  <a:lnTo>
                    <a:pt x="328083" y="897114"/>
                  </a:lnTo>
                  <a:cubicBezTo>
                    <a:pt x="328083" y="897114"/>
                    <a:pt x="328083" y="897114"/>
                    <a:pt x="328083" y="904934"/>
                  </a:cubicBezTo>
                  <a:cubicBezTo>
                    <a:pt x="328083" y="904934"/>
                    <a:pt x="328083" y="904934"/>
                    <a:pt x="359329" y="936213"/>
                  </a:cubicBezTo>
                  <a:cubicBezTo>
                    <a:pt x="359329" y="936213"/>
                    <a:pt x="359329" y="936213"/>
                    <a:pt x="374952" y="983133"/>
                  </a:cubicBezTo>
                  <a:cubicBezTo>
                    <a:pt x="374952" y="983133"/>
                    <a:pt x="374952" y="983133"/>
                    <a:pt x="406198" y="998773"/>
                  </a:cubicBezTo>
                  <a:cubicBezTo>
                    <a:pt x="406198" y="998773"/>
                    <a:pt x="406198" y="998773"/>
                    <a:pt x="414010" y="998773"/>
                  </a:cubicBezTo>
                  <a:lnTo>
                    <a:pt x="413491" y="1000330"/>
                  </a:lnTo>
                  <a:lnTo>
                    <a:pt x="444500" y="1015524"/>
                  </a:lnTo>
                  <a:lnTo>
                    <a:pt x="515937" y="992188"/>
                  </a:lnTo>
                  <a:lnTo>
                    <a:pt x="523644" y="1022399"/>
                  </a:lnTo>
                  <a:lnTo>
                    <a:pt x="523742" y="1022350"/>
                  </a:lnTo>
                  <a:cubicBezTo>
                    <a:pt x="523742" y="1022350"/>
                    <a:pt x="523742" y="1022350"/>
                    <a:pt x="547158" y="1030117"/>
                  </a:cubicBezTo>
                  <a:cubicBezTo>
                    <a:pt x="547158" y="1030117"/>
                    <a:pt x="547158" y="1030117"/>
                    <a:pt x="609600" y="1076722"/>
                  </a:cubicBezTo>
                  <a:cubicBezTo>
                    <a:pt x="609600" y="1076722"/>
                    <a:pt x="609600" y="1076722"/>
                    <a:pt x="578379" y="1107792"/>
                  </a:cubicBezTo>
                  <a:cubicBezTo>
                    <a:pt x="578379" y="1107792"/>
                    <a:pt x="578379" y="1107792"/>
                    <a:pt x="554963" y="1138861"/>
                  </a:cubicBezTo>
                  <a:cubicBezTo>
                    <a:pt x="554963" y="1138861"/>
                    <a:pt x="554963" y="1138861"/>
                    <a:pt x="508132" y="1201001"/>
                  </a:cubicBezTo>
                  <a:cubicBezTo>
                    <a:pt x="508132" y="1201001"/>
                    <a:pt x="508132" y="1201001"/>
                    <a:pt x="453496" y="1239838"/>
                  </a:cubicBezTo>
                  <a:cubicBezTo>
                    <a:pt x="453496" y="1239838"/>
                    <a:pt x="453496" y="1239838"/>
                    <a:pt x="430080" y="1185466"/>
                  </a:cubicBezTo>
                  <a:cubicBezTo>
                    <a:pt x="430080" y="1185466"/>
                    <a:pt x="430080" y="1185466"/>
                    <a:pt x="426787" y="1175635"/>
                  </a:cubicBezTo>
                  <a:lnTo>
                    <a:pt x="422326" y="1162317"/>
                  </a:lnTo>
                  <a:lnTo>
                    <a:pt x="421821" y="1162991"/>
                  </a:lnTo>
                  <a:lnTo>
                    <a:pt x="421583" y="1163063"/>
                  </a:lnTo>
                  <a:lnTo>
                    <a:pt x="429045" y="1185635"/>
                  </a:lnTo>
                  <a:cubicBezTo>
                    <a:pt x="429045" y="1185635"/>
                    <a:pt x="429045" y="1185635"/>
                    <a:pt x="452438" y="1240669"/>
                  </a:cubicBezTo>
                  <a:cubicBezTo>
                    <a:pt x="452438" y="1240669"/>
                    <a:pt x="452438" y="1240669"/>
                    <a:pt x="382261" y="1264255"/>
                  </a:cubicBezTo>
                  <a:cubicBezTo>
                    <a:pt x="382261" y="1264255"/>
                    <a:pt x="382261" y="1264255"/>
                    <a:pt x="335476" y="1279978"/>
                  </a:cubicBezTo>
                  <a:cubicBezTo>
                    <a:pt x="335476" y="1279978"/>
                    <a:pt x="335476" y="1279978"/>
                    <a:pt x="304286" y="1311426"/>
                  </a:cubicBezTo>
                  <a:cubicBezTo>
                    <a:pt x="304286" y="1311426"/>
                    <a:pt x="304286" y="1311426"/>
                    <a:pt x="280894" y="1311426"/>
                  </a:cubicBezTo>
                  <a:cubicBezTo>
                    <a:pt x="280894" y="1311426"/>
                    <a:pt x="280894" y="1311426"/>
                    <a:pt x="226312" y="1327150"/>
                  </a:cubicBezTo>
                  <a:cubicBezTo>
                    <a:pt x="226312" y="1327150"/>
                    <a:pt x="226312" y="1327150"/>
                    <a:pt x="195122" y="1256393"/>
                  </a:cubicBezTo>
                  <a:cubicBezTo>
                    <a:pt x="195122" y="1256393"/>
                    <a:pt x="195122" y="1256393"/>
                    <a:pt x="187325" y="1224945"/>
                  </a:cubicBezTo>
                  <a:lnTo>
                    <a:pt x="187476" y="1224894"/>
                  </a:lnTo>
                  <a:lnTo>
                    <a:pt x="187476" y="1224572"/>
                  </a:lnTo>
                  <a:cubicBezTo>
                    <a:pt x="187476" y="1223595"/>
                    <a:pt x="187476" y="1221640"/>
                    <a:pt x="187476" y="1217730"/>
                  </a:cubicBezTo>
                  <a:cubicBezTo>
                    <a:pt x="187476" y="1217730"/>
                    <a:pt x="187476" y="1217730"/>
                    <a:pt x="132795" y="1162991"/>
                  </a:cubicBezTo>
                  <a:cubicBezTo>
                    <a:pt x="132795" y="1162991"/>
                    <a:pt x="132795" y="1162991"/>
                    <a:pt x="117172" y="1108251"/>
                  </a:cubicBezTo>
                  <a:cubicBezTo>
                    <a:pt x="117172" y="1108251"/>
                    <a:pt x="117172" y="1108251"/>
                    <a:pt x="101549" y="1061332"/>
                  </a:cubicBezTo>
                  <a:cubicBezTo>
                    <a:pt x="101549" y="1061332"/>
                    <a:pt x="101549" y="1061332"/>
                    <a:pt x="70303" y="1030052"/>
                  </a:cubicBezTo>
                  <a:cubicBezTo>
                    <a:pt x="70303" y="1030052"/>
                    <a:pt x="70303" y="1030052"/>
                    <a:pt x="15623" y="920573"/>
                  </a:cubicBezTo>
                  <a:cubicBezTo>
                    <a:pt x="15623" y="920573"/>
                    <a:pt x="15623" y="920573"/>
                    <a:pt x="0" y="889294"/>
                  </a:cubicBezTo>
                  <a:cubicBezTo>
                    <a:pt x="0" y="889294"/>
                    <a:pt x="0" y="889294"/>
                    <a:pt x="15623" y="889294"/>
                  </a:cubicBezTo>
                  <a:cubicBezTo>
                    <a:pt x="15623" y="889294"/>
                    <a:pt x="15623" y="889294"/>
                    <a:pt x="31246" y="873654"/>
                  </a:cubicBezTo>
                  <a:cubicBezTo>
                    <a:pt x="31246" y="873654"/>
                    <a:pt x="31246" y="873654"/>
                    <a:pt x="54680" y="873654"/>
                  </a:cubicBezTo>
                  <a:cubicBezTo>
                    <a:pt x="54680" y="873654"/>
                    <a:pt x="54680" y="873654"/>
                    <a:pt x="62492" y="858014"/>
                  </a:cubicBezTo>
                  <a:cubicBezTo>
                    <a:pt x="62492" y="858014"/>
                    <a:pt x="62492" y="858014"/>
                    <a:pt x="55901" y="841519"/>
                  </a:cubicBezTo>
                  <a:lnTo>
                    <a:pt x="46898" y="818987"/>
                  </a:lnTo>
                  <a:lnTo>
                    <a:pt x="46869" y="818915"/>
                  </a:lnTo>
                  <a:cubicBezTo>
                    <a:pt x="46869" y="818915"/>
                    <a:pt x="46869" y="818915"/>
                    <a:pt x="60051" y="815616"/>
                  </a:cubicBezTo>
                  <a:lnTo>
                    <a:pt x="77227" y="811318"/>
                  </a:lnTo>
                  <a:lnTo>
                    <a:pt x="76364" y="811742"/>
                  </a:lnTo>
                  <a:lnTo>
                    <a:pt x="77227" y="811318"/>
                  </a:lnTo>
                  <a:lnTo>
                    <a:pt x="77228" y="811317"/>
                  </a:lnTo>
                  <a:lnTo>
                    <a:pt x="78115" y="811095"/>
                  </a:lnTo>
                  <a:cubicBezTo>
                    <a:pt x="78115" y="811095"/>
                    <a:pt x="78115" y="811095"/>
                    <a:pt x="80068" y="810117"/>
                  </a:cubicBezTo>
                  <a:close/>
                  <a:moveTo>
                    <a:pt x="2391040" y="757238"/>
                  </a:moveTo>
                  <a:lnTo>
                    <a:pt x="2398713" y="780521"/>
                  </a:lnTo>
                  <a:lnTo>
                    <a:pt x="2391040" y="811566"/>
                  </a:lnTo>
                  <a:lnTo>
                    <a:pt x="2368021" y="827088"/>
                  </a:lnTo>
                  <a:lnTo>
                    <a:pt x="2360348" y="803805"/>
                  </a:lnTo>
                  <a:lnTo>
                    <a:pt x="2352675" y="780521"/>
                  </a:lnTo>
                  <a:close/>
                  <a:moveTo>
                    <a:pt x="904777" y="748198"/>
                  </a:moveTo>
                  <a:lnTo>
                    <a:pt x="901454" y="752170"/>
                  </a:lnTo>
                  <a:lnTo>
                    <a:pt x="903915" y="751117"/>
                  </a:lnTo>
                  <a:close/>
                  <a:moveTo>
                    <a:pt x="641584" y="677137"/>
                  </a:moveTo>
                  <a:lnTo>
                    <a:pt x="641112" y="681345"/>
                  </a:lnTo>
                  <a:cubicBezTo>
                    <a:pt x="640133" y="690079"/>
                    <a:pt x="638175" y="707549"/>
                    <a:pt x="634259" y="742488"/>
                  </a:cubicBezTo>
                  <a:cubicBezTo>
                    <a:pt x="634259" y="742488"/>
                    <a:pt x="634259" y="742488"/>
                    <a:pt x="626428" y="773546"/>
                  </a:cubicBezTo>
                  <a:cubicBezTo>
                    <a:pt x="626428" y="773546"/>
                    <a:pt x="626428" y="773546"/>
                    <a:pt x="626428" y="812367"/>
                  </a:cubicBezTo>
                  <a:cubicBezTo>
                    <a:pt x="626428" y="812367"/>
                    <a:pt x="626428" y="812367"/>
                    <a:pt x="657754" y="827896"/>
                  </a:cubicBezTo>
                  <a:cubicBezTo>
                    <a:pt x="657754" y="827896"/>
                    <a:pt x="657754" y="827896"/>
                    <a:pt x="651146" y="847549"/>
                  </a:cubicBezTo>
                  <a:lnTo>
                    <a:pt x="648513" y="855382"/>
                  </a:lnTo>
                  <a:lnTo>
                    <a:pt x="654610" y="845018"/>
                  </a:lnTo>
                  <a:cubicBezTo>
                    <a:pt x="658842" y="833810"/>
                    <a:pt x="654610" y="845018"/>
                    <a:pt x="669457" y="800765"/>
                  </a:cubicBezTo>
                  <a:lnTo>
                    <a:pt x="639763" y="786022"/>
                  </a:lnTo>
                  <a:lnTo>
                    <a:pt x="639763" y="749140"/>
                  </a:lnTo>
                  <a:cubicBezTo>
                    <a:pt x="642220" y="739312"/>
                    <a:pt x="644712" y="729483"/>
                    <a:pt x="647169" y="719655"/>
                  </a:cubicBezTo>
                  <a:lnTo>
                    <a:pt x="650716" y="698559"/>
                  </a:lnTo>
                  <a:lnTo>
                    <a:pt x="641584" y="694017"/>
                  </a:lnTo>
                  <a:cubicBezTo>
                    <a:pt x="641584" y="694017"/>
                    <a:pt x="641584" y="694017"/>
                    <a:pt x="641584" y="684148"/>
                  </a:cubicBezTo>
                  <a:close/>
                  <a:moveTo>
                    <a:pt x="216545" y="647700"/>
                  </a:moveTo>
                  <a:lnTo>
                    <a:pt x="232123" y="655538"/>
                  </a:lnTo>
                  <a:lnTo>
                    <a:pt x="263277" y="702568"/>
                  </a:lnTo>
                  <a:lnTo>
                    <a:pt x="255489" y="733921"/>
                  </a:lnTo>
                  <a:lnTo>
                    <a:pt x="255489" y="765274"/>
                  </a:lnTo>
                  <a:lnTo>
                    <a:pt x="302221" y="804466"/>
                  </a:lnTo>
                  <a:lnTo>
                    <a:pt x="317798" y="843657"/>
                  </a:lnTo>
                  <a:lnTo>
                    <a:pt x="333375" y="875010"/>
                  </a:lnTo>
                  <a:lnTo>
                    <a:pt x="317798" y="882849"/>
                  </a:lnTo>
                  <a:lnTo>
                    <a:pt x="324886" y="897114"/>
                  </a:lnTo>
                  <a:lnTo>
                    <a:pt x="307579" y="897114"/>
                  </a:lnTo>
                  <a:cubicBezTo>
                    <a:pt x="304649" y="897114"/>
                    <a:pt x="304649" y="897114"/>
                    <a:pt x="304649" y="897114"/>
                  </a:cubicBezTo>
                  <a:cubicBezTo>
                    <a:pt x="281214" y="881474"/>
                    <a:pt x="281214" y="881474"/>
                    <a:pt x="281214" y="881474"/>
                  </a:cubicBezTo>
                  <a:cubicBezTo>
                    <a:pt x="218722" y="873654"/>
                    <a:pt x="218722" y="873654"/>
                    <a:pt x="218722" y="873654"/>
                  </a:cubicBezTo>
                  <a:cubicBezTo>
                    <a:pt x="195287" y="850194"/>
                    <a:pt x="195287" y="850194"/>
                    <a:pt x="195287" y="850194"/>
                  </a:cubicBezTo>
                  <a:cubicBezTo>
                    <a:pt x="117172" y="811095"/>
                    <a:pt x="117172" y="811095"/>
                    <a:pt x="117172" y="811095"/>
                  </a:cubicBezTo>
                  <a:cubicBezTo>
                    <a:pt x="109361" y="809140"/>
                    <a:pt x="103502" y="807674"/>
                    <a:pt x="99108" y="806574"/>
                  </a:cubicBezTo>
                  <a:lnTo>
                    <a:pt x="91134" y="804578"/>
                  </a:lnTo>
                  <a:lnTo>
                    <a:pt x="93738" y="803275"/>
                  </a:lnTo>
                  <a:cubicBezTo>
                    <a:pt x="93738" y="803275"/>
                    <a:pt x="93738" y="803275"/>
                    <a:pt x="85926" y="803275"/>
                  </a:cubicBezTo>
                  <a:lnTo>
                    <a:pt x="88890" y="804016"/>
                  </a:lnTo>
                  <a:lnTo>
                    <a:pt x="89832" y="804252"/>
                  </a:lnTo>
                  <a:lnTo>
                    <a:pt x="91001" y="804545"/>
                  </a:lnTo>
                  <a:lnTo>
                    <a:pt x="91134" y="804578"/>
                  </a:lnTo>
                  <a:lnTo>
                    <a:pt x="88944" y="805675"/>
                  </a:lnTo>
                  <a:lnTo>
                    <a:pt x="88784" y="805635"/>
                  </a:lnTo>
                  <a:lnTo>
                    <a:pt x="84138" y="804466"/>
                  </a:lnTo>
                  <a:lnTo>
                    <a:pt x="84138" y="773113"/>
                  </a:lnTo>
                  <a:lnTo>
                    <a:pt x="138659" y="741760"/>
                  </a:lnTo>
                  <a:lnTo>
                    <a:pt x="154236" y="686892"/>
                  </a:lnTo>
                  <a:lnTo>
                    <a:pt x="169813" y="663377"/>
                  </a:lnTo>
                  <a:lnTo>
                    <a:pt x="169813" y="655538"/>
                  </a:lnTo>
                  <a:lnTo>
                    <a:pt x="177602" y="655538"/>
                  </a:lnTo>
                  <a:close/>
                  <a:moveTo>
                    <a:pt x="743492" y="639431"/>
                  </a:moveTo>
                  <a:cubicBezTo>
                    <a:pt x="743492" y="639431"/>
                    <a:pt x="743492" y="639431"/>
                    <a:pt x="740185" y="655880"/>
                  </a:cubicBezTo>
                  <a:lnTo>
                    <a:pt x="738841" y="662561"/>
                  </a:lnTo>
                  <a:lnTo>
                    <a:pt x="743624" y="660659"/>
                  </a:lnTo>
                  <a:lnTo>
                    <a:pt x="747696" y="640477"/>
                  </a:lnTo>
                  <a:close/>
                  <a:moveTo>
                    <a:pt x="974824" y="612219"/>
                  </a:moveTo>
                  <a:lnTo>
                    <a:pt x="978663" y="616038"/>
                  </a:lnTo>
                  <a:lnTo>
                    <a:pt x="981998" y="625991"/>
                  </a:lnTo>
                  <a:lnTo>
                    <a:pt x="979488" y="615950"/>
                  </a:lnTo>
                  <a:close/>
                  <a:moveTo>
                    <a:pt x="968811" y="577259"/>
                  </a:moveTo>
                  <a:lnTo>
                    <a:pt x="967517" y="582409"/>
                  </a:lnTo>
                  <a:cubicBezTo>
                    <a:pt x="966414" y="586795"/>
                    <a:pt x="964945" y="592644"/>
                    <a:pt x="962985" y="600442"/>
                  </a:cubicBezTo>
                  <a:lnTo>
                    <a:pt x="963977" y="601429"/>
                  </a:lnTo>
                  <a:close/>
                  <a:moveTo>
                    <a:pt x="1103330" y="492024"/>
                  </a:moveTo>
                  <a:lnTo>
                    <a:pt x="1100168" y="495169"/>
                  </a:lnTo>
                  <a:cubicBezTo>
                    <a:pt x="1096249" y="499068"/>
                    <a:pt x="1088410" y="506866"/>
                    <a:pt x="1072731" y="522462"/>
                  </a:cubicBezTo>
                  <a:cubicBezTo>
                    <a:pt x="1072731" y="522462"/>
                    <a:pt x="1072731" y="522462"/>
                    <a:pt x="1033536" y="553654"/>
                  </a:cubicBezTo>
                  <a:cubicBezTo>
                    <a:pt x="1033536" y="553654"/>
                    <a:pt x="1033536" y="553654"/>
                    <a:pt x="970824" y="569250"/>
                  </a:cubicBezTo>
                  <a:lnTo>
                    <a:pt x="970278" y="571421"/>
                  </a:lnTo>
                  <a:lnTo>
                    <a:pt x="1033463" y="555625"/>
                  </a:lnTo>
                  <a:lnTo>
                    <a:pt x="1071563" y="523875"/>
                  </a:lnTo>
                  <a:lnTo>
                    <a:pt x="1103313" y="492125"/>
                  </a:lnTo>
                  <a:close/>
                  <a:moveTo>
                    <a:pt x="1488812" y="414074"/>
                  </a:moveTo>
                  <a:lnTo>
                    <a:pt x="1550988" y="476250"/>
                  </a:lnTo>
                  <a:lnTo>
                    <a:pt x="1646238" y="485775"/>
                  </a:lnTo>
                  <a:lnTo>
                    <a:pt x="1694898" y="509132"/>
                  </a:lnTo>
                  <a:lnTo>
                    <a:pt x="1645210" y="483655"/>
                  </a:lnTo>
                  <a:lnTo>
                    <a:pt x="1551081" y="475870"/>
                  </a:lnTo>
                  <a:close/>
                  <a:moveTo>
                    <a:pt x="2650945" y="398463"/>
                  </a:moveTo>
                  <a:lnTo>
                    <a:pt x="2682262" y="421797"/>
                  </a:lnTo>
                  <a:lnTo>
                    <a:pt x="2729237" y="437354"/>
                  </a:lnTo>
                  <a:lnTo>
                    <a:pt x="2752725" y="437354"/>
                  </a:lnTo>
                  <a:lnTo>
                    <a:pt x="2721408" y="468467"/>
                  </a:lnTo>
                  <a:lnTo>
                    <a:pt x="2697920" y="484023"/>
                  </a:lnTo>
                  <a:lnTo>
                    <a:pt x="2682262" y="508654"/>
                  </a:lnTo>
                  <a:lnTo>
                    <a:pt x="2643116" y="476245"/>
                  </a:lnTo>
                  <a:lnTo>
                    <a:pt x="2619628" y="524210"/>
                  </a:lnTo>
                  <a:lnTo>
                    <a:pt x="2650945" y="578658"/>
                  </a:lnTo>
                  <a:lnTo>
                    <a:pt x="2627457" y="617549"/>
                  </a:lnTo>
                  <a:lnTo>
                    <a:pt x="2619628" y="648662"/>
                  </a:lnTo>
                  <a:lnTo>
                    <a:pt x="2619628" y="703109"/>
                  </a:lnTo>
                  <a:lnTo>
                    <a:pt x="2603969" y="718665"/>
                  </a:lnTo>
                  <a:lnTo>
                    <a:pt x="2588311" y="710887"/>
                  </a:lnTo>
                  <a:lnTo>
                    <a:pt x="2572652" y="718665"/>
                  </a:lnTo>
                  <a:lnTo>
                    <a:pt x="2541335" y="718665"/>
                  </a:lnTo>
                  <a:lnTo>
                    <a:pt x="2525677" y="718665"/>
                  </a:lnTo>
                  <a:lnTo>
                    <a:pt x="2494360" y="749778"/>
                  </a:lnTo>
                  <a:lnTo>
                    <a:pt x="2486531" y="734222"/>
                  </a:lnTo>
                  <a:lnTo>
                    <a:pt x="2470872" y="742000"/>
                  </a:lnTo>
                  <a:lnTo>
                    <a:pt x="2455214" y="749778"/>
                  </a:lnTo>
                  <a:lnTo>
                    <a:pt x="2423897" y="773113"/>
                  </a:lnTo>
                  <a:lnTo>
                    <a:pt x="2408238" y="734222"/>
                  </a:lnTo>
                  <a:lnTo>
                    <a:pt x="2416067" y="718665"/>
                  </a:lnTo>
                  <a:lnTo>
                    <a:pt x="2463043" y="703109"/>
                  </a:lnTo>
                  <a:lnTo>
                    <a:pt x="2494360" y="703109"/>
                  </a:lnTo>
                  <a:lnTo>
                    <a:pt x="2549165" y="656440"/>
                  </a:lnTo>
                  <a:lnTo>
                    <a:pt x="2588311" y="640883"/>
                  </a:lnTo>
                  <a:lnTo>
                    <a:pt x="2596140" y="601992"/>
                  </a:lnTo>
                  <a:lnTo>
                    <a:pt x="2611799" y="539767"/>
                  </a:lnTo>
                  <a:lnTo>
                    <a:pt x="2611799" y="491801"/>
                  </a:lnTo>
                  <a:lnTo>
                    <a:pt x="2635286" y="460688"/>
                  </a:lnTo>
                  <a:lnTo>
                    <a:pt x="2635286" y="421797"/>
                  </a:lnTo>
                  <a:close/>
                  <a:moveTo>
                    <a:pt x="1445389" y="395228"/>
                  </a:moveTo>
                  <a:lnTo>
                    <a:pt x="1481052" y="406373"/>
                  </a:lnTo>
                  <a:lnTo>
                    <a:pt x="1480484" y="405809"/>
                  </a:lnTo>
                  <a:close/>
                  <a:moveTo>
                    <a:pt x="1173249" y="390095"/>
                  </a:moveTo>
                  <a:lnTo>
                    <a:pt x="1167780" y="390872"/>
                  </a:lnTo>
                  <a:cubicBezTo>
                    <a:pt x="1160921" y="391847"/>
                    <a:pt x="1147203" y="393796"/>
                    <a:pt x="1119766" y="397695"/>
                  </a:cubicBezTo>
                  <a:cubicBezTo>
                    <a:pt x="1119766" y="397695"/>
                    <a:pt x="1119766" y="397695"/>
                    <a:pt x="1119521" y="399157"/>
                  </a:cubicBezTo>
                  <a:lnTo>
                    <a:pt x="1119377" y="400017"/>
                  </a:lnTo>
                  <a:lnTo>
                    <a:pt x="1173163" y="390525"/>
                  </a:lnTo>
                  <a:close/>
                  <a:moveTo>
                    <a:pt x="1212762" y="314709"/>
                  </a:moveTo>
                  <a:lnTo>
                    <a:pt x="1252538" y="320675"/>
                  </a:lnTo>
                  <a:lnTo>
                    <a:pt x="1252864" y="319695"/>
                  </a:lnTo>
                  <a:lnTo>
                    <a:pt x="1252050" y="319594"/>
                  </a:lnTo>
                  <a:cubicBezTo>
                    <a:pt x="1250090" y="319350"/>
                    <a:pt x="1244211" y="318619"/>
                    <a:pt x="1226573" y="316426"/>
                  </a:cubicBezTo>
                  <a:close/>
                  <a:moveTo>
                    <a:pt x="1315755" y="266983"/>
                  </a:moveTo>
                  <a:lnTo>
                    <a:pt x="1312863" y="269875"/>
                  </a:lnTo>
                  <a:lnTo>
                    <a:pt x="1309688" y="276225"/>
                  </a:lnTo>
                  <a:lnTo>
                    <a:pt x="1315812" y="267039"/>
                  </a:lnTo>
                  <a:close/>
                  <a:moveTo>
                    <a:pt x="2666603" y="53975"/>
                  </a:moveTo>
                  <a:lnTo>
                    <a:pt x="2682082" y="101111"/>
                  </a:lnTo>
                  <a:lnTo>
                    <a:pt x="2682082" y="132536"/>
                  </a:lnTo>
                  <a:lnTo>
                    <a:pt x="2713038" y="258234"/>
                  </a:lnTo>
                  <a:lnTo>
                    <a:pt x="2689821" y="242521"/>
                  </a:lnTo>
                  <a:lnTo>
                    <a:pt x="2682082" y="273946"/>
                  </a:lnTo>
                  <a:lnTo>
                    <a:pt x="2682082" y="313226"/>
                  </a:lnTo>
                  <a:lnTo>
                    <a:pt x="2705299" y="360363"/>
                  </a:lnTo>
                  <a:lnTo>
                    <a:pt x="2666603" y="344651"/>
                  </a:lnTo>
                  <a:lnTo>
                    <a:pt x="2666603" y="289658"/>
                  </a:lnTo>
                  <a:lnTo>
                    <a:pt x="2658864" y="171816"/>
                  </a:lnTo>
                  <a:lnTo>
                    <a:pt x="2651125" y="140392"/>
                  </a:lnTo>
                  <a:lnTo>
                    <a:pt x="2658864" y="93255"/>
                  </a:lnTo>
                  <a:close/>
                  <a:moveTo>
                    <a:pt x="861077" y="0"/>
                  </a:moveTo>
                  <a:cubicBezTo>
                    <a:pt x="861077" y="0"/>
                    <a:pt x="861077" y="0"/>
                    <a:pt x="923790" y="70181"/>
                  </a:cubicBezTo>
                  <a:cubicBezTo>
                    <a:pt x="923790" y="70181"/>
                    <a:pt x="923790" y="70181"/>
                    <a:pt x="994341" y="46788"/>
                  </a:cubicBezTo>
                  <a:cubicBezTo>
                    <a:pt x="994341" y="46788"/>
                    <a:pt x="994341" y="46788"/>
                    <a:pt x="1033536" y="46788"/>
                  </a:cubicBezTo>
                  <a:cubicBezTo>
                    <a:pt x="1033536" y="46788"/>
                    <a:pt x="1033536" y="46788"/>
                    <a:pt x="1064892" y="109171"/>
                  </a:cubicBezTo>
                  <a:cubicBezTo>
                    <a:pt x="1064892" y="109171"/>
                    <a:pt x="1064892" y="109171"/>
                    <a:pt x="1096249" y="179353"/>
                  </a:cubicBezTo>
                  <a:cubicBezTo>
                    <a:pt x="1096249" y="179353"/>
                    <a:pt x="1096249" y="179353"/>
                    <a:pt x="1174639" y="179353"/>
                  </a:cubicBezTo>
                  <a:cubicBezTo>
                    <a:pt x="1174639" y="179353"/>
                    <a:pt x="1174639" y="179353"/>
                    <a:pt x="1237351" y="210544"/>
                  </a:cubicBezTo>
                  <a:cubicBezTo>
                    <a:pt x="1237351" y="210544"/>
                    <a:pt x="1237351" y="210544"/>
                    <a:pt x="1292225" y="226140"/>
                  </a:cubicBezTo>
                  <a:cubicBezTo>
                    <a:pt x="1292225" y="226140"/>
                    <a:pt x="1292225" y="226140"/>
                    <a:pt x="1292225" y="265130"/>
                  </a:cubicBezTo>
                  <a:cubicBezTo>
                    <a:pt x="1292225" y="265130"/>
                    <a:pt x="1292225" y="265130"/>
                    <a:pt x="1268708" y="272928"/>
                  </a:cubicBezTo>
                  <a:lnTo>
                    <a:pt x="1268690" y="272981"/>
                  </a:lnTo>
                  <a:lnTo>
                    <a:pt x="1293813" y="266700"/>
                  </a:lnTo>
                  <a:lnTo>
                    <a:pt x="1309688" y="257175"/>
                  </a:lnTo>
                  <a:lnTo>
                    <a:pt x="1314843" y="264907"/>
                  </a:lnTo>
                  <a:lnTo>
                    <a:pt x="1330138" y="234549"/>
                  </a:lnTo>
                  <a:lnTo>
                    <a:pt x="1385047" y="203411"/>
                  </a:lnTo>
                  <a:lnTo>
                    <a:pt x="1472639" y="195626"/>
                  </a:lnTo>
                  <a:lnTo>
                    <a:pt x="1535392" y="218980"/>
                  </a:lnTo>
                  <a:lnTo>
                    <a:pt x="1566769" y="172273"/>
                  </a:lnTo>
                  <a:lnTo>
                    <a:pt x="1598145" y="133350"/>
                  </a:lnTo>
                  <a:lnTo>
                    <a:pt x="1692275" y="180057"/>
                  </a:lnTo>
                  <a:lnTo>
                    <a:pt x="1715807" y="203411"/>
                  </a:lnTo>
                  <a:lnTo>
                    <a:pt x="1794249" y="203411"/>
                  </a:lnTo>
                  <a:lnTo>
                    <a:pt x="1841313" y="242334"/>
                  </a:lnTo>
                  <a:lnTo>
                    <a:pt x="1966819" y="211195"/>
                  </a:lnTo>
                  <a:lnTo>
                    <a:pt x="2021728" y="226764"/>
                  </a:lnTo>
                  <a:lnTo>
                    <a:pt x="2006040" y="257903"/>
                  </a:lnTo>
                  <a:lnTo>
                    <a:pt x="2006040" y="296825"/>
                  </a:lnTo>
                  <a:lnTo>
                    <a:pt x="2076637" y="304610"/>
                  </a:lnTo>
                  <a:lnTo>
                    <a:pt x="2092325" y="335748"/>
                  </a:lnTo>
                  <a:lnTo>
                    <a:pt x="2021728" y="359102"/>
                  </a:lnTo>
                  <a:lnTo>
                    <a:pt x="1966819" y="382456"/>
                  </a:lnTo>
                  <a:lnTo>
                    <a:pt x="1911911" y="405809"/>
                  </a:lnTo>
                  <a:lnTo>
                    <a:pt x="1896222" y="460301"/>
                  </a:lnTo>
                  <a:lnTo>
                    <a:pt x="1809937" y="468086"/>
                  </a:lnTo>
                  <a:lnTo>
                    <a:pt x="1724487" y="523335"/>
                  </a:lnTo>
                  <a:lnTo>
                    <a:pt x="1725613" y="523875"/>
                  </a:lnTo>
                  <a:lnTo>
                    <a:pt x="1811338" y="469900"/>
                  </a:lnTo>
                  <a:lnTo>
                    <a:pt x="1897063" y="460375"/>
                  </a:lnTo>
                  <a:lnTo>
                    <a:pt x="1912938" y="406400"/>
                  </a:lnTo>
                  <a:lnTo>
                    <a:pt x="1966913" y="384175"/>
                  </a:lnTo>
                  <a:lnTo>
                    <a:pt x="2024063" y="358775"/>
                  </a:lnTo>
                  <a:lnTo>
                    <a:pt x="2093913" y="336550"/>
                  </a:lnTo>
                  <a:lnTo>
                    <a:pt x="2078038" y="304800"/>
                  </a:lnTo>
                  <a:lnTo>
                    <a:pt x="2008188" y="295275"/>
                  </a:lnTo>
                  <a:lnTo>
                    <a:pt x="2008188" y="257175"/>
                  </a:lnTo>
                  <a:lnTo>
                    <a:pt x="2024063" y="225425"/>
                  </a:lnTo>
                  <a:lnTo>
                    <a:pt x="2030413" y="209550"/>
                  </a:lnTo>
                  <a:lnTo>
                    <a:pt x="2078038" y="209550"/>
                  </a:lnTo>
                  <a:lnTo>
                    <a:pt x="2125663" y="123825"/>
                  </a:lnTo>
                  <a:lnTo>
                    <a:pt x="2147888" y="85725"/>
                  </a:lnTo>
                  <a:lnTo>
                    <a:pt x="2220913" y="85725"/>
                  </a:lnTo>
                  <a:lnTo>
                    <a:pt x="2297113" y="225425"/>
                  </a:lnTo>
                  <a:lnTo>
                    <a:pt x="2360613" y="241300"/>
                  </a:lnTo>
                  <a:lnTo>
                    <a:pt x="2376488" y="273050"/>
                  </a:lnTo>
                  <a:lnTo>
                    <a:pt x="2471738" y="273050"/>
                  </a:lnTo>
                  <a:lnTo>
                    <a:pt x="2430463" y="390525"/>
                  </a:lnTo>
                  <a:lnTo>
                    <a:pt x="2392363" y="400050"/>
                  </a:lnTo>
                  <a:lnTo>
                    <a:pt x="2376488" y="485775"/>
                  </a:lnTo>
                  <a:lnTo>
                    <a:pt x="2354263" y="476250"/>
                  </a:lnTo>
                  <a:lnTo>
                    <a:pt x="2335213" y="488950"/>
                  </a:lnTo>
                  <a:lnTo>
                    <a:pt x="2312988" y="508000"/>
                  </a:lnTo>
                  <a:lnTo>
                    <a:pt x="2297113" y="523875"/>
                  </a:lnTo>
                  <a:lnTo>
                    <a:pt x="2312988" y="555625"/>
                  </a:lnTo>
                  <a:lnTo>
                    <a:pt x="2312988" y="577850"/>
                  </a:lnTo>
                  <a:lnTo>
                    <a:pt x="2312988" y="603250"/>
                  </a:lnTo>
                  <a:lnTo>
                    <a:pt x="2316163" y="606425"/>
                  </a:lnTo>
                  <a:lnTo>
                    <a:pt x="2319338" y="612775"/>
                  </a:lnTo>
                  <a:lnTo>
                    <a:pt x="2322513" y="615950"/>
                  </a:lnTo>
                  <a:lnTo>
                    <a:pt x="2322513" y="622300"/>
                  </a:lnTo>
                  <a:lnTo>
                    <a:pt x="2344738" y="679450"/>
                  </a:lnTo>
                  <a:lnTo>
                    <a:pt x="2338388" y="704850"/>
                  </a:lnTo>
                  <a:lnTo>
                    <a:pt x="2322513" y="717550"/>
                  </a:lnTo>
                  <a:lnTo>
                    <a:pt x="2290763" y="727075"/>
                  </a:lnTo>
                  <a:lnTo>
                    <a:pt x="2259013" y="727075"/>
                  </a:lnTo>
                  <a:lnTo>
                    <a:pt x="2274888" y="679450"/>
                  </a:lnTo>
                  <a:lnTo>
                    <a:pt x="2274888" y="641350"/>
                  </a:lnTo>
                  <a:lnTo>
                    <a:pt x="2274888" y="638175"/>
                  </a:lnTo>
                  <a:lnTo>
                    <a:pt x="2268538" y="628650"/>
                  </a:lnTo>
                  <a:lnTo>
                    <a:pt x="2265363" y="615950"/>
                  </a:lnTo>
                  <a:lnTo>
                    <a:pt x="2259013" y="593725"/>
                  </a:lnTo>
                  <a:lnTo>
                    <a:pt x="2227263" y="571500"/>
                  </a:lnTo>
                  <a:lnTo>
                    <a:pt x="2220913" y="571500"/>
                  </a:lnTo>
                  <a:lnTo>
                    <a:pt x="2211388" y="571500"/>
                  </a:lnTo>
                  <a:lnTo>
                    <a:pt x="2173288" y="587375"/>
                  </a:lnTo>
                  <a:lnTo>
                    <a:pt x="2157413" y="593725"/>
                  </a:lnTo>
                  <a:lnTo>
                    <a:pt x="2141538" y="577850"/>
                  </a:lnTo>
                  <a:lnTo>
                    <a:pt x="2163763" y="546100"/>
                  </a:lnTo>
                  <a:lnTo>
                    <a:pt x="2147888" y="546100"/>
                  </a:lnTo>
                  <a:lnTo>
                    <a:pt x="2109788" y="571500"/>
                  </a:lnTo>
                  <a:lnTo>
                    <a:pt x="2084388" y="593725"/>
                  </a:lnTo>
                  <a:lnTo>
                    <a:pt x="2046288" y="609600"/>
                  </a:lnTo>
                  <a:lnTo>
                    <a:pt x="2062163" y="625475"/>
                  </a:lnTo>
                  <a:lnTo>
                    <a:pt x="2078038" y="647700"/>
                  </a:lnTo>
                  <a:lnTo>
                    <a:pt x="2093913" y="657225"/>
                  </a:lnTo>
                  <a:lnTo>
                    <a:pt x="2116138" y="647700"/>
                  </a:lnTo>
                  <a:lnTo>
                    <a:pt x="2157413" y="657225"/>
                  </a:lnTo>
                  <a:lnTo>
                    <a:pt x="2160588" y="663575"/>
                  </a:lnTo>
                  <a:lnTo>
                    <a:pt x="2160588" y="669925"/>
                  </a:lnTo>
                  <a:lnTo>
                    <a:pt x="2157413" y="673100"/>
                  </a:lnTo>
                  <a:lnTo>
                    <a:pt x="2132013" y="679450"/>
                  </a:lnTo>
                  <a:lnTo>
                    <a:pt x="2100263" y="717550"/>
                  </a:lnTo>
                  <a:lnTo>
                    <a:pt x="2093913" y="727075"/>
                  </a:lnTo>
                  <a:lnTo>
                    <a:pt x="2132013" y="806450"/>
                  </a:lnTo>
                  <a:lnTo>
                    <a:pt x="2141538" y="835025"/>
                  </a:lnTo>
                  <a:lnTo>
                    <a:pt x="2132013" y="860425"/>
                  </a:lnTo>
                  <a:lnTo>
                    <a:pt x="2141538" y="876300"/>
                  </a:lnTo>
                  <a:lnTo>
                    <a:pt x="2141538" y="898525"/>
                  </a:lnTo>
                  <a:lnTo>
                    <a:pt x="2116138" y="946150"/>
                  </a:lnTo>
                  <a:lnTo>
                    <a:pt x="2093913" y="977900"/>
                  </a:lnTo>
                  <a:lnTo>
                    <a:pt x="2078038" y="1009650"/>
                  </a:lnTo>
                  <a:lnTo>
                    <a:pt x="2039938" y="1038225"/>
                  </a:lnTo>
                  <a:lnTo>
                    <a:pt x="1998663" y="1063625"/>
                  </a:lnTo>
                  <a:lnTo>
                    <a:pt x="1966913" y="1079500"/>
                  </a:lnTo>
                  <a:lnTo>
                    <a:pt x="1951038" y="1069975"/>
                  </a:lnTo>
                  <a:lnTo>
                    <a:pt x="1935163" y="1079500"/>
                  </a:lnTo>
                  <a:lnTo>
                    <a:pt x="1928813" y="1085850"/>
                  </a:lnTo>
                  <a:lnTo>
                    <a:pt x="1901449" y="1096795"/>
                  </a:lnTo>
                  <a:lnTo>
                    <a:pt x="1919564" y="1110413"/>
                  </a:lnTo>
                  <a:lnTo>
                    <a:pt x="1928261" y="1136563"/>
                  </a:lnTo>
                  <a:lnTo>
                    <a:pt x="1902171" y="1153996"/>
                  </a:lnTo>
                  <a:lnTo>
                    <a:pt x="1884777" y="1171429"/>
                  </a:lnTo>
                  <a:lnTo>
                    <a:pt x="1902171" y="1206295"/>
                  </a:lnTo>
                  <a:lnTo>
                    <a:pt x="1936958" y="1249878"/>
                  </a:lnTo>
                  <a:lnTo>
                    <a:pt x="1954351" y="1276028"/>
                  </a:lnTo>
                  <a:lnTo>
                    <a:pt x="1989138" y="1390797"/>
                  </a:lnTo>
                  <a:lnTo>
                    <a:pt x="1945655" y="1434380"/>
                  </a:lnTo>
                  <a:lnTo>
                    <a:pt x="1884777" y="1477963"/>
                  </a:lnTo>
                  <a:lnTo>
                    <a:pt x="1858687" y="1451813"/>
                  </a:lnTo>
                  <a:lnTo>
                    <a:pt x="1849990" y="1443097"/>
                  </a:lnTo>
                  <a:lnTo>
                    <a:pt x="1852672" y="1441753"/>
                  </a:lnTo>
                  <a:lnTo>
                    <a:pt x="1836837" y="1433983"/>
                  </a:lnTo>
                  <a:lnTo>
                    <a:pt x="1790700" y="1388837"/>
                  </a:lnTo>
                  <a:lnTo>
                    <a:pt x="1790700" y="1388439"/>
                  </a:lnTo>
                  <a:lnTo>
                    <a:pt x="1778920" y="1378335"/>
                  </a:lnTo>
                  <a:lnTo>
                    <a:pt x="1726992" y="1388863"/>
                  </a:lnTo>
                  <a:lnTo>
                    <a:pt x="1717677" y="1407022"/>
                  </a:lnTo>
                  <a:lnTo>
                    <a:pt x="1717721" y="1407344"/>
                  </a:lnTo>
                  <a:lnTo>
                    <a:pt x="1715013" y="1412214"/>
                  </a:lnTo>
                  <a:lnTo>
                    <a:pt x="1699990" y="1441501"/>
                  </a:lnTo>
                  <a:lnTo>
                    <a:pt x="1716607" y="1464662"/>
                  </a:lnTo>
                  <a:lnTo>
                    <a:pt x="1749840" y="1517300"/>
                  </a:lnTo>
                  <a:lnTo>
                    <a:pt x="1783074" y="1538355"/>
                  </a:lnTo>
                  <a:lnTo>
                    <a:pt x="1776843" y="1546777"/>
                  </a:lnTo>
                  <a:lnTo>
                    <a:pt x="1769743" y="1548217"/>
                  </a:lnTo>
                  <a:lnTo>
                    <a:pt x="1781810" y="1554833"/>
                  </a:lnTo>
                  <a:lnTo>
                    <a:pt x="1781048" y="1565910"/>
                  </a:lnTo>
                  <a:lnTo>
                    <a:pt x="1802385" y="1562663"/>
                  </a:lnTo>
                  <a:lnTo>
                    <a:pt x="1808671" y="1552541"/>
                  </a:lnTo>
                  <a:lnTo>
                    <a:pt x="1815720" y="1556361"/>
                  </a:lnTo>
                  <a:lnTo>
                    <a:pt x="1848104" y="1592840"/>
                  </a:lnTo>
                  <a:lnTo>
                    <a:pt x="1848104" y="1640970"/>
                  </a:lnTo>
                  <a:lnTo>
                    <a:pt x="1861439" y="1652812"/>
                  </a:lnTo>
                  <a:lnTo>
                    <a:pt x="1882775" y="1689100"/>
                  </a:lnTo>
                  <a:lnTo>
                    <a:pt x="1869440" y="1688336"/>
                  </a:lnTo>
                  <a:lnTo>
                    <a:pt x="1806195" y="1652048"/>
                  </a:lnTo>
                  <a:lnTo>
                    <a:pt x="1768475" y="1606210"/>
                  </a:lnTo>
                  <a:lnTo>
                    <a:pt x="1754188" y="1549294"/>
                  </a:lnTo>
                  <a:lnTo>
                    <a:pt x="1756071" y="1544740"/>
                  </a:lnTo>
                  <a:lnTo>
                    <a:pt x="1756071" y="1540461"/>
                  </a:lnTo>
                  <a:lnTo>
                    <a:pt x="1731146" y="1525722"/>
                  </a:lnTo>
                  <a:lnTo>
                    <a:pt x="1729069" y="1534144"/>
                  </a:lnTo>
                  <a:lnTo>
                    <a:pt x="1687527" y="1485717"/>
                  </a:lnTo>
                  <a:lnTo>
                    <a:pt x="1693901" y="1450183"/>
                  </a:lnTo>
                  <a:lnTo>
                    <a:pt x="1687281" y="1462088"/>
                  </a:lnTo>
                  <a:lnTo>
                    <a:pt x="1687103" y="1453424"/>
                  </a:lnTo>
                  <a:lnTo>
                    <a:pt x="1685815" y="1455738"/>
                  </a:lnTo>
                  <a:cubicBezTo>
                    <a:pt x="1686256" y="1445768"/>
                    <a:pt x="1683709" y="1403431"/>
                    <a:pt x="1682665" y="1377299"/>
                  </a:cubicBezTo>
                  <a:lnTo>
                    <a:pt x="1682334" y="1360649"/>
                  </a:lnTo>
                  <a:lnTo>
                    <a:pt x="1668966" y="1322432"/>
                  </a:lnTo>
                  <a:lnTo>
                    <a:pt x="1667584" y="1316360"/>
                  </a:lnTo>
                  <a:lnTo>
                    <a:pt x="1667486" y="1316082"/>
                  </a:lnTo>
                  <a:lnTo>
                    <a:pt x="1662509" y="1294231"/>
                  </a:lnTo>
                  <a:lnTo>
                    <a:pt x="1628434" y="1295893"/>
                  </a:lnTo>
                  <a:cubicBezTo>
                    <a:pt x="1612805" y="1301437"/>
                    <a:pt x="1584525" y="1280785"/>
                    <a:pt x="1568875" y="1286279"/>
                  </a:cubicBezTo>
                  <a:lnTo>
                    <a:pt x="1570359" y="1279921"/>
                  </a:lnTo>
                  <a:lnTo>
                    <a:pt x="1567318" y="1279929"/>
                  </a:lnTo>
                  <a:lnTo>
                    <a:pt x="1578355" y="1232683"/>
                  </a:lnTo>
                  <a:lnTo>
                    <a:pt x="1528763" y="1144563"/>
                  </a:lnTo>
                  <a:lnTo>
                    <a:pt x="1529258" y="1141911"/>
                  </a:lnTo>
                  <a:lnTo>
                    <a:pt x="1527175" y="1138213"/>
                  </a:lnTo>
                  <a:lnTo>
                    <a:pt x="1534754" y="1097645"/>
                  </a:lnTo>
                  <a:lnTo>
                    <a:pt x="1535016" y="1097156"/>
                  </a:lnTo>
                  <a:lnTo>
                    <a:pt x="1528258" y="1094688"/>
                  </a:lnTo>
                  <a:cubicBezTo>
                    <a:pt x="1522578" y="1091493"/>
                    <a:pt x="1515725" y="1087374"/>
                    <a:pt x="1511372" y="1085548"/>
                  </a:cubicBezTo>
                  <a:cubicBezTo>
                    <a:pt x="1517902" y="1066579"/>
                    <a:pt x="1520350" y="1070586"/>
                    <a:pt x="1528173" y="1048856"/>
                  </a:cubicBezTo>
                  <a:cubicBezTo>
                    <a:pt x="1518990" y="1035675"/>
                    <a:pt x="1497632" y="1039505"/>
                    <a:pt x="1486477" y="1033271"/>
                  </a:cubicBezTo>
                  <a:cubicBezTo>
                    <a:pt x="1475322" y="1027037"/>
                    <a:pt x="1465663" y="1011006"/>
                    <a:pt x="1461106" y="1011540"/>
                  </a:cubicBezTo>
                  <a:cubicBezTo>
                    <a:pt x="1458827" y="1011808"/>
                    <a:pt x="1453879" y="1011318"/>
                    <a:pt x="1449220" y="1011084"/>
                  </a:cubicBezTo>
                  <a:lnTo>
                    <a:pt x="1446044" y="1011422"/>
                  </a:lnTo>
                  <a:lnTo>
                    <a:pt x="1445895" y="1011848"/>
                  </a:lnTo>
                  <a:lnTo>
                    <a:pt x="1468438" y="1022594"/>
                  </a:lnTo>
                  <a:lnTo>
                    <a:pt x="1460924" y="1065579"/>
                  </a:lnTo>
                  <a:lnTo>
                    <a:pt x="1453409" y="1054833"/>
                  </a:lnTo>
                  <a:lnTo>
                    <a:pt x="1428085" y="1063887"/>
                  </a:lnTo>
                  <a:lnTo>
                    <a:pt x="1430532" y="1075396"/>
                  </a:lnTo>
                  <a:cubicBezTo>
                    <a:pt x="1432691" y="1085237"/>
                    <a:pt x="1434851" y="1095078"/>
                    <a:pt x="1437367" y="1107546"/>
                  </a:cubicBezTo>
                  <a:cubicBezTo>
                    <a:pt x="1434579" y="1115739"/>
                    <a:pt x="1379892" y="1103271"/>
                    <a:pt x="1377103" y="1111464"/>
                  </a:cubicBezTo>
                  <a:cubicBezTo>
                    <a:pt x="1375742" y="1129900"/>
                    <a:pt x="1341869" y="1139785"/>
                    <a:pt x="1340577" y="1158220"/>
                  </a:cubicBezTo>
                  <a:lnTo>
                    <a:pt x="1291331" y="1187164"/>
                  </a:lnTo>
                  <a:lnTo>
                    <a:pt x="1238140" y="1233920"/>
                  </a:lnTo>
                  <a:lnTo>
                    <a:pt x="1185018" y="1290116"/>
                  </a:lnTo>
                  <a:cubicBezTo>
                    <a:pt x="1182501" y="1309353"/>
                    <a:pt x="1179916" y="1328590"/>
                    <a:pt x="1177400" y="1347827"/>
                  </a:cubicBezTo>
                  <a:cubicBezTo>
                    <a:pt x="1174883" y="1369646"/>
                    <a:pt x="1172298" y="1391466"/>
                    <a:pt x="1169781" y="1413285"/>
                  </a:cubicBezTo>
                  <a:lnTo>
                    <a:pt x="1162231" y="1450690"/>
                  </a:lnTo>
                  <a:lnTo>
                    <a:pt x="1160224" y="1453789"/>
                  </a:lnTo>
                  <a:lnTo>
                    <a:pt x="1160463" y="1453974"/>
                  </a:lnTo>
                  <a:lnTo>
                    <a:pt x="1144134" y="1484313"/>
                  </a:lnTo>
                  <a:lnTo>
                    <a:pt x="1140457" y="1484313"/>
                  </a:lnTo>
                  <a:lnTo>
                    <a:pt x="1131895" y="1497535"/>
                  </a:lnTo>
                  <a:lnTo>
                    <a:pt x="1109109" y="1525588"/>
                  </a:lnTo>
                  <a:lnTo>
                    <a:pt x="1086322" y="1478832"/>
                  </a:lnTo>
                  <a:lnTo>
                    <a:pt x="1063536" y="1431987"/>
                  </a:lnTo>
                  <a:lnTo>
                    <a:pt x="1025650" y="1347827"/>
                  </a:lnTo>
                  <a:lnTo>
                    <a:pt x="1002795" y="1271325"/>
                  </a:lnTo>
                  <a:cubicBezTo>
                    <a:pt x="997762" y="1212101"/>
                    <a:pt x="992660" y="1152788"/>
                    <a:pt x="987627" y="1093564"/>
                  </a:cubicBezTo>
                  <a:lnTo>
                    <a:pt x="942122" y="1130968"/>
                  </a:lnTo>
                  <a:lnTo>
                    <a:pt x="919336" y="1093564"/>
                  </a:lnTo>
                  <a:lnTo>
                    <a:pt x="889609" y="1047660"/>
                  </a:lnTo>
                  <a:lnTo>
                    <a:pt x="870677" y="1031471"/>
                  </a:lnTo>
                  <a:cubicBezTo>
                    <a:pt x="846660" y="1018307"/>
                    <a:pt x="810105" y="1013581"/>
                    <a:pt x="782595" y="1009142"/>
                  </a:cubicBezTo>
                  <a:cubicBezTo>
                    <a:pt x="745915" y="1003224"/>
                    <a:pt x="670035" y="1018863"/>
                    <a:pt x="669675" y="1012160"/>
                  </a:cubicBezTo>
                  <a:cubicBezTo>
                    <a:pt x="668595" y="991935"/>
                    <a:pt x="682675" y="979745"/>
                    <a:pt x="694955" y="968104"/>
                  </a:cubicBezTo>
                  <a:cubicBezTo>
                    <a:pt x="704235" y="959324"/>
                    <a:pt x="699155" y="948663"/>
                    <a:pt x="699795" y="942314"/>
                  </a:cubicBezTo>
                  <a:cubicBezTo>
                    <a:pt x="700435" y="935964"/>
                    <a:pt x="699115" y="934200"/>
                    <a:pt x="698835" y="930045"/>
                  </a:cubicBezTo>
                  <a:cubicBezTo>
                    <a:pt x="698555" y="925891"/>
                    <a:pt x="702475" y="921501"/>
                    <a:pt x="698155" y="917307"/>
                  </a:cubicBezTo>
                  <a:cubicBezTo>
                    <a:pt x="693835" y="913113"/>
                    <a:pt x="680715" y="912290"/>
                    <a:pt x="672955" y="904921"/>
                  </a:cubicBezTo>
                  <a:cubicBezTo>
                    <a:pt x="665195" y="897552"/>
                    <a:pt x="646875" y="878072"/>
                    <a:pt x="651675" y="873172"/>
                  </a:cubicBezTo>
                  <a:cubicBezTo>
                    <a:pt x="654075" y="870723"/>
                    <a:pt x="662435" y="872888"/>
                    <a:pt x="672265" y="874887"/>
                  </a:cubicBezTo>
                  <a:lnTo>
                    <a:pt x="693615" y="875407"/>
                  </a:lnTo>
                  <a:lnTo>
                    <a:pt x="689594" y="874779"/>
                  </a:lnTo>
                  <a:cubicBezTo>
                    <a:pt x="684645" y="873550"/>
                    <a:pt x="682085" y="875631"/>
                    <a:pt x="674474" y="874503"/>
                  </a:cubicBezTo>
                  <a:cubicBezTo>
                    <a:pt x="670669" y="873939"/>
                    <a:pt x="663876" y="873532"/>
                    <a:pt x="657622" y="872651"/>
                  </a:cubicBezTo>
                  <a:lnTo>
                    <a:pt x="644254" y="868048"/>
                  </a:lnTo>
                  <a:lnTo>
                    <a:pt x="642091" y="874482"/>
                  </a:lnTo>
                  <a:cubicBezTo>
                    <a:pt x="642091" y="874482"/>
                    <a:pt x="642091" y="874482"/>
                    <a:pt x="649923" y="890010"/>
                  </a:cubicBezTo>
                  <a:cubicBezTo>
                    <a:pt x="649923" y="890010"/>
                    <a:pt x="649923" y="890010"/>
                    <a:pt x="681249" y="921067"/>
                  </a:cubicBezTo>
                  <a:cubicBezTo>
                    <a:pt x="681249" y="921067"/>
                    <a:pt x="681249" y="921067"/>
                    <a:pt x="689081" y="936596"/>
                  </a:cubicBezTo>
                  <a:cubicBezTo>
                    <a:pt x="689081" y="936596"/>
                    <a:pt x="689081" y="936596"/>
                    <a:pt x="696913" y="959889"/>
                  </a:cubicBezTo>
                  <a:cubicBezTo>
                    <a:pt x="696913" y="959889"/>
                    <a:pt x="696913" y="959889"/>
                    <a:pt x="657754" y="975418"/>
                  </a:cubicBezTo>
                  <a:cubicBezTo>
                    <a:pt x="657754" y="975418"/>
                    <a:pt x="657754" y="975418"/>
                    <a:pt x="657754" y="1006475"/>
                  </a:cubicBezTo>
                  <a:cubicBezTo>
                    <a:pt x="657754" y="1006475"/>
                    <a:pt x="657754" y="1006475"/>
                    <a:pt x="642091" y="1006475"/>
                  </a:cubicBezTo>
                  <a:cubicBezTo>
                    <a:pt x="642091" y="1006475"/>
                    <a:pt x="642091" y="1006475"/>
                    <a:pt x="555943" y="983182"/>
                  </a:cubicBezTo>
                  <a:cubicBezTo>
                    <a:pt x="555943" y="983182"/>
                    <a:pt x="555943" y="983182"/>
                    <a:pt x="532448" y="952125"/>
                  </a:cubicBezTo>
                  <a:cubicBezTo>
                    <a:pt x="532448" y="952125"/>
                    <a:pt x="532448" y="952125"/>
                    <a:pt x="493289" y="959889"/>
                  </a:cubicBezTo>
                  <a:cubicBezTo>
                    <a:pt x="493289" y="959889"/>
                    <a:pt x="493289" y="959889"/>
                    <a:pt x="446299" y="952125"/>
                  </a:cubicBezTo>
                  <a:cubicBezTo>
                    <a:pt x="446299" y="952125"/>
                    <a:pt x="446299" y="952125"/>
                    <a:pt x="407141" y="921067"/>
                  </a:cubicBezTo>
                  <a:cubicBezTo>
                    <a:pt x="407141" y="921067"/>
                    <a:pt x="407141" y="921067"/>
                    <a:pt x="375814" y="882246"/>
                  </a:cubicBezTo>
                  <a:cubicBezTo>
                    <a:pt x="375814" y="882246"/>
                    <a:pt x="375814" y="882246"/>
                    <a:pt x="344488" y="858953"/>
                  </a:cubicBezTo>
                  <a:cubicBezTo>
                    <a:pt x="344488" y="858953"/>
                    <a:pt x="344488" y="858953"/>
                    <a:pt x="336656" y="874482"/>
                  </a:cubicBezTo>
                  <a:cubicBezTo>
                    <a:pt x="336656" y="874482"/>
                    <a:pt x="336656" y="874482"/>
                    <a:pt x="320993" y="843424"/>
                  </a:cubicBezTo>
                  <a:cubicBezTo>
                    <a:pt x="320993" y="843424"/>
                    <a:pt x="320993" y="843424"/>
                    <a:pt x="305329" y="804603"/>
                  </a:cubicBezTo>
                  <a:cubicBezTo>
                    <a:pt x="305329" y="804603"/>
                    <a:pt x="305329" y="804603"/>
                    <a:pt x="258339" y="765781"/>
                  </a:cubicBezTo>
                  <a:cubicBezTo>
                    <a:pt x="258339" y="765781"/>
                    <a:pt x="258339" y="765781"/>
                    <a:pt x="258339" y="734724"/>
                  </a:cubicBezTo>
                  <a:cubicBezTo>
                    <a:pt x="258339" y="734724"/>
                    <a:pt x="258339" y="734724"/>
                    <a:pt x="266171" y="703667"/>
                  </a:cubicBezTo>
                  <a:cubicBezTo>
                    <a:pt x="266171" y="703667"/>
                    <a:pt x="266171" y="703667"/>
                    <a:pt x="234844" y="657081"/>
                  </a:cubicBezTo>
                  <a:cubicBezTo>
                    <a:pt x="234844" y="657081"/>
                    <a:pt x="227013" y="633788"/>
                    <a:pt x="227013" y="633788"/>
                  </a:cubicBezTo>
                  <a:cubicBezTo>
                    <a:pt x="227013" y="626024"/>
                    <a:pt x="227013" y="579438"/>
                    <a:pt x="227013" y="579438"/>
                  </a:cubicBezTo>
                  <a:cubicBezTo>
                    <a:pt x="227013" y="579438"/>
                    <a:pt x="227013" y="579438"/>
                    <a:pt x="250508" y="594966"/>
                  </a:cubicBezTo>
                  <a:cubicBezTo>
                    <a:pt x="250508" y="594966"/>
                    <a:pt x="250508" y="594966"/>
                    <a:pt x="274003" y="602731"/>
                  </a:cubicBezTo>
                  <a:cubicBezTo>
                    <a:pt x="274003" y="602731"/>
                    <a:pt x="274003" y="602731"/>
                    <a:pt x="305329" y="579438"/>
                  </a:cubicBezTo>
                  <a:cubicBezTo>
                    <a:pt x="305329" y="579438"/>
                    <a:pt x="305329" y="579438"/>
                    <a:pt x="320993" y="594966"/>
                  </a:cubicBezTo>
                  <a:cubicBezTo>
                    <a:pt x="320993" y="594966"/>
                    <a:pt x="320993" y="594966"/>
                    <a:pt x="320993" y="610495"/>
                  </a:cubicBezTo>
                  <a:cubicBezTo>
                    <a:pt x="320993" y="610495"/>
                    <a:pt x="320993" y="610495"/>
                    <a:pt x="344488" y="626024"/>
                  </a:cubicBezTo>
                  <a:cubicBezTo>
                    <a:pt x="344488" y="626024"/>
                    <a:pt x="344488" y="626024"/>
                    <a:pt x="344488" y="649317"/>
                  </a:cubicBezTo>
                  <a:cubicBezTo>
                    <a:pt x="344488" y="649317"/>
                    <a:pt x="344488" y="649317"/>
                    <a:pt x="375814" y="649317"/>
                  </a:cubicBezTo>
                  <a:cubicBezTo>
                    <a:pt x="375814" y="649317"/>
                    <a:pt x="375814" y="649317"/>
                    <a:pt x="399309" y="664845"/>
                  </a:cubicBezTo>
                  <a:cubicBezTo>
                    <a:pt x="399309" y="664845"/>
                    <a:pt x="399309" y="664845"/>
                    <a:pt x="430636" y="664845"/>
                  </a:cubicBezTo>
                  <a:cubicBezTo>
                    <a:pt x="430636" y="664845"/>
                    <a:pt x="430636" y="664845"/>
                    <a:pt x="461963" y="657081"/>
                  </a:cubicBezTo>
                  <a:cubicBezTo>
                    <a:pt x="461963" y="657081"/>
                    <a:pt x="461963" y="657081"/>
                    <a:pt x="469794" y="641552"/>
                  </a:cubicBezTo>
                  <a:cubicBezTo>
                    <a:pt x="469794" y="641552"/>
                    <a:pt x="469794" y="641552"/>
                    <a:pt x="508953" y="626024"/>
                  </a:cubicBezTo>
                  <a:cubicBezTo>
                    <a:pt x="508953" y="626024"/>
                    <a:pt x="508953" y="626024"/>
                    <a:pt x="540279" y="618259"/>
                  </a:cubicBezTo>
                  <a:cubicBezTo>
                    <a:pt x="540279" y="618259"/>
                    <a:pt x="540279" y="618259"/>
                    <a:pt x="579438" y="641552"/>
                  </a:cubicBezTo>
                  <a:cubicBezTo>
                    <a:pt x="579438" y="641552"/>
                    <a:pt x="579438" y="641552"/>
                    <a:pt x="610764" y="664845"/>
                  </a:cubicBezTo>
                  <a:cubicBezTo>
                    <a:pt x="610764" y="664845"/>
                    <a:pt x="610764" y="664845"/>
                    <a:pt x="623980" y="668121"/>
                  </a:cubicBezTo>
                  <a:lnTo>
                    <a:pt x="641584" y="672484"/>
                  </a:lnTo>
                  <a:lnTo>
                    <a:pt x="641584" y="670623"/>
                  </a:lnTo>
                  <a:cubicBezTo>
                    <a:pt x="641584" y="670623"/>
                    <a:pt x="641584" y="670623"/>
                    <a:pt x="610228" y="662825"/>
                  </a:cubicBezTo>
                  <a:cubicBezTo>
                    <a:pt x="610228" y="662825"/>
                    <a:pt x="610228" y="662825"/>
                    <a:pt x="578872" y="639431"/>
                  </a:cubicBezTo>
                  <a:cubicBezTo>
                    <a:pt x="578872" y="639431"/>
                    <a:pt x="578872" y="639431"/>
                    <a:pt x="539676" y="616038"/>
                  </a:cubicBezTo>
                  <a:cubicBezTo>
                    <a:pt x="539676" y="616038"/>
                    <a:pt x="539676" y="616038"/>
                    <a:pt x="508320" y="623835"/>
                  </a:cubicBezTo>
                  <a:cubicBezTo>
                    <a:pt x="508320" y="623835"/>
                    <a:pt x="508320" y="623835"/>
                    <a:pt x="469125" y="639431"/>
                  </a:cubicBezTo>
                  <a:cubicBezTo>
                    <a:pt x="469125" y="639431"/>
                    <a:pt x="469125" y="639431"/>
                    <a:pt x="461286" y="655027"/>
                  </a:cubicBezTo>
                  <a:cubicBezTo>
                    <a:pt x="461286" y="655027"/>
                    <a:pt x="461286" y="655027"/>
                    <a:pt x="469125" y="592644"/>
                  </a:cubicBezTo>
                  <a:cubicBezTo>
                    <a:pt x="469125" y="592644"/>
                    <a:pt x="469125" y="592644"/>
                    <a:pt x="437769" y="561452"/>
                  </a:cubicBezTo>
                  <a:cubicBezTo>
                    <a:pt x="437769" y="561452"/>
                    <a:pt x="437769" y="499068"/>
                    <a:pt x="437769" y="491270"/>
                  </a:cubicBezTo>
                  <a:cubicBezTo>
                    <a:pt x="437769" y="483472"/>
                    <a:pt x="406412" y="460079"/>
                    <a:pt x="406412" y="460079"/>
                  </a:cubicBezTo>
                  <a:cubicBezTo>
                    <a:pt x="406412" y="460079"/>
                    <a:pt x="406412" y="460079"/>
                    <a:pt x="382895" y="405493"/>
                  </a:cubicBezTo>
                  <a:cubicBezTo>
                    <a:pt x="382895" y="405493"/>
                    <a:pt x="382895" y="405493"/>
                    <a:pt x="406412" y="389897"/>
                  </a:cubicBezTo>
                  <a:cubicBezTo>
                    <a:pt x="406412" y="389897"/>
                    <a:pt x="406412" y="389897"/>
                    <a:pt x="437769" y="389897"/>
                  </a:cubicBezTo>
                  <a:cubicBezTo>
                    <a:pt x="437769" y="389897"/>
                    <a:pt x="437769" y="389897"/>
                    <a:pt x="484803" y="382099"/>
                  </a:cubicBezTo>
                  <a:cubicBezTo>
                    <a:pt x="484803" y="382099"/>
                    <a:pt x="484803" y="382099"/>
                    <a:pt x="429930" y="319716"/>
                  </a:cubicBezTo>
                  <a:cubicBezTo>
                    <a:pt x="429930" y="319716"/>
                    <a:pt x="429930" y="319716"/>
                    <a:pt x="382895" y="319716"/>
                  </a:cubicBezTo>
                  <a:cubicBezTo>
                    <a:pt x="382895" y="319716"/>
                    <a:pt x="382895" y="319716"/>
                    <a:pt x="328022" y="327514"/>
                  </a:cubicBezTo>
                  <a:cubicBezTo>
                    <a:pt x="328022" y="327514"/>
                    <a:pt x="328022" y="327514"/>
                    <a:pt x="312344" y="288524"/>
                  </a:cubicBezTo>
                  <a:cubicBezTo>
                    <a:pt x="312344" y="288524"/>
                    <a:pt x="312344" y="288524"/>
                    <a:pt x="280988" y="257332"/>
                  </a:cubicBezTo>
                  <a:cubicBezTo>
                    <a:pt x="280988" y="257332"/>
                    <a:pt x="280988" y="257332"/>
                    <a:pt x="304505" y="202746"/>
                  </a:cubicBezTo>
                  <a:cubicBezTo>
                    <a:pt x="304505" y="202746"/>
                    <a:pt x="304505" y="202746"/>
                    <a:pt x="382895" y="163757"/>
                  </a:cubicBezTo>
                  <a:cubicBezTo>
                    <a:pt x="382895" y="163757"/>
                    <a:pt x="382895" y="163757"/>
                    <a:pt x="453447" y="155959"/>
                  </a:cubicBezTo>
                  <a:cubicBezTo>
                    <a:pt x="453447" y="155959"/>
                    <a:pt x="453447" y="155959"/>
                    <a:pt x="492642" y="187151"/>
                  </a:cubicBezTo>
                  <a:cubicBezTo>
                    <a:pt x="492642" y="187151"/>
                    <a:pt x="492642" y="187151"/>
                    <a:pt x="539676" y="179353"/>
                  </a:cubicBezTo>
                  <a:cubicBezTo>
                    <a:pt x="539676" y="179353"/>
                    <a:pt x="539676" y="179353"/>
                    <a:pt x="594550" y="187151"/>
                  </a:cubicBezTo>
                  <a:cubicBezTo>
                    <a:pt x="594550" y="187151"/>
                    <a:pt x="594550" y="187151"/>
                    <a:pt x="649423" y="179353"/>
                  </a:cubicBezTo>
                  <a:cubicBezTo>
                    <a:pt x="649423" y="179353"/>
                    <a:pt x="649423" y="179353"/>
                    <a:pt x="633745" y="124767"/>
                  </a:cubicBezTo>
                  <a:cubicBezTo>
                    <a:pt x="633745" y="124767"/>
                    <a:pt x="633745" y="124767"/>
                    <a:pt x="665101" y="54585"/>
                  </a:cubicBezTo>
                  <a:cubicBezTo>
                    <a:pt x="665101" y="54585"/>
                    <a:pt x="665101" y="54585"/>
                    <a:pt x="767009" y="23394"/>
                  </a:cubicBezTo>
                  <a:cubicBezTo>
                    <a:pt x="767009" y="23394"/>
                    <a:pt x="767009" y="23394"/>
                    <a:pt x="861077" y="0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  <a:scene3d>
              <a:camera prst="orthographicFront"/>
              <a:lightRig rig="contrasting" dir="t"/>
            </a:scene3d>
            <a:sp3d z="63500" prstMaterial="metal">
              <a:bevelB w="0" h="0"/>
            </a:sp3d>
          </p:spPr>
          <p:txBody>
            <a:bodyPr wrap="square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36" name="Title 2"/>
          <p:cNvSpPr>
            <a:spLocks noGrp="1"/>
          </p:cNvSpPr>
          <p:nvPr>
            <p:ph type="title"/>
          </p:nvPr>
        </p:nvSpPr>
        <p:spPr>
          <a:xfrm>
            <a:off x="263352" y="-12621"/>
            <a:ext cx="10736209" cy="1384995"/>
          </a:xfrm>
        </p:spPr>
        <p:txBody>
          <a:bodyPr/>
          <a:lstStyle/>
          <a:p>
            <a:r>
              <a:rPr lang="ru-RU" dirty="0"/>
              <a:t>эффективное использование полосы пропускания,</a:t>
            </a:r>
            <a:br>
              <a:rPr lang="ru-RU" dirty="0"/>
            </a:br>
            <a:r>
              <a:rPr lang="ru-RU" dirty="0"/>
              <a:t>адаптированное к региональным потребностям </a:t>
            </a:r>
            <a:br>
              <a:rPr lang="ru-RU" dirty="0"/>
            </a:br>
            <a:r>
              <a:rPr lang="ru-RU" dirty="0"/>
              <a:t>в широкополосном доступе</a:t>
            </a:r>
          </a:p>
        </p:txBody>
      </p:sp>
      <p:sp>
        <p:nvSpPr>
          <p:cNvPr id="38" name="Rectangle 37"/>
          <p:cNvSpPr/>
          <p:nvPr/>
        </p:nvSpPr>
        <p:spPr>
          <a:xfrm rot="21355067">
            <a:off x="2179840" y="4148415"/>
            <a:ext cx="1359668" cy="547042"/>
          </a:xfrm>
          <a:prstGeom prst="rect">
            <a:avLst/>
          </a:prstGeom>
          <a:gradFill flip="none" rotWithShape="1">
            <a:gsLst>
              <a:gs pos="50000">
                <a:schemeClr val="bg2"/>
              </a:gs>
              <a:gs pos="50000">
                <a:schemeClr val="bg2">
                  <a:lumMod val="75000"/>
                </a:schemeClr>
              </a:gs>
            </a:gsLst>
            <a:lin ang="2700000" scaled="1"/>
            <a:tileRect/>
          </a:gradFill>
        </p:spPr>
        <p:txBody>
          <a:bodyPr wrap="none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uLnTx/>
                <a:uFillTx/>
              </a:rPr>
              <a:t>ЛАТ. АМ.</a:t>
            </a:r>
          </a:p>
        </p:txBody>
      </p:sp>
      <p:sp>
        <p:nvSpPr>
          <p:cNvPr id="37" name="Rounded Rectangular Callout 28"/>
          <p:cNvSpPr/>
          <p:nvPr/>
        </p:nvSpPr>
        <p:spPr>
          <a:xfrm>
            <a:off x="1954579" y="4578728"/>
            <a:ext cx="2334045" cy="703256"/>
          </a:xfrm>
          <a:prstGeom prst="roundRect">
            <a:avLst>
              <a:gd name="adj" fmla="val 849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ts val="1500"/>
              </a:lnSpc>
              <a:defRPr/>
            </a:pPr>
            <a:r>
              <a:rPr lang="ru-RU" sz="1100" b="1">
                <a:solidFill>
                  <a:schemeClr val="accent2"/>
                </a:solidFill>
              </a:rPr>
              <a:t>ШИРОКОПОЛОСНАЯ АППАРАТУРА </a:t>
            </a:r>
            <a:r>
              <a:rPr lang="ru-RU" sz="1100" b="1">
                <a:solidFill>
                  <a:schemeClr val="tx1"/>
                </a:solidFill>
              </a:rPr>
              <a:t>НА СПУТНИКЕ EUTELSAT 65 WEST A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373C6F9-2393-4980-9ED6-1EA3727FA301}"/>
              </a:ext>
            </a:extLst>
          </p:cNvPr>
          <p:cNvSpPr/>
          <p:nvPr/>
        </p:nvSpPr>
        <p:spPr>
          <a:xfrm rot="21232679">
            <a:off x="4541913" y="1936793"/>
            <a:ext cx="1556206" cy="547042"/>
          </a:xfrm>
          <a:prstGeom prst="rect">
            <a:avLst/>
          </a:prstGeom>
          <a:gradFill flip="none" rotWithShape="1">
            <a:gsLst>
              <a:gs pos="50000">
                <a:schemeClr val="bg2"/>
              </a:gs>
              <a:gs pos="50000">
                <a:schemeClr val="bg2">
                  <a:lumMod val="75000"/>
                </a:schemeClr>
              </a:gs>
            </a:gsLst>
            <a:lin ang="2700000" scaled="1"/>
            <a:tileRect/>
          </a:gradFill>
        </p:spPr>
        <p:txBody>
          <a:bodyPr wrap="none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uLnTx/>
                <a:uFillTx/>
              </a:rPr>
              <a:t>ЕВРОПА</a:t>
            </a:r>
          </a:p>
        </p:txBody>
      </p:sp>
      <p:sp>
        <p:nvSpPr>
          <p:cNvPr id="39" name="Rounded Rectangular Callout 28">
            <a:extLst>
              <a:ext uri="{FF2B5EF4-FFF2-40B4-BE49-F238E27FC236}">
                <a16:creationId xmlns:a16="http://schemas.microsoft.com/office/drawing/2014/main" id="{83EE5798-47E9-4D2E-A3D9-E651340B0323}"/>
              </a:ext>
            </a:extLst>
          </p:cNvPr>
          <p:cNvSpPr/>
          <p:nvPr/>
        </p:nvSpPr>
        <p:spPr>
          <a:xfrm>
            <a:off x="4288624" y="2332906"/>
            <a:ext cx="3594135" cy="806465"/>
          </a:xfrm>
          <a:prstGeom prst="roundRect">
            <a:avLst>
              <a:gd name="adj" fmla="val 849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ts val="1500"/>
              </a:lnSpc>
              <a:defRPr/>
            </a:pPr>
            <a:r>
              <a:rPr lang="ru-RU" sz="1100" b="1">
                <a:solidFill>
                  <a:schemeClr val="tx1"/>
                </a:solidFill>
              </a:rPr>
              <a:t>KA-SAT И EUTELSAT KONNECT VHTS,</a:t>
            </a:r>
          </a:p>
          <a:p>
            <a:pPr lvl="0" algn="ctr">
              <a:lnSpc>
                <a:spcPts val="1500"/>
              </a:lnSpc>
              <a:defRPr/>
            </a:pPr>
            <a:r>
              <a:rPr lang="ru-RU" sz="1100" b="1">
                <a:solidFill>
                  <a:schemeClr val="tx1"/>
                </a:solidFill>
              </a:rPr>
              <a:t>ПЕРВООТКРЫВАТЕЛИ </a:t>
            </a:r>
            <a:r>
              <a:rPr lang="ru-RU" sz="1100" b="1">
                <a:solidFill>
                  <a:schemeClr val="accent2"/>
                </a:solidFill>
              </a:rPr>
              <a:t>ВЫСОКОСКОРОСТНОГО ШИРОКОПОЛОСНОГО ДОСТУПА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9BDCBC0-B37A-4D32-BDB6-CA888D2ED279}"/>
              </a:ext>
            </a:extLst>
          </p:cNvPr>
          <p:cNvSpPr/>
          <p:nvPr/>
        </p:nvSpPr>
        <p:spPr>
          <a:xfrm rot="231883">
            <a:off x="6054838" y="4315247"/>
            <a:ext cx="1556206" cy="547042"/>
          </a:xfrm>
          <a:prstGeom prst="rect">
            <a:avLst/>
          </a:prstGeom>
          <a:gradFill flip="none" rotWithShape="1">
            <a:gsLst>
              <a:gs pos="50000">
                <a:schemeClr val="bg2"/>
              </a:gs>
              <a:gs pos="50000">
                <a:schemeClr val="bg2">
                  <a:lumMod val="75000"/>
                </a:schemeClr>
              </a:gs>
            </a:gsLst>
            <a:lin ang="2700000" scaled="1"/>
            <a:tileRect/>
          </a:gradFill>
        </p:spPr>
        <p:txBody>
          <a:bodyPr wrap="none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uLnTx/>
                <a:uFillTx/>
              </a:rPr>
              <a:t>АФРИКА</a:t>
            </a:r>
          </a:p>
        </p:txBody>
      </p:sp>
      <p:sp>
        <p:nvSpPr>
          <p:cNvPr id="41" name="Rounded Rectangular Callout 28">
            <a:extLst>
              <a:ext uri="{FF2B5EF4-FFF2-40B4-BE49-F238E27FC236}">
                <a16:creationId xmlns:a16="http://schemas.microsoft.com/office/drawing/2014/main" id="{C870BA28-A86C-4577-B03B-39F720D31C64}"/>
              </a:ext>
            </a:extLst>
          </p:cNvPr>
          <p:cNvSpPr/>
          <p:nvPr/>
        </p:nvSpPr>
        <p:spPr>
          <a:xfrm>
            <a:off x="5349779" y="4773290"/>
            <a:ext cx="2307421" cy="715986"/>
          </a:xfrm>
          <a:prstGeom prst="roundRect">
            <a:avLst>
              <a:gd name="adj" fmla="val 849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ts val="1500"/>
              </a:lnSpc>
              <a:defRPr/>
            </a:pPr>
            <a:r>
              <a:rPr lang="ru-RU" sz="1100" b="1">
                <a:solidFill>
                  <a:schemeClr val="accent2"/>
                </a:solidFill>
              </a:rPr>
              <a:t>НАЧИНАЯ С 2020 Г.: </a:t>
            </a:r>
          </a:p>
          <a:p>
            <a:pPr lvl="0" algn="ctr">
              <a:lnSpc>
                <a:spcPts val="1500"/>
              </a:lnSpc>
              <a:defRPr/>
            </a:pPr>
            <a:r>
              <a:rPr lang="ru-RU" sz="1100" b="1">
                <a:solidFill>
                  <a:schemeClr val="tx1"/>
                </a:solidFill>
              </a:rPr>
              <a:t>ВЫСОКАЯ ПРОПУСКНАЯ</a:t>
            </a:r>
            <a:r>
              <a:rPr lang="ru-RU" sz="1100" b="1">
                <a:solidFill>
                  <a:schemeClr val="accent2"/>
                </a:solidFill>
              </a:rPr>
              <a:t> СПОСОБНОСТЬ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0B2DF3C-8C5E-44AC-A76A-01D05FD7ADE3}"/>
              </a:ext>
            </a:extLst>
          </p:cNvPr>
          <p:cNvSpPr/>
          <p:nvPr/>
        </p:nvSpPr>
        <p:spPr>
          <a:xfrm rot="231883">
            <a:off x="9179310" y="1535853"/>
            <a:ext cx="1469285" cy="547042"/>
          </a:xfrm>
          <a:prstGeom prst="rect">
            <a:avLst/>
          </a:prstGeom>
          <a:gradFill flip="none" rotWithShape="1">
            <a:gsLst>
              <a:gs pos="50000">
                <a:schemeClr val="bg2"/>
              </a:gs>
              <a:gs pos="50000">
                <a:schemeClr val="bg2">
                  <a:lumMod val="75000"/>
                </a:schemeClr>
              </a:gs>
            </a:gsLst>
            <a:lin ang="2700000" scaled="1"/>
            <a:tileRect/>
          </a:gradFill>
        </p:spPr>
        <p:txBody>
          <a:bodyPr wrap="none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uLnTx/>
                <a:uFillTx/>
              </a:rPr>
              <a:t>РОССИЯ</a:t>
            </a:r>
          </a:p>
        </p:txBody>
      </p:sp>
      <p:sp>
        <p:nvSpPr>
          <p:cNvPr id="43" name="Rounded Rectangular Callout 28">
            <a:extLst>
              <a:ext uri="{FF2B5EF4-FFF2-40B4-BE49-F238E27FC236}">
                <a16:creationId xmlns:a16="http://schemas.microsoft.com/office/drawing/2014/main" id="{FFDC3031-E845-406A-A05E-A5AA8FEFCE66}"/>
              </a:ext>
            </a:extLst>
          </p:cNvPr>
          <p:cNvSpPr/>
          <p:nvPr/>
        </p:nvSpPr>
        <p:spPr>
          <a:xfrm>
            <a:off x="8592206" y="1974913"/>
            <a:ext cx="3157109" cy="715986"/>
          </a:xfrm>
          <a:prstGeom prst="roundRect">
            <a:avLst>
              <a:gd name="adj" fmla="val 849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ts val="1500"/>
              </a:lnSpc>
              <a:defRPr/>
            </a:pPr>
            <a:r>
              <a:rPr lang="ru-RU" sz="1100" b="1" dirty="0">
                <a:solidFill>
                  <a:schemeClr val="accent2"/>
                </a:solidFill>
              </a:rPr>
              <a:t>ШИРОКОПОЛОСНАЯ ПОЛЕЗНАЯ НАГРУЗКА </a:t>
            </a:r>
            <a:r>
              <a:rPr lang="ru-RU" sz="1100" b="1" dirty="0">
                <a:solidFill>
                  <a:schemeClr val="tx1"/>
                </a:solidFill>
              </a:rPr>
              <a:t>НА СПУТНИКЕ EUTELSAT 36C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C5D8098-6B28-484E-899D-BB96DBBAC177}"/>
              </a:ext>
            </a:extLst>
          </p:cNvPr>
          <p:cNvSpPr/>
          <p:nvPr/>
        </p:nvSpPr>
        <p:spPr>
          <a:xfrm rot="231883">
            <a:off x="9815573" y="3679518"/>
            <a:ext cx="1112319" cy="547042"/>
          </a:xfrm>
          <a:prstGeom prst="rect">
            <a:avLst/>
          </a:prstGeom>
          <a:gradFill flip="none" rotWithShape="1">
            <a:gsLst>
              <a:gs pos="50000">
                <a:schemeClr val="bg2"/>
              </a:gs>
              <a:gs pos="50000">
                <a:schemeClr val="bg2">
                  <a:lumMod val="75000"/>
                </a:schemeClr>
              </a:gs>
            </a:gsLst>
            <a:lin ang="2700000" scaled="1"/>
            <a:tileRect/>
          </a:gradFill>
        </p:spPr>
        <p:txBody>
          <a:bodyPr wrap="none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uLnTx/>
                <a:uFillTx/>
              </a:rPr>
              <a:t>АЗИЯ</a:t>
            </a:r>
          </a:p>
        </p:txBody>
      </p:sp>
      <p:sp>
        <p:nvSpPr>
          <p:cNvPr id="45" name="Rounded Rectangular Callout 28">
            <a:extLst>
              <a:ext uri="{FF2B5EF4-FFF2-40B4-BE49-F238E27FC236}">
                <a16:creationId xmlns:a16="http://schemas.microsoft.com/office/drawing/2014/main" id="{514872C4-7A0B-4640-A0B0-2AF32C7F20CC}"/>
              </a:ext>
            </a:extLst>
          </p:cNvPr>
          <p:cNvSpPr/>
          <p:nvPr/>
        </p:nvSpPr>
        <p:spPr>
          <a:xfrm>
            <a:off x="8725557" y="4090559"/>
            <a:ext cx="2731195" cy="715986"/>
          </a:xfrm>
          <a:prstGeom prst="roundRect">
            <a:avLst>
              <a:gd name="adj" fmla="val 849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15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ts val="1500"/>
              </a:lnSpc>
              <a:defRPr/>
            </a:pPr>
            <a:r>
              <a:rPr lang="ru-RU" sz="1100" b="1">
                <a:solidFill>
                  <a:schemeClr val="tx1"/>
                </a:solidFill>
              </a:rPr>
              <a:t>EUTELSAT 172B ДЛЯ </a:t>
            </a:r>
            <a:r>
              <a:rPr lang="ru-RU" sz="1100" b="1">
                <a:solidFill>
                  <a:schemeClr val="accent2"/>
                </a:solidFill>
              </a:rPr>
              <a:t>ПОДКЛЮЧЕНИЯ ЛЕТАТЕЛЬНЫХ АППАРАТОВ </a:t>
            </a:r>
          </a:p>
        </p:txBody>
      </p:sp>
    </p:spTree>
    <p:extLst>
      <p:ext uri="{BB962C8B-B14F-4D97-AF65-F5344CB8AC3E}">
        <p14:creationId xmlns:p14="http://schemas.microsoft.com/office/powerpoint/2010/main" val="27485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flythrough hasBounce="1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S38FAcgFlrOsJ_wPvN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lq34A2P2hnkocpVVTx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lq34A2P2hnkocpVVTxw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vIEL3X_MRhDIKqn2xc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Gj5CftJsSTamxL9mtu4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szh1OFtw8a0SBCeziz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Vav1r8cufoOVdRo8ib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p2h_Z.0G59Odwx4izY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utelsat">
  <a:themeElements>
    <a:clrScheme name="Personnalisé 9">
      <a:dk1>
        <a:srgbClr val="000000"/>
      </a:dk1>
      <a:lt1>
        <a:srgbClr val="FFFFFF"/>
      </a:lt1>
      <a:dk2>
        <a:srgbClr val="0D174E"/>
      </a:dk2>
      <a:lt2>
        <a:srgbClr val="007DBA"/>
      </a:lt2>
      <a:accent1>
        <a:srgbClr val="347EB9"/>
      </a:accent1>
      <a:accent2>
        <a:srgbClr val="57C1D5"/>
      </a:accent2>
      <a:accent3>
        <a:srgbClr val="7F7F7F"/>
      </a:accent3>
      <a:accent4>
        <a:srgbClr val="4CB0F0"/>
      </a:accent4>
      <a:accent5>
        <a:srgbClr val="B63866"/>
      </a:accent5>
      <a:accent6>
        <a:srgbClr val="D9662C"/>
      </a:accent6>
      <a:hlink>
        <a:srgbClr val="7F7F7F"/>
      </a:hlink>
      <a:folHlink>
        <a:srgbClr val="000000"/>
      </a:folHlink>
    </a:clrScheme>
    <a:fontScheme name="Custom 1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utelsat Template PowerPoint v2.potx" id="{4B1F42AB-59D5-4173-B920-E21C7D8BAE00}" vid="{D822B22E-030F-456E-BD49-7DDE13526323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0088340BE1EB4EB046D7E13DD76AC1" ma:contentTypeVersion="13" ma:contentTypeDescription="Create a new document." ma:contentTypeScope="" ma:versionID="d90b2abf0a2e7c2d182d790c95ada792">
  <xsd:schema xmlns:xsd="http://www.w3.org/2001/XMLSchema" xmlns:xs="http://www.w3.org/2001/XMLSchema" xmlns:p="http://schemas.microsoft.com/office/2006/metadata/properties" xmlns:ns3="2572f1ac-0803-451f-94d6-83166eabae7f" xmlns:ns4="15c3c839-ce3b-4bca-b370-7afdfe2715fa" targetNamespace="http://schemas.microsoft.com/office/2006/metadata/properties" ma:root="true" ma:fieldsID="a28dd31a5ef01883d095b85c5f99c8e4" ns3:_="" ns4:_="">
    <xsd:import namespace="2572f1ac-0803-451f-94d6-83166eabae7f"/>
    <xsd:import namespace="15c3c839-ce3b-4bca-b370-7afdfe2715f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72f1ac-0803-451f-94d6-83166eabae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c3c839-ce3b-4bca-b370-7afdfe2715f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0A479A2-055F-44E0-A10B-8D8540AD3CE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A4E700B-E904-4D00-8693-9869BACF2383}">
  <ds:schemaRefs>
    <ds:schemaRef ds:uri="http://schemas.microsoft.com/office/2006/metadata/properties"/>
    <ds:schemaRef ds:uri="15c3c839-ce3b-4bca-b370-7afdfe2715fa"/>
    <ds:schemaRef ds:uri="http://purl.org/dc/terms/"/>
    <ds:schemaRef ds:uri="http://purl.org/dc/dcmitype/"/>
    <ds:schemaRef ds:uri="2572f1ac-0803-451f-94d6-83166eabae7f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B2BDDA44-801B-48FA-A7B4-104C32B1B22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572f1ac-0803-451f-94d6-83166eabae7f"/>
    <ds:schemaRef ds:uri="15c3c839-ce3b-4bca-b370-7afdfe2715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utelsat Template PowerPoint v2</Template>
  <TotalTime>9741</TotalTime>
  <Words>429</Words>
  <Application>Microsoft Office PowerPoint</Application>
  <PresentationFormat>Widescreen</PresentationFormat>
  <Paragraphs>124</Paragraphs>
  <Slides>10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Arial Narrow</vt:lpstr>
      <vt:lpstr>Calibri</vt:lpstr>
      <vt:lpstr>Times New Roman</vt:lpstr>
      <vt:lpstr>Verdana</vt:lpstr>
      <vt:lpstr>Wingdings</vt:lpstr>
      <vt:lpstr>Wingdings 3</vt:lpstr>
      <vt:lpstr>Eutelsat</vt:lpstr>
      <vt:lpstr>think-cell Slide</vt:lpstr>
      <vt:lpstr>ЕВТЕЛСАТ:</vt:lpstr>
      <vt:lpstr>Ключевой игрок отрасли  космической связи</vt:lpstr>
      <vt:lpstr>Цифровая  коммерческая компания</vt:lpstr>
      <vt:lpstr>Гибкая, ведущая в мире группировка спутников</vt:lpstr>
      <vt:lpstr>Услуги, обеспечивающие цифровой рост</vt:lpstr>
      <vt:lpstr>СВЯЗЬ без границ</vt:lpstr>
      <vt:lpstr>видео: открываем  новую эру вещания</vt:lpstr>
      <vt:lpstr>ВИДЕОГРУППИРОВКИ ОХВАТЫВАЮТ 1 МИЛЛИАРД ЗРИТЕЛЕЙ</vt:lpstr>
      <vt:lpstr>эффективное использование полосы пропускания, адаптированное к региональным потребностям  в широкополосном доступе</vt:lpstr>
      <vt:lpstr>ДОЛИ СОБСТВЕННОСТ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to edit title</dc:title>
  <dc:creator>Pierre Henniquant</dc:creator>
  <cp:lastModifiedBy>kurbangalieva alfira</cp:lastModifiedBy>
  <cp:revision>84</cp:revision>
  <dcterms:created xsi:type="dcterms:W3CDTF">2020-05-22T11:30:31Z</dcterms:created>
  <dcterms:modified xsi:type="dcterms:W3CDTF">2020-10-05T09:5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0088340BE1EB4EB046D7E13DD76AC1</vt:lpwstr>
  </property>
</Properties>
</file>